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media/image4.bin" ContentType="image/jpeg"/>
  <Override PartName="/ppt/media/image5.bin" ContentType="image/png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media/image6.bin" ContentType="image/jpeg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media/image7.bin" ContentType="image/png"/>
  <Override PartName="/ppt/media/image8.bin" ContentType="image/png"/>
  <Override PartName="/ppt/media/image9.bin" ContentType="image/png"/>
  <Override PartName="/ppt/media/image10.bin" ContentType="image/png"/>
  <Override PartName="/ppt/media/image11.bin" ContentType="image/png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3.xml" ContentType="application/vnd.openxmlformats-officedocument.presentationml.notesSlide+xml"/>
  <Override PartName="/ppt/tags/tag59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742" r:id="rId5"/>
  </p:sldMasterIdLst>
  <p:notesMasterIdLst>
    <p:notesMasterId r:id="rId18"/>
  </p:notesMasterIdLst>
  <p:handoutMasterIdLst>
    <p:handoutMasterId r:id="rId19"/>
  </p:handoutMasterIdLst>
  <p:sldIdLst>
    <p:sldId id="259" r:id="rId6"/>
    <p:sldId id="256" r:id="rId7"/>
    <p:sldId id="264" r:id="rId8"/>
    <p:sldId id="266" r:id="rId9"/>
    <p:sldId id="284" r:id="rId10"/>
    <p:sldId id="268" r:id="rId11"/>
    <p:sldId id="278" r:id="rId12"/>
    <p:sldId id="285" r:id="rId13"/>
    <p:sldId id="282" r:id="rId14"/>
    <p:sldId id="289" r:id="rId15"/>
    <p:sldId id="287" r:id="rId16"/>
    <p:sldId id="288" r:id="rId17"/>
  </p:sldIdLst>
  <p:sldSz cx="9144000" cy="5143500" type="screen16x9"/>
  <p:notesSz cx="6797675" cy="9926638"/>
  <p:embeddedFontLst>
    <p:embeddedFont>
      <p:font typeface="Orsted Sans Office" panose="00000500000000000000" pitchFamily="2" charset="0"/>
      <p:regular r:id="rId20"/>
      <p:bold r:id="rId21"/>
      <p:italic r:id="rId22"/>
      <p:boldItalic r:id="rId23"/>
    </p:embeddedFont>
  </p:embeddedFontLst>
  <p:custDataLst>
    <p:tags r:id="rId24"/>
  </p:custDataLst>
  <p:defaultTextStyle>
    <a:defPPr>
      <a:defRPr lang="en-US"/>
    </a:defPPr>
    <a:lvl1pPr marL="0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1pPr>
    <a:lvl2pPr marL="311024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2pPr>
    <a:lvl3pPr marL="622048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3pPr>
    <a:lvl4pPr marL="93307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4pPr>
    <a:lvl5pPr marL="1244097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5pPr>
    <a:lvl6pPr marL="1555121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orskie farmy wiatrowe w Polsce" id="{3DBC6817-2074-45FC-BC2F-6ADBC473965F}">
          <p14:sldIdLst>
            <p14:sldId id="259"/>
          </p14:sldIdLst>
        </p14:section>
        <p14:section name="Dlaczego Polska?" id="{CB19BBCE-60DE-431D-9EA4-3F34486EF8A9}">
          <p14:sldIdLst>
            <p14:sldId id="256"/>
            <p14:sldId id="264"/>
            <p14:sldId id="266"/>
          </p14:sldIdLst>
        </p14:section>
        <p14:section name="Orsted w Polsce" id="{5A109D7E-F097-4D0B-B7C5-21678BF28372}">
          <p14:sldIdLst>
            <p14:sldId id="284"/>
            <p14:sldId id="268"/>
            <p14:sldId id="278"/>
          </p14:sldIdLst>
        </p14:section>
        <p14:section name="Najlepsze praktyki Orsted" id="{4A183EC3-DA46-47DC-ADBF-47CF03575455}">
          <p14:sldIdLst>
            <p14:sldId id="285"/>
            <p14:sldId id="282"/>
            <p14:sldId id="289"/>
            <p14:sldId id="287"/>
            <p14:sldId id="28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eta Wieczerzak-Krusińska" initials="AW" lastIdx="1" clrIdx="0">
    <p:extLst>
      <p:ext uri="{19B8F6BF-5375-455C-9EA6-DF929625EA0E}">
        <p15:presenceInfo xmlns:p15="http://schemas.microsoft.com/office/powerpoint/2012/main" userId="S::ANEWI@orsted.dk::012866bf-b099-490d-83a4-860c428e63f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E9DD4"/>
    <a:srgbClr val="8ECDC8"/>
    <a:srgbClr val="F5F6F7"/>
    <a:srgbClr val="644C76"/>
    <a:srgbClr val="ADB6BE"/>
    <a:srgbClr val="FDD779"/>
    <a:srgbClr val="E8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89342" autoAdjust="0"/>
  </p:normalViewPr>
  <p:slideViewPr>
    <p:cSldViewPr snapToGrid="0" showGuides="1">
      <p:cViewPr varScale="1">
        <p:scale>
          <a:sx n="83" d="100"/>
          <a:sy n="83" d="100"/>
        </p:scale>
        <p:origin x="82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1" d="100"/>
          <a:sy n="121" d="100"/>
        </p:scale>
        <p:origin x="493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2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font" Target="fonts/font1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font" Target="fonts/font4.fntdata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3.fntdata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eta Wieczerzak-Krusińska" userId="012866bf-b099-490d-83a4-860c428e63fc" providerId="ADAL" clId="{5BDBFEBD-DC53-4A93-88C8-DB07B3657F19}"/>
    <pc:docChg chg="undo redo custSel delSld modSld modSection">
      <pc:chgData name="Aneta Wieczerzak-Krusińska" userId="012866bf-b099-490d-83a4-860c428e63fc" providerId="ADAL" clId="{5BDBFEBD-DC53-4A93-88C8-DB07B3657F19}" dt="2021-06-15T21:39:59.621" v="911" actId="113"/>
      <pc:docMkLst>
        <pc:docMk/>
      </pc:docMkLst>
      <pc:sldChg chg="modSp mod">
        <pc:chgData name="Aneta Wieczerzak-Krusińska" userId="012866bf-b099-490d-83a4-860c428e63fc" providerId="ADAL" clId="{5BDBFEBD-DC53-4A93-88C8-DB07B3657F19}" dt="2021-06-15T20:50:48.354" v="95" actId="20577"/>
        <pc:sldMkLst>
          <pc:docMk/>
          <pc:sldMk cId="1487033317" sldId="259"/>
        </pc:sldMkLst>
        <pc:spChg chg="mod">
          <ac:chgData name="Aneta Wieczerzak-Krusińska" userId="012866bf-b099-490d-83a4-860c428e63fc" providerId="ADAL" clId="{5BDBFEBD-DC53-4A93-88C8-DB07B3657F19}" dt="2021-06-15T20:49:23.049" v="75" actId="6549"/>
          <ac:spMkLst>
            <pc:docMk/>
            <pc:sldMk cId="1487033317" sldId="259"/>
            <ac:spMk id="2" creationId="{5EA58CD9-26CB-46D1-B4EF-77285D87E880}"/>
          </ac:spMkLst>
        </pc:spChg>
        <pc:spChg chg="mod">
          <ac:chgData name="Aneta Wieczerzak-Krusińska" userId="012866bf-b099-490d-83a4-860c428e63fc" providerId="ADAL" clId="{5BDBFEBD-DC53-4A93-88C8-DB07B3657F19}" dt="2021-06-15T20:50:48.354" v="95" actId="20577"/>
          <ac:spMkLst>
            <pc:docMk/>
            <pc:sldMk cId="1487033317" sldId="259"/>
            <ac:spMk id="6" creationId="{26C67332-E91D-4269-9727-379780CE7B67}"/>
          </ac:spMkLst>
        </pc:spChg>
      </pc:sldChg>
      <pc:sldChg chg="modSp mod">
        <pc:chgData name="Aneta Wieczerzak-Krusińska" userId="012866bf-b099-490d-83a4-860c428e63fc" providerId="ADAL" clId="{5BDBFEBD-DC53-4A93-88C8-DB07B3657F19}" dt="2021-06-15T20:52:11.901" v="177" actId="6549"/>
        <pc:sldMkLst>
          <pc:docMk/>
          <pc:sldMk cId="4092865252" sldId="264"/>
        </pc:sldMkLst>
        <pc:spChg chg="mod">
          <ac:chgData name="Aneta Wieczerzak-Krusińska" userId="012866bf-b099-490d-83a4-860c428e63fc" providerId="ADAL" clId="{5BDBFEBD-DC53-4A93-88C8-DB07B3657F19}" dt="2021-06-15T20:52:11.901" v="177" actId="6549"/>
          <ac:spMkLst>
            <pc:docMk/>
            <pc:sldMk cId="4092865252" sldId="264"/>
            <ac:spMk id="8" creationId="{ACFC4E6A-3378-4C6D-8637-97CB988F86F1}"/>
          </ac:spMkLst>
        </pc:spChg>
        <pc:spChg chg="mod">
          <ac:chgData name="Aneta Wieczerzak-Krusińska" userId="012866bf-b099-490d-83a4-860c428e63fc" providerId="ADAL" clId="{5BDBFEBD-DC53-4A93-88C8-DB07B3657F19}" dt="2021-06-15T20:51:33.768" v="138" actId="6549"/>
          <ac:spMkLst>
            <pc:docMk/>
            <pc:sldMk cId="4092865252" sldId="264"/>
            <ac:spMk id="11" creationId="{08C2BB8E-E447-4D4A-A752-23049F6B1234}"/>
          </ac:spMkLst>
        </pc:spChg>
        <pc:spChg chg="mod">
          <ac:chgData name="Aneta Wieczerzak-Krusińska" userId="012866bf-b099-490d-83a4-860c428e63fc" providerId="ADAL" clId="{5BDBFEBD-DC53-4A93-88C8-DB07B3657F19}" dt="2021-06-15T20:51:44.391" v="165" actId="6549"/>
          <ac:spMkLst>
            <pc:docMk/>
            <pc:sldMk cId="4092865252" sldId="264"/>
            <ac:spMk id="12" creationId="{214F0AA1-91D2-4585-BB78-4A0ABB1C94C7}"/>
          </ac:spMkLst>
        </pc:spChg>
      </pc:sldChg>
      <pc:sldChg chg="addSp modSp mod">
        <pc:chgData name="Aneta Wieczerzak-Krusińska" userId="012866bf-b099-490d-83a4-860c428e63fc" providerId="ADAL" clId="{5BDBFEBD-DC53-4A93-88C8-DB07B3657F19}" dt="2021-06-15T21:02:52.967" v="239" actId="6549"/>
        <pc:sldMkLst>
          <pc:docMk/>
          <pc:sldMk cId="1297062678" sldId="266"/>
        </pc:sldMkLst>
        <pc:spChg chg="mod">
          <ac:chgData name="Aneta Wieczerzak-Krusińska" userId="012866bf-b099-490d-83a4-860c428e63fc" providerId="ADAL" clId="{5BDBFEBD-DC53-4A93-88C8-DB07B3657F19}" dt="2021-06-15T21:02:52.967" v="239" actId="6549"/>
          <ac:spMkLst>
            <pc:docMk/>
            <pc:sldMk cId="1297062678" sldId="266"/>
            <ac:spMk id="8" creationId="{ACFC4E6A-3378-4C6D-8637-97CB988F86F1}"/>
          </ac:spMkLst>
        </pc:spChg>
        <pc:spChg chg="add mod">
          <ac:chgData name="Aneta Wieczerzak-Krusińska" userId="012866bf-b099-490d-83a4-860c428e63fc" providerId="ADAL" clId="{5BDBFEBD-DC53-4A93-88C8-DB07B3657F19}" dt="2021-06-15T20:59:32.870" v="178"/>
          <ac:spMkLst>
            <pc:docMk/>
            <pc:sldMk cId="1297062678" sldId="266"/>
            <ac:spMk id="1707" creationId="{C7E51683-0589-4510-977E-073128AA8742}"/>
          </ac:spMkLst>
        </pc:spChg>
      </pc:sldChg>
      <pc:sldChg chg="addSp delSp modSp mod">
        <pc:chgData name="Aneta Wieczerzak-Krusińska" userId="012866bf-b099-490d-83a4-860c428e63fc" providerId="ADAL" clId="{5BDBFEBD-DC53-4A93-88C8-DB07B3657F19}" dt="2021-06-15T21:06:31.812" v="312" actId="20577"/>
        <pc:sldMkLst>
          <pc:docMk/>
          <pc:sldMk cId="1991566419" sldId="268"/>
        </pc:sldMkLst>
        <pc:spChg chg="add del">
          <ac:chgData name="Aneta Wieczerzak-Krusińska" userId="012866bf-b099-490d-83a4-860c428e63fc" providerId="ADAL" clId="{5BDBFEBD-DC53-4A93-88C8-DB07B3657F19}" dt="2021-06-15T21:05:20.596" v="260"/>
          <ac:spMkLst>
            <pc:docMk/>
            <pc:sldMk cId="1991566419" sldId="268"/>
            <ac:spMk id="2" creationId="{272BF207-6DB7-4C92-9EEC-FC0C7939CCAC}"/>
          </ac:spMkLst>
        </pc:spChg>
        <pc:spChg chg="mod">
          <ac:chgData name="Aneta Wieczerzak-Krusińska" userId="012866bf-b099-490d-83a4-860c428e63fc" providerId="ADAL" clId="{5BDBFEBD-DC53-4A93-88C8-DB07B3657F19}" dt="2021-06-15T21:05:47.889" v="298" actId="6549"/>
          <ac:spMkLst>
            <pc:docMk/>
            <pc:sldMk cId="1991566419" sldId="268"/>
            <ac:spMk id="11" creationId="{ECD7F362-65B8-4C99-893C-B74EBE57CCBF}"/>
          </ac:spMkLst>
        </pc:spChg>
        <pc:spChg chg="mod">
          <ac:chgData name="Aneta Wieczerzak-Krusińska" userId="012866bf-b099-490d-83a4-860c428e63fc" providerId="ADAL" clId="{5BDBFEBD-DC53-4A93-88C8-DB07B3657F19}" dt="2021-06-15T21:04:56.347" v="258" actId="6549"/>
          <ac:spMkLst>
            <pc:docMk/>
            <pc:sldMk cId="1991566419" sldId="268"/>
            <ac:spMk id="12" creationId="{9B1614BC-ADA6-4E51-B260-5CE2555958A2}"/>
          </ac:spMkLst>
        </pc:spChg>
        <pc:spChg chg="mod">
          <ac:chgData name="Aneta Wieczerzak-Krusińska" userId="012866bf-b099-490d-83a4-860c428e63fc" providerId="ADAL" clId="{5BDBFEBD-DC53-4A93-88C8-DB07B3657F19}" dt="2021-06-15T21:06:31.812" v="312" actId="20577"/>
          <ac:spMkLst>
            <pc:docMk/>
            <pc:sldMk cId="1991566419" sldId="268"/>
            <ac:spMk id="13" creationId="{177FE5F1-5C75-4149-99E9-CCE41F128EEF}"/>
          </ac:spMkLst>
        </pc:spChg>
      </pc:sldChg>
      <pc:sldChg chg="addSp delSp modSp mod">
        <pc:chgData name="Aneta Wieczerzak-Krusińska" userId="012866bf-b099-490d-83a4-860c428e63fc" providerId="ADAL" clId="{5BDBFEBD-DC53-4A93-88C8-DB07B3657F19}" dt="2021-06-15T21:28:24.469" v="847" actId="113"/>
        <pc:sldMkLst>
          <pc:docMk/>
          <pc:sldMk cId="2077998158" sldId="278"/>
        </pc:sldMkLst>
        <pc:spChg chg="add del">
          <ac:chgData name="Aneta Wieczerzak-Krusińska" userId="012866bf-b099-490d-83a4-860c428e63fc" providerId="ADAL" clId="{5BDBFEBD-DC53-4A93-88C8-DB07B3657F19}" dt="2021-06-15T21:20:55.211" v="763"/>
          <ac:spMkLst>
            <pc:docMk/>
            <pc:sldMk cId="2077998158" sldId="278"/>
            <ac:spMk id="3" creationId="{435D8774-C9B5-444A-AA11-088A42792B93}"/>
          </ac:spMkLst>
        </pc:spChg>
        <pc:spChg chg="add del mod">
          <ac:chgData name="Aneta Wieczerzak-Krusińska" userId="012866bf-b099-490d-83a4-860c428e63fc" providerId="ADAL" clId="{5BDBFEBD-DC53-4A93-88C8-DB07B3657F19}" dt="2021-06-15T21:11:07.724" v="388"/>
          <ac:spMkLst>
            <pc:docMk/>
            <pc:sldMk cId="2077998158" sldId="278"/>
            <ac:spMk id="6" creationId="{1F060B84-F359-462F-AE10-F218F06668D1}"/>
          </ac:spMkLst>
        </pc:spChg>
        <pc:spChg chg="add del mod">
          <ac:chgData name="Aneta Wieczerzak-Krusińska" userId="012866bf-b099-490d-83a4-860c428e63fc" providerId="ADAL" clId="{5BDBFEBD-DC53-4A93-88C8-DB07B3657F19}" dt="2021-06-15T21:11:07.724" v="388"/>
          <ac:spMkLst>
            <pc:docMk/>
            <pc:sldMk cId="2077998158" sldId="278"/>
            <ac:spMk id="7" creationId="{55BCB8C1-B481-485F-9D4C-1FB1E15F71EC}"/>
          </ac:spMkLst>
        </pc:spChg>
        <pc:spChg chg="mod">
          <ac:chgData name="Aneta Wieczerzak-Krusińska" userId="012866bf-b099-490d-83a4-860c428e63fc" providerId="ADAL" clId="{5BDBFEBD-DC53-4A93-88C8-DB07B3657F19}" dt="2021-06-15T21:10:18.319" v="385" actId="6549"/>
          <ac:spMkLst>
            <pc:docMk/>
            <pc:sldMk cId="2077998158" sldId="278"/>
            <ac:spMk id="12" creationId="{0F9B0137-5922-4572-8FCF-2D66A23E6048}"/>
          </ac:spMkLst>
        </pc:spChg>
        <pc:spChg chg="mod">
          <ac:chgData name="Aneta Wieczerzak-Krusińska" userId="012866bf-b099-490d-83a4-860c428e63fc" providerId="ADAL" clId="{5BDBFEBD-DC53-4A93-88C8-DB07B3657F19}" dt="2021-06-15T21:28:24.469" v="847" actId="113"/>
          <ac:spMkLst>
            <pc:docMk/>
            <pc:sldMk cId="2077998158" sldId="278"/>
            <ac:spMk id="15" creationId="{BBBFF41E-1F33-4A07-95B5-C86ECB1727E7}"/>
          </ac:spMkLst>
        </pc:spChg>
        <pc:graphicFrameChg chg="add del mod">
          <ac:chgData name="Aneta Wieczerzak-Krusińska" userId="012866bf-b099-490d-83a4-860c428e63fc" providerId="ADAL" clId="{5BDBFEBD-DC53-4A93-88C8-DB07B3657F19}" dt="2021-06-15T21:11:07.724" v="388"/>
          <ac:graphicFrameMkLst>
            <pc:docMk/>
            <pc:sldMk cId="2077998158" sldId="278"/>
            <ac:graphicFrameMk id="8" creationId="{47E064E8-FF58-4C4A-A186-50001E0F792B}"/>
          </ac:graphicFrameMkLst>
        </pc:graphicFrameChg>
        <pc:graphicFrameChg chg="add mod">
          <ac:chgData name="Aneta Wieczerzak-Krusińska" userId="012866bf-b099-490d-83a4-860c428e63fc" providerId="ADAL" clId="{5BDBFEBD-DC53-4A93-88C8-DB07B3657F19}" dt="2021-06-15T21:18:40.609" v="629"/>
          <ac:graphicFrameMkLst>
            <pc:docMk/>
            <pc:sldMk cId="2077998158" sldId="278"/>
            <ac:graphicFrameMk id="9" creationId="{1A15E7F7-1563-4669-B056-1DC6AE06854E}"/>
          </ac:graphicFrameMkLst>
        </pc:graphicFrameChg>
        <pc:graphicFrameChg chg="del mod">
          <ac:chgData name="Aneta Wieczerzak-Krusińska" userId="012866bf-b099-490d-83a4-860c428e63fc" providerId="ADAL" clId="{5BDBFEBD-DC53-4A93-88C8-DB07B3657F19}" dt="2021-06-15T21:13:31.873" v="390" actId="478"/>
          <ac:graphicFrameMkLst>
            <pc:docMk/>
            <pc:sldMk cId="2077998158" sldId="278"/>
            <ac:graphicFrameMk id="28" creationId="{B0C23822-52AB-481C-8868-E8CF5A2DDD7B}"/>
          </ac:graphicFrameMkLst>
        </pc:graphicFrameChg>
      </pc:sldChg>
      <pc:sldChg chg="delSp modSp mod">
        <pc:chgData name="Aneta Wieczerzak-Krusińska" userId="012866bf-b099-490d-83a4-860c428e63fc" providerId="ADAL" clId="{5BDBFEBD-DC53-4A93-88C8-DB07B3657F19}" dt="2021-06-15T21:35:58" v="888" actId="478"/>
        <pc:sldMkLst>
          <pc:docMk/>
          <pc:sldMk cId="2195997898" sldId="282"/>
        </pc:sldMkLst>
        <pc:spChg chg="mod">
          <ac:chgData name="Aneta Wieczerzak-Krusińska" userId="012866bf-b099-490d-83a4-860c428e63fc" providerId="ADAL" clId="{5BDBFEBD-DC53-4A93-88C8-DB07B3657F19}" dt="2021-06-15T21:29:00.667" v="848" actId="6549"/>
          <ac:spMkLst>
            <pc:docMk/>
            <pc:sldMk cId="2195997898" sldId="282"/>
            <ac:spMk id="2" creationId="{A747087F-0E3B-4F2B-92D5-2B70C45BB8A5}"/>
          </ac:spMkLst>
        </pc:spChg>
        <pc:spChg chg="del">
          <ac:chgData name="Aneta Wieczerzak-Krusińska" userId="012866bf-b099-490d-83a4-860c428e63fc" providerId="ADAL" clId="{5BDBFEBD-DC53-4A93-88C8-DB07B3657F19}" dt="2021-06-15T21:35:58" v="888" actId="478"/>
          <ac:spMkLst>
            <pc:docMk/>
            <pc:sldMk cId="2195997898" sldId="282"/>
            <ac:spMk id="4" creationId="{910FF287-FA83-451D-84A7-DBB094FD9570}"/>
          </ac:spMkLst>
        </pc:spChg>
        <pc:spChg chg="mod">
          <ac:chgData name="Aneta Wieczerzak-Krusińska" userId="012866bf-b099-490d-83a4-860c428e63fc" providerId="ADAL" clId="{5BDBFEBD-DC53-4A93-88C8-DB07B3657F19}" dt="2021-06-15T21:34:35.669" v="881"/>
          <ac:spMkLst>
            <pc:docMk/>
            <pc:sldMk cId="2195997898" sldId="282"/>
            <ac:spMk id="5" creationId="{0FB76524-990B-40FE-AF84-53B212186D27}"/>
          </ac:spMkLst>
        </pc:spChg>
        <pc:spChg chg="mod">
          <ac:chgData name="Aneta Wieczerzak-Krusińska" userId="012866bf-b099-490d-83a4-860c428e63fc" providerId="ADAL" clId="{5BDBFEBD-DC53-4A93-88C8-DB07B3657F19}" dt="2021-06-15T21:34:56.606" v="882"/>
          <ac:spMkLst>
            <pc:docMk/>
            <pc:sldMk cId="2195997898" sldId="282"/>
            <ac:spMk id="7" creationId="{07D93E26-2B3B-4D1C-82D8-7D4A1E9D0845}"/>
          </ac:spMkLst>
        </pc:spChg>
        <pc:spChg chg="mod">
          <ac:chgData name="Aneta Wieczerzak-Krusińska" userId="012866bf-b099-490d-83a4-860c428e63fc" providerId="ADAL" clId="{5BDBFEBD-DC53-4A93-88C8-DB07B3657F19}" dt="2021-06-15T21:35:35.283" v="887" actId="6549"/>
          <ac:spMkLst>
            <pc:docMk/>
            <pc:sldMk cId="2195997898" sldId="282"/>
            <ac:spMk id="9" creationId="{68AEF092-E86C-4640-9416-243CB3FAAFE6}"/>
          </ac:spMkLst>
        </pc:spChg>
      </pc:sldChg>
      <pc:sldChg chg="delSp del mod">
        <pc:chgData name="Aneta Wieczerzak-Krusińska" userId="012866bf-b099-490d-83a4-860c428e63fc" providerId="ADAL" clId="{5BDBFEBD-DC53-4A93-88C8-DB07B3657F19}" dt="2021-06-15T21:36:26.552" v="892" actId="47"/>
        <pc:sldMkLst>
          <pc:docMk/>
          <pc:sldMk cId="3337726971" sldId="283"/>
        </pc:sldMkLst>
        <pc:spChg chg="del">
          <ac:chgData name="Aneta Wieczerzak-Krusińska" userId="012866bf-b099-490d-83a4-860c428e63fc" providerId="ADAL" clId="{5BDBFEBD-DC53-4A93-88C8-DB07B3657F19}" dt="2021-06-15T21:36:08.846" v="889" actId="478"/>
          <ac:spMkLst>
            <pc:docMk/>
            <pc:sldMk cId="3337726971" sldId="283"/>
            <ac:spMk id="10" creationId="{22B9EFC6-112E-4314-8470-2642537F4C39}"/>
          </ac:spMkLst>
        </pc:spChg>
        <pc:spChg chg="del">
          <ac:chgData name="Aneta Wieczerzak-Krusińska" userId="012866bf-b099-490d-83a4-860c428e63fc" providerId="ADAL" clId="{5BDBFEBD-DC53-4A93-88C8-DB07B3657F19}" dt="2021-06-15T21:36:18.369" v="890" actId="478"/>
          <ac:spMkLst>
            <pc:docMk/>
            <pc:sldMk cId="3337726971" sldId="283"/>
            <ac:spMk id="11" creationId="{EC0E9ECA-7610-47D0-90D0-832E1C3E96CA}"/>
          </ac:spMkLst>
        </pc:spChg>
        <pc:spChg chg="del">
          <ac:chgData name="Aneta Wieczerzak-Krusińska" userId="012866bf-b099-490d-83a4-860c428e63fc" providerId="ADAL" clId="{5BDBFEBD-DC53-4A93-88C8-DB07B3657F19}" dt="2021-06-15T21:36:20.959" v="891" actId="478"/>
          <ac:spMkLst>
            <pc:docMk/>
            <pc:sldMk cId="3337726971" sldId="283"/>
            <ac:spMk id="12" creationId="{7994363F-7E39-4326-A349-37427E1787B0}"/>
          </ac:spMkLst>
        </pc:spChg>
      </pc:sldChg>
      <pc:sldChg chg="delSp modSp mod">
        <pc:chgData name="Aneta Wieczerzak-Krusińska" userId="012866bf-b099-490d-83a4-860c428e63fc" providerId="ADAL" clId="{5BDBFEBD-DC53-4A93-88C8-DB07B3657F19}" dt="2021-06-15T21:39:59.621" v="911" actId="113"/>
        <pc:sldMkLst>
          <pc:docMk/>
          <pc:sldMk cId="1891120004" sldId="287"/>
        </pc:sldMkLst>
        <pc:spChg chg="mod">
          <ac:chgData name="Aneta Wieczerzak-Krusińska" userId="012866bf-b099-490d-83a4-860c428e63fc" providerId="ADAL" clId="{5BDBFEBD-DC53-4A93-88C8-DB07B3657F19}" dt="2021-06-15T21:37:55.634" v="900" actId="6549"/>
          <ac:spMkLst>
            <pc:docMk/>
            <pc:sldMk cId="1891120004" sldId="287"/>
            <ac:spMk id="2" creationId="{A747087F-0E3B-4F2B-92D5-2B70C45BB8A5}"/>
          </ac:spMkLst>
        </pc:spChg>
        <pc:spChg chg="del">
          <ac:chgData name="Aneta Wieczerzak-Krusińska" userId="012866bf-b099-490d-83a4-860c428e63fc" providerId="ADAL" clId="{5BDBFEBD-DC53-4A93-88C8-DB07B3657F19}" dt="2021-06-15T21:39:46.927" v="910" actId="478"/>
          <ac:spMkLst>
            <pc:docMk/>
            <pc:sldMk cId="1891120004" sldId="287"/>
            <ac:spMk id="4" creationId="{DAD800E3-9288-4724-A30B-F73128DD8A44}"/>
          </ac:spMkLst>
        </pc:spChg>
        <pc:spChg chg="mod">
          <ac:chgData name="Aneta Wieczerzak-Krusińska" userId="012866bf-b099-490d-83a4-860c428e63fc" providerId="ADAL" clId="{5BDBFEBD-DC53-4A93-88C8-DB07B3657F19}" dt="2021-06-15T21:39:22.132" v="908" actId="113"/>
          <ac:spMkLst>
            <pc:docMk/>
            <pc:sldMk cId="1891120004" sldId="287"/>
            <ac:spMk id="7" creationId="{07D93E26-2B3B-4D1C-82D8-7D4A1E9D0845}"/>
          </ac:spMkLst>
        </pc:spChg>
        <pc:spChg chg="mod">
          <ac:chgData name="Aneta Wieczerzak-Krusińska" userId="012866bf-b099-490d-83a4-860c428e63fc" providerId="ADAL" clId="{5BDBFEBD-DC53-4A93-88C8-DB07B3657F19}" dt="2021-06-15T21:38:39.010" v="903" actId="113"/>
          <ac:spMkLst>
            <pc:docMk/>
            <pc:sldMk cId="1891120004" sldId="287"/>
            <ac:spMk id="16" creationId="{B759D932-B39A-4DD6-AF18-D6A6C167F2EF}"/>
          </ac:spMkLst>
        </pc:spChg>
        <pc:spChg chg="mod">
          <ac:chgData name="Aneta Wieczerzak-Krusińska" userId="012866bf-b099-490d-83a4-860c428e63fc" providerId="ADAL" clId="{5BDBFEBD-DC53-4A93-88C8-DB07B3657F19}" dt="2021-06-15T21:39:59.621" v="911" actId="113"/>
          <ac:spMkLst>
            <pc:docMk/>
            <pc:sldMk cId="1891120004" sldId="287"/>
            <ac:spMk id="17" creationId="{9C106E31-BFF7-444C-9A07-A84536281732}"/>
          </ac:spMkLst>
        </pc:spChg>
      </pc:sldChg>
    </pc:docChg>
  </pc:docChgLst>
  <pc:docChgLst>
    <pc:chgData name="Aneta Wieczerzak-Krusińska" userId="012866bf-b099-490d-83a4-860c428e63fc" providerId="ADAL" clId="{060CA81E-2FBE-4A5D-A507-CF97612EA91C}"/>
    <pc:docChg chg="modSection">
      <pc:chgData name="Aneta Wieczerzak-Krusińska" userId="012866bf-b099-490d-83a4-860c428e63fc" providerId="ADAL" clId="{060CA81E-2FBE-4A5D-A507-CF97612EA91C}" dt="2021-06-15T21:45:01.688" v="0" actId="17846"/>
      <pc:docMkLst>
        <pc:docMk/>
      </pc:docMkLst>
    </pc:docChg>
  </pc:docChgLst>
  <pc:docChgLst>
    <pc:chgData name="Aneta Wieczerzak-Krusińska" userId="012866bf-b099-490d-83a4-860c428e63fc" providerId="ADAL" clId="{1ACE2F95-5F7C-4305-8775-464BD4A1AAD4}"/>
    <pc:docChg chg="modSld">
      <pc:chgData name="Aneta Wieczerzak-Krusińska" userId="012866bf-b099-490d-83a4-860c428e63fc" providerId="ADAL" clId="{1ACE2F95-5F7C-4305-8775-464BD4A1AAD4}" dt="2021-06-17T08:14:56.798" v="19" actId="6549"/>
      <pc:docMkLst>
        <pc:docMk/>
      </pc:docMkLst>
      <pc:sldChg chg="modSp mod">
        <pc:chgData name="Aneta Wieczerzak-Krusińska" userId="012866bf-b099-490d-83a4-860c428e63fc" providerId="ADAL" clId="{1ACE2F95-5F7C-4305-8775-464BD4A1AAD4}" dt="2021-06-17T08:14:56.798" v="19" actId="6549"/>
        <pc:sldMkLst>
          <pc:docMk/>
          <pc:sldMk cId="1487033317" sldId="259"/>
        </pc:sldMkLst>
        <pc:spChg chg="mod">
          <ac:chgData name="Aneta Wieczerzak-Krusińska" userId="012866bf-b099-490d-83a4-860c428e63fc" providerId="ADAL" clId="{1ACE2F95-5F7C-4305-8775-464BD4A1AAD4}" dt="2021-06-17T08:14:56.798" v="19" actId="6549"/>
          <ac:spMkLst>
            <pc:docMk/>
            <pc:sldMk cId="1487033317" sldId="259"/>
            <ac:spMk id="2" creationId="{5EA58CD9-26CB-46D1-B4EF-77285D87E880}"/>
          </ac:spMkLst>
        </pc:spChg>
      </pc:sldChg>
    </pc:docChg>
  </pc:docChgLst>
  <pc:docChgLst>
    <pc:chgData name="Aneta Wieczerzak-Krusińska" userId="012866bf-b099-490d-83a4-860c428e63fc" providerId="ADAL" clId="{242AD7D2-E2B2-45C9-BF48-870C55190AE3}"/>
    <pc:docChg chg="undo custSel addSld delSld modSld modSection">
      <pc:chgData name="Aneta Wieczerzak-Krusińska" userId="012866bf-b099-490d-83a4-860c428e63fc" providerId="ADAL" clId="{242AD7D2-E2B2-45C9-BF48-870C55190AE3}" dt="2021-06-17T07:59:42.226" v="179"/>
      <pc:docMkLst>
        <pc:docMk/>
      </pc:docMkLst>
      <pc:sldChg chg="addSp delSp modSp">
        <pc:chgData name="Aneta Wieczerzak-Krusińska" userId="012866bf-b099-490d-83a4-860c428e63fc" providerId="ADAL" clId="{242AD7D2-E2B2-45C9-BF48-870C55190AE3}" dt="2021-06-17T07:59:42.226" v="179"/>
        <pc:sldMkLst>
          <pc:docMk/>
          <pc:sldMk cId="3224072654" sldId="256"/>
        </pc:sldMkLst>
        <pc:spChg chg="mod">
          <ac:chgData name="Aneta Wieczerzak-Krusińska" userId="012866bf-b099-490d-83a4-860c428e63fc" providerId="ADAL" clId="{242AD7D2-E2B2-45C9-BF48-870C55190AE3}" dt="2021-06-17T07:59:42.226" v="179"/>
          <ac:spMkLst>
            <pc:docMk/>
            <pc:sldMk cId="3224072654" sldId="256"/>
            <ac:spMk id="2" creationId="{B458C07A-B3A1-4316-BC58-F23D1C937A81}"/>
          </ac:spMkLst>
        </pc:spChg>
        <pc:spChg chg="mod">
          <ac:chgData name="Aneta Wieczerzak-Krusińska" userId="012866bf-b099-490d-83a4-860c428e63fc" providerId="ADAL" clId="{242AD7D2-E2B2-45C9-BF48-870C55190AE3}" dt="2021-06-17T07:59:42.226" v="179"/>
          <ac:spMkLst>
            <pc:docMk/>
            <pc:sldMk cId="3224072654" sldId="256"/>
            <ac:spMk id="3" creationId="{D600DDDF-81D2-4972-B02A-788074FBC203}"/>
          </ac:spMkLst>
        </pc:spChg>
        <pc:spChg chg="add del mod">
          <ac:chgData name="Aneta Wieczerzak-Krusińska" userId="012866bf-b099-490d-83a4-860c428e63fc" providerId="ADAL" clId="{242AD7D2-E2B2-45C9-BF48-870C55190AE3}" dt="2021-06-17T07:59:25.750" v="177"/>
          <ac:spMkLst>
            <pc:docMk/>
            <pc:sldMk cId="3224072654" sldId="256"/>
            <ac:spMk id="4" creationId="{DF145C66-2826-4584-9C29-CC34738A5AD4}"/>
          </ac:spMkLst>
        </pc:spChg>
        <pc:spChg chg="add del mod">
          <ac:chgData name="Aneta Wieczerzak-Krusińska" userId="012866bf-b099-490d-83a4-860c428e63fc" providerId="ADAL" clId="{242AD7D2-E2B2-45C9-BF48-870C55190AE3}" dt="2021-06-17T07:59:42.226" v="179"/>
          <ac:spMkLst>
            <pc:docMk/>
            <pc:sldMk cId="3224072654" sldId="256"/>
            <ac:spMk id="6" creationId="{995B5A13-1695-4B6A-AC59-EA27F650ACDC}"/>
          </ac:spMkLst>
        </pc:spChg>
      </pc:sldChg>
      <pc:sldChg chg="modSp mod">
        <pc:chgData name="Aneta Wieczerzak-Krusińska" userId="012866bf-b099-490d-83a4-860c428e63fc" providerId="ADAL" clId="{242AD7D2-E2B2-45C9-BF48-870C55190AE3}" dt="2021-06-17T07:58:46.022" v="173" actId="20577"/>
        <pc:sldMkLst>
          <pc:docMk/>
          <pc:sldMk cId="1487033317" sldId="259"/>
        </pc:sldMkLst>
        <pc:spChg chg="mod">
          <ac:chgData name="Aneta Wieczerzak-Krusińska" userId="012866bf-b099-490d-83a4-860c428e63fc" providerId="ADAL" clId="{242AD7D2-E2B2-45C9-BF48-870C55190AE3}" dt="2021-06-17T07:58:46.022" v="173" actId="20577"/>
          <ac:spMkLst>
            <pc:docMk/>
            <pc:sldMk cId="1487033317" sldId="259"/>
            <ac:spMk id="2" creationId="{5EA58CD9-26CB-46D1-B4EF-77285D87E880}"/>
          </ac:spMkLst>
        </pc:spChg>
      </pc:sldChg>
      <pc:sldChg chg="new del">
        <pc:chgData name="Aneta Wieczerzak-Krusińska" userId="012866bf-b099-490d-83a4-860c428e63fc" providerId="ADAL" clId="{242AD7D2-E2B2-45C9-BF48-870C55190AE3}" dt="2021-06-17T07:59:09.932" v="175" actId="680"/>
        <pc:sldMkLst>
          <pc:docMk/>
          <pc:sldMk cId="2959820235" sldId="290"/>
        </pc:sldMkLst>
      </pc:sldChg>
    </pc:docChg>
  </pc:docChgLst>
  <pc:docChgLst>
    <pc:chgData name="Aneta Wieczerzak-Krusińska" userId="012866bf-b099-490d-83a4-860c428e63fc" providerId="ADAL" clId="{163DA4FD-313B-4002-9D19-C99C8C8202D2}"/>
    <pc:docChg chg="undo custSel addSld modSld addMainMaster modMainMaster modSection">
      <pc:chgData name="Aneta Wieczerzak-Krusińska" userId="012866bf-b099-490d-83a4-860c428e63fc" providerId="ADAL" clId="{163DA4FD-313B-4002-9D19-C99C8C8202D2}" dt="2021-06-16T06:39:38.095" v="9" actId="478"/>
      <pc:docMkLst>
        <pc:docMk/>
      </pc:docMkLst>
      <pc:sldChg chg="delSp modSp add mod">
        <pc:chgData name="Aneta Wieczerzak-Krusińska" userId="012866bf-b099-490d-83a4-860c428e63fc" providerId="ADAL" clId="{163DA4FD-313B-4002-9D19-C99C8C8202D2}" dt="2021-06-16T06:39:38.095" v="9" actId="478"/>
        <pc:sldMkLst>
          <pc:docMk/>
          <pc:sldMk cId="3337726971" sldId="289"/>
        </pc:sldMkLst>
        <pc:spChg chg="mod">
          <ac:chgData name="Aneta Wieczerzak-Krusińska" userId="012866bf-b099-490d-83a4-860c428e63fc" providerId="ADAL" clId="{163DA4FD-313B-4002-9D19-C99C8C8202D2}" dt="2021-06-16T06:39:13.978" v="6" actId="113"/>
          <ac:spMkLst>
            <pc:docMk/>
            <pc:sldMk cId="3337726971" sldId="289"/>
            <ac:spMk id="4" creationId="{03247B23-0912-45BB-8C10-2069720B50D8}"/>
          </ac:spMkLst>
        </pc:spChg>
        <pc:spChg chg="del">
          <ac:chgData name="Aneta Wieczerzak-Krusińska" userId="012866bf-b099-490d-83a4-860c428e63fc" providerId="ADAL" clId="{163DA4FD-313B-4002-9D19-C99C8C8202D2}" dt="2021-06-16T06:39:27.924" v="7" actId="478"/>
          <ac:spMkLst>
            <pc:docMk/>
            <pc:sldMk cId="3337726971" sldId="289"/>
            <ac:spMk id="10" creationId="{22B9EFC6-112E-4314-8470-2642537F4C39}"/>
          </ac:spMkLst>
        </pc:spChg>
        <pc:spChg chg="del">
          <ac:chgData name="Aneta Wieczerzak-Krusińska" userId="012866bf-b099-490d-83a4-860c428e63fc" providerId="ADAL" clId="{163DA4FD-313B-4002-9D19-C99C8C8202D2}" dt="2021-06-16T06:39:38.095" v="9" actId="478"/>
          <ac:spMkLst>
            <pc:docMk/>
            <pc:sldMk cId="3337726971" sldId="289"/>
            <ac:spMk id="11" creationId="{EC0E9ECA-7610-47D0-90D0-832E1C3E96CA}"/>
          </ac:spMkLst>
        </pc:spChg>
        <pc:spChg chg="del">
          <ac:chgData name="Aneta Wieczerzak-Krusińska" userId="012866bf-b099-490d-83a4-860c428e63fc" providerId="ADAL" clId="{163DA4FD-313B-4002-9D19-C99C8C8202D2}" dt="2021-06-16T06:39:32.499" v="8" actId="478"/>
          <ac:spMkLst>
            <pc:docMk/>
            <pc:sldMk cId="3337726971" sldId="289"/>
            <ac:spMk id="12" creationId="{7994363F-7E39-4326-A349-37427E1787B0}"/>
          </ac:spMkLst>
        </pc:spChg>
      </pc:sldChg>
      <pc:sldMasterChg chg="modSp add addSldLayout">
        <pc:chgData name="Aneta Wieczerzak-Krusińska" userId="012866bf-b099-490d-83a4-860c428e63fc" providerId="ADAL" clId="{163DA4FD-313B-4002-9D19-C99C8C8202D2}" dt="2021-06-16T06:38:41.726" v="1"/>
        <pc:sldMasterMkLst>
          <pc:docMk/>
          <pc:sldMasterMk cId="180999990" sldId="2147483742"/>
        </pc:sldMasterMkLst>
        <pc:spChg chg="mod">
          <ac:chgData name="Aneta Wieczerzak-Krusińska" userId="012866bf-b099-490d-83a4-860c428e63fc" providerId="ADAL" clId="{163DA4FD-313B-4002-9D19-C99C8C8202D2}" dt="2021-06-16T06:38:41.726" v="1"/>
          <ac:spMkLst>
            <pc:docMk/>
            <pc:sldMasterMk cId="180999990" sldId="2147483742"/>
            <ac:spMk id="2" creationId="{00000000-0000-0000-0000-000000000000}"/>
          </ac:spMkLst>
        </pc:spChg>
        <pc:spChg chg="mod">
          <ac:chgData name="Aneta Wieczerzak-Krusińska" userId="012866bf-b099-490d-83a4-860c428e63fc" providerId="ADAL" clId="{163DA4FD-313B-4002-9D19-C99C8C8202D2}" dt="2021-06-16T06:38:41.726" v="1"/>
          <ac:spMkLst>
            <pc:docMk/>
            <pc:sldMasterMk cId="180999990" sldId="2147483742"/>
            <ac:spMk id="3" creationId="{00000000-0000-0000-0000-000000000000}"/>
          </ac:spMkLst>
        </pc:spChg>
        <pc:spChg chg="mod">
          <ac:chgData name="Aneta Wieczerzak-Krusińska" userId="012866bf-b099-490d-83a4-860c428e63fc" providerId="ADAL" clId="{163DA4FD-313B-4002-9D19-C99C8C8202D2}" dt="2021-06-16T06:38:41.726" v="1"/>
          <ac:spMkLst>
            <pc:docMk/>
            <pc:sldMasterMk cId="180999990" sldId="2147483742"/>
            <ac:spMk id="6" creationId="{00000000-0000-0000-0000-000000000000}"/>
          </ac:spMkLst>
        </pc:spChg>
        <pc:spChg chg="mod">
          <ac:chgData name="Aneta Wieczerzak-Krusińska" userId="012866bf-b099-490d-83a4-860c428e63fc" providerId="ADAL" clId="{163DA4FD-313B-4002-9D19-C99C8C8202D2}" dt="2021-06-16T06:38:41.726" v="1"/>
          <ac:spMkLst>
            <pc:docMk/>
            <pc:sldMasterMk cId="180999990" sldId="2147483742"/>
            <ac:spMk id="9" creationId="{AB618018-A126-4E13-B4A2-591A064ED423}"/>
          </ac:spMkLst>
        </pc:spChg>
        <pc:spChg chg="mod">
          <ac:chgData name="Aneta Wieczerzak-Krusińska" userId="012866bf-b099-490d-83a4-860c428e63fc" providerId="ADAL" clId="{163DA4FD-313B-4002-9D19-C99C8C8202D2}" dt="2021-06-16T06:38:41.726" v="1"/>
          <ac:spMkLst>
            <pc:docMk/>
            <pc:sldMasterMk cId="180999990" sldId="2147483742"/>
            <ac:spMk id="11" creationId="{E6C61017-E9EE-48D0-B222-079BF55D563B}"/>
          </ac:spMkLst>
        </pc:spChg>
        <pc:grpChg chg="mod">
          <ac:chgData name="Aneta Wieczerzak-Krusińska" userId="012866bf-b099-490d-83a4-860c428e63fc" providerId="ADAL" clId="{163DA4FD-313B-4002-9D19-C99C8C8202D2}" dt="2021-06-16T06:38:41.726" v="1"/>
          <ac:grpSpMkLst>
            <pc:docMk/>
            <pc:sldMasterMk cId="180999990" sldId="2147483742"/>
            <ac:grpSpMk id="1" creationId="{00000000-0000-0000-0000-000000000000}"/>
          </ac:grpSpMkLst>
        </pc:grpChg>
        <pc:graphicFrameChg chg="mod">
          <ac:chgData name="Aneta Wieczerzak-Krusińska" userId="012866bf-b099-490d-83a4-860c428e63fc" providerId="ADAL" clId="{163DA4FD-313B-4002-9D19-C99C8C8202D2}" dt="2021-06-16T06:38:41.726" v="1"/>
          <ac:graphicFrameMkLst>
            <pc:docMk/>
            <pc:sldMasterMk cId="180999990" sldId="2147483742"/>
            <ac:graphicFrameMk id="10" creationId="{00000000-0000-0000-0000-000000000000}"/>
          </ac:graphicFrameMkLst>
        </pc:graphicFrameChg>
        <pc:picChg chg="mod">
          <ac:chgData name="Aneta Wieczerzak-Krusińska" userId="012866bf-b099-490d-83a4-860c428e63fc" providerId="ADAL" clId="{163DA4FD-313B-4002-9D19-C99C8C8202D2}" dt="2021-06-16T06:38:41.726" v="1"/>
          <ac:picMkLst>
            <pc:docMk/>
            <pc:sldMasterMk cId="180999990" sldId="2147483742"/>
            <ac:picMk id="7" creationId="{95299906-9323-46A1-8992-1A6CFEDA2FB3}"/>
          </ac:picMkLst>
        </pc:picChg>
        <pc:sldLayoutChg chg="add">
          <pc:chgData name="Aneta Wieczerzak-Krusińska" userId="012866bf-b099-490d-83a4-860c428e63fc" providerId="ADAL" clId="{163DA4FD-313B-4002-9D19-C99C8C8202D2}" dt="2021-06-16T06:38:41.726" v="0" actId="27028"/>
          <pc:sldLayoutMkLst>
            <pc:docMk/>
            <pc:sldMasterMk cId="180999990" sldId="2147483742"/>
            <pc:sldLayoutMk cId="2855425192" sldId="2147483743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da-DK" sz="1600" b="1" i="0" u="none" strike="noStrike" kern="1200" cap="all" baseline="0" dirty="0" smtClean="0">
                <a:solidFill>
                  <a:srgbClr val="00B0F0"/>
                </a:solidFill>
                <a:latin typeface="+mn-lt"/>
                <a:ea typeface="+mn-ea"/>
                <a:cs typeface="+mn-cs"/>
                <a:sym typeface="Orsted Sans Office" panose="00000500000000000000" pitchFamily="2" charset="0"/>
              </a:defRPr>
            </a:pPr>
            <a:r>
              <a:rPr lang="pl-PL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  <a:sym typeface="Orsted Sans Office" panose="00000500000000000000" pitchFamily="2" charset="0"/>
              </a:rPr>
              <a:t>Projekty </a:t>
            </a:r>
            <a:r>
              <a:rPr lang="da-DK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  <a:sym typeface="Orsted Sans Office" panose="00000500000000000000" pitchFamily="2" charset="0"/>
              </a:rPr>
              <a:t>PGE-Ørsted </a:t>
            </a:r>
            <a:r>
              <a:rPr lang="pl-PL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  <a:sym typeface="Orsted Sans Office" panose="00000500000000000000" pitchFamily="2" charset="0"/>
              </a:rPr>
              <a:t>stanowią ponad</a:t>
            </a:r>
            <a:r>
              <a:rPr lang="pl-PL" sz="1200" b="1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  <a:sym typeface="Orsted Sans Office" panose="00000500000000000000" pitchFamily="2" charset="0"/>
              </a:rPr>
              <a:t> </a:t>
            </a:r>
            <a:r>
              <a:rPr lang="da-DK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  <a:sym typeface="Orsted Sans Office" panose="00000500000000000000" pitchFamily="2" charset="0"/>
              </a:rPr>
              <a:t>40% </a:t>
            </a:r>
            <a:r>
              <a:rPr lang="pl-PL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  <a:sym typeface="Orsted Sans Office" panose="00000500000000000000" pitchFamily="2" charset="0"/>
              </a:rPr>
              <a:t>mocy z</a:t>
            </a:r>
            <a:r>
              <a:rPr lang="pl-PL" sz="1200" b="1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  <a:sym typeface="Orsted Sans Office" panose="00000500000000000000" pitchFamily="2" charset="0"/>
              </a:rPr>
              <a:t> zabezpieczonym kontraktem spośród </a:t>
            </a:r>
            <a:r>
              <a:rPr lang="da-DK" sz="12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  <a:sym typeface="Orsted Sans Office" panose="00000500000000000000" pitchFamily="2" charset="0"/>
              </a:rPr>
              <a:t>5.9GW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da-DK" sz="1600" b="1" i="0" u="none" strike="noStrike" kern="1200" cap="all" baseline="0" dirty="0" smtClean="0">
              <a:solidFill>
                <a:srgbClr val="00B0F0"/>
              </a:solidFill>
              <a:latin typeface="+mn-lt"/>
              <a:ea typeface="+mn-ea"/>
              <a:cs typeface="+mn-cs"/>
              <a:sym typeface="Orsted Sans Office" panose="00000500000000000000" pitchFamily="2" charset="0"/>
            </a:defRPr>
          </a:pPr>
          <a:endParaRPr lang="pl-PL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8934-4DD0-992A-ED8CBF80461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8934-4DD0-992A-ED8CBF80461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5-8934-4DD0-992A-ED8CBF80461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7-8934-4DD0-992A-ED8CBF80461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9-8934-4DD0-992A-ED8CBF80461E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8934-4DD0-992A-ED8CBF80461E}"/>
                </c:ext>
              </c:extLst>
            </c:dLbl>
            <c:dLbl>
              <c:idx val="1"/>
              <c:layout>
                <c:manualLayout>
                  <c:x val="5.7350005939946089E-2"/>
                  <c:y val="-1.4276183574762645E-1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916218275998378"/>
                      <c:h val="0.1788462576372983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8934-4DD0-992A-ED8CBF80461E}"/>
                </c:ext>
              </c:extLst>
            </c:dLbl>
            <c:dLbl>
              <c:idx val="2"/>
              <c:layout>
                <c:manualLayout>
                  <c:x val="0"/>
                  <c:y val="6.8612865950277123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2A71007-5122-4DE9-B1F8-4DD3755EB54E}" type="CATEGORYNAME">
                      <a:rPr lang="en-US">
                        <a:solidFill>
                          <a:schemeClr val="accent3">
                            <a:lumMod val="60000"/>
                            <a:lumOff val="40000"/>
                          </a:schemeClr>
                        </a:solidFill>
                      </a:rPr>
                      <a:pPr>
                        <a:defRPr>
                          <a:solidFill>
                            <a:schemeClr val="accent1"/>
                          </a:solidFill>
                        </a:defRPr>
                      </a:pPr>
                      <a:t>[CATEGORY NAME]</a:t>
                    </a:fld>
                    <a:endParaRPr lang="en-GB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8934-4DD0-992A-ED8CBF80461E}"/>
                </c:ext>
              </c:extLst>
            </c:dLbl>
            <c:dLbl>
              <c:idx val="3"/>
              <c:layout>
                <c:manualLayout>
                  <c:x val="0.10855002557766263"/>
                  <c:y val="-3.329758305021418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C72541C-9209-45BC-813C-227E5043FCA7}" type="CATEGORYNAME">
                      <a:rPr lang="en-US" smtClean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</a:rPr>
                      <a:pPr>
                        <a:defRPr>
                          <a:solidFill>
                            <a:schemeClr val="accent1"/>
                          </a:solidFill>
                        </a:defRPr>
                      </a:pPr>
                      <a:t>[CATEGORY NAME]</a:t>
                    </a:fld>
                    <a:endParaRPr lang="en-GB"/>
                  </a:p>
                </c:rich>
              </c:tx>
              <c:spPr>
                <a:noFill/>
                <a:ln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109170651525247"/>
                      <c:h val="9.5687408750285433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8934-4DD0-992A-ED8CBF80461E}"/>
                </c:ext>
              </c:extLst>
            </c:dLbl>
            <c:dLbl>
              <c:idx val="4"/>
              <c:layout>
                <c:manualLayout>
                  <c:x val="0.27932621377542427"/>
                  <c:y val="4.110171895999780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254510786510307"/>
                      <c:h val="0.1257197574568134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8934-4DD0-992A-ED8CBF80461E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PGE-Ørsted</c:v>
                </c:pt>
                <c:pt idx="1">
                  <c:v>Polenergia-Equinor</c:v>
                </c:pt>
                <c:pt idx="2">
                  <c:v>PKN Orlen-Northland Power</c:v>
                </c:pt>
                <c:pt idx="3">
                  <c:v>Ocean Winds</c:v>
                </c:pt>
                <c:pt idx="4">
                  <c:v>RWE Renewables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543</c:v>
                </c:pt>
                <c:pt idx="1">
                  <c:v>1440</c:v>
                </c:pt>
                <c:pt idx="2">
                  <c:v>1200</c:v>
                </c:pt>
                <c:pt idx="3">
                  <c:v>400</c:v>
                </c:pt>
                <c:pt idx="4">
                  <c:v>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934-4DD0-992A-ED8CBF80461E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l">
              <a:defRPr sz="11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r">
              <a:defRPr sz="1100"/>
            </a:lvl1pPr>
          </a:lstStyle>
          <a:p>
            <a:fld id="{5D8382C0-1D05-4229-918E-CDD7B7E48B4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r">
              <a:defRPr sz="1100"/>
            </a:lvl1pPr>
          </a:lstStyle>
          <a:p>
            <a:fld id="{13F6AEEE-E778-402E-8B8F-9A98AED26EB8}" type="datetimeFigureOut">
              <a:rPr lang="en-GB" smtClean="0"/>
              <a:t>17/06/2021</a:t>
            </a:fld>
            <a:endParaRPr lang="en-GB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l">
              <a:defRPr sz="11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09" tIns="45705" rIns="91409" bIns="45705" rtlCol="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r">
              <a:defRPr sz="1100"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1386E511-D742-4EFE-90B5-C9FC42762E0F}" type="datetimeFigureOut">
              <a:rPr lang="en-GB" smtClean="0"/>
              <a:pPr/>
              <a:t>17/06/2021</a:t>
            </a:fld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r">
              <a:defRPr sz="1100"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l" eaLnBrk="1">
              <a:defRPr sz="1100"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49950" cy="3348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9" tIns="45705" rIns="91409" bIns="45705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l" eaLnBrk="1">
              <a:defRPr sz="1100"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1pPr>
    <a:lvl2pPr marL="311024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2pPr>
    <a:lvl3pPr marL="622048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3pPr>
    <a:lvl4pPr marL="933073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4pPr>
    <a:lvl5pPr marL="1244097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5pPr>
    <a:lvl6pPr marL="1555121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67978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63105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5718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1971440"/>
              </p:ext>
            </p:extLst>
          </p:nvPr>
        </p:nvGraphicFramePr>
        <p:xfrm>
          <a:off x="1359" y="1081"/>
          <a:ext cx="1357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59" y="1081"/>
                        <a:ext cx="1357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3387" y="446400"/>
            <a:ext cx="8278611" cy="1482689"/>
          </a:xfrm>
        </p:spPr>
        <p:txBody>
          <a:bodyPr anchor="t"/>
          <a:lstStyle>
            <a:lvl1pPr algn="l" eaLnBrk="1">
              <a:lnSpc>
                <a:spcPct val="85000"/>
              </a:lnSpc>
              <a:defRPr sz="5400">
                <a:solidFill>
                  <a:schemeClr val="accent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1999" y="2010217"/>
            <a:ext cx="8280000" cy="540000"/>
          </a:xfrm>
        </p:spPr>
        <p:txBody>
          <a:bodyPr/>
          <a:lstStyle>
            <a:lvl1pPr marL="0" indent="0" algn="l" eaLnBrk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b="0" baseline="0">
                <a:solidFill>
                  <a:srgbClr val="8ECDC8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5629557" y="4587844"/>
            <a:ext cx="3078842" cy="195951"/>
          </a:xfrm>
          <a:prstGeom prst="rect">
            <a:avLst/>
          </a:prstGeom>
        </p:spPr>
        <p:txBody>
          <a:bodyPr lIns="0" tIns="0" rIns="0" bIns="0" anchor="t" anchorCtr="0"/>
          <a:lstStyle>
            <a:lvl1pPr algn="r" eaLnBrk="1">
              <a:lnSpc>
                <a:spcPct val="95000"/>
              </a:lnSpc>
              <a:defRPr sz="1500">
                <a:solidFill>
                  <a:schemeClr val="accent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5184000"/>
            <a:ext cx="0" cy="0"/>
          </a:xfrm>
        </p:spPr>
        <p:txBody>
          <a:bodyPr/>
          <a:lstStyle>
            <a:lvl1pPr>
              <a:defRPr>
                <a:noFill/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629557" y="4135648"/>
            <a:ext cx="3078842" cy="410631"/>
          </a:xfrm>
        </p:spPr>
        <p:txBody>
          <a:bodyPr anchor="b" anchorCtr="0"/>
          <a:lstStyle>
            <a:lvl1pPr algn="r">
              <a:lnSpc>
                <a:spcPct val="95000"/>
              </a:lnSpc>
              <a:spcBef>
                <a:spcPts val="0"/>
              </a:spcBef>
              <a:defRPr sz="1500" b="1" baseline="0">
                <a:solidFill>
                  <a:schemeClr val="accent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A050C0-38F0-49A6-A553-929E2058C4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1999" y="4436183"/>
            <a:ext cx="1224000" cy="334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277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1" userDrawn="1">
          <p15:clr>
            <a:srgbClr val="FBAE40"/>
          </p15:clr>
        </p15:guide>
        <p15:guide id="7" pos="5488" userDrawn="1">
          <p15:clr>
            <a:srgbClr val="FBAE40"/>
          </p15:clr>
        </p15:guide>
        <p15:guide id="8" orient="horz" pos="305" userDrawn="1">
          <p15:clr>
            <a:srgbClr val="FBAE40"/>
          </p15:clr>
        </p15:guide>
        <p15:guide id="10" orient="horz" pos="1416" userDrawn="1">
          <p15:clr>
            <a:srgbClr val="FBAE40"/>
          </p15:clr>
        </p15:guide>
        <p15:guide id="11" orient="horz" pos="300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1CE1261-4BC7-47C2-8877-843B910A6B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2771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1CE1261-4BC7-47C2-8877-843B910A6B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Grå baggrund 3">
            <a:extLst>
              <a:ext uri="{FF2B5EF4-FFF2-40B4-BE49-F238E27FC236}">
                <a16:creationId xmlns:a16="http://schemas.microsoft.com/office/drawing/2014/main" id="{8FFB5C05-F3FA-418B-B7EB-104AB9586026}"/>
              </a:ext>
            </a:extLst>
          </p:cNvPr>
          <p:cNvSpPr/>
          <p:nvPr userDrawn="1"/>
        </p:nvSpPr>
        <p:spPr>
          <a:xfrm>
            <a:off x="4618263" y="832792"/>
            <a:ext cx="4525897" cy="18247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600"/>
              </a:spcBef>
            </a:pPr>
            <a:endParaRPr lang="en-GB" sz="10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5" name="Grå baggrund 4">
            <a:extLst>
              <a:ext uri="{FF2B5EF4-FFF2-40B4-BE49-F238E27FC236}">
                <a16:creationId xmlns:a16="http://schemas.microsoft.com/office/drawing/2014/main" id="{78993520-EB69-4830-94B5-D53B7E70DCD1}"/>
              </a:ext>
            </a:extLst>
          </p:cNvPr>
          <p:cNvSpPr/>
          <p:nvPr userDrawn="1"/>
        </p:nvSpPr>
        <p:spPr>
          <a:xfrm>
            <a:off x="4618263" y="2731071"/>
            <a:ext cx="4525897" cy="18247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600"/>
              </a:spcBef>
            </a:pPr>
            <a:endParaRPr lang="en-GB" sz="10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2" name="Grå baggrund 1"/>
          <p:cNvSpPr/>
          <p:nvPr userDrawn="1"/>
        </p:nvSpPr>
        <p:spPr>
          <a:xfrm>
            <a:off x="0" y="832794"/>
            <a:ext cx="4525897" cy="37230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8269"/>
            <a:ext cx="3888000" cy="3312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57738C9-DA24-4CF0-8DAD-EA13572AF5D6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4825421" y="2900027"/>
            <a:ext cx="3888000" cy="1440242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4BB4B54-94C1-4B8F-955D-4A138B4885B3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5421" y="1028269"/>
            <a:ext cx="3888000" cy="1440242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2334051-2DCD-4BF5-8E3B-66EFA5476E0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5B9EBBF-7DC2-4775-93C3-5633EE2D8A7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DA77958-D1EC-4B20-B77D-1687DE4961AC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85EB232F-6CFF-4FB5-A0AA-03B7A38444A8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558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3" userDrawn="1">
          <p15:clr>
            <a:srgbClr val="FBAE40"/>
          </p15:clr>
        </p15:guide>
        <p15:guide id="2" pos="272" userDrawn="1">
          <p15:clr>
            <a:srgbClr val="FBAE40"/>
          </p15:clr>
        </p15:guide>
        <p15:guide id="3" pos="2721" userDrawn="1">
          <p15:clr>
            <a:srgbClr val="FBAE40"/>
          </p15:clr>
        </p15:guide>
        <p15:guide id="4" pos="3039" userDrawn="1">
          <p15:clr>
            <a:srgbClr val="FBAE40"/>
          </p15:clr>
        </p15:guide>
        <p15:guide id="5" pos="5489" userDrawn="1">
          <p15:clr>
            <a:srgbClr val="FBAE40"/>
          </p15:clr>
        </p15:guide>
        <p15:guide id="6" orient="horz" pos="523" userDrawn="1">
          <p15:clr>
            <a:srgbClr val="FBAE40"/>
          </p15:clr>
        </p15:guide>
        <p15:guide id="7" orient="horz" pos="647" userDrawn="1">
          <p15:clr>
            <a:srgbClr val="FBAE40"/>
          </p15:clr>
        </p15:guide>
        <p15:guide id="8" orient="horz" pos="1555" userDrawn="1">
          <p15:clr>
            <a:srgbClr val="FBAE40"/>
          </p15:clr>
        </p15:guide>
        <p15:guide id="9" orient="horz" pos="1826" userDrawn="1">
          <p15:clr>
            <a:srgbClr val="FBAE40"/>
          </p15:clr>
        </p15:guide>
        <p15:guide id="10" orient="horz" pos="275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5737933"/>
              </p:ext>
            </p:extLst>
          </p:nvPr>
        </p:nvGraphicFramePr>
        <p:xfrm>
          <a:off x="1359" y="1081"/>
          <a:ext cx="1357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59" y="1081"/>
                        <a:ext cx="1357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rå baggrund 1"/>
          <p:cNvSpPr/>
          <p:nvPr userDrawn="1"/>
        </p:nvSpPr>
        <p:spPr>
          <a:xfrm>
            <a:off x="0" y="832792"/>
            <a:ext cx="4525897" cy="18247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600"/>
              </a:spcBef>
            </a:pPr>
            <a:endParaRPr lang="en-GB" sz="10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8" name="Grå baggrund 2"/>
          <p:cNvSpPr/>
          <p:nvPr userDrawn="1"/>
        </p:nvSpPr>
        <p:spPr>
          <a:xfrm>
            <a:off x="0" y="2731071"/>
            <a:ext cx="4525897" cy="18247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600"/>
              </a:spcBef>
            </a:pPr>
            <a:endParaRPr lang="en-GB" sz="10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3" name="Grå baggrund 3"/>
          <p:cNvSpPr/>
          <p:nvPr userDrawn="1"/>
        </p:nvSpPr>
        <p:spPr>
          <a:xfrm>
            <a:off x="4618263" y="832792"/>
            <a:ext cx="4525897" cy="18247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600"/>
              </a:spcBef>
            </a:pPr>
            <a:endParaRPr lang="en-GB" sz="10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9" name="Grå baggrund 4"/>
          <p:cNvSpPr/>
          <p:nvPr userDrawn="1"/>
        </p:nvSpPr>
        <p:spPr>
          <a:xfrm>
            <a:off x="4618263" y="2731071"/>
            <a:ext cx="4525897" cy="18247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600"/>
              </a:spcBef>
            </a:pPr>
            <a:endParaRPr lang="en-GB" sz="10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8269"/>
            <a:ext cx="3887589" cy="1440242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31" hasCustomPrompt="1"/>
          </p:nvPr>
        </p:nvSpPr>
        <p:spPr>
          <a:xfrm>
            <a:off x="431999" y="2920628"/>
            <a:ext cx="3887589" cy="1440242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32" hasCustomPrompt="1"/>
          </p:nvPr>
        </p:nvSpPr>
        <p:spPr>
          <a:xfrm>
            <a:off x="4824412" y="2920628"/>
            <a:ext cx="3885772" cy="1440242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33" hasCustomPrompt="1"/>
          </p:nvPr>
        </p:nvSpPr>
        <p:spPr>
          <a:xfrm>
            <a:off x="4824412" y="1028269"/>
            <a:ext cx="3885771" cy="1440242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6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BB1C826-8422-4628-93A8-315ECBAB13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33B0E5D-0517-4B25-9FCC-D7B9FC98149A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49165C3-E25F-41B6-BC7F-347083ABD968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DE8F254-B60D-4782-823F-CC065B311C0A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B6D4C96D-A5C6-462E-A726-3A3CDB7C1B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5021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7" userDrawn="1">
          <p15:clr>
            <a:srgbClr val="FBAE40"/>
          </p15:clr>
        </p15:guide>
        <p15:guide id="2" pos="2721" userDrawn="1">
          <p15:clr>
            <a:srgbClr val="FBAE40"/>
          </p15:clr>
        </p15:guide>
        <p15:guide id="3" pos="272" userDrawn="1">
          <p15:clr>
            <a:srgbClr val="FBAE40"/>
          </p15:clr>
        </p15:guide>
        <p15:guide id="4" pos="3039" userDrawn="1">
          <p15:clr>
            <a:srgbClr val="FBAE40"/>
          </p15:clr>
        </p15:guide>
        <p15:guide id="5" pos="5489" userDrawn="1">
          <p15:clr>
            <a:srgbClr val="FBAE40"/>
          </p15:clr>
        </p15:guide>
        <p15:guide id="6" orient="horz" pos="522" userDrawn="1">
          <p15:clr>
            <a:srgbClr val="FBAE40"/>
          </p15:clr>
        </p15:guide>
        <p15:guide id="7" orient="horz" pos="647" userDrawn="1">
          <p15:clr>
            <a:srgbClr val="FBAE40"/>
          </p15:clr>
        </p15:guide>
        <p15:guide id="8" orient="horz" pos="1556" userDrawn="1">
          <p15:clr>
            <a:srgbClr val="FBAE40"/>
          </p15:clr>
        </p15:guide>
        <p15:guide id="9" orient="horz" pos="1839" userDrawn="1">
          <p15:clr>
            <a:srgbClr val="FBAE40"/>
          </p15:clr>
        </p15:guide>
        <p15:guide id="10" orient="horz" pos="275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D556C6-991D-4FD9-9393-739D0F8A6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3733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D556C6-991D-4FD9-9393-739D0F8A6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49757780-C244-418D-A0DD-15ED296FE3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EB9224E-8240-41A4-8463-E8525C11C280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8843D8-4A5E-4D36-85EC-8E0B3ADB246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7AC4BD-9E46-441A-8377-B511306FE68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E76D947-08D5-4897-BC99-FA8B3E3B5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3" userDrawn="1">
          <p15:clr>
            <a:srgbClr val="FBAE40"/>
          </p15:clr>
        </p15:guide>
        <p15:guide id="2" pos="272" userDrawn="1">
          <p15:clr>
            <a:srgbClr val="FBAE40"/>
          </p15:clr>
        </p15:guide>
        <p15:guide id="3" pos="5488" userDrawn="1">
          <p15:clr>
            <a:srgbClr val="FBAE40"/>
          </p15:clr>
        </p15:guide>
        <p15:guide id="4" orient="horz" pos="157" userDrawn="1">
          <p15:clr>
            <a:srgbClr val="FBAE40"/>
          </p15:clr>
        </p15:guide>
        <p15:guide id="5" orient="horz" pos="275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55FFAC-2B80-4C30-87FF-D26CF823E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2825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55FFAC-2B80-4C30-87FF-D26CF823E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E3FB5418-216C-4728-B3CC-740A652F46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167CA36-0CF7-457F-AD35-0DBF8E3E5CE6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BDA414A-DE28-4361-92F3-1B3D83E25A91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0414FBA-DB0C-42EF-BD64-F06FD3927723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5761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2" userDrawn="1">
          <p15:clr>
            <a:srgbClr val="FBAE40"/>
          </p15:clr>
        </p15:guide>
        <p15:guide id="2" pos="5488" userDrawn="1">
          <p15:clr>
            <a:srgbClr val="FBAE40"/>
          </p15:clr>
        </p15:guide>
        <p15:guide id="3" orient="horz" pos="146" userDrawn="1">
          <p15:clr>
            <a:srgbClr val="FBAE40"/>
          </p15:clr>
        </p15:guide>
        <p15:guide id="4" orient="horz" pos="531" userDrawn="1">
          <p15:clr>
            <a:srgbClr val="FBAE40"/>
          </p15:clr>
        </p15:guide>
        <p15:guide id="5" orient="horz" pos="645" userDrawn="1">
          <p15:clr>
            <a:srgbClr val="FBAE40"/>
          </p15:clr>
        </p15:guide>
        <p15:guide id="6" orient="horz" pos="275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å baggrund"/>
          <p:cNvSpPr/>
          <p:nvPr userDrawn="1"/>
        </p:nvSpPr>
        <p:spPr>
          <a:xfrm>
            <a:off x="1" y="832794"/>
            <a:ext cx="9144000" cy="37230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32000" y="4561200"/>
            <a:ext cx="280464" cy="367409"/>
          </a:xfrm>
        </p:spPr>
        <p:txBody>
          <a:bodyPr/>
          <a:lstStyle>
            <a:lvl1pPr>
              <a:defRPr>
                <a:latin typeface="+mn-lt"/>
                <a:cs typeface="Arial" panose="020B0604020202020204" pitchFamily="34" charset="0"/>
              </a:defRPr>
            </a:lvl1pPr>
          </a:lstStyle>
          <a:p>
            <a:fld id="{859873C9-BF5D-4A9A-BB31-45BBB7BABAF7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1473490-4682-4A0F-9A69-F3EE4D9FE0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8350" y="1442720"/>
            <a:ext cx="2700000" cy="3103623"/>
          </a:xfrm>
        </p:spPr>
        <p:txBody>
          <a:bodyPr lIns="144000"/>
          <a:lstStyle>
            <a:lvl1pPr marL="216000" indent="-216000">
              <a:buFont typeface="Arial" panose="020B0604020202020204" pitchFamily="34" charset="0"/>
              <a:buChar char="–"/>
              <a:defRPr lang="en-US" sz="1300" b="0" kern="120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sz="1300">
                <a:latin typeface="+mn-lt"/>
              </a:defRPr>
            </a:lvl2pPr>
            <a:lvl3pPr>
              <a:defRPr sz="1300">
                <a:latin typeface="+mn-lt"/>
              </a:defRPr>
            </a:lvl3pPr>
            <a:lvl4pPr>
              <a:defRPr sz="1300">
                <a:latin typeface="+mn-lt"/>
              </a:defRPr>
            </a:lvl4pPr>
            <a:lvl5pPr>
              <a:defRPr sz="1300">
                <a:latin typeface="+mn-lt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0"/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7037721-230C-4ADB-A336-56E9D1DAE99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1999" y="924955"/>
            <a:ext cx="2700000" cy="358352"/>
          </a:xfrm>
          <a:solidFill>
            <a:schemeClr val="accent1"/>
          </a:solidFill>
          <a:ln>
            <a:solidFill>
              <a:srgbClr val="4E9DD4"/>
            </a:solidFill>
          </a:ln>
        </p:spPr>
        <p:txBody>
          <a:bodyPr lIns="144000" anchor="ctr"/>
          <a:lstStyle>
            <a:lvl2pPr marL="216000" indent="0">
              <a:buFontTx/>
              <a:buNone/>
              <a:defRPr/>
            </a:lvl2pPr>
            <a:lvl5pPr marL="0" indent="0" algn="l">
              <a:spcBef>
                <a:spcPts val="0"/>
              </a:spcBef>
              <a:buNone/>
              <a:defRPr sz="1300" b="1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4"/>
            <a:r>
              <a:rPr lang="en-GB" dirty="0"/>
              <a:t>Click to add text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F42BC6C-C33A-47A9-B115-E6A33CA414F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224050" y="1446078"/>
            <a:ext cx="2700000" cy="3103623"/>
          </a:xfrm>
        </p:spPr>
        <p:txBody>
          <a:bodyPr lIns="144000"/>
          <a:lstStyle>
            <a:lvl1pPr marL="216000" indent="-216000">
              <a:buFont typeface="Arial" panose="020B0604020202020204" pitchFamily="34" charset="0"/>
              <a:buChar char="–"/>
              <a:defRPr lang="en-US" sz="1300" b="0" kern="120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sz="1300">
                <a:latin typeface="+mn-lt"/>
              </a:defRPr>
            </a:lvl2pPr>
            <a:lvl3pPr>
              <a:defRPr sz="1300">
                <a:latin typeface="+mn-lt"/>
              </a:defRPr>
            </a:lvl3pPr>
            <a:lvl4pPr>
              <a:defRPr sz="1300">
                <a:latin typeface="+mn-lt"/>
              </a:defRPr>
            </a:lvl4pPr>
            <a:lvl5pPr>
              <a:defRPr sz="1300">
                <a:latin typeface="+mn-lt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0"/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14829F5A-82A9-4D43-8E7E-C0FF87B3C6D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224050" y="924955"/>
            <a:ext cx="2700000" cy="358352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144000" anchor="ctr"/>
          <a:lstStyle>
            <a:lvl2pPr marL="216000" indent="0">
              <a:buFontTx/>
              <a:buNone/>
              <a:defRPr/>
            </a:lvl2pPr>
            <a:lvl5pPr marL="0" indent="0" algn="l">
              <a:spcBef>
                <a:spcPts val="0"/>
              </a:spcBef>
              <a:buNone/>
              <a:defRPr sz="1300" b="1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4"/>
            <a:r>
              <a:rPr lang="en-GB" dirty="0"/>
              <a:t>Click to ad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75F4A6E7-2694-4F77-84E1-D111AD918D2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16102" y="1436553"/>
            <a:ext cx="2700000" cy="3103623"/>
          </a:xfrm>
        </p:spPr>
        <p:txBody>
          <a:bodyPr lIns="144000"/>
          <a:lstStyle>
            <a:lvl1pPr marL="216000" indent="-216000">
              <a:buFont typeface="Arial" panose="020B0604020202020204" pitchFamily="34" charset="0"/>
              <a:buChar char="–"/>
              <a:defRPr lang="en-US" sz="1300" b="0" kern="120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sz="1300">
                <a:latin typeface="+mn-lt"/>
              </a:defRPr>
            </a:lvl2pPr>
            <a:lvl3pPr>
              <a:defRPr sz="1300">
                <a:latin typeface="+mn-lt"/>
              </a:defRPr>
            </a:lvl3pPr>
            <a:lvl4pPr>
              <a:defRPr sz="1300">
                <a:latin typeface="+mn-lt"/>
              </a:defRPr>
            </a:lvl4pPr>
            <a:lvl5pPr>
              <a:defRPr sz="1300">
                <a:latin typeface="+mn-lt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0"/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505838FF-C6AE-4E6C-949A-8456508B505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16102" y="924955"/>
            <a:ext cx="2700000" cy="358352"/>
          </a:xfr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lIns="144000" anchor="ctr"/>
          <a:lstStyle>
            <a:lvl2pPr marL="216000" indent="0">
              <a:buFontTx/>
              <a:buNone/>
              <a:defRPr/>
            </a:lvl2pPr>
            <a:lvl5pPr marL="0" indent="0" algn="l">
              <a:spcBef>
                <a:spcPts val="0"/>
              </a:spcBef>
              <a:buNone/>
              <a:defRPr sz="1300" b="1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4"/>
            <a:r>
              <a:rPr lang="en-GB" dirty="0"/>
              <a:t>Click to add tex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4DC0790-4D40-42E0-9DEC-ED9350127A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+mn-lt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6" name="Date Placeholder 2">
            <a:extLst>
              <a:ext uri="{FF2B5EF4-FFF2-40B4-BE49-F238E27FC236}">
                <a16:creationId xmlns:a16="http://schemas.microsoft.com/office/drawing/2014/main" id="{9B2DC045-E6FE-40E5-A55D-17A83CB46C1C}"/>
              </a:ext>
            </a:extLst>
          </p:cNvPr>
          <p:cNvSpPr>
            <a:spLocks noGrp="1"/>
          </p:cNvSpPr>
          <p:nvPr>
            <p:ph type="dt" sz="half" idx="33"/>
          </p:nvPr>
        </p:nvSpPr>
        <p:spPr>
          <a:xfrm>
            <a:off x="6767977" y="4806187"/>
            <a:ext cx="612000" cy="12242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lnSpc>
                <a:spcPct val="95000"/>
              </a:lnSpc>
            </a:pPr>
            <a:endParaRPr lang="da-DK" dirty="0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68AAB434-9D40-45B7-BFFD-8F57AEAFCDF9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4932000" y="4806187"/>
            <a:ext cx="1800000" cy="12242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lnSpc>
                <a:spcPct val="95000"/>
              </a:lnSpc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55425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5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å baggrund"/>
          <p:cNvSpPr/>
          <p:nvPr userDrawn="1"/>
        </p:nvSpPr>
        <p:spPr>
          <a:xfrm>
            <a:off x="1" y="832794"/>
            <a:ext cx="9144000" cy="37230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32000" y="4561200"/>
            <a:ext cx="280464" cy="367409"/>
          </a:xfrm>
        </p:spPr>
        <p:txBody>
          <a:bodyPr/>
          <a:lstStyle>
            <a:lvl1pPr>
              <a:defRPr>
                <a:latin typeface="+mn-lt"/>
                <a:cs typeface="Arial" panose="020B0604020202020204" pitchFamily="34" charset="0"/>
              </a:defRPr>
            </a:lvl1pPr>
          </a:lstStyle>
          <a:p>
            <a:fld id="{859873C9-BF5D-4A9A-BB31-45BBB7BABAF7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1473490-4682-4A0F-9A69-F3EE4D9FE0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8350" y="1442720"/>
            <a:ext cx="2700000" cy="3103623"/>
          </a:xfrm>
        </p:spPr>
        <p:txBody>
          <a:bodyPr lIns="144000"/>
          <a:lstStyle>
            <a:lvl1pPr marL="216000" indent="-216000">
              <a:buFont typeface="Arial" panose="020B0604020202020204" pitchFamily="34" charset="0"/>
              <a:buChar char="–"/>
              <a:defRPr lang="en-US" sz="1300" b="0" kern="120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sz="1300">
                <a:latin typeface="+mn-lt"/>
              </a:defRPr>
            </a:lvl2pPr>
            <a:lvl3pPr>
              <a:defRPr sz="1300">
                <a:latin typeface="+mn-lt"/>
              </a:defRPr>
            </a:lvl3pPr>
            <a:lvl4pPr>
              <a:defRPr sz="1300">
                <a:latin typeface="+mn-lt"/>
              </a:defRPr>
            </a:lvl4pPr>
            <a:lvl5pPr>
              <a:defRPr sz="1300">
                <a:latin typeface="+mn-lt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0"/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7037721-230C-4ADB-A336-56E9D1DAE99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1999" y="924955"/>
            <a:ext cx="2700000" cy="358352"/>
          </a:xfrm>
          <a:solidFill>
            <a:schemeClr val="accent1"/>
          </a:solidFill>
          <a:ln>
            <a:solidFill>
              <a:srgbClr val="4E9DD4"/>
            </a:solidFill>
          </a:ln>
        </p:spPr>
        <p:txBody>
          <a:bodyPr lIns="144000" anchor="ctr"/>
          <a:lstStyle>
            <a:lvl2pPr marL="216000" indent="0">
              <a:buFontTx/>
              <a:buNone/>
              <a:defRPr/>
            </a:lvl2pPr>
            <a:lvl5pPr marL="0" indent="0" algn="l">
              <a:spcBef>
                <a:spcPts val="0"/>
              </a:spcBef>
              <a:buNone/>
              <a:defRPr sz="1300" b="1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4"/>
            <a:r>
              <a:rPr lang="en-GB" dirty="0"/>
              <a:t>Click to add text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F42BC6C-C33A-47A9-B115-E6A33CA414F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224050" y="1446078"/>
            <a:ext cx="2700000" cy="3103623"/>
          </a:xfrm>
        </p:spPr>
        <p:txBody>
          <a:bodyPr lIns="144000"/>
          <a:lstStyle>
            <a:lvl1pPr marL="216000" indent="-216000">
              <a:buFont typeface="Arial" panose="020B0604020202020204" pitchFamily="34" charset="0"/>
              <a:buChar char="–"/>
              <a:defRPr lang="en-US" sz="1300" b="0" kern="120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sz="1300">
                <a:latin typeface="+mn-lt"/>
              </a:defRPr>
            </a:lvl2pPr>
            <a:lvl3pPr>
              <a:defRPr sz="1300">
                <a:latin typeface="+mn-lt"/>
              </a:defRPr>
            </a:lvl3pPr>
            <a:lvl4pPr>
              <a:defRPr sz="1300">
                <a:latin typeface="+mn-lt"/>
              </a:defRPr>
            </a:lvl4pPr>
            <a:lvl5pPr>
              <a:defRPr sz="1300">
                <a:latin typeface="+mn-lt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0"/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14829F5A-82A9-4D43-8E7E-C0FF87B3C6D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224050" y="924955"/>
            <a:ext cx="2700000" cy="358352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144000" anchor="ctr"/>
          <a:lstStyle>
            <a:lvl2pPr marL="216000" indent="0">
              <a:buFontTx/>
              <a:buNone/>
              <a:defRPr/>
            </a:lvl2pPr>
            <a:lvl5pPr marL="0" indent="0" algn="l">
              <a:spcBef>
                <a:spcPts val="0"/>
              </a:spcBef>
              <a:buNone/>
              <a:defRPr sz="1300" b="1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4"/>
            <a:r>
              <a:rPr lang="en-GB" dirty="0"/>
              <a:t>Click to ad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75F4A6E7-2694-4F77-84E1-D111AD918D2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16102" y="1436553"/>
            <a:ext cx="2700000" cy="3103623"/>
          </a:xfrm>
        </p:spPr>
        <p:txBody>
          <a:bodyPr lIns="144000"/>
          <a:lstStyle>
            <a:lvl1pPr marL="216000" indent="-216000">
              <a:buFont typeface="Arial" panose="020B0604020202020204" pitchFamily="34" charset="0"/>
              <a:buChar char="–"/>
              <a:defRPr lang="en-US" sz="1300" b="0" kern="120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sz="1300">
                <a:latin typeface="+mn-lt"/>
              </a:defRPr>
            </a:lvl2pPr>
            <a:lvl3pPr>
              <a:defRPr sz="1300">
                <a:latin typeface="+mn-lt"/>
              </a:defRPr>
            </a:lvl3pPr>
            <a:lvl4pPr>
              <a:defRPr sz="1300">
                <a:latin typeface="+mn-lt"/>
              </a:defRPr>
            </a:lvl4pPr>
            <a:lvl5pPr>
              <a:defRPr sz="1300">
                <a:latin typeface="+mn-lt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0"/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505838FF-C6AE-4E6C-949A-8456508B505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16102" y="924955"/>
            <a:ext cx="2700000" cy="358352"/>
          </a:xfr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lIns="144000" anchor="ctr"/>
          <a:lstStyle>
            <a:lvl2pPr marL="216000" indent="0">
              <a:buFontTx/>
              <a:buNone/>
              <a:defRPr/>
            </a:lvl2pPr>
            <a:lvl5pPr marL="0" indent="0" algn="l">
              <a:spcBef>
                <a:spcPts val="0"/>
              </a:spcBef>
              <a:buNone/>
              <a:defRPr sz="1300" b="1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4"/>
            <a:r>
              <a:rPr lang="en-GB" dirty="0"/>
              <a:t>Click to add tex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4DC0790-4D40-42E0-9DEC-ED9350127A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+mn-lt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6" name="Date Placeholder 2">
            <a:extLst>
              <a:ext uri="{FF2B5EF4-FFF2-40B4-BE49-F238E27FC236}">
                <a16:creationId xmlns:a16="http://schemas.microsoft.com/office/drawing/2014/main" id="{9B2DC045-E6FE-40E5-A55D-17A83CB46C1C}"/>
              </a:ext>
            </a:extLst>
          </p:cNvPr>
          <p:cNvSpPr>
            <a:spLocks noGrp="1"/>
          </p:cNvSpPr>
          <p:nvPr>
            <p:ph type="dt" sz="half" idx="33"/>
          </p:nvPr>
        </p:nvSpPr>
        <p:spPr>
          <a:xfrm>
            <a:off x="6767977" y="4806187"/>
            <a:ext cx="612000" cy="12242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lnSpc>
                <a:spcPct val="95000"/>
              </a:lnSpc>
            </a:pPr>
            <a:endParaRPr lang="da-DK" dirty="0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68AAB434-9D40-45B7-BFFD-8F57AEAFCDF9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4932000" y="4806187"/>
            <a:ext cx="1800000" cy="122422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lnSpc>
                <a:spcPct val="95000"/>
              </a:lnSpc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55425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5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A6BD60-3B12-41E3-A8F6-42FFDE972E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4821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A6BD60-3B12-41E3-A8F6-42FFDE972E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Grå baggrund"/>
          <p:cNvSpPr/>
          <p:nvPr userDrawn="1"/>
        </p:nvSpPr>
        <p:spPr>
          <a:xfrm>
            <a:off x="1" y="832794"/>
            <a:ext cx="9144000" cy="37230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3388" y="1028256"/>
            <a:ext cx="8278812" cy="3420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6D87ED0A-A3D8-4F4A-A196-7595A36A4E0F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875E95C-C4E6-4CD0-A7E2-46D6189AEBA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51F2DE0-1373-44A0-9FD9-F5984DD85E8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452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522" userDrawn="1">
          <p15:clr>
            <a:srgbClr val="FBAE40"/>
          </p15:clr>
        </p15:guide>
        <p15:guide id="4" orient="horz" pos="158" userDrawn="1">
          <p15:clr>
            <a:srgbClr val="FBAE40"/>
          </p15:clr>
        </p15:guide>
        <p15:guide id="5" orient="horz" pos="2803" userDrawn="1">
          <p15:clr>
            <a:srgbClr val="FBAE40"/>
          </p15:clr>
        </p15:guide>
        <p15:guide id="6" pos="272" userDrawn="1">
          <p15:clr>
            <a:srgbClr val="FBAE40"/>
          </p15:clr>
        </p15:guide>
        <p15:guide id="7" pos="548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A6BD60-3B12-41E3-A8F6-42FFDE972E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1445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A6BD60-3B12-41E3-A8F6-42FFDE972E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3388" y="1028256"/>
            <a:ext cx="8278812" cy="3420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6D87ED0A-A3D8-4F4A-A196-7595A36A4E0F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875E95C-C4E6-4CD0-A7E2-46D6189AEBA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51F2DE0-1373-44A0-9FD9-F5984DD85E8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3076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7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158">
          <p15:clr>
            <a:srgbClr val="FBAE40"/>
          </p15:clr>
        </p15:guide>
        <p15:guide id="5" orient="horz" pos="2803">
          <p15:clr>
            <a:srgbClr val="FBAE40"/>
          </p15:clr>
        </p15:guide>
        <p15:guide id="6" pos="272">
          <p15:clr>
            <a:srgbClr val="FBAE40"/>
          </p15:clr>
        </p15:guide>
        <p15:guide id="7" pos="548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103534F-97C6-4428-9220-5F8A71DCBE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8209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103534F-97C6-4428-9220-5F8A71DCBE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rå baggrund 1"/>
          <p:cNvSpPr/>
          <p:nvPr userDrawn="1"/>
        </p:nvSpPr>
        <p:spPr>
          <a:xfrm>
            <a:off x="0" y="832794"/>
            <a:ext cx="4525897" cy="37230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3" name="Grå baggrund 3"/>
          <p:cNvSpPr/>
          <p:nvPr userDrawn="1"/>
        </p:nvSpPr>
        <p:spPr>
          <a:xfrm>
            <a:off x="4618263" y="832794"/>
            <a:ext cx="4525897" cy="37230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8269"/>
            <a:ext cx="3888000" cy="3312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29" hasCustomPrompt="1"/>
          </p:nvPr>
        </p:nvSpPr>
        <p:spPr>
          <a:xfrm>
            <a:off x="4822186" y="1028269"/>
            <a:ext cx="3888000" cy="3312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9F714630-8AA7-4D22-97B5-AFB4270C37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0C3D4E1-B541-409C-BF48-DBCCB98DC3DA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BDD9F34-6784-45C2-81E2-98EE4E74DD2A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BF032FD-2BC7-48E4-8FA2-9CF16107E191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3AF2ECDF-1B89-4873-8C29-702E24E54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3376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3" userDrawn="1">
          <p15:clr>
            <a:srgbClr val="FBAE40"/>
          </p15:clr>
        </p15:guide>
        <p15:guide id="2" pos="272" userDrawn="1">
          <p15:clr>
            <a:srgbClr val="FBAE40"/>
          </p15:clr>
        </p15:guide>
        <p15:guide id="3" pos="5488" userDrawn="1">
          <p15:clr>
            <a:srgbClr val="FBAE40"/>
          </p15:clr>
        </p15:guide>
        <p15:guide id="4" orient="horz" pos="519" userDrawn="1">
          <p15:clr>
            <a:srgbClr val="FBAE40"/>
          </p15:clr>
        </p15:guide>
        <p15:guide id="5" orient="horz" pos="647" userDrawn="1">
          <p15:clr>
            <a:srgbClr val="FBAE40"/>
          </p15:clr>
        </p15:guide>
        <p15:guide id="6" orient="horz" pos="2747" userDrawn="1">
          <p15:clr>
            <a:srgbClr val="FBAE40"/>
          </p15:clr>
        </p15:guide>
        <p15:guide id="7" pos="2721" userDrawn="1">
          <p15:clr>
            <a:srgbClr val="FBAE40"/>
          </p15:clr>
        </p15:guide>
        <p15:guide id="8" pos="303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4713022-B176-4C51-8927-634F93DA55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057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4713022-B176-4C51-8927-634F93DA55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rå baggrund 1"/>
          <p:cNvSpPr/>
          <p:nvPr userDrawn="1"/>
        </p:nvSpPr>
        <p:spPr>
          <a:xfrm>
            <a:off x="0" y="832794"/>
            <a:ext cx="4525897" cy="3723074"/>
          </a:xfrm>
          <a:prstGeom prst="rect">
            <a:avLst/>
          </a:prstGeom>
          <a:solidFill>
            <a:srgbClr val="644C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3" name="Grå baggrund 3"/>
          <p:cNvSpPr/>
          <p:nvPr userDrawn="1"/>
        </p:nvSpPr>
        <p:spPr>
          <a:xfrm>
            <a:off x="4618263" y="832794"/>
            <a:ext cx="4525897" cy="37230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8269"/>
            <a:ext cx="3888000" cy="3312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29" hasCustomPrompt="1"/>
          </p:nvPr>
        </p:nvSpPr>
        <p:spPr>
          <a:xfrm>
            <a:off x="4822184" y="1028269"/>
            <a:ext cx="3888000" cy="3312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13DD5A5-D967-4803-8CBA-38F4E9006ED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BDB7F10-1CB8-47D5-93F6-C24B91BAF18D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84DB9A7-08F6-4B36-9159-5E51888606E0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562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 userDrawn="1">
          <p15:clr>
            <a:srgbClr val="FBAE40"/>
          </p15:clr>
        </p15:guide>
        <p15:guide id="2" pos="272" userDrawn="1">
          <p15:clr>
            <a:srgbClr val="FBAE40"/>
          </p15:clr>
        </p15:guide>
        <p15:guide id="3" orient="horz" pos="522" userDrawn="1">
          <p15:clr>
            <a:srgbClr val="FBAE40"/>
          </p15:clr>
        </p15:guide>
        <p15:guide id="4" orient="horz" pos="647" userDrawn="1">
          <p15:clr>
            <a:srgbClr val="FBAE40"/>
          </p15:clr>
        </p15:guide>
        <p15:guide id="5" orient="horz" pos="2736" userDrawn="1">
          <p15:clr>
            <a:srgbClr val="FBAE40"/>
          </p15:clr>
        </p15:guide>
        <p15:guide id="6" pos="2721" userDrawn="1">
          <p15:clr>
            <a:srgbClr val="FBAE40"/>
          </p15:clr>
        </p15:guide>
        <p15:guide id="7" pos="3039" userDrawn="1">
          <p15:clr>
            <a:srgbClr val="FBAE40"/>
          </p15:clr>
        </p15:guide>
        <p15:guide id="8" pos="548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4713022-B176-4C51-8927-634F93DA55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9409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4713022-B176-4C51-8927-634F93DA55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rå baggrund 1"/>
          <p:cNvSpPr/>
          <p:nvPr userDrawn="1"/>
        </p:nvSpPr>
        <p:spPr>
          <a:xfrm>
            <a:off x="0" y="832794"/>
            <a:ext cx="4525897" cy="37230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3" name="Grå baggrund 3"/>
          <p:cNvSpPr/>
          <p:nvPr userDrawn="1"/>
        </p:nvSpPr>
        <p:spPr>
          <a:xfrm>
            <a:off x="4618263" y="832794"/>
            <a:ext cx="4525897" cy="37230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8269"/>
            <a:ext cx="3888000" cy="3312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29" hasCustomPrompt="1"/>
          </p:nvPr>
        </p:nvSpPr>
        <p:spPr>
          <a:xfrm>
            <a:off x="4822184" y="1028269"/>
            <a:ext cx="3888000" cy="3312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13DD5A5-D967-4803-8CBA-38F4E9006ED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BDB7F10-1CB8-47D5-93F6-C24B91BAF18D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84DB9A7-08F6-4B36-9159-5E51888606E0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13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647">
          <p15:clr>
            <a:srgbClr val="FBAE40"/>
          </p15:clr>
        </p15:guide>
        <p15:guide id="5" orient="horz" pos="2736">
          <p15:clr>
            <a:srgbClr val="FBAE40"/>
          </p15:clr>
        </p15:guide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  <p15:guide id="8" pos="548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4713022-B176-4C51-8927-634F93DA55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4713022-B176-4C51-8927-634F93DA55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rå baggrund 1"/>
          <p:cNvSpPr/>
          <p:nvPr userDrawn="1"/>
        </p:nvSpPr>
        <p:spPr>
          <a:xfrm>
            <a:off x="0" y="832794"/>
            <a:ext cx="4525897" cy="3723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3" name="Grå baggrund 3"/>
          <p:cNvSpPr/>
          <p:nvPr userDrawn="1"/>
        </p:nvSpPr>
        <p:spPr>
          <a:xfrm>
            <a:off x="4618263" y="832794"/>
            <a:ext cx="4525897" cy="37230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8269"/>
            <a:ext cx="3888000" cy="3312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29" hasCustomPrompt="1"/>
          </p:nvPr>
        </p:nvSpPr>
        <p:spPr>
          <a:xfrm>
            <a:off x="4822184" y="1028269"/>
            <a:ext cx="3888000" cy="3312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13DD5A5-D967-4803-8CBA-38F4E9006ED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BDB7F10-1CB8-47D5-93F6-C24B91BAF18D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84DB9A7-08F6-4B36-9159-5E51888606E0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2755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647">
          <p15:clr>
            <a:srgbClr val="FBAE40"/>
          </p15:clr>
        </p15:guide>
        <p15:guide id="5" orient="horz" pos="2736">
          <p15:clr>
            <a:srgbClr val="FBAE40"/>
          </p15:clr>
        </p15:guide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  <p15:guide id="8" pos="548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Pictur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AB6DF2-F633-4A65-A920-342873356B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306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AB6DF2-F633-4A65-A920-342873356B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rå baggrund 1"/>
          <p:cNvSpPr/>
          <p:nvPr userDrawn="1"/>
        </p:nvSpPr>
        <p:spPr>
          <a:xfrm>
            <a:off x="0" y="832794"/>
            <a:ext cx="4525897" cy="3723074"/>
          </a:xfrm>
          <a:prstGeom prst="rect">
            <a:avLst/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8269"/>
            <a:ext cx="3888000" cy="331200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8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13DD5A5-D967-4803-8CBA-38F4E9006ED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BDB7F10-1CB8-47D5-93F6-C24B91BAF18D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84DB9A7-08F6-4B36-9159-5E51888606E0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5C5449-5351-4BC4-A062-46B47AB9E0A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614862" y="828675"/>
            <a:ext cx="4529137" cy="3732213"/>
          </a:xfrm>
        </p:spPr>
        <p:txBody>
          <a:bodyPr anchor="ctr" anchorCtr="0"/>
          <a:lstStyle>
            <a:lvl1pPr algn="ctr">
              <a:defRPr sz="900">
                <a:latin typeface="Orsted Sans Office" panose="00000500000000000000" pitchFamily="2" charset="0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8284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647">
          <p15:clr>
            <a:srgbClr val="FBAE40"/>
          </p15:clr>
        </p15:guide>
        <p15:guide id="5" orient="horz" pos="2736">
          <p15:clr>
            <a:srgbClr val="FBAE40"/>
          </p15:clr>
        </p15:guide>
        <p15:guide id="6" pos="2721">
          <p15:clr>
            <a:srgbClr val="FBAE40"/>
          </p15:clr>
        </p15:guide>
        <p15:guide id="7" pos="2907" userDrawn="1">
          <p15:clr>
            <a:srgbClr val="FBAE40"/>
          </p15:clr>
        </p15:guide>
        <p15:guide id="8" pos="5488">
          <p15:clr>
            <a:srgbClr val="FBAE40"/>
          </p15:clr>
        </p15:guide>
        <p15:guide id="9" orient="horz" pos="287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AC8B30-2E43-45A0-9668-9127BE8E11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618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AC8B30-2E43-45A0-9668-9127BE8E1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rå baggrund 1">
            <a:extLst>
              <a:ext uri="{FF2B5EF4-FFF2-40B4-BE49-F238E27FC236}">
                <a16:creationId xmlns:a16="http://schemas.microsoft.com/office/drawing/2014/main" id="{01B2B125-6B35-454E-8035-48AC7433FD8F}"/>
              </a:ext>
            </a:extLst>
          </p:cNvPr>
          <p:cNvSpPr/>
          <p:nvPr userDrawn="1"/>
        </p:nvSpPr>
        <p:spPr>
          <a:xfrm>
            <a:off x="0" y="832792"/>
            <a:ext cx="4525897" cy="18247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600"/>
              </a:spcBef>
            </a:pPr>
            <a:endParaRPr lang="en-GB" sz="10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4" name="Grå baggrund 2">
            <a:extLst>
              <a:ext uri="{FF2B5EF4-FFF2-40B4-BE49-F238E27FC236}">
                <a16:creationId xmlns:a16="http://schemas.microsoft.com/office/drawing/2014/main" id="{39ED60BB-9E72-4727-8CDB-2A8DF2911BB2}"/>
              </a:ext>
            </a:extLst>
          </p:cNvPr>
          <p:cNvSpPr/>
          <p:nvPr userDrawn="1"/>
        </p:nvSpPr>
        <p:spPr>
          <a:xfrm>
            <a:off x="0" y="2731071"/>
            <a:ext cx="4525897" cy="18247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600"/>
              </a:spcBef>
            </a:pPr>
            <a:endParaRPr lang="en-GB" sz="10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3" name="Grå baggrund 3"/>
          <p:cNvSpPr/>
          <p:nvPr userDrawn="1"/>
        </p:nvSpPr>
        <p:spPr>
          <a:xfrm>
            <a:off x="4618263" y="832794"/>
            <a:ext cx="4525897" cy="37230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620C479-51CF-4825-94BD-069C67AE9DC8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4826300" y="1028269"/>
            <a:ext cx="3888000" cy="333215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F8A859BB-4097-4B5C-9389-6FAEBA760E8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411" y="1028269"/>
            <a:ext cx="3888000" cy="1440242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8D3D8A-091D-4BFB-A5DB-F4E694271B33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431999" y="2920177"/>
            <a:ext cx="3888000" cy="1440242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6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0567A9AF-7741-4EE2-9D70-D2F0624DC48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441" y="4561200"/>
            <a:ext cx="4147582" cy="36740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9F695E-0D3E-4FDD-B9E8-D543EDF56706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12467ED-AEE3-4363-ACE4-3CEA2F8BFF1D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494535-49FD-4CA1-8126-68102801E2BC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6221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7" userDrawn="1">
          <p15:clr>
            <a:srgbClr val="FBAE40"/>
          </p15:clr>
        </p15:guide>
        <p15:guide id="2" pos="272" userDrawn="1">
          <p15:clr>
            <a:srgbClr val="FBAE40"/>
          </p15:clr>
        </p15:guide>
        <p15:guide id="3" pos="5489" userDrawn="1">
          <p15:clr>
            <a:srgbClr val="FBAE40"/>
          </p15:clr>
        </p15:guide>
        <p15:guide id="4" orient="horz" pos="522" userDrawn="1">
          <p15:clr>
            <a:srgbClr val="FBAE40"/>
          </p15:clr>
        </p15:guide>
        <p15:guide id="5" orient="horz" pos="647" userDrawn="1">
          <p15:clr>
            <a:srgbClr val="FBAE40"/>
          </p15:clr>
        </p15:guide>
        <p15:guide id="6" orient="horz" pos="1555" userDrawn="1">
          <p15:clr>
            <a:srgbClr val="FBAE40"/>
          </p15:clr>
        </p15:guide>
        <p15:guide id="7" orient="horz" pos="2747" userDrawn="1">
          <p15:clr>
            <a:srgbClr val="FBAE40"/>
          </p15:clr>
        </p15:guide>
        <p15:guide id="8" orient="horz" pos="1839" userDrawn="1">
          <p15:clr>
            <a:srgbClr val="FBAE40"/>
          </p15:clr>
        </p15:guide>
        <p15:guide id="9" pos="2721" userDrawn="1">
          <p15:clr>
            <a:srgbClr val="FBAE40"/>
          </p15:clr>
        </p15:guide>
        <p15:guide id="10" pos="303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5.vml"/><Relationship Id="rId7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tags" Target="../tags/tag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72588789"/>
              </p:ext>
            </p:extLst>
          </p:nvPr>
        </p:nvGraphicFramePr>
        <p:xfrm>
          <a:off x="1359" y="1081"/>
          <a:ext cx="1357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8" imgW="592" imgH="595" progId="TCLayout.ActiveDocument.1">
                  <p:embed/>
                </p:oleObj>
              </mc:Choice>
              <mc:Fallback>
                <p:oleObj name="think-cell Slide" r:id="rId18" imgW="592" imgH="595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359" y="1081"/>
                        <a:ext cx="1357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4974" y="1029599"/>
            <a:ext cx="8278814" cy="34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3388" y="4807324"/>
            <a:ext cx="279076" cy="12128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5000"/>
              </a:lnSpc>
              <a:defRPr sz="70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5299906-9323-46A1-8992-1A6CFEDA2FB3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2400" y="4712580"/>
            <a:ext cx="756000" cy="206898"/>
          </a:xfrm>
          <a:prstGeom prst="rect">
            <a:avLst/>
          </a:prstGeom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618018-A126-4E13-B4A2-591A064ED4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67977" y="4806187"/>
            <a:ext cx="6120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700" smtClean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6C61017-E9EE-48D0-B222-079BF55D5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000" y="4806187"/>
            <a:ext cx="18000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700" dirty="0">
                <a:solidFill>
                  <a:schemeClr val="accent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21" r:id="rId2"/>
    <p:sldLayoutId id="2147483738" r:id="rId3"/>
    <p:sldLayoutId id="2147483728" r:id="rId4"/>
    <p:sldLayoutId id="2147483731" r:id="rId5"/>
    <p:sldLayoutId id="2147483737" r:id="rId6"/>
    <p:sldLayoutId id="2147483739" r:id="rId7"/>
    <p:sldLayoutId id="2147483736" r:id="rId8"/>
    <p:sldLayoutId id="2147483734" r:id="rId9"/>
    <p:sldLayoutId id="2147483735" r:id="rId10"/>
    <p:sldLayoutId id="2147483727" r:id="rId11"/>
    <p:sldLayoutId id="2147483654" r:id="rId12"/>
    <p:sldLayoutId id="2147483655" r:id="rId13"/>
    <p:sldLayoutId id="2147483741" r:id="rId14"/>
  </p:sldLayoutIdLst>
  <p:hf hdr="0" ftr="0" dt="0"/>
  <p:txStyles>
    <p:titleStyle>
      <a:lvl1pPr algn="l" defTabSz="685804" rtl="0" eaLnBrk="1" latinLnBrk="0" hangingPunct="1">
        <a:lnSpc>
          <a:spcPct val="95000"/>
        </a:lnSpc>
        <a:spcBef>
          <a:spcPct val="0"/>
        </a:spcBef>
        <a:buNone/>
        <a:defRPr sz="1497" b="1" i="0" kern="1200">
          <a:solidFill>
            <a:schemeClr val="accent1"/>
          </a:solidFill>
          <a:latin typeface="Orsted Sans Office" panose="00000500000000000000" pitchFamily="2" charset="0"/>
          <a:ea typeface="+mj-ea"/>
          <a:cs typeface="Arial" panose="020B0604020202020204" pitchFamily="34" charset="0"/>
          <a:sym typeface="Orsted Sans Office" panose="00000500000000000000" pitchFamily="2" charset="0"/>
        </a:defRPr>
      </a:lvl1pPr>
    </p:titleStyle>
    <p:bodyStyle>
      <a:lvl1pPr marL="0" indent="0" algn="l" defTabSz="685804" rtl="0" eaLnBrk="1" latinLnBrk="0" hangingPunct="1">
        <a:lnSpc>
          <a:spcPct val="95000"/>
        </a:lnSpc>
        <a:spcBef>
          <a:spcPts val="800"/>
        </a:spcBef>
        <a:buFontTx/>
        <a:buNone/>
        <a:defRPr sz="1300" b="1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1pPr>
      <a:lvl2pPr marL="432000" indent="-216000" algn="l" defTabSz="685804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2pPr>
      <a:lvl3pPr marL="648000" indent="-216000" algn="l" defTabSz="685804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3pPr>
      <a:lvl4pPr marL="864000" indent="-216000" algn="l" defTabSz="685804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4pPr>
      <a:lvl5pPr marL="1080000" indent="-216000" algn="l" defTabSz="685804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5pPr>
      <a:lvl6pPr marL="661349" indent="-146966" algn="l" defTabSz="685804" rtl="0" eaLnBrk="1" latinLnBrk="0" hangingPunct="1">
        <a:lnSpc>
          <a:spcPct val="96000"/>
        </a:lnSpc>
        <a:spcBef>
          <a:spcPts val="816"/>
        </a:spcBef>
        <a:buFont typeface="Arial" panose="020B0604020202020204" pitchFamily="34" charset="0"/>
        <a:buChar char="•"/>
        <a:defRPr lang="en-GB" sz="1300" kern="1200" noProof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661349" indent="-146966" algn="l" defTabSz="685804" rtl="0" eaLnBrk="1" latinLnBrk="0" hangingPunct="1">
        <a:lnSpc>
          <a:spcPct val="96000"/>
        </a:lnSpc>
        <a:spcBef>
          <a:spcPts val="816"/>
        </a:spcBef>
        <a:buFont typeface="Arial" panose="020B0604020202020204" pitchFamily="34" charset="0"/>
        <a:buChar char="•"/>
        <a:defRPr lang="en-GB" sz="1300" kern="1200" baseline="0" noProof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661349" indent="-146966" algn="l" defTabSz="685804" rtl="0" eaLnBrk="1" latinLnBrk="0" hangingPunct="1">
        <a:lnSpc>
          <a:spcPct val="96000"/>
        </a:lnSpc>
        <a:spcBef>
          <a:spcPts val="816"/>
        </a:spcBef>
        <a:buFont typeface="Arial" panose="020B0604020202020204" pitchFamily="34" charset="0"/>
        <a:buChar char="•"/>
        <a:defRPr sz="885" kern="1200">
          <a:solidFill>
            <a:schemeClr val="tx1"/>
          </a:solidFill>
          <a:latin typeface="+mn-lt"/>
          <a:ea typeface="+mn-ea"/>
          <a:cs typeface="+mn-cs"/>
        </a:defRPr>
      </a:lvl8pPr>
      <a:lvl9pPr marL="661349" indent="-146966" algn="l" defTabSz="685804" rtl="0" eaLnBrk="1" latinLnBrk="0" hangingPunct="1">
        <a:lnSpc>
          <a:spcPct val="96000"/>
        </a:lnSpc>
        <a:spcBef>
          <a:spcPts val="816"/>
        </a:spcBef>
        <a:buFont typeface="Arial" panose="020B0604020202020204" pitchFamily="34" charset="0"/>
        <a:buChar char="•"/>
        <a:defRPr sz="885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4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7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9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11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1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16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18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359" y="1081"/>
          <a:ext cx="1357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9" y="1081"/>
                        <a:ext cx="1357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4974" y="1029599"/>
            <a:ext cx="8278814" cy="34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3388" y="4807324"/>
            <a:ext cx="279076" cy="12128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5000"/>
              </a:lnSpc>
              <a:defRPr sz="70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5299906-9323-46A1-8992-1A6CFEDA2FB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2400" y="4712580"/>
            <a:ext cx="756000" cy="206898"/>
          </a:xfrm>
          <a:prstGeom prst="rect">
            <a:avLst/>
          </a:prstGeom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618018-A126-4E13-B4A2-591A064ED4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67977" y="4806187"/>
            <a:ext cx="6120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700" smtClean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6C61017-E9EE-48D0-B222-079BF55D5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32000" y="4806187"/>
            <a:ext cx="18000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700" dirty="0">
                <a:solidFill>
                  <a:schemeClr val="accent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</p:sldLayoutIdLst>
  <p:hf hdr="0" ftr="0" dt="0"/>
  <p:txStyles>
    <p:titleStyle>
      <a:lvl1pPr algn="l" defTabSz="685804" rtl="0" eaLnBrk="1" latinLnBrk="0" hangingPunct="1">
        <a:lnSpc>
          <a:spcPct val="95000"/>
        </a:lnSpc>
        <a:spcBef>
          <a:spcPct val="0"/>
        </a:spcBef>
        <a:buNone/>
        <a:defRPr sz="1497" b="1" i="0" kern="1200">
          <a:solidFill>
            <a:schemeClr val="accent1"/>
          </a:solidFill>
          <a:latin typeface="Orsted Sans Office" panose="00000500000000000000" pitchFamily="2" charset="0"/>
          <a:ea typeface="+mj-ea"/>
          <a:cs typeface="Arial" panose="020B0604020202020204" pitchFamily="34" charset="0"/>
          <a:sym typeface="Orsted Sans Office" panose="00000500000000000000" pitchFamily="2" charset="0"/>
        </a:defRPr>
      </a:lvl1pPr>
    </p:titleStyle>
    <p:bodyStyle>
      <a:lvl1pPr marL="0" indent="0" algn="l" defTabSz="685804" rtl="0" eaLnBrk="1" latinLnBrk="0" hangingPunct="1">
        <a:lnSpc>
          <a:spcPct val="95000"/>
        </a:lnSpc>
        <a:spcBef>
          <a:spcPts val="800"/>
        </a:spcBef>
        <a:buFontTx/>
        <a:buNone/>
        <a:defRPr sz="1300" b="1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1pPr>
      <a:lvl2pPr marL="432000" indent="-216000" algn="l" defTabSz="685804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2pPr>
      <a:lvl3pPr marL="648000" indent="-216000" algn="l" defTabSz="685804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3pPr>
      <a:lvl4pPr marL="864000" indent="-216000" algn="l" defTabSz="685804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4pPr>
      <a:lvl5pPr marL="1080000" indent="-216000" algn="l" defTabSz="685804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5pPr>
      <a:lvl6pPr marL="661349" indent="-146966" algn="l" defTabSz="685804" rtl="0" eaLnBrk="1" latinLnBrk="0" hangingPunct="1">
        <a:lnSpc>
          <a:spcPct val="96000"/>
        </a:lnSpc>
        <a:spcBef>
          <a:spcPts val="816"/>
        </a:spcBef>
        <a:buFont typeface="Arial" panose="020B0604020202020204" pitchFamily="34" charset="0"/>
        <a:buChar char="•"/>
        <a:defRPr lang="en-GB" sz="1300" kern="1200" noProof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661349" indent="-146966" algn="l" defTabSz="685804" rtl="0" eaLnBrk="1" latinLnBrk="0" hangingPunct="1">
        <a:lnSpc>
          <a:spcPct val="96000"/>
        </a:lnSpc>
        <a:spcBef>
          <a:spcPts val="816"/>
        </a:spcBef>
        <a:buFont typeface="Arial" panose="020B0604020202020204" pitchFamily="34" charset="0"/>
        <a:buChar char="•"/>
        <a:defRPr lang="en-GB" sz="1300" kern="1200" baseline="0" noProof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661349" indent="-146966" algn="l" defTabSz="685804" rtl="0" eaLnBrk="1" latinLnBrk="0" hangingPunct="1">
        <a:lnSpc>
          <a:spcPct val="96000"/>
        </a:lnSpc>
        <a:spcBef>
          <a:spcPts val="816"/>
        </a:spcBef>
        <a:buFont typeface="Arial" panose="020B0604020202020204" pitchFamily="34" charset="0"/>
        <a:buChar char="•"/>
        <a:defRPr sz="885" kern="1200">
          <a:solidFill>
            <a:schemeClr val="tx1"/>
          </a:solidFill>
          <a:latin typeface="+mn-lt"/>
          <a:ea typeface="+mn-ea"/>
          <a:cs typeface="+mn-cs"/>
        </a:defRPr>
      </a:lvl8pPr>
      <a:lvl9pPr marL="661349" indent="-146966" algn="l" defTabSz="685804" rtl="0" eaLnBrk="1" latinLnBrk="0" hangingPunct="1">
        <a:lnSpc>
          <a:spcPct val="96000"/>
        </a:lnSpc>
        <a:spcBef>
          <a:spcPts val="816"/>
        </a:spcBef>
        <a:buFont typeface="Arial" panose="020B0604020202020204" pitchFamily="34" charset="0"/>
        <a:buChar char="•"/>
        <a:defRPr sz="885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4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7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9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11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1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16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18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bin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4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tags" Target="../tags/tag58.xml"/><Relationship Id="rId7" Type="http://schemas.openxmlformats.org/officeDocument/2006/relationships/image" Target="../media/image1.emf"/><Relationship Id="rId2" Type="http://schemas.openxmlformats.org/officeDocument/2006/relationships/tags" Target="../tags/tag57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39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0.jpe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bin"/><Relationship Id="rId2" Type="http://schemas.openxmlformats.org/officeDocument/2006/relationships/tags" Target="../tags/tag5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4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13" Type="http://schemas.openxmlformats.org/officeDocument/2006/relationships/image" Target="../media/image1.emf"/><Relationship Id="rId3" Type="http://schemas.openxmlformats.org/officeDocument/2006/relationships/tags" Target="../tags/tag19.xml"/><Relationship Id="rId7" Type="http://schemas.openxmlformats.org/officeDocument/2006/relationships/slideLayout" Target="../slideLayouts/slideLayout12.xml"/><Relationship Id="rId12" Type="http://schemas.openxmlformats.org/officeDocument/2006/relationships/oleObject" Target="../embeddings/oleObject17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tags" Target="../tags/tag22.xml"/><Relationship Id="rId11" Type="http://schemas.openxmlformats.org/officeDocument/2006/relationships/image" Target="../media/image2.png"/><Relationship Id="rId5" Type="http://schemas.openxmlformats.org/officeDocument/2006/relationships/tags" Target="../tags/tag21.xml"/><Relationship Id="rId10" Type="http://schemas.openxmlformats.org/officeDocument/2006/relationships/image" Target="../media/image6.bin"/><Relationship Id="rId4" Type="http://schemas.openxmlformats.org/officeDocument/2006/relationships/tags" Target="../tags/tag20.xml"/><Relationship Id="rId9" Type="http://schemas.openxmlformats.org/officeDocument/2006/relationships/image" Target="../media/image3.emf"/><Relationship Id="rId14" Type="http://schemas.openxmlformats.org/officeDocument/2006/relationships/oleObject" Target="../embeddings/oleObject1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hyperlink" Target="https://www.gov.pl/web/klimat/co-mieszkancy-polski-sadza-o-energetyce-wiatrowej" TargetMode="External"/><Relationship Id="rId18" Type="http://schemas.openxmlformats.org/officeDocument/2006/relationships/oleObject" Target="../embeddings/oleObject22.bin"/><Relationship Id="rId3" Type="http://schemas.openxmlformats.org/officeDocument/2006/relationships/tags" Target="../tags/tag24.xml"/><Relationship Id="rId21" Type="http://schemas.openxmlformats.org/officeDocument/2006/relationships/oleObject" Target="../embeddings/oleObject25.bin"/><Relationship Id="rId7" Type="http://schemas.openxmlformats.org/officeDocument/2006/relationships/tags" Target="../tags/tag28.xml"/><Relationship Id="rId12" Type="http://schemas.openxmlformats.org/officeDocument/2006/relationships/slideLayout" Target="../slideLayouts/slideLayout4.xml"/><Relationship Id="rId17" Type="http://schemas.openxmlformats.org/officeDocument/2006/relationships/oleObject" Target="../embeddings/oleObject21.bin"/><Relationship Id="rId2" Type="http://schemas.openxmlformats.org/officeDocument/2006/relationships/tags" Target="../tags/tag23.xml"/><Relationship Id="rId16" Type="http://schemas.openxmlformats.org/officeDocument/2006/relationships/oleObject" Target="../embeddings/oleObject20.bin"/><Relationship Id="rId20" Type="http://schemas.openxmlformats.org/officeDocument/2006/relationships/oleObject" Target="../embeddings/oleObject24.bin"/><Relationship Id="rId1" Type="http://schemas.openxmlformats.org/officeDocument/2006/relationships/vmlDrawing" Target="../drawings/vmlDrawing18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image" Target="../media/image1.emf"/><Relationship Id="rId23" Type="http://schemas.openxmlformats.org/officeDocument/2006/relationships/oleObject" Target="../embeddings/oleObject27.bin"/><Relationship Id="rId10" Type="http://schemas.openxmlformats.org/officeDocument/2006/relationships/tags" Target="../tags/tag31.xml"/><Relationship Id="rId19" Type="http://schemas.openxmlformats.org/officeDocument/2006/relationships/oleObject" Target="../embeddings/oleObject23.bin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oleObject" Target="../embeddings/oleObject19.bin"/><Relationship Id="rId22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image" Target="../media/image1.emf"/><Relationship Id="rId18" Type="http://schemas.openxmlformats.org/officeDocument/2006/relationships/image" Target="../media/image9.bin"/><Relationship Id="rId26" Type="http://schemas.openxmlformats.org/officeDocument/2006/relationships/hyperlink" Target="https://www.gov.pl/web/klimat/co-mieszkancy-polski-sadza-o-energetyce-wiatrowej" TargetMode="External"/><Relationship Id="rId3" Type="http://schemas.openxmlformats.org/officeDocument/2006/relationships/tags" Target="../tags/tag34.xml"/><Relationship Id="rId21" Type="http://schemas.openxmlformats.org/officeDocument/2006/relationships/oleObject" Target="../embeddings/oleObject32.bin"/><Relationship Id="rId7" Type="http://schemas.openxmlformats.org/officeDocument/2006/relationships/tags" Target="../tags/tag38.xml"/><Relationship Id="rId12" Type="http://schemas.openxmlformats.org/officeDocument/2006/relationships/oleObject" Target="../embeddings/oleObject28.bin"/><Relationship Id="rId17" Type="http://schemas.openxmlformats.org/officeDocument/2006/relationships/oleObject" Target="../embeddings/oleObject30.bin"/><Relationship Id="rId25" Type="http://schemas.openxmlformats.org/officeDocument/2006/relationships/oleObject" Target="../embeddings/oleObject35.bin"/><Relationship Id="rId2" Type="http://schemas.openxmlformats.org/officeDocument/2006/relationships/tags" Target="../tags/tag33.xml"/><Relationship Id="rId16" Type="http://schemas.openxmlformats.org/officeDocument/2006/relationships/image" Target="../media/image8.bin"/><Relationship Id="rId20" Type="http://schemas.openxmlformats.org/officeDocument/2006/relationships/image" Target="../media/image10.bin"/><Relationship Id="rId1" Type="http://schemas.openxmlformats.org/officeDocument/2006/relationships/vmlDrawing" Target="../drawings/vmlDrawing19.vml"/><Relationship Id="rId6" Type="http://schemas.openxmlformats.org/officeDocument/2006/relationships/tags" Target="../tags/tag37.xml"/><Relationship Id="rId11" Type="http://schemas.openxmlformats.org/officeDocument/2006/relationships/slideLayout" Target="../slideLayouts/slideLayout4.xml"/><Relationship Id="rId24" Type="http://schemas.openxmlformats.org/officeDocument/2006/relationships/oleObject" Target="../embeddings/oleObject34.bin"/><Relationship Id="rId5" Type="http://schemas.openxmlformats.org/officeDocument/2006/relationships/tags" Target="../tags/tag36.xml"/><Relationship Id="rId15" Type="http://schemas.openxmlformats.org/officeDocument/2006/relationships/oleObject" Target="../embeddings/oleObject29.bin"/><Relationship Id="rId23" Type="http://schemas.openxmlformats.org/officeDocument/2006/relationships/oleObject" Target="../embeddings/oleObject33.bin"/><Relationship Id="rId10" Type="http://schemas.openxmlformats.org/officeDocument/2006/relationships/tags" Target="../tags/tag41.xml"/><Relationship Id="rId19" Type="http://schemas.openxmlformats.org/officeDocument/2006/relationships/oleObject" Target="../embeddings/oleObject31.bin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image" Target="../media/image7.bin"/><Relationship Id="rId22" Type="http://schemas.openxmlformats.org/officeDocument/2006/relationships/image" Target="../media/image11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oleObject" Target="../embeddings/oleObject17.bin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image" Target="../media/image2.png"/><Relationship Id="rId2" Type="http://schemas.openxmlformats.org/officeDocument/2006/relationships/tags" Target="../tags/tag42.xml"/><Relationship Id="rId16" Type="http://schemas.openxmlformats.org/officeDocument/2006/relationships/oleObject" Target="../embeddings/oleObject36.bin"/><Relationship Id="rId1" Type="http://schemas.openxmlformats.org/officeDocument/2006/relationships/vmlDrawing" Target="../drawings/vmlDrawing20.vml"/><Relationship Id="rId6" Type="http://schemas.openxmlformats.org/officeDocument/2006/relationships/tags" Target="../tags/tag46.xml"/><Relationship Id="rId11" Type="http://schemas.openxmlformats.org/officeDocument/2006/relationships/image" Target="../media/image6.bin"/><Relationship Id="rId5" Type="http://schemas.openxmlformats.org/officeDocument/2006/relationships/tags" Target="../tags/tag45.xml"/><Relationship Id="rId15" Type="http://schemas.openxmlformats.org/officeDocument/2006/relationships/oleObject" Target="../embeddings/oleObject18.bin"/><Relationship Id="rId10" Type="http://schemas.openxmlformats.org/officeDocument/2006/relationships/image" Target="../media/image3.emf"/><Relationship Id="rId4" Type="http://schemas.openxmlformats.org/officeDocument/2006/relationships/tags" Target="../tags/tag44.xml"/><Relationship Id="rId9" Type="http://schemas.openxmlformats.org/officeDocument/2006/relationships/oleObject" Target="../embeddings/oleObject16.bin"/><Relationship Id="rId1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8.xml"/><Relationship Id="rId4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oleObject" Target="../embeddings/oleObject17.bin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image" Target="../media/image2.png"/><Relationship Id="rId2" Type="http://schemas.openxmlformats.org/officeDocument/2006/relationships/tags" Target="../tags/tag49.xml"/><Relationship Id="rId16" Type="http://schemas.openxmlformats.org/officeDocument/2006/relationships/oleObject" Target="../embeddings/oleObject37.bin"/><Relationship Id="rId1" Type="http://schemas.openxmlformats.org/officeDocument/2006/relationships/vmlDrawing" Target="../drawings/vmlDrawing21.vml"/><Relationship Id="rId6" Type="http://schemas.openxmlformats.org/officeDocument/2006/relationships/tags" Target="../tags/tag53.xml"/><Relationship Id="rId11" Type="http://schemas.openxmlformats.org/officeDocument/2006/relationships/image" Target="../media/image6.bin"/><Relationship Id="rId5" Type="http://schemas.openxmlformats.org/officeDocument/2006/relationships/tags" Target="../tags/tag52.xml"/><Relationship Id="rId15" Type="http://schemas.openxmlformats.org/officeDocument/2006/relationships/oleObject" Target="../embeddings/oleObject18.bin"/><Relationship Id="rId10" Type="http://schemas.openxmlformats.org/officeDocument/2006/relationships/image" Target="../media/image3.emf"/><Relationship Id="rId4" Type="http://schemas.openxmlformats.org/officeDocument/2006/relationships/tags" Target="../tags/tag51.xml"/><Relationship Id="rId9" Type="http://schemas.openxmlformats.org/officeDocument/2006/relationships/oleObject" Target="../embeddings/oleObject16.bin"/><Relationship Id="rId1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56.xml"/><Relationship Id="rId7" Type="http://schemas.openxmlformats.org/officeDocument/2006/relationships/image" Target="../media/image1.emf"/><Relationship Id="rId2" Type="http://schemas.openxmlformats.org/officeDocument/2006/relationships/tags" Target="../tags/tag55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38.bin"/><Relationship Id="rId11" Type="http://schemas.openxmlformats.org/officeDocument/2006/relationships/image" Target="../media/image16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78287C0-367F-4122-A2FF-FE475BC5E978}"/>
              </a:ext>
            </a:extLst>
          </p:cNvPr>
          <p:cNvSpPr>
            <a:spLocks/>
          </p:cNvSpPr>
          <p:nvPr/>
        </p:nvSpPr>
        <p:spPr>
          <a:xfrm>
            <a:off x="35" y="0"/>
            <a:ext cx="9148904" cy="514350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21BBD3D-5F03-41FC-B104-5D85378D71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8210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21BBD3D-5F03-41FC-B104-5D85378D7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EA58CD9-26CB-46D1-B4EF-77285D87E88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rsted Sans Office (Body)"/>
              </a:rPr>
              <a:t>Z polskiej </a:t>
            </a:r>
            <a:r>
              <a:rPr lang="pl-PL" sz="48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rsted Sans Office (Body)"/>
              </a:rPr>
              <a:t>strefy Bałtyku</a:t>
            </a:r>
            <a:br>
              <a:rPr lang="pl-PL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rsted Sans Office (Body)"/>
              </a:rPr>
            </a:br>
            <a:r>
              <a:rPr lang="pl-PL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rsted Sans Office (Body)"/>
              </a:rPr>
              <a:t>w kierunku głębszych wód</a:t>
            </a:r>
            <a:endParaRPr lang="en-GB" sz="4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Orsted Sans Office (Body)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6E6984-1208-4DC0-BB73-B4DA85D25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/>
              <a:pPr/>
              <a:t>1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C67332-E91D-4269-9727-379780CE7B6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3367" y="4079745"/>
            <a:ext cx="3411710" cy="704050"/>
          </a:xfrm>
        </p:spPr>
        <p:txBody>
          <a:bodyPr/>
          <a:lstStyle/>
          <a:p>
            <a:pPr algn="l"/>
            <a:r>
              <a:rPr lang="pl-PL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rsted Sans Office (Body)"/>
              </a:rPr>
              <a:t>Rasmus Errboe</a:t>
            </a:r>
            <a:r>
              <a:rPr lang="pl-PL" sz="12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rsted Sans Office (Body)"/>
              </a:rPr>
              <a:t>,</a:t>
            </a:r>
          </a:p>
          <a:p>
            <a:pPr algn="l"/>
            <a:r>
              <a:rPr lang="pl-PL" sz="12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rsted Sans Office (Body)"/>
              </a:rPr>
              <a:t>wiceprezes Ørsted</a:t>
            </a:r>
          </a:p>
          <a:p>
            <a:pPr algn="l"/>
            <a:r>
              <a:rPr lang="pl-PL" sz="12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Orsted Sans Office (Body)"/>
              </a:rPr>
              <a:t>dyrektor na Europę Kontynentalną</a:t>
            </a:r>
            <a:endParaRPr lang="en-GB" sz="1200" b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Orsted Sans Office (Body)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D448BE-FAB6-412E-A5E6-6DA45EDE92B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000" y="4304743"/>
            <a:ext cx="1692000" cy="479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0333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03AFE-9CEF-4567-838C-D99B74CD6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z="1600" dirty="0">
                <a:solidFill>
                  <a:srgbClr val="00B0F0"/>
                </a:solidFill>
                <a:latin typeface="+mn-lt"/>
              </a:rPr>
              <a:t>Współpraca Ørsted z Portem Gdynia</a:t>
            </a:r>
            <a:endParaRPr lang="en-GB" sz="1600" dirty="0">
              <a:solidFill>
                <a:srgbClr val="00B0F0"/>
              </a:solidFill>
              <a:latin typeface="+mn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649C51-92FF-4D77-91AB-815CEC4001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247B23-0912-45BB-8C10-2069720B50D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32000" y="1505943"/>
            <a:ext cx="2971600" cy="2444962"/>
          </a:xfrm>
        </p:spPr>
        <p:txBody>
          <a:bodyPr/>
          <a:lstStyle/>
          <a:p>
            <a:pPr marL="0" indent="0">
              <a:buNone/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21 kwietnia 2021 r., </a:t>
            </a:r>
            <a:r>
              <a:rPr lang="pl-PL" sz="900" b="1" dirty="0">
                <a:solidFill>
                  <a:schemeClr val="accent1">
                    <a:lumMod val="75000"/>
                  </a:schemeClr>
                </a:solidFill>
              </a:rPr>
              <a:t>Ørsted  podpisał list intencyjny z Portem Gdynia.</a:t>
            </a:r>
          </a:p>
          <a:p>
            <a:pPr marL="0" indent="0">
              <a:buNone/>
            </a:pPr>
            <a:endParaRPr lang="pl-PL" sz="900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pl-PL" sz="900" b="1" dirty="0">
                <a:solidFill>
                  <a:schemeClr val="accent1">
                    <a:lumMod val="75000"/>
                  </a:schemeClr>
                </a:solidFill>
              </a:rPr>
              <a:t>Wspólnie zbadamy rozwój innowacyjnych technologii i ich komercjalizację </a:t>
            </a: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na rynku polskim i międzynarodowym</a:t>
            </a:r>
          </a:p>
          <a:p>
            <a:pPr marL="0" indent="0">
              <a:buNone/>
            </a:pPr>
            <a:endParaRPr lang="pl-PL" sz="900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Obszary zainteresowania to bezzałogowe pojazdy, drony, robotyka i zrównoważony transport morski dla rozwoju morskiej energetyki wiatrowej w Polsce</a:t>
            </a:r>
            <a:endParaRPr lang="en-GB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53C68FB-B3EB-49EE-A6EE-BFEEF6CB45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7600" y="1505943"/>
            <a:ext cx="5486400" cy="2377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7269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00180604-0E1F-4434-867D-484F0D34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923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00180604-0E1F-4434-867D-484F0D34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1004DD13-7DDA-425C-93EE-2A01645ED010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GB" sz="1497" b="1" noProof="0" dirty="0">
              <a:latin typeface="Orsted Sans Office" panose="00000500000000000000" pitchFamily="2" charset="0"/>
              <a:ea typeface="+mj-ea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47087F-0E3B-4F2B-92D5-2B70C45BB8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solidFill>
                  <a:srgbClr val="00B0F0"/>
                </a:solidFill>
                <a:latin typeface="+mn-lt"/>
              </a:rPr>
              <a:t>Studium przypadku : Port </a:t>
            </a:r>
            <a:r>
              <a:rPr lang="pl-PL" dirty="0" err="1">
                <a:solidFill>
                  <a:srgbClr val="00B0F0"/>
                </a:solidFill>
                <a:latin typeface="+mn-lt"/>
              </a:rPr>
              <a:t>Grimsby</a:t>
            </a:r>
            <a:r>
              <a:rPr lang="pl-PL" dirty="0">
                <a:solidFill>
                  <a:srgbClr val="00B0F0"/>
                </a:solidFill>
                <a:latin typeface="+mn-lt"/>
              </a:rPr>
              <a:t> na wschodnim wybrzeżu Wielkiej Brytanii ponownie rozkwita po dużych inwestycjach firmy Ørsted w centrum obsługi i konserwacji</a:t>
            </a:r>
            <a:br>
              <a:rPr lang="pl-PL" dirty="0">
                <a:solidFill>
                  <a:srgbClr val="00B0F0"/>
                </a:solidFill>
                <a:latin typeface="+mn-lt"/>
              </a:rPr>
            </a:br>
            <a:endParaRPr lang="en-GB" dirty="0">
              <a:solidFill>
                <a:srgbClr val="00B0F0"/>
              </a:solidFill>
              <a:latin typeface="+mn-lt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D93E26-2B3B-4D1C-82D8-7D4A1E9D084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95650" y="1438543"/>
            <a:ext cx="2370894" cy="1648591"/>
          </a:xfrm>
        </p:spPr>
        <p:txBody>
          <a:bodyPr/>
          <a:lstStyle/>
          <a:p>
            <a:pPr marL="0" indent="0">
              <a:buNone/>
            </a:pPr>
            <a:r>
              <a:rPr lang="pl-PL" sz="900" b="1" dirty="0">
                <a:solidFill>
                  <a:schemeClr val="accent1">
                    <a:lumMod val="75000"/>
                  </a:schemeClr>
                </a:solidFill>
              </a:rPr>
              <a:t>Promujemy kariery</a:t>
            </a: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 związane z naukami ścisłymi, technologią, inżynierią i matematyką. </a:t>
            </a:r>
          </a:p>
          <a:p>
            <a:pPr marL="0" indent="0">
              <a:buNone/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Współpracujemy z </a:t>
            </a:r>
            <a:r>
              <a:rPr lang="pl-PL" sz="900" b="1" dirty="0">
                <a:solidFill>
                  <a:schemeClr val="accent1">
                    <a:lumMod val="75000"/>
                  </a:schemeClr>
                </a:solidFill>
              </a:rPr>
              <a:t>krajowymi i regionalnymi organizacjami szkoleniowymi i edukacyjnymi.</a:t>
            </a: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 </a:t>
            </a:r>
          </a:p>
          <a:p>
            <a:pPr marL="0" indent="0">
              <a:buNone/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Nawiązaliśmy współpracę z </a:t>
            </a:r>
            <a:r>
              <a:rPr lang="pl-PL" sz="900" dirty="0" err="1">
                <a:solidFill>
                  <a:schemeClr val="accent1">
                    <a:lumMod val="75000"/>
                  </a:schemeClr>
                </a:solidFill>
              </a:rPr>
              <a:t>Grimsby</a:t>
            </a: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sz="900" dirty="0" err="1">
                <a:solidFill>
                  <a:schemeClr val="accent1">
                    <a:lumMod val="75000"/>
                  </a:schemeClr>
                </a:solidFill>
              </a:rPr>
              <a:t>Institute</a:t>
            </a: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 w </a:t>
            </a:r>
            <a:r>
              <a:rPr lang="pl-PL" sz="900" dirty="0" err="1">
                <a:solidFill>
                  <a:schemeClr val="accent1">
                    <a:lumMod val="75000"/>
                  </a:schemeClr>
                </a:solidFill>
              </a:rPr>
              <a:t>Grimsby</a:t>
            </a: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 oraz </a:t>
            </a:r>
            <a:r>
              <a:rPr lang="pl-PL" sz="900" dirty="0" err="1">
                <a:solidFill>
                  <a:schemeClr val="accent1">
                    <a:lumMod val="75000"/>
                  </a:schemeClr>
                </a:solidFill>
              </a:rPr>
              <a:t>Furness</a:t>
            </a: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 College w Barrow-in-</a:t>
            </a:r>
            <a:r>
              <a:rPr lang="pl-PL" sz="900" dirty="0" err="1">
                <a:solidFill>
                  <a:schemeClr val="accent1">
                    <a:lumMod val="75000"/>
                  </a:schemeClr>
                </a:solidFill>
              </a:rPr>
              <a:t>Furness</a:t>
            </a: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, aby zapewnić </a:t>
            </a:r>
            <a:r>
              <a:rPr lang="pl-PL" sz="900" b="1" dirty="0">
                <a:solidFill>
                  <a:schemeClr val="accent1">
                    <a:lumMod val="75000"/>
                  </a:schemeClr>
                </a:solidFill>
              </a:rPr>
              <a:t>trzyletni program praktyk dla techników turbin wiatrowych</a:t>
            </a: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. </a:t>
            </a:r>
            <a:endParaRPr lang="en-GB" sz="9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583046-E00A-4AB8-8270-DEF3DFB11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smtClean="0"/>
              <a:pPr/>
              <a:t>11</a:t>
            </a:fld>
            <a:endParaRPr lang="en-GB" dirty="0"/>
          </a:p>
        </p:txBody>
      </p:sp>
      <p:pic>
        <p:nvPicPr>
          <p:cNvPr id="39938" name="Picture 2" descr="Grimsby">
            <a:extLst>
              <a:ext uri="{FF2B5EF4-FFF2-40B4-BE49-F238E27FC236}">
                <a16:creationId xmlns:a16="http://schemas.microsoft.com/office/drawing/2014/main" id="{282722CD-7BB4-4640-B414-2F05AD5FE8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637" y="3209628"/>
            <a:ext cx="2370893" cy="1333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759D932-B39A-4DD6-AF18-D6A6C167F2EF}"/>
              </a:ext>
            </a:extLst>
          </p:cNvPr>
          <p:cNvSpPr txBox="1"/>
          <p:nvPr/>
        </p:nvSpPr>
        <p:spPr>
          <a:xfrm>
            <a:off x="432000" y="1438543"/>
            <a:ext cx="2328963" cy="13925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Nasze centrum operacyjne i konserwacyjne East </a:t>
            </a:r>
            <a:r>
              <a:rPr lang="pl-PL" sz="900" dirty="0" err="1">
                <a:solidFill>
                  <a:schemeClr val="accent1">
                    <a:lumMod val="75000"/>
                  </a:schemeClr>
                </a:solidFill>
              </a:rPr>
              <a:t>Coast</a:t>
            </a: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 Hub </a:t>
            </a:r>
            <a:r>
              <a:rPr lang="pl-PL" sz="900" b="1" dirty="0">
                <a:solidFill>
                  <a:schemeClr val="accent1">
                    <a:lumMod val="75000"/>
                  </a:schemeClr>
                </a:solidFill>
              </a:rPr>
              <a:t>wybudowała lokalna firma. </a:t>
            </a:r>
          </a:p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Stworzyliśmy wiele nowych miejsc pracy wymagających </a:t>
            </a:r>
            <a:r>
              <a:rPr lang="pl-PL" sz="900" b="1" dirty="0">
                <a:solidFill>
                  <a:schemeClr val="accent1">
                    <a:lumMod val="75000"/>
                  </a:schemeClr>
                </a:solidFill>
              </a:rPr>
              <a:t>kwalifikacji, które będą potrzebne przez wiele lat</a:t>
            </a:r>
          </a:p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Hub </a:t>
            </a:r>
            <a:r>
              <a:rPr lang="pl-PL" sz="900" b="1" dirty="0">
                <a:solidFill>
                  <a:schemeClr val="accent1">
                    <a:lumMod val="75000"/>
                  </a:schemeClr>
                </a:solidFill>
              </a:rPr>
              <a:t>zatrudnia 370 osób</a:t>
            </a:r>
            <a:endParaRPr lang="en-GB" sz="9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22" name="Picture 6" descr="Employees ">
            <a:extLst>
              <a:ext uri="{FF2B5EF4-FFF2-40B4-BE49-F238E27FC236}">
                <a16:creationId xmlns:a16="http://schemas.microsoft.com/office/drawing/2014/main" id="{0ECD7E21-9CB3-4E16-B27C-60D29B6045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2576" y="3209628"/>
            <a:ext cx="2370893" cy="1333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people">
            <a:extLst>
              <a:ext uri="{FF2B5EF4-FFF2-40B4-BE49-F238E27FC236}">
                <a16:creationId xmlns:a16="http://schemas.microsoft.com/office/drawing/2014/main" id="{64B0F4DD-E3B9-43C0-9C7B-EBC0A4EB9E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5650" y="3209628"/>
            <a:ext cx="2386787" cy="1351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C106E31-BFF7-444C-9A07-A84536281732}"/>
              </a:ext>
            </a:extLst>
          </p:cNvPr>
          <p:cNvSpPr txBox="1"/>
          <p:nvPr/>
        </p:nvSpPr>
        <p:spPr>
          <a:xfrm>
            <a:off x="6102576" y="1438543"/>
            <a:ext cx="2370893" cy="14276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Jesteśmy </a:t>
            </a:r>
            <a:r>
              <a:rPr lang="pl-PL" sz="900" b="1" dirty="0">
                <a:solidFill>
                  <a:schemeClr val="accent1">
                    <a:lumMod val="75000"/>
                  </a:schemeClr>
                </a:solidFill>
              </a:rPr>
              <a:t>zaangażowani w rozwijanie konkurencyjnych, lokalnych łańcuchów dostaw,</a:t>
            </a: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 które służą budowie, eksploatacji i konserwacji lokalnych farm wiatrowych.</a:t>
            </a:r>
          </a:p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900" b="1" dirty="0">
                <a:solidFill>
                  <a:schemeClr val="accent1">
                    <a:lumMod val="75000"/>
                  </a:schemeClr>
                </a:solidFill>
              </a:rPr>
              <a:t>Ściśle współpracujemy z lokalnymi firmami </a:t>
            </a: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w celu realizacji znaczących projektów infrastrukturalnych, pomagając tym samym generować regionalny rozwój gospodarczy.</a:t>
            </a:r>
            <a:endParaRPr lang="en-GB" sz="9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5B3DB4C-1BB0-4C8B-8935-36BFAE71C9F4}"/>
              </a:ext>
            </a:extLst>
          </p:cNvPr>
          <p:cNvSpPr/>
          <p:nvPr/>
        </p:nvSpPr>
        <p:spPr>
          <a:xfrm>
            <a:off x="339637" y="870385"/>
            <a:ext cx="27913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200" b="1" dirty="0">
                <a:solidFill>
                  <a:srgbClr val="00B0F0"/>
                </a:solidFill>
              </a:rPr>
              <a:t>Zatrudniamy lokalne firmy                 tworzymy miejsca pracy</a:t>
            </a:r>
            <a:endParaRPr lang="en-US" sz="1200" b="1" dirty="0">
              <a:solidFill>
                <a:srgbClr val="00B0F0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9A53F5B-723E-4E9D-8420-A7E850E292A6}"/>
              </a:ext>
            </a:extLst>
          </p:cNvPr>
          <p:cNvSpPr/>
          <p:nvPr/>
        </p:nvSpPr>
        <p:spPr>
          <a:xfrm>
            <a:off x="3343228" y="902981"/>
            <a:ext cx="21330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sz="1200" b="1" dirty="0">
                <a:solidFill>
                  <a:srgbClr val="00B0F0"/>
                </a:solidFill>
              </a:rPr>
              <a:t>Edukujemy przyszłe kadry</a:t>
            </a:r>
            <a:endParaRPr lang="en-US" sz="1200" b="1" dirty="0">
              <a:solidFill>
                <a:srgbClr val="00B0F0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0D66CFC-B8B6-4E72-BDD5-31ED0DC204CB}"/>
              </a:ext>
            </a:extLst>
          </p:cNvPr>
          <p:cNvSpPr/>
          <p:nvPr/>
        </p:nvSpPr>
        <p:spPr>
          <a:xfrm>
            <a:off x="6011267" y="839064"/>
            <a:ext cx="3295937" cy="4693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B0F0"/>
                </a:solidFill>
              </a:rPr>
              <a:t>W</a:t>
            </a:r>
            <a:r>
              <a:rPr lang="pl-PL" b="1" dirty="0">
                <a:solidFill>
                  <a:srgbClr val="00B0F0"/>
                </a:solidFill>
              </a:rPr>
              <a:t>spieramy lokalny</a:t>
            </a:r>
          </a:p>
          <a:p>
            <a:r>
              <a:rPr lang="pl-PL" b="1" dirty="0">
                <a:solidFill>
                  <a:srgbClr val="00B0F0"/>
                </a:solidFill>
              </a:rPr>
              <a:t> łańcuch dostawców</a:t>
            </a:r>
            <a:endParaRPr lang="en-GB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1200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78287C0-367F-4122-A2FF-FE475BC5E978}"/>
              </a:ext>
            </a:extLst>
          </p:cNvPr>
          <p:cNvSpPr>
            <a:spLocks/>
          </p:cNvSpPr>
          <p:nvPr/>
        </p:nvSpPr>
        <p:spPr>
          <a:xfrm>
            <a:off x="35" y="0"/>
            <a:ext cx="9148904" cy="514350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21BBD3D-5F03-41FC-B104-5D85378D71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15080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21BBD3D-5F03-41FC-B104-5D85378D7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EA58CD9-26CB-46D1-B4EF-77285D87E88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ziękuję za uwagę</a:t>
            </a:r>
            <a:endParaRPr lang="en-GB" sz="4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6E6984-1208-4DC0-BB73-B4DA85D25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/>
              <a:pPr/>
              <a:t>12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D448BE-FAB6-412E-A5E6-6DA45EDE92B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000" y="4304743"/>
            <a:ext cx="1692000" cy="479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8631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EB03E47-D277-4660-834B-EA485470CD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7467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8" imgW="338" imgH="338" progId="TCLayout.ActiveDocument.1">
                  <p:embed/>
                </p:oleObj>
              </mc:Choice>
              <mc:Fallback>
                <p:oleObj name="think-cell Slide" r:id="rId8" imgW="338" imgH="33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EB03E47-D277-4660-834B-EA485470CD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EFE6092-6968-4D95-A887-2352D5788313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noProof="0" dirty="0">
              <a:latin typeface="Orsted Sans Office" panose="00000500000000000000" pitchFamily="2" charset="0"/>
              <a:ea typeface="+mj-ea"/>
              <a:cs typeface="+mj-cs"/>
              <a:sym typeface="Orsted Sans Office" panose="00000500000000000000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949920F-D352-49C3-B032-0053BD698F9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286"/>
            <a:ext cx="9148068" cy="51412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458C07A-B3A1-4316-BC58-F23D1C937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7" y="1781433"/>
            <a:ext cx="8280000" cy="576000"/>
          </a:xfrm>
        </p:spPr>
        <p:txBody>
          <a:bodyPr/>
          <a:lstStyle/>
          <a:p>
            <a:r>
              <a:rPr lang="pl-PL" sz="3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Dlaczego Polska?</a:t>
            </a:r>
            <a:endParaRPr lang="en-GB" sz="3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00DDDF-81D2-4972-B02A-788074FBC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2000" y="4560091"/>
            <a:ext cx="280464" cy="3674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622048" rtl="0" eaLnBrk="1" latinLnBrk="0" hangingPunct="1">
              <a:lnSpc>
                <a:spcPct val="95000"/>
              </a:lnSpc>
              <a:defRPr sz="7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311024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048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307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44097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5121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66145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7169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8819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22048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lang="en-GB" smtClean="0"/>
              <a:pPr marL="0" marR="0" lvl="0" indent="0" algn="l" defTabSz="622048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99A4AE"/>
              </a:solidFill>
              <a:effectLst/>
              <a:uLnTx/>
              <a:uFillTx/>
              <a:latin typeface="Orsted Sans Office" panose="00000500000000000000" pitchFamily="2" charset="0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CB964EE-0A2A-40D9-8517-C5C09736BBCD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52400" y="4712580"/>
            <a:ext cx="756000" cy="206898"/>
          </a:xfrm>
          <a:prstGeom prst="rect">
            <a:avLst/>
          </a:prstGeom>
        </p:spPr>
      </p:pic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39E4346-4307-4D9E-BAFA-39DEC82AB42D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67021352"/>
              </p:ext>
            </p:extLst>
          </p:nvPr>
        </p:nvGraphicFramePr>
        <p:xfrm>
          <a:off x="159" y="2001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12" imgW="592" imgH="595" progId="TCLayout.ActiveDocument.1">
                  <p:embed/>
                </p:oleObj>
              </mc:Choice>
              <mc:Fallback>
                <p:oleObj name="think-cell Slide" r:id="rId12" imgW="592" imgH="59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39E4346-4307-4D9E-BAFA-39DEC82AB4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" y="2001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A72539C4-3238-47F8-B7E3-BE88F02E0C21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8861134"/>
              </p:ext>
            </p:extLst>
          </p:nvPr>
        </p:nvGraphicFramePr>
        <p:xfrm>
          <a:off x="152559" y="3525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Slide" r:id="rId14" imgW="592" imgH="595" progId="TCLayout.ActiveDocument.1">
                  <p:embed/>
                </p:oleObj>
              </mc:Choice>
              <mc:Fallback>
                <p:oleObj name="think-cell Slide" r:id="rId14" imgW="592" imgH="595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A72539C4-3238-47F8-B7E3-BE88F02E0C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559" y="3525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" name="Group 16">
            <a:extLst>
              <a:ext uri="{FF2B5EF4-FFF2-40B4-BE49-F238E27FC236}">
                <a16:creationId xmlns:a16="http://schemas.microsoft.com/office/drawing/2014/main" id="{BFFAC32B-D211-45A6-8165-E86B7EBCF2A3}"/>
              </a:ext>
            </a:extLst>
          </p:cNvPr>
          <p:cNvGrpSpPr>
            <a:grpSpLocks noChangeAspect="1"/>
          </p:cNvGrpSpPr>
          <p:nvPr/>
        </p:nvGrpSpPr>
        <p:grpSpPr>
          <a:xfrm>
            <a:off x="261937" y="216000"/>
            <a:ext cx="741363" cy="741363"/>
            <a:chOff x="1773238" y="3448047"/>
            <a:chExt cx="390525" cy="390525"/>
          </a:xfrm>
          <a:solidFill>
            <a:schemeClr val="bg1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8D68A14-5000-4B51-85D8-EF30FAB6A5EE}"/>
                </a:ext>
              </a:extLst>
            </p:cNvPr>
            <p:cNvSpPr/>
            <p:nvPr/>
          </p:nvSpPr>
          <p:spPr>
            <a:xfrm>
              <a:off x="1926019" y="3564633"/>
              <a:ext cx="66675" cy="161925"/>
            </a:xfrm>
            <a:custGeom>
              <a:avLst/>
              <a:gdLst>
                <a:gd name="connsiteX0" fmla="*/ 68008 w 66675"/>
                <a:gd name="connsiteY0" fmla="*/ 158306 h 161925"/>
                <a:gd name="connsiteX1" fmla="*/ 38005 w 66675"/>
                <a:gd name="connsiteY1" fmla="*/ 158306 h 161925"/>
                <a:gd name="connsiteX2" fmla="*/ 38005 w 66675"/>
                <a:gd name="connsiteY2" fmla="*/ 35719 h 161925"/>
                <a:gd name="connsiteX3" fmla="*/ 7144 w 66675"/>
                <a:gd name="connsiteY3" fmla="*/ 35719 h 161925"/>
                <a:gd name="connsiteX4" fmla="*/ 14668 w 66675"/>
                <a:gd name="connsiteY4" fmla="*/ 7144 h 161925"/>
                <a:gd name="connsiteX5" fmla="*/ 68008 w 66675"/>
                <a:gd name="connsiteY5" fmla="*/ 7144 h 161925"/>
                <a:gd name="connsiteX6" fmla="*/ 68008 w 66675"/>
                <a:gd name="connsiteY6" fmla="*/ 158306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75" h="161925">
                  <a:moveTo>
                    <a:pt x="68008" y="158306"/>
                  </a:moveTo>
                  <a:lnTo>
                    <a:pt x="38005" y="158306"/>
                  </a:lnTo>
                  <a:lnTo>
                    <a:pt x="38005" y="35719"/>
                  </a:lnTo>
                  <a:lnTo>
                    <a:pt x="7144" y="35719"/>
                  </a:lnTo>
                  <a:lnTo>
                    <a:pt x="14668" y="7144"/>
                  </a:lnTo>
                  <a:lnTo>
                    <a:pt x="68008" y="7144"/>
                  </a:lnTo>
                  <a:lnTo>
                    <a:pt x="68008" y="158306"/>
                  </a:lnTo>
                  <a:close/>
                </a:path>
              </a:pathLst>
            </a:custGeom>
            <a:grpFill/>
            <a:ln w="9525" cap="flat">
              <a:solidFill>
                <a:schemeClr val="accent6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FEC39E4-AAD4-472C-B6DD-64F6CDB95C9B}"/>
                </a:ext>
              </a:extLst>
            </p:cNvPr>
            <p:cNvSpPr/>
            <p:nvPr/>
          </p:nvSpPr>
          <p:spPr>
            <a:xfrm>
              <a:off x="1773238" y="3448047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9" y="29051"/>
                    <a:pt x="285750" y="46673"/>
                    <a:pt x="317659" y="78581"/>
                  </a:cubicBezTo>
                  <a:cubicBezTo>
                    <a:pt x="349568" y="110490"/>
                    <a:pt x="367189" y="152972"/>
                    <a:pt x="367189" y="198120"/>
                  </a:cubicBezTo>
                  <a:cubicBezTo>
                    <a:pt x="367189" y="243269"/>
                    <a:pt x="349568" y="285750"/>
                    <a:pt x="317659" y="317659"/>
                  </a:cubicBezTo>
                  <a:cubicBezTo>
                    <a:pt x="285750" y="349568"/>
                    <a:pt x="243269" y="367189"/>
                    <a:pt x="198120" y="367189"/>
                  </a:cubicBezTo>
                  <a:cubicBezTo>
                    <a:pt x="152972" y="367189"/>
                    <a:pt x="110490" y="349568"/>
                    <a:pt x="78581" y="317659"/>
                  </a:cubicBezTo>
                  <a:cubicBezTo>
                    <a:pt x="46673" y="285750"/>
                    <a:pt x="29051" y="243269"/>
                    <a:pt x="29051" y="198120"/>
                  </a:cubicBezTo>
                  <a:cubicBezTo>
                    <a:pt x="29051" y="152972"/>
                    <a:pt x="46673" y="110490"/>
                    <a:pt x="78581" y="78581"/>
                  </a:cubicBezTo>
                  <a:cubicBezTo>
                    <a:pt x="110490" y="46673"/>
                    <a:pt x="152972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solidFill>
                <a:schemeClr val="accent6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240726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33A2A50-E181-4699-8F1D-F7F3BDA8F08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pl-PL" b="1" dirty="0">
                <a:hlinkClick r:id="rId13"/>
              </a:rPr>
              <a:t>* </a:t>
            </a:r>
            <a:r>
              <a:rPr lang="pl-PL" dirty="0">
                <a:hlinkClick r:id="rId13"/>
              </a:rPr>
              <a:t>źródło: Badania świadomości i zachowań ekologicznych dot.. energii wiatrowej, przeprowadzone w listopadzie 2020 r. dla Ministerstwa Klimatu i Środowiska.  </a:t>
            </a:r>
            <a:endParaRPr lang="da-DK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CFC4E6A-3378-4C6D-8637-97CB988F8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z="1600" dirty="0">
                <a:solidFill>
                  <a:srgbClr val="00B0F0"/>
                </a:solidFill>
              </a:rPr>
              <a:t>Polska ma korzystne warunki rozwoju morskich farm wiatrowych</a:t>
            </a:r>
            <a:endParaRPr lang="en-GB" sz="1600" dirty="0">
              <a:solidFill>
                <a:srgbClr val="4E9DD4"/>
              </a:solidFill>
              <a:latin typeface="+mn-lt"/>
            </a:endParaRPr>
          </a:p>
        </p:txBody>
      </p:sp>
      <p:sp>
        <p:nvSpPr>
          <p:cNvPr id="235" name="Title 5">
            <a:extLst>
              <a:ext uri="{FF2B5EF4-FFF2-40B4-BE49-F238E27FC236}">
                <a16:creationId xmlns:a16="http://schemas.microsoft.com/office/drawing/2014/main" id="{B4EBFE13-55AC-4C71-BA50-5275F5AB6A7B}"/>
              </a:ext>
            </a:extLst>
          </p:cNvPr>
          <p:cNvSpPr txBox="1">
            <a:spLocks/>
          </p:cNvSpPr>
          <p:nvPr/>
        </p:nvSpPr>
        <p:spPr>
          <a:xfrm>
            <a:off x="1714965" y="4089607"/>
            <a:ext cx="948673" cy="34064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algn="l" defTabSz="1007943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200" b="1" i="0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600" b="0" dirty="0">
                <a:solidFill>
                  <a:schemeClr val="bg1"/>
                </a:solidFill>
                <a:latin typeface="Orsted Sans Office" panose="00000500000000000000" pitchFamily="2" charset="0"/>
              </a:rPr>
              <a:t>Germany</a:t>
            </a:r>
            <a:endParaRPr lang="da-DK" sz="600" b="0" dirty="0">
              <a:solidFill>
                <a:schemeClr val="bg1"/>
              </a:solidFill>
              <a:latin typeface="Orsted Sans Office" panose="00000500000000000000" pitchFamily="2" charset="0"/>
            </a:endParaRPr>
          </a:p>
        </p:txBody>
      </p: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AA19D674-B891-4A21-BD5D-CECD727374C6}"/>
              </a:ext>
            </a:extLst>
          </p:cNvPr>
          <p:cNvGrpSpPr>
            <a:grpSpLocks/>
          </p:cNvGrpSpPr>
          <p:nvPr/>
        </p:nvGrpSpPr>
        <p:grpSpPr>
          <a:xfrm>
            <a:off x="-43248" y="832793"/>
            <a:ext cx="4593599" cy="3721814"/>
            <a:chOff x="2029" y="1108952"/>
            <a:chExt cx="6073343" cy="4955620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214" name="Freeform 809">
              <a:extLst>
                <a:ext uri="{FF2B5EF4-FFF2-40B4-BE49-F238E27FC236}">
                  <a16:creationId xmlns:a16="http://schemas.microsoft.com/office/drawing/2014/main" id="{44936BB9-53AE-42DA-8AE0-B6DAB037AE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4321" y="5616962"/>
              <a:ext cx="6350" cy="12698"/>
            </a:xfrm>
            <a:custGeom>
              <a:avLst/>
              <a:gdLst>
                <a:gd name="T0" fmla="*/ 4 w 4"/>
                <a:gd name="T1" fmla="*/ 0 h 8"/>
                <a:gd name="T2" fmla="*/ 2 w 4"/>
                <a:gd name="T3" fmla="*/ 2 h 8"/>
                <a:gd name="T4" fmla="*/ 0 w 4"/>
                <a:gd name="T5" fmla="*/ 8 h 8"/>
                <a:gd name="T6" fmla="*/ 2 w 4"/>
                <a:gd name="T7" fmla="*/ 2 h 8"/>
                <a:gd name="T8" fmla="*/ 4 w 4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2" y="2"/>
                  </a:lnTo>
                  <a:lnTo>
                    <a:pt x="0" y="8"/>
                  </a:lnTo>
                  <a:lnTo>
                    <a:pt x="2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15" name="Freeform 810">
              <a:extLst>
                <a:ext uri="{FF2B5EF4-FFF2-40B4-BE49-F238E27FC236}">
                  <a16:creationId xmlns:a16="http://schemas.microsoft.com/office/drawing/2014/main" id="{52B3235C-B375-43DA-AC96-72033209A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8820" y="5594741"/>
              <a:ext cx="19050" cy="19047"/>
            </a:xfrm>
            <a:custGeom>
              <a:avLst/>
              <a:gdLst>
                <a:gd name="T0" fmla="*/ 6 w 12"/>
                <a:gd name="T1" fmla="*/ 2 h 12"/>
                <a:gd name="T2" fmla="*/ 8 w 12"/>
                <a:gd name="T3" fmla="*/ 0 h 12"/>
                <a:gd name="T4" fmla="*/ 12 w 12"/>
                <a:gd name="T5" fmla="*/ 2 h 12"/>
                <a:gd name="T6" fmla="*/ 8 w 12"/>
                <a:gd name="T7" fmla="*/ 0 h 12"/>
                <a:gd name="T8" fmla="*/ 6 w 12"/>
                <a:gd name="T9" fmla="*/ 2 h 12"/>
                <a:gd name="T10" fmla="*/ 2 w 12"/>
                <a:gd name="T11" fmla="*/ 8 h 12"/>
                <a:gd name="T12" fmla="*/ 0 w 12"/>
                <a:gd name="T13" fmla="*/ 12 h 12"/>
                <a:gd name="T14" fmla="*/ 2 w 12"/>
                <a:gd name="T15" fmla="*/ 8 h 12"/>
                <a:gd name="T16" fmla="*/ 6 w 12"/>
                <a:gd name="T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2">
                  <a:moveTo>
                    <a:pt x="6" y="2"/>
                  </a:moveTo>
                  <a:lnTo>
                    <a:pt x="8" y="0"/>
                  </a:lnTo>
                  <a:lnTo>
                    <a:pt x="12" y="2"/>
                  </a:lnTo>
                  <a:lnTo>
                    <a:pt x="8" y="0"/>
                  </a:lnTo>
                  <a:lnTo>
                    <a:pt x="6" y="2"/>
                  </a:lnTo>
                  <a:lnTo>
                    <a:pt x="2" y="8"/>
                  </a:lnTo>
                  <a:lnTo>
                    <a:pt x="0" y="12"/>
                  </a:lnTo>
                  <a:lnTo>
                    <a:pt x="2" y="8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16" name="Freeform 811">
              <a:extLst>
                <a:ext uri="{FF2B5EF4-FFF2-40B4-BE49-F238E27FC236}">
                  <a16:creationId xmlns:a16="http://schemas.microsoft.com/office/drawing/2014/main" id="{9FBBF62A-8AFB-48F5-8588-6D95C213E7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307" y="5636010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0 h 2"/>
                <a:gd name="T4" fmla="*/ 0 w 4"/>
                <a:gd name="T5" fmla="*/ 0 h 2"/>
                <a:gd name="T6" fmla="*/ 2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17" name="Freeform 812">
              <a:extLst>
                <a:ext uri="{FF2B5EF4-FFF2-40B4-BE49-F238E27FC236}">
                  <a16:creationId xmlns:a16="http://schemas.microsoft.com/office/drawing/2014/main" id="{936A742A-4925-44CC-9358-721B56BF90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7557" y="5626486"/>
              <a:ext cx="15875" cy="12698"/>
            </a:xfrm>
            <a:custGeom>
              <a:avLst/>
              <a:gdLst>
                <a:gd name="T0" fmla="*/ 8 w 10"/>
                <a:gd name="T1" fmla="*/ 8 h 8"/>
                <a:gd name="T2" fmla="*/ 10 w 10"/>
                <a:gd name="T3" fmla="*/ 8 h 8"/>
                <a:gd name="T4" fmla="*/ 8 w 10"/>
                <a:gd name="T5" fmla="*/ 8 h 8"/>
                <a:gd name="T6" fmla="*/ 4 w 10"/>
                <a:gd name="T7" fmla="*/ 4 h 8"/>
                <a:gd name="T8" fmla="*/ 0 w 10"/>
                <a:gd name="T9" fmla="*/ 0 h 8"/>
                <a:gd name="T10" fmla="*/ 4 w 10"/>
                <a:gd name="T11" fmla="*/ 4 h 8"/>
                <a:gd name="T12" fmla="*/ 8 w 1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8">
                  <a:moveTo>
                    <a:pt x="8" y="8"/>
                  </a:moveTo>
                  <a:lnTo>
                    <a:pt x="10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0" y="0"/>
                  </a:lnTo>
                  <a:lnTo>
                    <a:pt x="4" y="4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18" name="Freeform 813">
              <a:extLst>
                <a:ext uri="{FF2B5EF4-FFF2-40B4-BE49-F238E27FC236}">
                  <a16:creationId xmlns:a16="http://schemas.microsoft.com/office/drawing/2014/main" id="{34D68A08-422E-447B-A0CF-4FC7385F7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0245" y="5639184"/>
              <a:ext cx="6350" cy="1587"/>
            </a:xfrm>
            <a:custGeom>
              <a:avLst/>
              <a:gdLst>
                <a:gd name="T0" fmla="*/ 4 w 4"/>
                <a:gd name="T1" fmla="*/ 1 h 1"/>
                <a:gd name="T2" fmla="*/ 2 w 4"/>
                <a:gd name="T3" fmla="*/ 1 h 1"/>
                <a:gd name="T4" fmla="*/ 0 w 4"/>
                <a:gd name="T5" fmla="*/ 0 h 1"/>
                <a:gd name="T6" fmla="*/ 2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lnTo>
                    <a:pt x="2" y="1"/>
                  </a:lnTo>
                  <a:lnTo>
                    <a:pt x="0" y="0"/>
                  </a:lnTo>
                  <a:lnTo>
                    <a:pt x="2" y="1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19" name="Freeform 814">
              <a:extLst>
                <a:ext uri="{FF2B5EF4-FFF2-40B4-BE49-F238E27FC236}">
                  <a16:creationId xmlns:a16="http://schemas.microsoft.com/office/drawing/2014/main" id="{F3DBC78A-EF50-4B70-BA4A-6B6161A6B7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6120" y="5629661"/>
              <a:ext cx="9525" cy="9524"/>
            </a:xfrm>
            <a:custGeom>
              <a:avLst/>
              <a:gdLst>
                <a:gd name="T0" fmla="*/ 6 w 6"/>
                <a:gd name="T1" fmla="*/ 0 h 6"/>
                <a:gd name="T2" fmla="*/ 4 w 6"/>
                <a:gd name="T3" fmla="*/ 2 h 6"/>
                <a:gd name="T4" fmla="*/ 0 w 6"/>
                <a:gd name="T5" fmla="*/ 6 h 6"/>
                <a:gd name="T6" fmla="*/ 4 w 6"/>
                <a:gd name="T7" fmla="*/ 2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4" y="2"/>
                  </a:lnTo>
                  <a:lnTo>
                    <a:pt x="0" y="6"/>
                  </a:lnTo>
                  <a:lnTo>
                    <a:pt x="4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20" name="Freeform 815">
              <a:extLst>
                <a:ext uri="{FF2B5EF4-FFF2-40B4-BE49-F238E27FC236}">
                  <a16:creationId xmlns:a16="http://schemas.microsoft.com/office/drawing/2014/main" id="{904D10C6-B33D-4594-B941-AF0A5EC95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70" y="5601090"/>
              <a:ext cx="7938" cy="6349"/>
            </a:xfrm>
            <a:custGeom>
              <a:avLst/>
              <a:gdLst>
                <a:gd name="T0" fmla="*/ 5 w 5"/>
                <a:gd name="T1" fmla="*/ 4 h 4"/>
                <a:gd name="T2" fmla="*/ 4 w 5"/>
                <a:gd name="T3" fmla="*/ 2 h 4"/>
                <a:gd name="T4" fmla="*/ 0 w 5"/>
                <a:gd name="T5" fmla="*/ 0 h 4"/>
                <a:gd name="T6" fmla="*/ 4 w 5"/>
                <a:gd name="T7" fmla="*/ 2 h 4"/>
                <a:gd name="T8" fmla="*/ 5 w 5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5" y="4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4" y="2"/>
                  </a:lnTo>
                  <a:lnTo>
                    <a:pt x="5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21" name="Freeform 816">
              <a:extLst>
                <a:ext uri="{FF2B5EF4-FFF2-40B4-BE49-F238E27FC236}">
                  <a16:creationId xmlns:a16="http://schemas.microsoft.com/office/drawing/2014/main" id="{B9322796-F6B2-42E0-81E1-180700004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6607" y="5639184"/>
              <a:ext cx="3175" cy="0"/>
            </a:xfrm>
            <a:custGeom>
              <a:avLst/>
              <a:gdLst>
                <a:gd name="T0" fmla="*/ 0 w 2"/>
                <a:gd name="T1" fmla="*/ 2 w 2"/>
                <a:gd name="T2" fmla="*/ 2 w 2"/>
                <a:gd name="T3" fmla="*/ 2 w 2"/>
                <a:gd name="T4" fmla="*/ 2 w 2"/>
                <a:gd name="T5" fmla="*/ 2 w 2"/>
                <a:gd name="T6" fmla="*/ 0 w 2"/>
                <a:gd name="T7" fmla="*/ 0 w 2"/>
                <a:gd name="T8" fmla="*/ 0 w 2"/>
                <a:gd name="T9" fmla="*/ 0 w 2"/>
                <a:gd name="T10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24" name="Freeform 817">
              <a:extLst>
                <a:ext uri="{FF2B5EF4-FFF2-40B4-BE49-F238E27FC236}">
                  <a16:creationId xmlns:a16="http://schemas.microsoft.com/office/drawing/2014/main" id="{A6E49C7C-BE42-474C-B19C-1D60278BC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995" y="5636010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0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25" name="Freeform 818">
              <a:extLst>
                <a:ext uri="{FF2B5EF4-FFF2-40B4-BE49-F238E27FC236}">
                  <a16:creationId xmlns:a16="http://schemas.microsoft.com/office/drawing/2014/main" id="{2DBD5111-7607-49A0-B4D8-7692720F7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1783" y="5555059"/>
              <a:ext cx="9525" cy="46031"/>
            </a:xfrm>
            <a:custGeom>
              <a:avLst/>
              <a:gdLst>
                <a:gd name="T0" fmla="*/ 4 w 6"/>
                <a:gd name="T1" fmla="*/ 19 h 29"/>
                <a:gd name="T2" fmla="*/ 6 w 6"/>
                <a:gd name="T3" fmla="*/ 12 h 29"/>
                <a:gd name="T4" fmla="*/ 6 w 6"/>
                <a:gd name="T5" fmla="*/ 6 h 29"/>
                <a:gd name="T6" fmla="*/ 6 w 6"/>
                <a:gd name="T7" fmla="*/ 0 h 29"/>
                <a:gd name="T8" fmla="*/ 6 w 6"/>
                <a:gd name="T9" fmla="*/ 6 h 29"/>
                <a:gd name="T10" fmla="*/ 6 w 6"/>
                <a:gd name="T11" fmla="*/ 12 h 29"/>
                <a:gd name="T12" fmla="*/ 4 w 6"/>
                <a:gd name="T13" fmla="*/ 19 h 29"/>
                <a:gd name="T14" fmla="*/ 2 w 6"/>
                <a:gd name="T15" fmla="*/ 27 h 29"/>
                <a:gd name="T16" fmla="*/ 0 w 6"/>
                <a:gd name="T17" fmla="*/ 29 h 29"/>
                <a:gd name="T18" fmla="*/ 2 w 6"/>
                <a:gd name="T19" fmla="*/ 27 h 29"/>
                <a:gd name="T20" fmla="*/ 4 w 6"/>
                <a:gd name="T21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29">
                  <a:moveTo>
                    <a:pt x="4" y="19"/>
                  </a:moveTo>
                  <a:lnTo>
                    <a:pt x="6" y="12"/>
                  </a:lnTo>
                  <a:lnTo>
                    <a:pt x="6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4" y="19"/>
                  </a:lnTo>
                  <a:lnTo>
                    <a:pt x="2" y="27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26" name="Freeform 819">
              <a:extLst>
                <a:ext uri="{FF2B5EF4-FFF2-40B4-BE49-F238E27FC236}">
                  <a16:creationId xmlns:a16="http://schemas.microsoft.com/office/drawing/2014/main" id="{C1E6823F-3B27-4972-888C-09124AC40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70" y="5639184"/>
              <a:ext cx="6350" cy="1587"/>
            </a:xfrm>
            <a:custGeom>
              <a:avLst/>
              <a:gdLst>
                <a:gd name="T0" fmla="*/ 4 w 4"/>
                <a:gd name="T1" fmla="*/ 1 h 1"/>
                <a:gd name="T2" fmla="*/ 0 w 4"/>
                <a:gd name="T3" fmla="*/ 1 h 1"/>
                <a:gd name="T4" fmla="*/ 0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27" name="Freeform 820">
              <a:extLst>
                <a:ext uri="{FF2B5EF4-FFF2-40B4-BE49-F238E27FC236}">
                  <a16:creationId xmlns:a16="http://schemas.microsoft.com/office/drawing/2014/main" id="{00D63551-F6D2-48A2-BAC8-8AC745CFD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6770" y="5639184"/>
              <a:ext cx="3175" cy="1587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1 h 1"/>
                <a:gd name="T4" fmla="*/ 0 w 2"/>
                <a:gd name="T5" fmla="*/ 1 h 1"/>
                <a:gd name="T6" fmla="*/ 0 w 2"/>
                <a:gd name="T7" fmla="*/ 1 h 1"/>
                <a:gd name="T8" fmla="*/ 2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28" name="Freeform 821">
              <a:extLst>
                <a:ext uri="{FF2B5EF4-FFF2-40B4-BE49-F238E27FC236}">
                  <a16:creationId xmlns:a16="http://schemas.microsoft.com/office/drawing/2014/main" id="{5FABDCD9-1988-4321-A045-5EA11D7BE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9782" y="5639184"/>
              <a:ext cx="3175" cy="0"/>
            </a:xfrm>
            <a:custGeom>
              <a:avLst/>
              <a:gdLst>
                <a:gd name="T0" fmla="*/ 0 w 2"/>
                <a:gd name="T1" fmla="*/ 2 w 2"/>
                <a:gd name="T2" fmla="*/ 0 w 2"/>
                <a:gd name="T3" fmla="*/ 0 w 2"/>
                <a:gd name="T4" fmla="*/ 0 w 2"/>
                <a:gd name="T5" fmla="*/ 0 w 2"/>
                <a:gd name="T6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29" name="Freeform 822">
              <a:extLst>
                <a:ext uri="{FF2B5EF4-FFF2-40B4-BE49-F238E27FC236}">
                  <a16:creationId xmlns:a16="http://schemas.microsoft.com/office/drawing/2014/main" id="{D4CEDD8D-9802-4AA5-BAD5-97D1DF1A56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658" y="5545535"/>
              <a:ext cx="19050" cy="6349"/>
            </a:xfrm>
            <a:custGeom>
              <a:avLst/>
              <a:gdLst>
                <a:gd name="T0" fmla="*/ 4 w 12"/>
                <a:gd name="T1" fmla="*/ 4 h 4"/>
                <a:gd name="T2" fmla="*/ 10 w 12"/>
                <a:gd name="T3" fmla="*/ 0 h 4"/>
                <a:gd name="T4" fmla="*/ 12 w 12"/>
                <a:gd name="T5" fmla="*/ 0 h 4"/>
                <a:gd name="T6" fmla="*/ 10 w 12"/>
                <a:gd name="T7" fmla="*/ 0 h 4"/>
                <a:gd name="T8" fmla="*/ 4 w 12"/>
                <a:gd name="T9" fmla="*/ 4 h 4"/>
                <a:gd name="T10" fmla="*/ 2 w 12"/>
                <a:gd name="T11" fmla="*/ 4 h 4"/>
                <a:gd name="T12" fmla="*/ 0 w 12"/>
                <a:gd name="T13" fmla="*/ 4 h 4"/>
                <a:gd name="T14" fmla="*/ 2 w 12"/>
                <a:gd name="T15" fmla="*/ 4 h 4"/>
                <a:gd name="T16" fmla="*/ 4 w 12"/>
                <a:gd name="T1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4">
                  <a:moveTo>
                    <a:pt x="4" y="4"/>
                  </a:moveTo>
                  <a:lnTo>
                    <a:pt x="10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30" name="Freeform 823">
              <a:extLst>
                <a:ext uri="{FF2B5EF4-FFF2-40B4-BE49-F238E27FC236}">
                  <a16:creationId xmlns:a16="http://schemas.microsoft.com/office/drawing/2014/main" id="{8EE6C0F7-950A-484F-9365-302141ABE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2197" y="5643946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31" name="Freeform 824">
              <a:extLst>
                <a:ext uri="{FF2B5EF4-FFF2-40B4-BE49-F238E27FC236}">
                  <a16:creationId xmlns:a16="http://schemas.microsoft.com/office/drawing/2014/main" id="{B93CEE59-0CFA-444C-88BE-C37AF05FF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2197" y="5643946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32" name="Freeform 825">
              <a:extLst>
                <a:ext uri="{FF2B5EF4-FFF2-40B4-BE49-F238E27FC236}">
                  <a16:creationId xmlns:a16="http://schemas.microsoft.com/office/drawing/2014/main" id="{BD9D090A-6B77-4B74-86FC-22FBC733B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0584" y="5570932"/>
              <a:ext cx="3175" cy="7936"/>
            </a:xfrm>
            <a:custGeom>
              <a:avLst/>
              <a:gdLst>
                <a:gd name="T0" fmla="*/ 2 w 2"/>
                <a:gd name="T1" fmla="*/ 2 h 5"/>
                <a:gd name="T2" fmla="*/ 2 w 2"/>
                <a:gd name="T3" fmla="*/ 0 h 5"/>
                <a:gd name="T4" fmla="*/ 2 w 2"/>
                <a:gd name="T5" fmla="*/ 2 h 5"/>
                <a:gd name="T6" fmla="*/ 0 w 2"/>
                <a:gd name="T7" fmla="*/ 5 h 5"/>
                <a:gd name="T8" fmla="*/ 0 w 2"/>
                <a:gd name="T9" fmla="*/ 5 h 5"/>
                <a:gd name="T10" fmla="*/ 0 w 2"/>
                <a:gd name="T11" fmla="*/ 5 h 5"/>
                <a:gd name="T12" fmla="*/ 2 w 2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5">
                  <a:moveTo>
                    <a:pt x="2" y="2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33" name="Freeform 826">
              <a:extLst>
                <a:ext uri="{FF2B5EF4-FFF2-40B4-BE49-F238E27FC236}">
                  <a16:creationId xmlns:a16="http://schemas.microsoft.com/office/drawing/2014/main" id="{E95EA64F-4C42-4B25-9C0D-97E232769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459" y="5578868"/>
              <a:ext cx="3175" cy="3175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2 h 2"/>
                <a:gd name="T4" fmla="*/ 2 w 2"/>
                <a:gd name="T5" fmla="*/ 0 h 2"/>
                <a:gd name="T6" fmla="*/ 2 w 2"/>
                <a:gd name="T7" fmla="*/ 2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34" name="Freeform 827">
              <a:extLst>
                <a:ext uri="{FF2B5EF4-FFF2-40B4-BE49-F238E27FC236}">
                  <a16:creationId xmlns:a16="http://schemas.microsoft.com/office/drawing/2014/main" id="{05C697B0-B7C1-4805-A320-28C8DEC6F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9147" y="5513790"/>
              <a:ext cx="0" cy="12698"/>
            </a:xfrm>
            <a:custGeom>
              <a:avLst/>
              <a:gdLst>
                <a:gd name="T0" fmla="*/ 8 h 8"/>
                <a:gd name="T1" fmla="*/ 6 h 8"/>
                <a:gd name="T2" fmla="*/ 0 h 8"/>
                <a:gd name="T3" fmla="*/ 0 h 8"/>
                <a:gd name="T4" fmla="*/ 6 h 8"/>
                <a:gd name="T5" fmla="*/ 8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8">
                  <a:moveTo>
                    <a:pt x="0" y="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46" name="Freeform 828">
              <a:extLst>
                <a:ext uri="{FF2B5EF4-FFF2-40B4-BE49-F238E27FC236}">
                  <a16:creationId xmlns:a16="http://schemas.microsoft.com/office/drawing/2014/main" id="{33520FBA-059C-4F08-9F70-902E0D682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7884" y="5575693"/>
              <a:ext cx="0" cy="6349"/>
            </a:xfrm>
            <a:custGeom>
              <a:avLst/>
              <a:gdLst>
                <a:gd name="T0" fmla="*/ 4 h 4"/>
                <a:gd name="T1" fmla="*/ 4 h 4"/>
                <a:gd name="T2" fmla="*/ 4 h 4"/>
                <a:gd name="T3" fmla="*/ 0 h 4"/>
                <a:gd name="T4" fmla="*/ 0 h 4"/>
                <a:gd name="T5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47" name="Freeform 829">
              <a:extLst>
                <a:ext uri="{FF2B5EF4-FFF2-40B4-BE49-F238E27FC236}">
                  <a16:creationId xmlns:a16="http://schemas.microsoft.com/office/drawing/2014/main" id="{5A4A37F5-2D5A-4E8A-84BC-8C551B6B3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459" y="5585217"/>
              <a:ext cx="19050" cy="25396"/>
            </a:xfrm>
            <a:custGeom>
              <a:avLst/>
              <a:gdLst>
                <a:gd name="T0" fmla="*/ 6 w 12"/>
                <a:gd name="T1" fmla="*/ 12 h 16"/>
                <a:gd name="T2" fmla="*/ 10 w 12"/>
                <a:gd name="T3" fmla="*/ 16 h 16"/>
                <a:gd name="T4" fmla="*/ 12 w 12"/>
                <a:gd name="T5" fmla="*/ 16 h 16"/>
                <a:gd name="T6" fmla="*/ 12 w 12"/>
                <a:gd name="T7" fmla="*/ 12 h 16"/>
                <a:gd name="T8" fmla="*/ 12 w 12"/>
                <a:gd name="T9" fmla="*/ 8 h 16"/>
                <a:gd name="T10" fmla="*/ 12 w 12"/>
                <a:gd name="T11" fmla="*/ 6 h 16"/>
                <a:gd name="T12" fmla="*/ 12 w 12"/>
                <a:gd name="T13" fmla="*/ 8 h 16"/>
                <a:gd name="T14" fmla="*/ 12 w 12"/>
                <a:gd name="T15" fmla="*/ 12 h 16"/>
                <a:gd name="T16" fmla="*/ 12 w 12"/>
                <a:gd name="T17" fmla="*/ 16 h 16"/>
                <a:gd name="T18" fmla="*/ 10 w 12"/>
                <a:gd name="T19" fmla="*/ 16 h 16"/>
                <a:gd name="T20" fmla="*/ 6 w 12"/>
                <a:gd name="T21" fmla="*/ 12 h 16"/>
                <a:gd name="T22" fmla="*/ 4 w 12"/>
                <a:gd name="T23" fmla="*/ 10 h 16"/>
                <a:gd name="T24" fmla="*/ 0 w 12"/>
                <a:gd name="T25" fmla="*/ 0 h 16"/>
                <a:gd name="T26" fmla="*/ 4 w 12"/>
                <a:gd name="T27" fmla="*/ 10 h 16"/>
                <a:gd name="T28" fmla="*/ 6 w 12"/>
                <a:gd name="T29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6">
                  <a:moveTo>
                    <a:pt x="6" y="12"/>
                  </a:moveTo>
                  <a:lnTo>
                    <a:pt x="10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0" y="16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0" y="0"/>
                  </a:lnTo>
                  <a:lnTo>
                    <a:pt x="4" y="10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48" name="Freeform 830">
              <a:extLst>
                <a:ext uri="{FF2B5EF4-FFF2-40B4-BE49-F238E27FC236}">
                  <a16:creationId xmlns:a16="http://schemas.microsoft.com/office/drawing/2014/main" id="{9ECBC7A0-C262-46A0-84BA-940E98221F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7884" y="5567757"/>
              <a:ext cx="6350" cy="7936"/>
            </a:xfrm>
            <a:custGeom>
              <a:avLst/>
              <a:gdLst>
                <a:gd name="T0" fmla="*/ 0 w 4"/>
                <a:gd name="T1" fmla="*/ 2 h 5"/>
                <a:gd name="T2" fmla="*/ 0 w 4"/>
                <a:gd name="T3" fmla="*/ 5 h 5"/>
                <a:gd name="T4" fmla="*/ 0 w 4"/>
                <a:gd name="T5" fmla="*/ 2 h 5"/>
                <a:gd name="T6" fmla="*/ 4 w 4"/>
                <a:gd name="T7" fmla="*/ 0 h 5"/>
                <a:gd name="T8" fmla="*/ 4 w 4"/>
                <a:gd name="T9" fmla="*/ 0 h 5"/>
                <a:gd name="T10" fmla="*/ 0 w 4"/>
                <a:gd name="T1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5">
                  <a:moveTo>
                    <a:pt x="0" y="2"/>
                  </a:moveTo>
                  <a:lnTo>
                    <a:pt x="0" y="5"/>
                  </a:ln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49" name="Freeform 831">
              <a:extLst>
                <a:ext uri="{FF2B5EF4-FFF2-40B4-BE49-F238E27FC236}">
                  <a16:creationId xmlns:a16="http://schemas.microsoft.com/office/drawing/2014/main" id="{0209F423-28CA-4228-B08E-8FBBC8543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709" y="5588392"/>
              <a:ext cx="6350" cy="6349"/>
            </a:xfrm>
            <a:custGeom>
              <a:avLst/>
              <a:gdLst>
                <a:gd name="T0" fmla="*/ 4 w 4"/>
                <a:gd name="T1" fmla="*/ 4 h 4"/>
                <a:gd name="T2" fmla="*/ 4 w 4"/>
                <a:gd name="T3" fmla="*/ 4 h 4"/>
                <a:gd name="T4" fmla="*/ 4 w 4"/>
                <a:gd name="T5" fmla="*/ 4 h 4"/>
                <a:gd name="T6" fmla="*/ 2 w 4"/>
                <a:gd name="T7" fmla="*/ 2 h 4"/>
                <a:gd name="T8" fmla="*/ 0 w 4"/>
                <a:gd name="T9" fmla="*/ 0 h 4"/>
                <a:gd name="T10" fmla="*/ 2 w 4"/>
                <a:gd name="T11" fmla="*/ 2 h 4"/>
                <a:gd name="T12" fmla="*/ 4 w 4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50" name="Rectangle 832">
              <a:extLst>
                <a:ext uri="{FF2B5EF4-FFF2-40B4-BE49-F238E27FC236}">
                  <a16:creationId xmlns:a16="http://schemas.microsoft.com/office/drawing/2014/main" id="{39E98CE8-54B2-48D1-8B08-984BE1431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0897" y="5551884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51" name="Freeform 833">
              <a:extLst>
                <a:ext uri="{FF2B5EF4-FFF2-40B4-BE49-F238E27FC236}">
                  <a16:creationId xmlns:a16="http://schemas.microsoft.com/office/drawing/2014/main" id="{1FEECE78-B524-4E41-ACDA-BB5F63DD7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5497" y="5532837"/>
              <a:ext cx="15875" cy="9524"/>
            </a:xfrm>
            <a:custGeom>
              <a:avLst/>
              <a:gdLst>
                <a:gd name="T0" fmla="*/ 2 w 10"/>
                <a:gd name="T1" fmla="*/ 4 h 6"/>
                <a:gd name="T2" fmla="*/ 8 w 10"/>
                <a:gd name="T3" fmla="*/ 0 h 6"/>
                <a:gd name="T4" fmla="*/ 10 w 10"/>
                <a:gd name="T5" fmla="*/ 0 h 6"/>
                <a:gd name="T6" fmla="*/ 10 w 10"/>
                <a:gd name="T7" fmla="*/ 0 h 6"/>
                <a:gd name="T8" fmla="*/ 8 w 10"/>
                <a:gd name="T9" fmla="*/ 0 h 6"/>
                <a:gd name="T10" fmla="*/ 2 w 10"/>
                <a:gd name="T11" fmla="*/ 4 h 6"/>
                <a:gd name="T12" fmla="*/ 0 w 10"/>
                <a:gd name="T13" fmla="*/ 6 h 6"/>
                <a:gd name="T14" fmla="*/ 0 w 10"/>
                <a:gd name="T15" fmla="*/ 6 h 6"/>
                <a:gd name="T16" fmla="*/ 2 w 10"/>
                <a:gd name="T1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6">
                  <a:moveTo>
                    <a:pt x="2" y="4"/>
                  </a:move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52" name="Freeform 834">
              <a:extLst>
                <a:ext uri="{FF2B5EF4-FFF2-40B4-BE49-F238E27FC236}">
                  <a16:creationId xmlns:a16="http://schemas.microsoft.com/office/drawing/2014/main" id="{955B5C9A-1E61-48F4-AC0A-B67F78026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234" y="5542361"/>
              <a:ext cx="6350" cy="22222"/>
            </a:xfrm>
            <a:custGeom>
              <a:avLst/>
              <a:gdLst>
                <a:gd name="T0" fmla="*/ 4 w 4"/>
                <a:gd name="T1" fmla="*/ 12 h 14"/>
                <a:gd name="T2" fmla="*/ 2 w 4"/>
                <a:gd name="T3" fmla="*/ 14 h 14"/>
                <a:gd name="T4" fmla="*/ 0 w 4"/>
                <a:gd name="T5" fmla="*/ 14 h 14"/>
                <a:gd name="T6" fmla="*/ 2 w 4"/>
                <a:gd name="T7" fmla="*/ 14 h 14"/>
                <a:gd name="T8" fmla="*/ 4 w 4"/>
                <a:gd name="T9" fmla="*/ 12 h 14"/>
                <a:gd name="T10" fmla="*/ 4 w 4"/>
                <a:gd name="T11" fmla="*/ 6 h 14"/>
                <a:gd name="T12" fmla="*/ 4 w 4"/>
                <a:gd name="T13" fmla="*/ 0 h 14"/>
                <a:gd name="T14" fmla="*/ 4 w 4"/>
                <a:gd name="T15" fmla="*/ 0 h 14"/>
                <a:gd name="T16" fmla="*/ 4 w 4"/>
                <a:gd name="T17" fmla="*/ 6 h 14"/>
                <a:gd name="T18" fmla="*/ 4 w 4"/>
                <a:gd name="T1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4">
                  <a:moveTo>
                    <a:pt x="4" y="12"/>
                  </a:moveTo>
                  <a:lnTo>
                    <a:pt x="2" y="14"/>
                  </a:lnTo>
                  <a:lnTo>
                    <a:pt x="0" y="14"/>
                  </a:lnTo>
                  <a:lnTo>
                    <a:pt x="2" y="14"/>
                  </a:lnTo>
                  <a:lnTo>
                    <a:pt x="4" y="12"/>
                  </a:lnTo>
                  <a:lnTo>
                    <a:pt x="4" y="6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6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53" name="Freeform 835">
              <a:extLst>
                <a:ext uri="{FF2B5EF4-FFF2-40B4-BE49-F238E27FC236}">
                  <a16:creationId xmlns:a16="http://schemas.microsoft.com/office/drawing/2014/main" id="{0A2B4888-932E-4CF3-8DEA-0D10D6C16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0422" y="5539186"/>
              <a:ext cx="17463" cy="12698"/>
            </a:xfrm>
            <a:custGeom>
              <a:avLst/>
              <a:gdLst>
                <a:gd name="T0" fmla="*/ 5 w 11"/>
                <a:gd name="T1" fmla="*/ 4 h 8"/>
                <a:gd name="T2" fmla="*/ 7 w 11"/>
                <a:gd name="T3" fmla="*/ 2 h 8"/>
                <a:gd name="T4" fmla="*/ 11 w 11"/>
                <a:gd name="T5" fmla="*/ 0 h 8"/>
                <a:gd name="T6" fmla="*/ 7 w 11"/>
                <a:gd name="T7" fmla="*/ 2 h 8"/>
                <a:gd name="T8" fmla="*/ 5 w 11"/>
                <a:gd name="T9" fmla="*/ 4 h 8"/>
                <a:gd name="T10" fmla="*/ 1 w 11"/>
                <a:gd name="T11" fmla="*/ 6 h 8"/>
                <a:gd name="T12" fmla="*/ 0 w 11"/>
                <a:gd name="T13" fmla="*/ 8 h 8"/>
                <a:gd name="T14" fmla="*/ 1 w 11"/>
                <a:gd name="T15" fmla="*/ 6 h 8"/>
                <a:gd name="T16" fmla="*/ 5 w 11"/>
                <a:gd name="T17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8">
                  <a:moveTo>
                    <a:pt x="5" y="4"/>
                  </a:moveTo>
                  <a:lnTo>
                    <a:pt x="7" y="2"/>
                  </a:lnTo>
                  <a:lnTo>
                    <a:pt x="11" y="0"/>
                  </a:lnTo>
                  <a:lnTo>
                    <a:pt x="7" y="2"/>
                  </a:lnTo>
                  <a:lnTo>
                    <a:pt x="5" y="4"/>
                  </a:lnTo>
                  <a:lnTo>
                    <a:pt x="1" y="6"/>
                  </a:lnTo>
                  <a:lnTo>
                    <a:pt x="0" y="8"/>
                  </a:lnTo>
                  <a:lnTo>
                    <a:pt x="1" y="6"/>
                  </a:lnTo>
                  <a:lnTo>
                    <a:pt x="5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54" name="Freeform 836">
              <a:extLst>
                <a:ext uri="{FF2B5EF4-FFF2-40B4-BE49-F238E27FC236}">
                  <a16:creationId xmlns:a16="http://schemas.microsoft.com/office/drawing/2014/main" id="{C445FA3D-18C5-4C79-84B9-02776304A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8372" y="5582042"/>
              <a:ext cx="26988" cy="3175"/>
            </a:xfrm>
            <a:custGeom>
              <a:avLst/>
              <a:gdLst>
                <a:gd name="T0" fmla="*/ 14 w 17"/>
                <a:gd name="T1" fmla="*/ 2 h 2"/>
                <a:gd name="T2" fmla="*/ 17 w 17"/>
                <a:gd name="T3" fmla="*/ 2 h 2"/>
                <a:gd name="T4" fmla="*/ 14 w 17"/>
                <a:gd name="T5" fmla="*/ 2 h 2"/>
                <a:gd name="T6" fmla="*/ 2 w 17"/>
                <a:gd name="T7" fmla="*/ 0 h 2"/>
                <a:gd name="T8" fmla="*/ 0 w 17"/>
                <a:gd name="T9" fmla="*/ 0 h 2"/>
                <a:gd name="T10" fmla="*/ 2 w 17"/>
                <a:gd name="T11" fmla="*/ 0 h 2"/>
                <a:gd name="T12" fmla="*/ 14 w 17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">
                  <a:moveTo>
                    <a:pt x="14" y="2"/>
                  </a:moveTo>
                  <a:lnTo>
                    <a:pt x="17" y="2"/>
                  </a:lnTo>
                  <a:lnTo>
                    <a:pt x="1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55" name="Freeform 837">
              <a:extLst>
                <a:ext uri="{FF2B5EF4-FFF2-40B4-BE49-F238E27FC236}">
                  <a16:creationId xmlns:a16="http://schemas.microsoft.com/office/drawing/2014/main" id="{27CC47B3-4029-4B73-8A33-DAB8315E8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459" y="5570932"/>
              <a:ext cx="3175" cy="3175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56" name="Freeform 838">
              <a:extLst>
                <a:ext uri="{FF2B5EF4-FFF2-40B4-BE49-F238E27FC236}">
                  <a16:creationId xmlns:a16="http://schemas.microsoft.com/office/drawing/2014/main" id="{3213CA37-90E5-4278-88DF-FCB0CA509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284" y="5567757"/>
              <a:ext cx="3175" cy="3175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57" name="Freeform 839">
              <a:extLst>
                <a:ext uri="{FF2B5EF4-FFF2-40B4-BE49-F238E27FC236}">
                  <a16:creationId xmlns:a16="http://schemas.microsoft.com/office/drawing/2014/main" id="{24E3F43B-C8ED-4BDE-8E90-9398158208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7409" y="5539186"/>
              <a:ext cx="3175" cy="3175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58" name="Rectangle 840">
              <a:extLst>
                <a:ext uri="{FF2B5EF4-FFF2-40B4-BE49-F238E27FC236}">
                  <a16:creationId xmlns:a16="http://schemas.microsoft.com/office/drawing/2014/main" id="{D39E136E-019A-4C59-AAFD-32711094DE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51484" y="5486806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59" name="Rectangle 841">
              <a:extLst>
                <a:ext uri="{FF2B5EF4-FFF2-40B4-BE49-F238E27FC236}">
                  <a16:creationId xmlns:a16="http://schemas.microsoft.com/office/drawing/2014/main" id="{6DC5A262-F0C3-4AE2-9954-B009245BAF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3396" y="5480457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60" name="Rectangle 842">
              <a:extLst>
                <a:ext uri="{FF2B5EF4-FFF2-40B4-BE49-F238E27FC236}">
                  <a16:creationId xmlns:a16="http://schemas.microsoft.com/office/drawing/2014/main" id="{753E97DF-8487-4E44-AFAA-88F283BA85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16622" y="5574106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61" name="Freeform 843">
              <a:extLst>
                <a:ext uri="{FF2B5EF4-FFF2-40B4-BE49-F238E27FC236}">
                  <a16:creationId xmlns:a16="http://schemas.microsoft.com/office/drawing/2014/main" id="{42D5B3CF-6FA1-4A7D-A242-8CA2B00E40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4409" y="5613788"/>
              <a:ext cx="0" cy="12698"/>
            </a:xfrm>
            <a:custGeom>
              <a:avLst/>
              <a:gdLst>
                <a:gd name="T0" fmla="*/ 8 h 8"/>
                <a:gd name="T1" fmla="*/ 6 h 8"/>
                <a:gd name="T2" fmla="*/ 0 h 8"/>
                <a:gd name="T3" fmla="*/ 6 h 8"/>
                <a:gd name="T4" fmla="*/ 8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8">
                  <a:moveTo>
                    <a:pt x="0" y="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62" name="Freeform 844">
              <a:extLst>
                <a:ext uri="{FF2B5EF4-FFF2-40B4-BE49-F238E27FC236}">
                  <a16:creationId xmlns:a16="http://schemas.microsoft.com/office/drawing/2014/main" id="{C40355C9-8732-4D27-B2E6-48859AD35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72" y="5575693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63" name="Freeform 845">
              <a:extLst>
                <a:ext uri="{FF2B5EF4-FFF2-40B4-BE49-F238E27FC236}">
                  <a16:creationId xmlns:a16="http://schemas.microsoft.com/office/drawing/2014/main" id="{F3301684-327C-4C64-B829-598D50C8CD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7584" y="5629661"/>
              <a:ext cx="3175" cy="6349"/>
            </a:xfrm>
            <a:custGeom>
              <a:avLst/>
              <a:gdLst>
                <a:gd name="T0" fmla="*/ 2 w 2"/>
                <a:gd name="T1" fmla="*/ 4 h 4"/>
                <a:gd name="T2" fmla="*/ 2 w 2"/>
                <a:gd name="T3" fmla="*/ 2 h 4"/>
                <a:gd name="T4" fmla="*/ 0 w 2"/>
                <a:gd name="T5" fmla="*/ 0 h 4"/>
                <a:gd name="T6" fmla="*/ 2 w 2"/>
                <a:gd name="T7" fmla="*/ 2 h 4"/>
                <a:gd name="T8" fmla="*/ 2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64" name="Freeform 846">
              <a:extLst>
                <a:ext uri="{FF2B5EF4-FFF2-40B4-BE49-F238E27FC236}">
                  <a16:creationId xmlns:a16="http://schemas.microsoft.com/office/drawing/2014/main" id="{8AC151FD-0821-433A-A268-229C8D759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8059" y="5597915"/>
              <a:ext cx="3175" cy="12698"/>
            </a:xfrm>
            <a:custGeom>
              <a:avLst/>
              <a:gdLst>
                <a:gd name="T0" fmla="*/ 0 w 2"/>
                <a:gd name="T1" fmla="*/ 2 h 8"/>
                <a:gd name="T2" fmla="*/ 2 w 2"/>
                <a:gd name="T3" fmla="*/ 8 h 8"/>
                <a:gd name="T4" fmla="*/ 0 w 2"/>
                <a:gd name="T5" fmla="*/ 2 h 8"/>
                <a:gd name="T6" fmla="*/ 0 w 2"/>
                <a:gd name="T7" fmla="*/ 2 h 8"/>
                <a:gd name="T8" fmla="*/ 0 w 2"/>
                <a:gd name="T9" fmla="*/ 0 h 8"/>
                <a:gd name="T10" fmla="*/ 0 w 2"/>
                <a:gd name="T11" fmla="*/ 2 h 8"/>
                <a:gd name="T12" fmla="*/ 0 w 2"/>
                <a:gd name="T13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">
                  <a:moveTo>
                    <a:pt x="0" y="2"/>
                  </a:moveTo>
                  <a:lnTo>
                    <a:pt x="2" y="8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65" name="Freeform 847">
              <a:extLst>
                <a:ext uri="{FF2B5EF4-FFF2-40B4-BE49-F238E27FC236}">
                  <a16:creationId xmlns:a16="http://schemas.microsoft.com/office/drawing/2014/main" id="{F9E6A467-1B40-4C42-AB3C-72B6A2AE2F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3934" y="5639184"/>
              <a:ext cx="22225" cy="20634"/>
            </a:xfrm>
            <a:custGeom>
              <a:avLst/>
              <a:gdLst>
                <a:gd name="T0" fmla="*/ 8 w 14"/>
                <a:gd name="T1" fmla="*/ 9 h 13"/>
                <a:gd name="T2" fmla="*/ 12 w 14"/>
                <a:gd name="T3" fmla="*/ 11 h 13"/>
                <a:gd name="T4" fmla="*/ 14 w 14"/>
                <a:gd name="T5" fmla="*/ 13 h 13"/>
                <a:gd name="T6" fmla="*/ 12 w 14"/>
                <a:gd name="T7" fmla="*/ 11 h 13"/>
                <a:gd name="T8" fmla="*/ 8 w 14"/>
                <a:gd name="T9" fmla="*/ 9 h 13"/>
                <a:gd name="T10" fmla="*/ 2 w 14"/>
                <a:gd name="T11" fmla="*/ 3 h 13"/>
                <a:gd name="T12" fmla="*/ 0 w 14"/>
                <a:gd name="T13" fmla="*/ 0 h 13"/>
                <a:gd name="T14" fmla="*/ 2 w 14"/>
                <a:gd name="T15" fmla="*/ 3 h 13"/>
                <a:gd name="T16" fmla="*/ 8 w 14"/>
                <a:gd name="T17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3">
                  <a:moveTo>
                    <a:pt x="8" y="9"/>
                  </a:moveTo>
                  <a:lnTo>
                    <a:pt x="12" y="11"/>
                  </a:lnTo>
                  <a:lnTo>
                    <a:pt x="14" y="13"/>
                  </a:lnTo>
                  <a:lnTo>
                    <a:pt x="12" y="11"/>
                  </a:lnTo>
                  <a:lnTo>
                    <a:pt x="8" y="9"/>
                  </a:lnTo>
                  <a:lnTo>
                    <a:pt x="2" y="3"/>
                  </a:lnTo>
                  <a:lnTo>
                    <a:pt x="0" y="0"/>
                  </a:lnTo>
                  <a:lnTo>
                    <a:pt x="2" y="3"/>
                  </a:lnTo>
                  <a:lnTo>
                    <a:pt x="8" y="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66" name="Freeform 848">
              <a:extLst>
                <a:ext uri="{FF2B5EF4-FFF2-40B4-BE49-F238E27FC236}">
                  <a16:creationId xmlns:a16="http://schemas.microsoft.com/office/drawing/2014/main" id="{898A0ECE-9A85-4AF3-AB81-A33BBB643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2159" y="5505854"/>
              <a:ext cx="23813" cy="4762"/>
            </a:xfrm>
            <a:custGeom>
              <a:avLst/>
              <a:gdLst>
                <a:gd name="T0" fmla="*/ 11 w 15"/>
                <a:gd name="T1" fmla="*/ 2 h 3"/>
                <a:gd name="T2" fmla="*/ 13 w 15"/>
                <a:gd name="T3" fmla="*/ 3 h 3"/>
                <a:gd name="T4" fmla="*/ 15 w 15"/>
                <a:gd name="T5" fmla="*/ 3 h 3"/>
                <a:gd name="T6" fmla="*/ 13 w 15"/>
                <a:gd name="T7" fmla="*/ 3 h 3"/>
                <a:gd name="T8" fmla="*/ 11 w 15"/>
                <a:gd name="T9" fmla="*/ 2 h 3"/>
                <a:gd name="T10" fmla="*/ 2 w 15"/>
                <a:gd name="T11" fmla="*/ 0 h 3"/>
                <a:gd name="T12" fmla="*/ 0 w 15"/>
                <a:gd name="T13" fmla="*/ 0 h 3"/>
                <a:gd name="T14" fmla="*/ 2 w 15"/>
                <a:gd name="T15" fmla="*/ 0 h 3"/>
                <a:gd name="T16" fmla="*/ 11 w 15"/>
                <a:gd name="T1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3">
                  <a:moveTo>
                    <a:pt x="11" y="2"/>
                  </a:moveTo>
                  <a:lnTo>
                    <a:pt x="13" y="3"/>
                  </a:lnTo>
                  <a:lnTo>
                    <a:pt x="15" y="3"/>
                  </a:lnTo>
                  <a:lnTo>
                    <a:pt x="13" y="3"/>
                  </a:lnTo>
                  <a:lnTo>
                    <a:pt x="11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1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67" name="Freeform 849">
              <a:extLst>
                <a:ext uri="{FF2B5EF4-FFF2-40B4-BE49-F238E27FC236}">
                  <a16:creationId xmlns:a16="http://schemas.microsoft.com/office/drawing/2014/main" id="{152E62A9-FC36-44EE-B19D-51DC31703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5459" y="5493155"/>
              <a:ext cx="4763" cy="0"/>
            </a:xfrm>
            <a:custGeom>
              <a:avLst/>
              <a:gdLst>
                <a:gd name="T0" fmla="*/ 3 w 3"/>
                <a:gd name="T1" fmla="*/ 3 w 3"/>
                <a:gd name="T2" fmla="*/ 2 w 3"/>
                <a:gd name="T3" fmla="*/ 0 w 3"/>
                <a:gd name="T4" fmla="*/ 0 w 3"/>
                <a:gd name="T5" fmla="*/ 2 w 3"/>
                <a:gd name="T6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68" name="Freeform 850">
              <a:extLst>
                <a:ext uri="{FF2B5EF4-FFF2-40B4-BE49-F238E27FC236}">
                  <a16:creationId xmlns:a16="http://schemas.microsoft.com/office/drawing/2014/main" id="{E664850D-98C3-417C-8D77-367910E30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9109" y="5493155"/>
              <a:ext cx="6350" cy="3175"/>
            </a:xfrm>
            <a:custGeom>
              <a:avLst/>
              <a:gdLst>
                <a:gd name="T0" fmla="*/ 4 w 4"/>
                <a:gd name="T1" fmla="*/ 0 h 2"/>
                <a:gd name="T2" fmla="*/ 2 w 4"/>
                <a:gd name="T3" fmla="*/ 0 h 2"/>
                <a:gd name="T4" fmla="*/ 0 w 4"/>
                <a:gd name="T5" fmla="*/ 2 h 2"/>
                <a:gd name="T6" fmla="*/ 2 w 4"/>
                <a:gd name="T7" fmla="*/ 0 h 2"/>
                <a:gd name="T8" fmla="*/ 4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69" name="Freeform 851">
              <a:extLst>
                <a:ext uri="{FF2B5EF4-FFF2-40B4-BE49-F238E27FC236}">
                  <a16:creationId xmlns:a16="http://schemas.microsoft.com/office/drawing/2014/main" id="{8F5F1D72-FA55-4AD3-8CED-5D921E53E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184" y="5480457"/>
              <a:ext cx="25400" cy="12698"/>
            </a:xfrm>
            <a:custGeom>
              <a:avLst/>
              <a:gdLst>
                <a:gd name="T0" fmla="*/ 2 w 16"/>
                <a:gd name="T1" fmla="*/ 0 h 8"/>
                <a:gd name="T2" fmla="*/ 6 w 16"/>
                <a:gd name="T3" fmla="*/ 2 h 8"/>
                <a:gd name="T4" fmla="*/ 12 w 16"/>
                <a:gd name="T5" fmla="*/ 6 h 8"/>
                <a:gd name="T6" fmla="*/ 16 w 16"/>
                <a:gd name="T7" fmla="*/ 8 h 8"/>
                <a:gd name="T8" fmla="*/ 12 w 16"/>
                <a:gd name="T9" fmla="*/ 6 h 8"/>
                <a:gd name="T10" fmla="*/ 6 w 16"/>
                <a:gd name="T11" fmla="*/ 2 h 8"/>
                <a:gd name="T12" fmla="*/ 2 w 16"/>
                <a:gd name="T13" fmla="*/ 0 h 8"/>
                <a:gd name="T14" fmla="*/ 0 w 16"/>
                <a:gd name="T15" fmla="*/ 0 h 8"/>
                <a:gd name="T16" fmla="*/ 0 w 16"/>
                <a:gd name="T17" fmla="*/ 0 h 8"/>
                <a:gd name="T18" fmla="*/ 0 w 16"/>
                <a:gd name="T19" fmla="*/ 0 h 8"/>
                <a:gd name="T20" fmla="*/ 2 w 16"/>
                <a:gd name="T2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2" y="0"/>
                  </a:moveTo>
                  <a:lnTo>
                    <a:pt x="6" y="2"/>
                  </a:lnTo>
                  <a:lnTo>
                    <a:pt x="12" y="6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6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70" name="Rectangle 852">
              <a:extLst>
                <a:ext uri="{FF2B5EF4-FFF2-40B4-BE49-F238E27FC236}">
                  <a16:creationId xmlns:a16="http://schemas.microsoft.com/office/drawing/2014/main" id="{EFAFB551-EF86-4CB1-9DDC-227EC04333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3396" y="5493155"/>
              <a:ext cx="3175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71" name="Freeform 853">
              <a:extLst>
                <a:ext uri="{FF2B5EF4-FFF2-40B4-BE49-F238E27FC236}">
                  <a16:creationId xmlns:a16="http://schemas.microsoft.com/office/drawing/2014/main" id="{EC75A8F9-82D1-468C-8B0A-36DAF6678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8621" y="5516964"/>
              <a:ext cx="3175" cy="9524"/>
            </a:xfrm>
            <a:custGeom>
              <a:avLst/>
              <a:gdLst>
                <a:gd name="T0" fmla="*/ 2 w 2"/>
                <a:gd name="T1" fmla="*/ 0 h 6"/>
                <a:gd name="T2" fmla="*/ 0 w 2"/>
                <a:gd name="T3" fmla="*/ 4 h 6"/>
                <a:gd name="T4" fmla="*/ 0 w 2"/>
                <a:gd name="T5" fmla="*/ 6 h 6"/>
                <a:gd name="T6" fmla="*/ 0 w 2"/>
                <a:gd name="T7" fmla="*/ 4 h 6"/>
                <a:gd name="T8" fmla="*/ 2 w 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72" name="Freeform 854">
              <a:extLst>
                <a:ext uri="{FF2B5EF4-FFF2-40B4-BE49-F238E27FC236}">
                  <a16:creationId xmlns:a16="http://schemas.microsoft.com/office/drawing/2014/main" id="{2D627E4F-1D91-4A1D-A396-9EC62F455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1321" y="5505854"/>
              <a:ext cx="3175" cy="4762"/>
            </a:xfrm>
            <a:custGeom>
              <a:avLst/>
              <a:gdLst>
                <a:gd name="T0" fmla="*/ 2 w 2"/>
                <a:gd name="T1" fmla="*/ 0 h 3"/>
                <a:gd name="T2" fmla="*/ 2 w 2"/>
                <a:gd name="T3" fmla="*/ 0 h 3"/>
                <a:gd name="T4" fmla="*/ 0 w 2"/>
                <a:gd name="T5" fmla="*/ 2 h 3"/>
                <a:gd name="T6" fmla="*/ 0 w 2"/>
                <a:gd name="T7" fmla="*/ 3 h 3"/>
                <a:gd name="T8" fmla="*/ 0 w 2"/>
                <a:gd name="T9" fmla="*/ 2 h 3"/>
                <a:gd name="T10" fmla="*/ 2 w 2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73" name="Freeform 855">
              <a:extLst>
                <a:ext uri="{FF2B5EF4-FFF2-40B4-BE49-F238E27FC236}">
                  <a16:creationId xmlns:a16="http://schemas.microsoft.com/office/drawing/2014/main" id="{C487E0D5-2B0E-4D20-949C-6FC945902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6571" y="5489981"/>
              <a:ext cx="0" cy="3175"/>
            </a:xfrm>
            <a:custGeom>
              <a:avLst/>
              <a:gdLst>
                <a:gd name="T0" fmla="*/ 0 h 2"/>
                <a:gd name="T1" fmla="*/ 0 h 2"/>
                <a:gd name="T2" fmla="*/ 0 h 2"/>
                <a:gd name="T3" fmla="*/ 2 h 2"/>
                <a:gd name="T4" fmla="*/ 2 h 2"/>
                <a:gd name="T5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74" name="Freeform 856">
              <a:extLst>
                <a:ext uri="{FF2B5EF4-FFF2-40B4-BE49-F238E27FC236}">
                  <a16:creationId xmlns:a16="http://schemas.microsoft.com/office/drawing/2014/main" id="{D847E3CD-ADD1-4829-92E9-711FE2CE50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796" y="5510615"/>
              <a:ext cx="9525" cy="6349"/>
            </a:xfrm>
            <a:custGeom>
              <a:avLst/>
              <a:gdLst>
                <a:gd name="T0" fmla="*/ 6 w 6"/>
                <a:gd name="T1" fmla="*/ 0 h 4"/>
                <a:gd name="T2" fmla="*/ 0 w 6"/>
                <a:gd name="T3" fmla="*/ 4 h 4"/>
                <a:gd name="T4" fmla="*/ 0 w 6"/>
                <a:gd name="T5" fmla="*/ 4 h 4"/>
                <a:gd name="T6" fmla="*/ 6 w 6"/>
                <a:gd name="T7" fmla="*/ 0 h 4"/>
                <a:gd name="T8" fmla="*/ 6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75" name="Freeform 857">
              <a:extLst>
                <a:ext uri="{FF2B5EF4-FFF2-40B4-BE49-F238E27FC236}">
                  <a16:creationId xmlns:a16="http://schemas.microsoft.com/office/drawing/2014/main" id="{39F7F070-87CA-45A5-8726-CE84353FA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4496" y="5505854"/>
              <a:ext cx="20638" cy="14285"/>
            </a:xfrm>
            <a:custGeom>
              <a:avLst/>
              <a:gdLst>
                <a:gd name="T0" fmla="*/ 6 w 13"/>
                <a:gd name="T1" fmla="*/ 3 h 9"/>
                <a:gd name="T2" fmla="*/ 6 w 13"/>
                <a:gd name="T3" fmla="*/ 5 h 9"/>
                <a:gd name="T4" fmla="*/ 10 w 13"/>
                <a:gd name="T5" fmla="*/ 9 h 9"/>
                <a:gd name="T6" fmla="*/ 11 w 13"/>
                <a:gd name="T7" fmla="*/ 9 h 9"/>
                <a:gd name="T8" fmla="*/ 13 w 13"/>
                <a:gd name="T9" fmla="*/ 9 h 9"/>
                <a:gd name="T10" fmla="*/ 11 w 13"/>
                <a:gd name="T11" fmla="*/ 9 h 9"/>
                <a:gd name="T12" fmla="*/ 10 w 13"/>
                <a:gd name="T13" fmla="*/ 9 h 9"/>
                <a:gd name="T14" fmla="*/ 6 w 13"/>
                <a:gd name="T15" fmla="*/ 5 h 9"/>
                <a:gd name="T16" fmla="*/ 6 w 13"/>
                <a:gd name="T17" fmla="*/ 3 h 9"/>
                <a:gd name="T18" fmla="*/ 2 w 13"/>
                <a:gd name="T19" fmla="*/ 0 h 9"/>
                <a:gd name="T20" fmla="*/ 0 w 13"/>
                <a:gd name="T21" fmla="*/ 0 h 9"/>
                <a:gd name="T22" fmla="*/ 2 w 13"/>
                <a:gd name="T23" fmla="*/ 0 h 9"/>
                <a:gd name="T24" fmla="*/ 6 w 1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9">
                  <a:moveTo>
                    <a:pt x="6" y="3"/>
                  </a:moveTo>
                  <a:lnTo>
                    <a:pt x="6" y="5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3" y="9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6" y="5"/>
                  </a:lnTo>
                  <a:lnTo>
                    <a:pt x="6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76" name="Freeform 858">
              <a:extLst>
                <a:ext uri="{FF2B5EF4-FFF2-40B4-BE49-F238E27FC236}">
                  <a16:creationId xmlns:a16="http://schemas.microsoft.com/office/drawing/2014/main" id="{11AB0168-115E-4A2A-B7B8-4D1D5CF31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7834" y="5486806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0 w 2"/>
                <a:gd name="T4" fmla="*/ 0 w 2"/>
                <a:gd name="T5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77" name="Freeform 859">
              <a:extLst>
                <a:ext uri="{FF2B5EF4-FFF2-40B4-BE49-F238E27FC236}">
                  <a16:creationId xmlns:a16="http://schemas.microsoft.com/office/drawing/2014/main" id="{3117039F-530A-4EE9-B680-CB3E1EAA8A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8309" y="5509028"/>
              <a:ext cx="3175" cy="11111"/>
            </a:xfrm>
            <a:custGeom>
              <a:avLst/>
              <a:gdLst>
                <a:gd name="T0" fmla="*/ 2 w 2"/>
                <a:gd name="T1" fmla="*/ 3 h 7"/>
                <a:gd name="T2" fmla="*/ 2 w 2"/>
                <a:gd name="T3" fmla="*/ 0 h 7"/>
                <a:gd name="T4" fmla="*/ 2 w 2"/>
                <a:gd name="T5" fmla="*/ 3 h 7"/>
                <a:gd name="T6" fmla="*/ 2 w 2"/>
                <a:gd name="T7" fmla="*/ 5 h 7"/>
                <a:gd name="T8" fmla="*/ 0 w 2"/>
                <a:gd name="T9" fmla="*/ 7 h 7"/>
                <a:gd name="T10" fmla="*/ 2 w 2"/>
                <a:gd name="T11" fmla="*/ 5 h 7"/>
                <a:gd name="T12" fmla="*/ 2 w 2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7">
                  <a:moveTo>
                    <a:pt x="2" y="3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2" y="5"/>
                  </a:lnTo>
                  <a:lnTo>
                    <a:pt x="0" y="7"/>
                  </a:lnTo>
                  <a:lnTo>
                    <a:pt x="2" y="5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78" name="Freeform 860">
              <a:extLst>
                <a:ext uri="{FF2B5EF4-FFF2-40B4-BE49-F238E27FC236}">
                  <a16:creationId xmlns:a16="http://schemas.microsoft.com/office/drawing/2014/main" id="{68BFC381-05F6-44CA-8094-B3FF26EBD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0409" y="5480457"/>
              <a:ext cx="6350" cy="6349"/>
            </a:xfrm>
            <a:custGeom>
              <a:avLst/>
              <a:gdLst>
                <a:gd name="T0" fmla="*/ 4 w 4"/>
                <a:gd name="T1" fmla="*/ 4 h 4"/>
                <a:gd name="T2" fmla="*/ 2 w 4"/>
                <a:gd name="T3" fmla="*/ 2 h 4"/>
                <a:gd name="T4" fmla="*/ 0 w 4"/>
                <a:gd name="T5" fmla="*/ 0 h 4"/>
                <a:gd name="T6" fmla="*/ 2 w 4"/>
                <a:gd name="T7" fmla="*/ 2 h 4"/>
                <a:gd name="T8" fmla="*/ 4 w 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79" name="Freeform 861">
              <a:extLst>
                <a:ext uri="{FF2B5EF4-FFF2-40B4-BE49-F238E27FC236}">
                  <a16:creationId xmlns:a16="http://schemas.microsoft.com/office/drawing/2014/main" id="{DC431BAC-1AFC-49AC-B7C9-025F44798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8971" y="5448712"/>
              <a:ext cx="3175" cy="6349"/>
            </a:xfrm>
            <a:custGeom>
              <a:avLst/>
              <a:gdLst>
                <a:gd name="T0" fmla="*/ 2 w 2"/>
                <a:gd name="T1" fmla="*/ 4 h 4"/>
                <a:gd name="T2" fmla="*/ 0 w 2"/>
                <a:gd name="T3" fmla="*/ 2 h 4"/>
                <a:gd name="T4" fmla="*/ 0 w 2"/>
                <a:gd name="T5" fmla="*/ 0 h 4"/>
                <a:gd name="T6" fmla="*/ 0 w 2"/>
                <a:gd name="T7" fmla="*/ 2 h 4"/>
                <a:gd name="T8" fmla="*/ 2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80" name="Freeform 862">
              <a:extLst>
                <a:ext uri="{FF2B5EF4-FFF2-40B4-BE49-F238E27FC236}">
                  <a16:creationId xmlns:a16="http://schemas.microsoft.com/office/drawing/2014/main" id="{7418ACED-CB27-4F7A-9293-943548D30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4846" y="5455061"/>
              <a:ext cx="49213" cy="19047"/>
            </a:xfrm>
            <a:custGeom>
              <a:avLst/>
              <a:gdLst>
                <a:gd name="T0" fmla="*/ 19 w 31"/>
                <a:gd name="T1" fmla="*/ 2 h 12"/>
                <a:gd name="T2" fmla="*/ 31 w 31"/>
                <a:gd name="T3" fmla="*/ 10 h 12"/>
                <a:gd name="T4" fmla="*/ 31 w 31"/>
                <a:gd name="T5" fmla="*/ 12 h 12"/>
                <a:gd name="T6" fmla="*/ 31 w 31"/>
                <a:gd name="T7" fmla="*/ 10 h 12"/>
                <a:gd name="T8" fmla="*/ 19 w 31"/>
                <a:gd name="T9" fmla="*/ 2 h 12"/>
                <a:gd name="T10" fmla="*/ 14 w 31"/>
                <a:gd name="T11" fmla="*/ 0 h 12"/>
                <a:gd name="T12" fmla="*/ 0 w 31"/>
                <a:gd name="T13" fmla="*/ 0 h 12"/>
                <a:gd name="T14" fmla="*/ 14 w 31"/>
                <a:gd name="T15" fmla="*/ 0 h 12"/>
                <a:gd name="T16" fmla="*/ 19 w 31"/>
                <a:gd name="T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2">
                  <a:moveTo>
                    <a:pt x="19" y="2"/>
                  </a:moveTo>
                  <a:lnTo>
                    <a:pt x="31" y="10"/>
                  </a:lnTo>
                  <a:lnTo>
                    <a:pt x="31" y="12"/>
                  </a:lnTo>
                  <a:lnTo>
                    <a:pt x="31" y="10"/>
                  </a:lnTo>
                  <a:lnTo>
                    <a:pt x="19" y="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9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81" name="Freeform 863">
              <a:extLst>
                <a:ext uri="{FF2B5EF4-FFF2-40B4-BE49-F238E27FC236}">
                  <a16:creationId xmlns:a16="http://schemas.microsoft.com/office/drawing/2014/main" id="{F782985F-2C64-4436-97C4-B9F5C8CA20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9" y="5499505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0 w 4"/>
                <a:gd name="T3" fmla="*/ 0 h 2"/>
                <a:gd name="T4" fmla="*/ 0 w 4"/>
                <a:gd name="T5" fmla="*/ 0 h 2"/>
                <a:gd name="T6" fmla="*/ 4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82" name="Freeform 864">
              <a:extLst>
                <a:ext uri="{FF2B5EF4-FFF2-40B4-BE49-F238E27FC236}">
                  <a16:creationId xmlns:a16="http://schemas.microsoft.com/office/drawing/2014/main" id="{B1711474-CE6C-4969-83A3-80034323D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1984" y="5443950"/>
              <a:ext cx="26988" cy="1587"/>
            </a:xfrm>
            <a:custGeom>
              <a:avLst/>
              <a:gdLst>
                <a:gd name="T0" fmla="*/ 9 w 17"/>
                <a:gd name="T1" fmla="*/ 1 h 1"/>
                <a:gd name="T2" fmla="*/ 13 w 17"/>
                <a:gd name="T3" fmla="*/ 0 h 1"/>
                <a:gd name="T4" fmla="*/ 17 w 17"/>
                <a:gd name="T5" fmla="*/ 0 h 1"/>
                <a:gd name="T6" fmla="*/ 17 w 17"/>
                <a:gd name="T7" fmla="*/ 0 h 1"/>
                <a:gd name="T8" fmla="*/ 13 w 17"/>
                <a:gd name="T9" fmla="*/ 0 h 1"/>
                <a:gd name="T10" fmla="*/ 9 w 17"/>
                <a:gd name="T11" fmla="*/ 1 h 1"/>
                <a:gd name="T12" fmla="*/ 7 w 17"/>
                <a:gd name="T13" fmla="*/ 1 h 1"/>
                <a:gd name="T14" fmla="*/ 0 w 17"/>
                <a:gd name="T15" fmla="*/ 1 h 1"/>
                <a:gd name="T16" fmla="*/ 0 w 17"/>
                <a:gd name="T17" fmla="*/ 1 h 1"/>
                <a:gd name="T18" fmla="*/ 7 w 17"/>
                <a:gd name="T19" fmla="*/ 1 h 1"/>
                <a:gd name="T20" fmla="*/ 9 w 17"/>
                <a:gd name="T2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">
                  <a:moveTo>
                    <a:pt x="9" y="1"/>
                  </a:moveTo>
                  <a:lnTo>
                    <a:pt x="13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7" y="1"/>
                  </a:ln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83" name="Freeform 865">
              <a:extLst>
                <a:ext uri="{FF2B5EF4-FFF2-40B4-BE49-F238E27FC236}">
                  <a16:creationId xmlns:a16="http://schemas.microsoft.com/office/drawing/2014/main" id="{5402AF6D-D501-4C01-8ABF-250045F9EF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3396" y="5483632"/>
              <a:ext cx="3175" cy="3175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0 h 2"/>
                <a:gd name="T4" fmla="*/ 0 w 2"/>
                <a:gd name="T5" fmla="*/ 2 h 2"/>
                <a:gd name="T6" fmla="*/ 2 w 2"/>
                <a:gd name="T7" fmla="*/ 2 h 2"/>
                <a:gd name="T8" fmla="*/ 0 w 2"/>
                <a:gd name="T9" fmla="*/ 2 h 2"/>
                <a:gd name="T10" fmla="*/ 2 w 2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84" name="Freeform 866">
              <a:extLst>
                <a:ext uri="{FF2B5EF4-FFF2-40B4-BE49-F238E27FC236}">
                  <a16:creationId xmlns:a16="http://schemas.microsoft.com/office/drawing/2014/main" id="{39538D87-5DF8-4CBB-BBDB-3B0BE81E3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6759" y="5489981"/>
              <a:ext cx="6350" cy="6349"/>
            </a:xfrm>
            <a:custGeom>
              <a:avLst/>
              <a:gdLst>
                <a:gd name="T0" fmla="*/ 2 w 4"/>
                <a:gd name="T1" fmla="*/ 2 h 4"/>
                <a:gd name="T2" fmla="*/ 4 w 4"/>
                <a:gd name="T3" fmla="*/ 4 h 4"/>
                <a:gd name="T4" fmla="*/ 2 w 4"/>
                <a:gd name="T5" fmla="*/ 2 h 4"/>
                <a:gd name="T6" fmla="*/ 0 w 4"/>
                <a:gd name="T7" fmla="*/ 0 h 4"/>
                <a:gd name="T8" fmla="*/ 0 w 4"/>
                <a:gd name="T9" fmla="*/ 0 h 4"/>
                <a:gd name="T10" fmla="*/ 2 w 4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2" y="2"/>
                  </a:move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85" name="Freeform 867">
              <a:extLst>
                <a:ext uri="{FF2B5EF4-FFF2-40B4-BE49-F238E27FC236}">
                  <a16:creationId xmlns:a16="http://schemas.microsoft.com/office/drawing/2014/main" id="{5DCD0A54-6F04-4E75-B3BF-63732CA60E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3721" y="5477283"/>
              <a:ext cx="4763" cy="9524"/>
            </a:xfrm>
            <a:custGeom>
              <a:avLst/>
              <a:gdLst>
                <a:gd name="T0" fmla="*/ 3 w 3"/>
                <a:gd name="T1" fmla="*/ 0 h 6"/>
                <a:gd name="T2" fmla="*/ 1 w 3"/>
                <a:gd name="T3" fmla="*/ 4 h 6"/>
                <a:gd name="T4" fmla="*/ 0 w 3"/>
                <a:gd name="T5" fmla="*/ 6 h 6"/>
                <a:gd name="T6" fmla="*/ 1 w 3"/>
                <a:gd name="T7" fmla="*/ 4 h 6"/>
                <a:gd name="T8" fmla="*/ 3 w 3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3" y="0"/>
                  </a:moveTo>
                  <a:lnTo>
                    <a:pt x="1" y="4"/>
                  </a:lnTo>
                  <a:lnTo>
                    <a:pt x="0" y="6"/>
                  </a:lnTo>
                  <a:lnTo>
                    <a:pt x="1" y="4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86" name="Freeform 868">
              <a:extLst>
                <a:ext uri="{FF2B5EF4-FFF2-40B4-BE49-F238E27FC236}">
                  <a16:creationId xmlns:a16="http://schemas.microsoft.com/office/drawing/2014/main" id="{921E048D-1269-4608-AE3F-666DCE77D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3409" y="5461410"/>
              <a:ext cx="15875" cy="9524"/>
            </a:xfrm>
            <a:custGeom>
              <a:avLst/>
              <a:gdLst>
                <a:gd name="T0" fmla="*/ 2 w 10"/>
                <a:gd name="T1" fmla="*/ 6 h 6"/>
                <a:gd name="T2" fmla="*/ 4 w 10"/>
                <a:gd name="T3" fmla="*/ 4 h 6"/>
                <a:gd name="T4" fmla="*/ 10 w 10"/>
                <a:gd name="T5" fmla="*/ 0 h 6"/>
                <a:gd name="T6" fmla="*/ 4 w 10"/>
                <a:gd name="T7" fmla="*/ 4 h 6"/>
                <a:gd name="T8" fmla="*/ 2 w 10"/>
                <a:gd name="T9" fmla="*/ 6 h 6"/>
                <a:gd name="T10" fmla="*/ 0 w 10"/>
                <a:gd name="T11" fmla="*/ 6 h 6"/>
                <a:gd name="T12" fmla="*/ 0 w 10"/>
                <a:gd name="T13" fmla="*/ 6 h 6"/>
                <a:gd name="T14" fmla="*/ 2 w 10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6">
                  <a:moveTo>
                    <a:pt x="2" y="6"/>
                  </a:moveTo>
                  <a:lnTo>
                    <a:pt x="4" y="4"/>
                  </a:lnTo>
                  <a:lnTo>
                    <a:pt x="10" y="0"/>
                  </a:lnTo>
                  <a:lnTo>
                    <a:pt x="4" y="4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87" name="Freeform 869">
              <a:extLst>
                <a:ext uri="{FF2B5EF4-FFF2-40B4-BE49-F238E27FC236}">
                  <a16:creationId xmlns:a16="http://schemas.microsoft.com/office/drawing/2014/main" id="{8969C1FF-35F9-48D8-BCD7-E24664B24D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359" y="5461410"/>
              <a:ext cx="15875" cy="6349"/>
            </a:xfrm>
            <a:custGeom>
              <a:avLst/>
              <a:gdLst>
                <a:gd name="T0" fmla="*/ 6 w 10"/>
                <a:gd name="T1" fmla="*/ 0 h 4"/>
                <a:gd name="T2" fmla="*/ 10 w 10"/>
                <a:gd name="T3" fmla="*/ 4 h 4"/>
                <a:gd name="T4" fmla="*/ 6 w 10"/>
                <a:gd name="T5" fmla="*/ 0 h 4"/>
                <a:gd name="T6" fmla="*/ 2 w 10"/>
                <a:gd name="T7" fmla="*/ 0 h 4"/>
                <a:gd name="T8" fmla="*/ 0 w 10"/>
                <a:gd name="T9" fmla="*/ 2 h 4"/>
                <a:gd name="T10" fmla="*/ 2 w 10"/>
                <a:gd name="T11" fmla="*/ 0 h 4"/>
                <a:gd name="T12" fmla="*/ 6 w 1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6" y="0"/>
                  </a:moveTo>
                  <a:lnTo>
                    <a:pt x="10" y="4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88" name="Freeform 870">
              <a:extLst>
                <a:ext uri="{FF2B5EF4-FFF2-40B4-BE49-F238E27FC236}">
                  <a16:creationId xmlns:a16="http://schemas.microsoft.com/office/drawing/2014/main" id="{6B39B5A6-FBB8-4EED-AC47-A3E8C483C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1021" y="5493155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89" name="Freeform 871">
              <a:extLst>
                <a:ext uri="{FF2B5EF4-FFF2-40B4-BE49-F238E27FC236}">
                  <a16:creationId xmlns:a16="http://schemas.microsoft.com/office/drawing/2014/main" id="{95B0AA72-CBE3-4359-888C-4940AD33A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2034" y="4150327"/>
              <a:ext cx="1588" cy="9524"/>
            </a:xfrm>
            <a:custGeom>
              <a:avLst/>
              <a:gdLst>
                <a:gd name="T0" fmla="*/ 0 w 1"/>
                <a:gd name="T1" fmla="*/ 6 h 6"/>
                <a:gd name="T2" fmla="*/ 0 w 1"/>
                <a:gd name="T3" fmla="*/ 6 h 6"/>
                <a:gd name="T4" fmla="*/ 1 w 1"/>
                <a:gd name="T5" fmla="*/ 0 h 6"/>
                <a:gd name="T6" fmla="*/ 1 w 1"/>
                <a:gd name="T7" fmla="*/ 0 h 6"/>
                <a:gd name="T8" fmla="*/ 0 w 1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6">
                  <a:moveTo>
                    <a:pt x="0" y="6"/>
                  </a:moveTo>
                  <a:lnTo>
                    <a:pt x="0" y="6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90" name="Rectangle 872">
              <a:extLst>
                <a:ext uri="{FF2B5EF4-FFF2-40B4-BE49-F238E27FC236}">
                  <a16:creationId xmlns:a16="http://schemas.microsoft.com/office/drawing/2014/main" id="{F0833053-4337-402B-A670-4E3C5E4BD7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7846" y="4123343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91" name="Freeform 873">
              <a:extLst>
                <a:ext uri="{FF2B5EF4-FFF2-40B4-BE49-F238E27FC236}">
                  <a16:creationId xmlns:a16="http://schemas.microsoft.com/office/drawing/2014/main" id="{275C5321-1E75-4B16-AEAC-E796BE2A7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3759" y="4175723"/>
              <a:ext cx="9525" cy="6349"/>
            </a:xfrm>
            <a:custGeom>
              <a:avLst/>
              <a:gdLst>
                <a:gd name="T0" fmla="*/ 6 w 6"/>
                <a:gd name="T1" fmla="*/ 0 h 4"/>
                <a:gd name="T2" fmla="*/ 2 w 6"/>
                <a:gd name="T3" fmla="*/ 4 h 4"/>
                <a:gd name="T4" fmla="*/ 0 w 6"/>
                <a:gd name="T5" fmla="*/ 4 h 4"/>
                <a:gd name="T6" fmla="*/ 2 w 6"/>
                <a:gd name="T7" fmla="*/ 4 h 4"/>
                <a:gd name="T8" fmla="*/ 6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92" name="Freeform 874">
              <a:extLst>
                <a:ext uri="{FF2B5EF4-FFF2-40B4-BE49-F238E27FC236}">
                  <a16:creationId xmlns:a16="http://schemas.microsoft.com/office/drawing/2014/main" id="{C14081A9-2F61-4B78-9C05-6D81918B4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5672" y="4188421"/>
              <a:ext cx="6350" cy="30158"/>
            </a:xfrm>
            <a:custGeom>
              <a:avLst/>
              <a:gdLst>
                <a:gd name="T0" fmla="*/ 4 w 4"/>
                <a:gd name="T1" fmla="*/ 17 h 19"/>
                <a:gd name="T2" fmla="*/ 4 w 4"/>
                <a:gd name="T3" fmla="*/ 19 h 19"/>
                <a:gd name="T4" fmla="*/ 4 w 4"/>
                <a:gd name="T5" fmla="*/ 17 h 19"/>
                <a:gd name="T6" fmla="*/ 0 w 4"/>
                <a:gd name="T7" fmla="*/ 2 h 19"/>
                <a:gd name="T8" fmla="*/ 0 w 4"/>
                <a:gd name="T9" fmla="*/ 0 h 19"/>
                <a:gd name="T10" fmla="*/ 0 w 4"/>
                <a:gd name="T11" fmla="*/ 2 h 19"/>
                <a:gd name="T12" fmla="*/ 4 w 4"/>
                <a:gd name="T13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9">
                  <a:moveTo>
                    <a:pt x="4" y="17"/>
                  </a:moveTo>
                  <a:lnTo>
                    <a:pt x="4" y="19"/>
                  </a:lnTo>
                  <a:lnTo>
                    <a:pt x="4" y="17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93" name="Freeform 875">
              <a:extLst>
                <a:ext uri="{FF2B5EF4-FFF2-40B4-BE49-F238E27FC236}">
                  <a16:creationId xmlns:a16="http://schemas.microsoft.com/office/drawing/2014/main" id="{D2B0311E-C02B-43AC-91C2-9485D26F4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9322" y="4175723"/>
              <a:ext cx="6350" cy="6349"/>
            </a:xfrm>
            <a:custGeom>
              <a:avLst/>
              <a:gdLst>
                <a:gd name="T0" fmla="*/ 4 w 4"/>
                <a:gd name="T1" fmla="*/ 4 h 4"/>
                <a:gd name="T2" fmla="*/ 2 w 4"/>
                <a:gd name="T3" fmla="*/ 2 h 4"/>
                <a:gd name="T4" fmla="*/ 0 w 4"/>
                <a:gd name="T5" fmla="*/ 0 h 4"/>
                <a:gd name="T6" fmla="*/ 2 w 4"/>
                <a:gd name="T7" fmla="*/ 2 h 4"/>
                <a:gd name="T8" fmla="*/ 4 w 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94" name="Freeform 876">
              <a:extLst>
                <a:ext uri="{FF2B5EF4-FFF2-40B4-BE49-F238E27FC236}">
                  <a16:creationId xmlns:a16="http://schemas.microsoft.com/office/drawing/2014/main" id="{D2E3B085-DA2F-4A68-8744-18BD03C67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0422" y="4147152"/>
              <a:ext cx="4763" cy="12698"/>
            </a:xfrm>
            <a:custGeom>
              <a:avLst/>
              <a:gdLst>
                <a:gd name="T0" fmla="*/ 0 w 3"/>
                <a:gd name="T1" fmla="*/ 2 h 8"/>
                <a:gd name="T2" fmla="*/ 1 w 3"/>
                <a:gd name="T3" fmla="*/ 6 h 8"/>
                <a:gd name="T4" fmla="*/ 3 w 3"/>
                <a:gd name="T5" fmla="*/ 8 h 8"/>
                <a:gd name="T6" fmla="*/ 3 w 3"/>
                <a:gd name="T7" fmla="*/ 8 h 8"/>
                <a:gd name="T8" fmla="*/ 1 w 3"/>
                <a:gd name="T9" fmla="*/ 6 h 8"/>
                <a:gd name="T10" fmla="*/ 0 w 3"/>
                <a:gd name="T11" fmla="*/ 2 h 8"/>
                <a:gd name="T12" fmla="*/ 0 w 3"/>
                <a:gd name="T13" fmla="*/ 0 h 8"/>
                <a:gd name="T14" fmla="*/ 0 w 3"/>
                <a:gd name="T15" fmla="*/ 0 h 8"/>
                <a:gd name="T16" fmla="*/ 0 w 3"/>
                <a:gd name="T17" fmla="*/ 0 h 8"/>
                <a:gd name="T18" fmla="*/ 0 w 3"/>
                <a:gd name="T1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8">
                  <a:moveTo>
                    <a:pt x="0" y="2"/>
                  </a:moveTo>
                  <a:lnTo>
                    <a:pt x="1" y="6"/>
                  </a:lnTo>
                  <a:lnTo>
                    <a:pt x="3" y="8"/>
                  </a:lnTo>
                  <a:lnTo>
                    <a:pt x="3" y="8"/>
                  </a:lnTo>
                  <a:lnTo>
                    <a:pt x="1" y="6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95" name="Freeform 877">
              <a:extLst>
                <a:ext uri="{FF2B5EF4-FFF2-40B4-BE49-F238E27FC236}">
                  <a16:creationId xmlns:a16="http://schemas.microsoft.com/office/drawing/2014/main" id="{5F5F3F43-3160-4C5C-B857-2A25C13AC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184" y="4156676"/>
              <a:ext cx="6350" cy="12698"/>
            </a:xfrm>
            <a:custGeom>
              <a:avLst/>
              <a:gdLst>
                <a:gd name="T0" fmla="*/ 4 w 4"/>
                <a:gd name="T1" fmla="*/ 0 h 8"/>
                <a:gd name="T2" fmla="*/ 4 w 4"/>
                <a:gd name="T3" fmla="*/ 0 h 8"/>
                <a:gd name="T4" fmla="*/ 2 w 4"/>
                <a:gd name="T5" fmla="*/ 4 h 8"/>
                <a:gd name="T6" fmla="*/ 0 w 4"/>
                <a:gd name="T7" fmla="*/ 8 h 8"/>
                <a:gd name="T8" fmla="*/ 2 w 4"/>
                <a:gd name="T9" fmla="*/ 4 h 8"/>
                <a:gd name="T10" fmla="*/ 4 w 4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4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96" name="Freeform 878">
              <a:extLst>
                <a:ext uri="{FF2B5EF4-FFF2-40B4-BE49-F238E27FC236}">
                  <a16:creationId xmlns:a16="http://schemas.microsoft.com/office/drawing/2014/main" id="{C83D925A-4399-4EAE-A4CD-A07C481727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4709" y="4169374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0 w 2"/>
                <a:gd name="T7" fmla="*/ 0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97" name="Freeform 879">
              <a:extLst>
                <a:ext uri="{FF2B5EF4-FFF2-40B4-BE49-F238E27FC236}">
                  <a16:creationId xmlns:a16="http://schemas.microsoft.com/office/drawing/2014/main" id="{8A7877F7-8775-4246-8E1B-83774D841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1372" y="4136041"/>
              <a:ext cx="15875" cy="4762"/>
            </a:xfrm>
            <a:custGeom>
              <a:avLst/>
              <a:gdLst>
                <a:gd name="T0" fmla="*/ 6 w 10"/>
                <a:gd name="T1" fmla="*/ 0 h 3"/>
                <a:gd name="T2" fmla="*/ 10 w 10"/>
                <a:gd name="T3" fmla="*/ 0 h 3"/>
                <a:gd name="T4" fmla="*/ 10 w 10"/>
                <a:gd name="T5" fmla="*/ 2 h 3"/>
                <a:gd name="T6" fmla="*/ 10 w 10"/>
                <a:gd name="T7" fmla="*/ 0 h 3"/>
                <a:gd name="T8" fmla="*/ 6 w 10"/>
                <a:gd name="T9" fmla="*/ 0 h 3"/>
                <a:gd name="T10" fmla="*/ 2 w 10"/>
                <a:gd name="T11" fmla="*/ 2 h 3"/>
                <a:gd name="T12" fmla="*/ 0 w 10"/>
                <a:gd name="T13" fmla="*/ 3 h 3"/>
                <a:gd name="T14" fmla="*/ 2 w 10"/>
                <a:gd name="T15" fmla="*/ 2 h 3"/>
                <a:gd name="T16" fmla="*/ 6 w 10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3">
                  <a:moveTo>
                    <a:pt x="6" y="0"/>
                  </a:moveTo>
                  <a:lnTo>
                    <a:pt x="10" y="0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98" name="Rectangle 880">
              <a:extLst>
                <a:ext uri="{FF2B5EF4-FFF2-40B4-BE49-F238E27FC236}">
                  <a16:creationId xmlns:a16="http://schemas.microsoft.com/office/drawing/2014/main" id="{7607C841-D845-4EA9-8AD4-4C9C40B975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2797" y="4175723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99" name="Freeform 881">
              <a:extLst>
                <a:ext uri="{FF2B5EF4-FFF2-40B4-BE49-F238E27FC236}">
                  <a16:creationId xmlns:a16="http://schemas.microsoft.com/office/drawing/2014/main" id="{1A651A5C-05E1-4420-9132-18B14F665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459" y="4172548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2 h 2"/>
                <a:gd name="T4" fmla="*/ 0 w 4"/>
                <a:gd name="T5" fmla="*/ 0 h 2"/>
                <a:gd name="T6" fmla="*/ 2 w 4"/>
                <a:gd name="T7" fmla="*/ 2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00" name="Freeform 882">
              <a:extLst>
                <a:ext uri="{FF2B5EF4-FFF2-40B4-BE49-F238E27FC236}">
                  <a16:creationId xmlns:a16="http://schemas.microsoft.com/office/drawing/2014/main" id="{FD754D13-AB65-4BE3-BBBB-447A71D0B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5497" y="4147152"/>
              <a:ext cx="9525" cy="19047"/>
            </a:xfrm>
            <a:custGeom>
              <a:avLst/>
              <a:gdLst>
                <a:gd name="T0" fmla="*/ 6 w 6"/>
                <a:gd name="T1" fmla="*/ 0 h 12"/>
                <a:gd name="T2" fmla="*/ 4 w 6"/>
                <a:gd name="T3" fmla="*/ 2 h 12"/>
                <a:gd name="T4" fmla="*/ 0 w 6"/>
                <a:gd name="T5" fmla="*/ 12 h 12"/>
                <a:gd name="T6" fmla="*/ 4 w 6"/>
                <a:gd name="T7" fmla="*/ 2 h 12"/>
                <a:gd name="T8" fmla="*/ 6 w 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4" y="2"/>
                  </a:lnTo>
                  <a:lnTo>
                    <a:pt x="0" y="12"/>
                  </a:lnTo>
                  <a:lnTo>
                    <a:pt x="4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01" name="Rectangle 883">
              <a:extLst>
                <a:ext uri="{FF2B5EF4-FFF2-40B4-BE49-F238E27FC236}">
                  <a16:creationId xmlns:a16="http://schemas.microsoft.com/office/drawing/2014/main" id="{4141ABA1-1613-4A04-98E1-C5FB969F5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5972" y="4172548"/>
              <a:ext cx="3175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02" name="Freeform 884">
              <a:extLst>
                <a:ext uri="{FF2B5EF4-FFF2-40B4-BE49-F238E27FC236}">
                  <a16:creationId xmlns:a16="http://schemas.microsoft.com/office/drawing/2014/main" id="{EEABEBB4-47B1-49BB-949E-0DA657C72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5984" y="4169374"/>
              <a:ext cx="9525" cy="0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0 w 6"/>
                <a:gd name="T4" fmla="*/ 0 w 6"/>
                <a:gd name="T5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03" name="Freeform 885">
              <a:extLst>
                <a:ext uri="{FF2B5EF4-FFF2-40B4-BE49-F238E27FC236}">
                  <a16:creationId xmlns:a16="http://schemas.microsoft.com/office/drawing/2014/main" id="{6FCB6F50-4B43-49FA-89CA-09E341D30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2984" y="4172548"/>
              <a:ext cx="9525" cy="0"/>
            </a:xfrm>
            <a:custGeom>
              <a:avLst/>
              <a:gdLst>
                <a:gd name="T0" fmla="*/ 6 w 6"/>
                <a:gd name="T1" fmla="*/ 4 w 6"/>
                <a:gd name="T2" fmla="*/ 0 w 6"/>
                <a:gd name="T3" fmla="*/ 4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04" name="Rectangle 886">
              <a:extLst>
                <a:ext uri="{FF2B5EF4-FFF2-40B4-BE49-F238E27FC236}">
                  <a16:creationId xmlns:a16="http://schemas.microsoft.com/office/drawing/2014/main" id="{1AF2BAC7-F66C-4887-8AC4-92910AF095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34059" y="4150327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05" name="Rectangle 887">
              <a:extLst>
                <a:ext uri="{FF2B5EF4-FFF2-40B4-BE49-F238E27FC236}">
                  <a16:creationId xmlns:a16="http://schemas.microsoft.com/office/drawing/2014/main" id="{E75EB930-70C2-4C9B-A769-03B377CD8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3059" y="4051916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06" name="Freeform 888">
              <a:extLst>
                <a:ext uri="{FF2B5EF4-FFF2-40B4-BE49-F238E27FC236}">
                  <a16:creationId xmlns:a16="http://schemas.microsoft.com/office/drawing/2014/main" id="{4BD02E01-C226-49D6-8C88-7695E8AA7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3608" y="4147152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0 w 4"/>
                <a:gd name="T3" fmla="*/ 0 h 2"/>
                <a:gd name="T4" fmla="*/ 4 w 4"/>
                <a:gd name="T5" fmla="*/ 2 h 2"/>
                <a:gd name="T6" fmla="*/ 4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0" y="0"/>
                  </a:lnTo>
                  <a:lnTo>
                    <a:pt x="4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07" name="Freeform 889">
              <a:extLst>
                <a:ext uri="{FF2B5EF4-FFF2-40B4-BE49-F238E27FC236}">
                  <a16:creationId xmlns:a16="http://schemas.microsoft.com/office/drawing/2014/main" id="{87B3BD3C-792A-49E4-9699-9FB14F9FA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4409" y="4178897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0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08" name="Freeform 890">
              <a:extLst>
                <a:ext uri="{FF2B5EF4-FFF2-40B4-BE49-F238E27FC236}">
                  <a16:creationId xmlns:a16="http://schemas.microsoft.com/office/drawing/2014/main" id="{C2848B87-3FF1-4D75-977B-F30F48B90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7422" y="4234452"/>
              <a:ext cx="6350" cy="9524"/>
            </a:xfrm>
            <a:custGeom>
              <a:avLst/>
              <a:gdLst>
                <a:gd name="T0" fmla="*/ 4 w 4"/>
                <a:gd name="T1" fmla="*/ 2 h 6"/>
                <a:gd name="T2" fmla="*/ 4 w 4"/>
                <a:gd name="T3" fmla="*/ 0 h 6"/>
                <a:gd name="T4" fmla="*/ 4 w 4"/>
                <a:gd name="T5" fmla="*/ 2 h 6"/>
                <a:gd name="T6" fmla="*/ 0 w 4"/>
                <a:gd name="T7" fmla="*/ 6 h 6"/>
                <a:gd name="T8" fmla="*/ 0 w 4"/>
                <a:gd name="T9" fmla="*/ 6 h 6"/>
                <a:gd name="T10" fmla="*/ 4 w 4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4" y="2"/>
                  </a:moveTo>
                  <a:lnTo>
                    <a:pt x="4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09" name="Rectangle 891">
              <a:extLst>
                <a:ext uri="{FF2B5EF4-FFF2-40B4-BE49-F238E27FC236}">
                  <a16:creationId xmlns:a16="http://schemas.microsoft.com/office/drawing/2014/main" id="{A43EE193-FABD-4A85-9E6B-7736BA98EB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4247" y="4237626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10" name="Freeform 892">
              <a:extLst>
                <a:ext uri="{FF2B5EF4-FFF2-40B4-BE49-F238E27FC236}">
                  <a16:creationId xmlns:a16="http://schemas.microsoft.com/office/drawing/2014/main" id="{F4765E88-3577-44A9-908F-E020F6EDA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3772" y="4201119"/>
              <a:ext cx="1588" cy="30158"/>
            </a:xfrm>
            <a:custGeom>
              <a:avLst/>
              <a:gdLst>
                <a:gd name="T0" fmla="*/ 0 w 1"/>
                <a:gd name="T1" fmla="*/ 9 h 19"/>
                <a:gd name="T2" fmla="*/ 0 w 1"/>
                <a:gd name="T3" fmla="*/ 3 h 19"/>
                <a:gd name="T4" fmla="*/ 1 w 1"/>
                <a:gd name="T5" fmla="*/ 0 h 19"/>
                <a:gd name="T6" fmla="*/ 0 w 1"/>
                <a:gd name="T7" fmla="*/ 3 h 19"/>
                <a:gd name="T8" fmla="*/ 0 w 1"/>
                <a:gd name="T9" fmla="*/ 9 h 19"/>
                <a:gd name="T10" fmla="*/ 0 w 1"/>
                <a:gd name="T11" fmla="*/ 19 h 19"/>
                <a:gd name="T12" fmla="*/ 0 w 1"/>
                <a:gd name="T13" fmla="*/ 19 h 19"/>
                <a:gd name="T14" fmla="*/ 0 w 1"/>
                <a:gd name="T15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" h="19">
                  <a:moveTo>
                    <a:pt x="0" y="9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11" name="Rectangle 893">
              <a:extLst>
                <a:ext uri="{FF2B5EF4-FFF2-40B4-BE49-F238E27FC236}">
                  <a16:creationId xmlns:a16="http://schemas.microsoft.com/office/drawing/2014/main" id="{D362718B-47AB-4816-BB78-8860D4F695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8520" y="4194770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12" name="Freeform 894">
              <a:extLst>
                <a:ext uri="{FF2B5EF4-FFF2-40B4-BE49-F238E27FC236}">
                  <a16:creationId xmlns:a16="http://schemas.microsoft.com/office/drawing/2014/main" id="{47D7EED8-1CFF-4608-A069-A7D87DE35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5197" y="4224928"/>
              <a:ext cx="9525" cy="3175"/>
            </a:xfrm>
            <a:custGeom>
              <a:avLst/>
              <a:gdLst>
                <a:gd name="T0" fmla="*/ 4 w 6"/>
                <a:gd name="T1" fmla="*/ 2 h 2"/>
                <a:gd name="T2" fmla="*/ 6 w 6"/>
                <a:gd name="T3" fmla="*/ 2 h 2"/>
                <a:gd name="T4" fmla="*/ 4 w 6"/>
                <a:gd name="T5" fmla="*/ 2 h 2"/>
                <a:gd name="T6" fmla="*/ 0 w 6"/>
                <a:gd name="T7" fmla="*/ 0 h 2"/>
                <a:gd name="T8" fmla="*/ 0 w 6"/>
                <a:gd name="T9" fmla="*/ 0 h 2"/>
                <a:gd name="T10" fmla="*/ 0 w 6"/>
                <a:gd name="T11" fmla="*/ 0 h 2"/>
                <a:gd name="T12" fmla="*/ 4 w 6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">
                  <a:moveTo>
                    <a:pt x="4" y="2"/>
                  </a:moveTo>
                  <a:lnTo>
                    <a:pt x="6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13" name="Freeform 895">
              <a:extLst>
                <a:ext uri="{FF2B5EF4-FFF2-40B4-BE49-F238E27FC236}">
                  <a16:creationId xmlns:a16="http://schemas.microsoft.com/office/drawing/2014/main" id="{D26FF328-12FE-4CD3-AC34-AABAE21D5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4722" y="4224928"/>
              <a:ext cx="6350" cy="3175"/>
            </a:xfrm>
            <a:custGeom>
              <a:avLst/>
              <a:gdLst>
                <a:gd name="T0" fmla="*/ 2 w 4"/>
                <a:gd name="T1" fmla="*/ 0 h 2"/>
                <a:gd name="T2" fmla="*/ 4 w 4"/>
                <a:gd name="T3" fmla="*/ 0 h 2"/>
                <a:gd name="T4" fmla="*/ 4 w 4"/>
                <a:gd name="T5" fmla="*/ 0 h 2"/>
                <a:gd name="T6" fmla="*/ 2 w 4"/>
                <a:gd name="T7" fmla="*/ 0 h 2"/>
                <a:gd name="T8" fmla="*/ 0 w 4"/>
                <a:gd name="T9" fmla="*/ 2 h 2"/>
                <a:gd name="T10" fmla="*/ 0 w 4"/>
                <a:gd name="T11" fmla="*/ 2 h 2"/>
                <a:gd name="T12" fmla="*/ 2 w 4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14" name="Freeform 896">
              <a:extLst>
                <a:ext uri="{FF2B5EF4-FFF2-40B4-BE49-F238E27FC236}">
                  <a16:creationId xmlns:a16="http://schemas.microsoft.com/office/drawing/2014/main" id="{1A0C85EF-4593-40CB-AEEA-3CB21348A3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971" y="4045567"/>
              <a:ext cx="61913" cy="6349"/>
            </a:xfrm>
            <a:custGeom>
              <a:avLst/>
              <a:gdLst>
                <a:gd name="T0" fmla="*/ 39 w 39"/>
                <a:gd name="T1" fmla="*/ 4 h 4"/>
                <a:gd name="T2" fmla="*/ 0 w 39"/>
                <a:gd name="T3" fmla="*/ 2 h 4"/>
                <a:gd name="T4" fmla="*/ 0 w 39"/>
                <a:gd name="T5" fmla="*/ 0 h 4"/>
                <a:gd name="T6" fmla="*/ 0 w 39"/>
                <a:gd name="T7" fmla="*/ 2 h 4"/>
                <a:gd name="T8" fmla="*/ 39 w 39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">
                  <a:moveTo>
                    <a:pt x="39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39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15" name="Freeform 897">
              <a:extLst>
                <a:ext uri="{FF2B5EF4-FFF2-40B4-BE49-F238E27FC236}">
                  <a16:creationId xmlns:a16="http://schemas.microsoft.com/office/drawing/2014/main" id="{E310BE27-C0DE-4B0B-901C-6D550D771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6346" y="4010647"/>
              <a:ext cx="22225" cy="9524"/>
            </a:xfrm>
            <a:custGeom>
              <a:avLst/>
              <a:gdLst>
                <a:gd name="T0" fmla="*/ 14 w 14"/>
                <a:gd name="T1" fmla="*/ 0 h 6"/>
                <a:gd name="T2" fmla="*/ 10 w 14"/>
                <a:gd name="T3" fmla="*/ 0 h 6"/>
                <a:gd name="T4" fmla="*/ 0 w 14"/>
                <a:gd name="T5" fmla="*/ 6 h 6"/>
                <a:gd name="T6" fmla="*/ 10 w 14"/>
                <a:gd name="T7" fmla="*/ 0 h 6"/>
                <a:gd name="T8" fmla="*/ 14 w 1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10" y="0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16" name="Freeform 898">
              <a:extLst>
                <a:ext uri="{FF2B5EF4-FFF2-40B4-BE49-F238E27FC236}">
                  <a16:creationId xmlns:a16="http://schemas.microsoft.com/office/drawing/2014/main" id="{92D08FD8-1873-420B-B0EE-B3335C738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1271" y="4009060"/>
              <a:ext cx="85725" cy="11111"/>
            </a:xfrm>
            <a:custGeom>
              <a:avLst/>
              <a:gdLst>
                <a:gd name="T0" fmla="*/ 31 w 54"/>
                <a:gd name="T1" fmla="*/ 7 h 7"/>
                <a:gd name="T2" fmla="*/ 54 w 54"/>
                <a:gd name="T3" fmla="*/ 7 h 7"/>
                <a:gd name="T4" fmla="*/ 31 w 54"/>
                <a:gd name="T5" fmla="*/ 7 h 7"/>
                <a:gd name="T6" fmla="*/ 4 w 54"/>
                <a:gd name="T7" fmla="*/ 0 h 7"/>
                <a:gd name="T8" fmla="*/ 0 w 54"/>
                <a:gd name="T9" fmla="*/ 0 h 7"/>
                <a:gd name="T10" fmla="*/ 4 w 54"/>
                <a:gd name="T11" fmla="*/ 0 h 7"/>
                <a:gd name="T12" fmla="*/ 31 w 5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7">
                  <a:moveTo>
                    <a:pt x="31" y="7"/>
                  </a:moveTo>
                  <a:lnTo>
                    <a:pt x="54" y="7"/>
                  </a:lnTo>
                  <a:lnTo>
                    <a:pt x="31" y="7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31" y="7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17" name="Freeform 899">
              <a:extLst>
                <a:ext uri="{FF2B5EF4-FFF2-40B4-BE49-F238E27FC236}">
                  <a16:creationId xmlns:a16="http://schemas.microsoft.com/office/drawing/2014/main" id="{A07AEE62-4969-4473-993B-03CECBC58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608" y="4016996"/>
              <a:ext cx="57150" cy="9524"/>
            </a:xfrm>
            <a:custGeom>
              <a:avLst/>
              <a:gdLst>
                <a:gd name="T0" fmla="*/ 36 w 36"/>
                <a:gd name="T1" fmla="*/ 6 h 6"/>
                <a:gd name="T2" fmla="*/ 0 w 36"/>
                <a:gd name="T3" fmla="*/ 0 h 6"/>
                <a:gd name="T4" fmla="*/ 0 w 36"/>
                <a:gd name="T5" fmla="*/ 0 h 6"/>
                <a:gd name="T6" fmla="*/ 36 w 36"/>
                <a:gd name="T7" fmla="*/ 6 h 6"/>
                <a:gd name="T8" fmla="*/ 36 w 3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6">
                  <a:moveTo>
                    <a:pt x="36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6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18" name="Freeform 900">
              <a:extLst>
                <a:ext uri="{FF2B5EF4-FFF2-40B4-BE49-F238E27FC236}">
                  <a16:creationId xmlns:a16="http://schemas.microsoft.com/office/drawing/2014/main" id="{C5DE9734-E196-4D6E-8B98-F938A45CAF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3620" y="4067789"/>
              <a:ext cx="17463" cy="42856"/>
            </a:xfrm>
            <a:custGeom>
              <a:avLst/>
              <a:gdLst>
                <a:gd name="T0" fmla="*/ 5 w 11"/>
                <a:gd name="T1" fmla="*/ 19 h 27"/>
                <a:gd name="T2" fmla="*/ 11 w 11"/>
                <a:gd name="T3" fmla="*/ 2 h 27"/>
                <a:gd name="T4" fmla="*/ 11 w 11"/>
                <a:gd name="T5" fmla="*/ 0 h 27"/>
                <a:gd name="T6" fmla="*/ 11 w 11"/>
                <a:gd name="T7" fmla="*/ 2 h 27"/>
                <a:gd name="T8" fmla="*/ 5 w 11"/>
                <a:gd name="T9" fmla="*/ 19 h 27"/>
                <a:gd name="T10" fmla="*/ 1 w 11"/>
                <a:gd name="T11" fmla="*/ 25 h 27"/>
                <a:gd name="T12" fmla="*/ 0 w 11"/>
                <a:gd name="T13" fmla="*/ 27 h 27"/>
                <a:gd name="T14" fmla="*/ 1 w 11"/>
                <a:gd name="T15" fmla="*/ 25 h 27"/>
                <a:gd name="T16" fmla="*/ 5 w 11"/>
                <a:gd name="T17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27">
                  <a:moveTo>
                    <a:pt x="5" y="19"/>
                  </a:moveTo>
                  <a:lnTo>
                    <a:pt x="11" y="2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5" y="19"/>
                  </a:lnTo>
                  <a:lnTo>
                    <a:pt x="1" y="25"/>
                  </a:lnTo>
                  <a:lnTo>
                    <a:pt x="0" y="27"/>
                  </a:lnTo>
                  <a:lnTo>
                    <a:pt x="1" y="25"/>
                  </a:lnTo>
                  <a:lnTo>
                    <a:pt x="5" y="1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19" name="Freeform 901">
              <a:extLst>
                <a:ext uri="{FF2B5EF4-FFF2-40B4-BE49-F238E27FC236}">
                  <a16:creationId xmlns:a16="http://schemas.microsoft.com/office/drawing/2014/main" id="{804D8F40-75F5-4F4F-94E8-AB7C8E9971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6958" y="4032869"/>
              <a:ext cx="74613" cy="9524"/>
            </a:xfrm>
            <a:custGeom>
              <a:avLst/>
              <a:gdLst>
                <a:gd name="T0" fmla="*/ 6 w 47"/>
                <a:gd name="T1" fmla="*/ 4 h 6"/>
                <a:gd name="T2" fmla="*/ 47 w 47"/>
                <a:gd name="T3" fmla="*/ 0 h 6"/>
                <a:gd name="T4" fmla="*/ 47 w 47"/>
                <a:gd name="T5" fmla="*/ 0 h 6"/>
                <a:gd name="T6" fmla="*/ 6 w 47"/>
                <a:gd name="T7" fmla="*/ 4 h 6"/>
                <a:gd name="T8" fmla="*/ 2 w 47"/>
                <a:gd name="T9" fmla="*/ 4 h 6"/>
                <a:gd name="T10" fmla="*/ 0 w 47"/>
                <a:gd name="T11" fmla="*/ 6 h 6"/>
                <a:gd name="T12" fmla="*/ 2 w 47"/>
                <a:gd name="T13" fmla="*/ 4 h 6"/>
                <a:gd name="T14" fmla="*/ 6 w 47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6">
                  <a:moveTo>
                    <a:pt x="6" y="4"/>
                  </a:moveTo>
                  <a:lnTo>
                    <a:pt x="47" y="0"/>
                  </a:lnTo>
                  <a:lnTo>
                    <a:pt x="47" y="0"/>
                  </a:lnTo>
                  <a:lnTo>
                    <a:pt x="6" y="4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4"/>
                  </a:lnTo>
                  <a:lnTo>
                    <a:pt x="6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20" name="Freeform 902">
              <a:extLst>
                <a:ext uri="{FF2B5EF4-FFF2-40B4-BE49-F238E27FC236}">
                  <a16:creationId xmlns:a16="http://schemas.microsoft.com/office/drawing/2014/main" id="{F01E625D-8788-4CB3-8663-AD68A57BB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9958" y="4150327"/>
              <a:ext cx="15875" cy="15873"/>
            </a:xfrm>
            <a:custGeom>
              <a:avLst/>
              <a:gdLst>
                <a:gd name="T0" fmla="*/ 10 w 10"/>
                <a:gd name="T1" fmla="*/ 10 h 10"/>
                <a:gd name="T2" fmla="*/ 10 w 10"/>
                <a:gd name="T3" fmla="*/ 10 h 10"/>
                <a:gd name="T4" fmla="*/ 10 w 10"/>
                <a:gd name="T5" fmla="*/ 10 h 10"/>
                <a:gd name="T6" fmla="*/ 6 w 10"/>
                <a:gd name="T7" fmla="*/ 4 h 10"/>
                <a:gd name="T8" fmla="*/ 0 w 10"/>
                <a:gd name="T9" fmla="*/ 0 h 10"/>
                <a:gd name="T10" fmla="*/ 6 w 10"/>
                <a:gd name="T11" fmla="*/ 4 h 10"/>
                <a:gd name="T12" fmla="*/ 10 w 10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0" y="10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6" y="4"/>
                  </a:lnTo>
                  <a:lnTo>
                    <a:pt x="0" y="0"/>
                  </a:lnTo>
                  <a:lnTo>
                    <a:pt x="6" y="4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21" name="Freeform 903">
              <a:extLst>
                <a:ext uri="{FF2B5EF4-FFF2-40B4-BE49-F238E27FC236}">
                  <a16:creationId xmlns:a16="http://schemas.microsoft.com/office/drawing/2014/main" id="{0B562B0A-EEFA-4C3A-8447-FE0F1CC12D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8520" y="4169374"/>
              <a:ext cx="3175" cy="19047"/>
            </a:xfrm>
            <a:custGeom>
              <a:avLst/>
              <a:gdLst>
                <a:gd name="T0" fmla="*/ 2 w 2"/>
                <a:gd name="T1" fmla="*/ 8 h 12"/>
                <a:gd name="T2" fmla="*/ 0 w 2"/>
                <a:gd name="T3" fmla="*/ 0 h 12"/>
                <a:gd name="T4" fmla="*/ 2 w 2"/>
                <a:gd name="T5" fmla="*/ 8 h 12"/>
                <a:gd name="T6" fmla="*/ 2 w 2"/>
                <a:gd name="T7" fmla="*/ 12 h 12"/>
                <a:gd name="T8" fmla="*/ 2 w 2"/>
                <a:gd name="T9" fmla="*/ 12 h 12"/>
                <a:gd name="T10" fmla="*/ 2 w 2"/>
                <a:gd name="T11" fmla="*/ 12 h 12"/>
                <a:gd name="T12" fmla="*/ 2 w 2"/>
                <a:gd name="T1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2">
                  <a:moveTo>
                    <a:pt x="2" y="8"/>
                  </a:moveTo>
                  <a:lnTo>
                    <a:pt x="0" y="0"/>
                  </a:lnTo>
                  <a:lnTo>
                    <a:pt x="2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22" name="Freeform 904">
              <a:extLst>
                <a:ext uri="{FF2B5EF4-FFF2-40B4-BE49-F238E27FC236}">
                  <a16:creationId xmlns:a16="http://schemas.microsoft.com/office/drawing/2014/main" id="{6E749717-2961-40DC-B0BB-03527427E3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2170" y="4150327"/>
              <a:ext cx="6350" cy="6349"/>
            </a:xfrm>
            <a:custGeom>
              <a:avLst/>
              <a:gdLst>
                <a:gd name="T0" fmla="*/ 2 w 4"/>
                <a:gd name="T1" fmla="*/ 0 h 4"/>
                <a:gd name="T2" fmla="*/ 4 w 4"/>
                <a:gd name="T3" fmla="*/ 0 h 4"/>
                <a:gd name="T4" fmla="*/ 2 w 4"/>
                <a:gd name="T5" fmla="*/ 0 h 4"/>
                <a:gd name="T6" fmla="*/ 0 w 4"/>
                <a:gd name="T7" fmla="*/ 4 h 4"/>
                <a:gd name="T8" fmla="*/ 0 w 4"/>
                <a:gd name="T9" fmla="*/ 4 h 4"/>
                <a:gd name="T10" fmla="*/ 0 w 4"/>
                <a:gd name="T11" fmla="*/ 4 h 4"/>
                <a:gd name="T12" fmla="*/ 2 w 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23" name="Freeform 905">
              <a:extLst>
                <a:ext uri="{FF2B5EF4-FFF2-40B4-BE49-F238E27FC236}">
                  <a16:creationId xmlns:a16="http://schemas.microsoft.com/office/drawing/2014/main" id="{6832B0E0-5A73-4F38-8058-5D2982EC8C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1858" y="4139216"/>
              <a:ext cx="19050" cy="4762"/>
            </a:xfrm>
            <a:custGeom>
              <a:avLst/>
              <a:gdLst>
                <a:gd name="T0" fmla="*/ 12 w 12"/>
                <a:gd name="T1" fmla="*/ 3 h 3"/>
                <a:gd name="T2" fmla="*/ 2 w 12"/>
                <a:gd name="T3" fmla="*/ 0 h 3"/>
                <a:gd name="T4" fmla="*/ 0 w 12"/>
                <a:gd name="T5" fmla="*/ 0 h 3"/>
                <a:gd name="T6" fmla="*/ 2 w 12"/>
                <a:gd name="T7" fmla="*/ 0 h 3"/>
                <a:gd name="T8" fmla="*/ 12 w 1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3">
                  <a:moveTo>
                    <a:pt x="1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2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24" name="Freeform 906">
              <a:extLst>
                <a:ext uri="{FF2B5EF4-FFF2-40B4-BE49-F238E27FC236}">
                  <a16:creationId xmlns:a16="http://schemas.microsoft.com/office/drawing/2014/main" id="{4599B04E-F5F8-4884-9B1B-63A70A599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1671" y="4159850"/>
              <a:ext cx="9525" cy="0"/>
            </a:xfrm>
            <a:custGeom>
              <a:avLst/>
              <a:gdLst>
                <a:gd name="T0" fmla="*/ 6 w 6"/>
                <a:gd name="T1" fmla="*/ 4 w 6"/>
                <a:gd name="T2" fmla="*/ 0 w 6"/>
                <a:gd name="T3" fmla="*/ 4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25" name="Freeform 907">
              <a:extLst>
                <a:ext uri="{FF2B5EF4-FFF2-40B4-BE49-F238E27FC236}">
                  <a16:creationId xmlns:a16="http://schemas.microsoft.com/office/drawing/2014/main" id="{71CA4B8A-6D1B-4610-BBA3-13F9284BA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6584" y="4147152"/>
              <a:ext cx="19050" cy="12698"/>
            </a:xfrm>
            <a:custGeom>
              <a:avLst/>
              <a:gdLst>
                <a:gd name="T0" fmla="*/ 4 w 12"/>
                <a:gd name="T1" fmla="*/ 8 h 8"/>
                <a:gd name="T2" fmla="*/ 8 w 12"/>
                <a:gd name="T3" fmla="*/ 2 h 8"/>
                <a:gd name="T4" fmla="*/ 12 w 12"/>
                <a:gd name="T5" fmla="*/ 0 h 8"/>
                <a:gd name="T6" fmla="*/ 12 w 12"/>
                <a:gd name="T7" fmla="*/ 0 h 8"/>
                <a:gd name="T8" fmla="*/ 12 w 12"/>
                <a:gd name="T9" fmla="*/ 0 h 8"/>
                <a:gd name="T10" fmla="*/ 8 w 12"/>
                <a:gd name="T11" fmla="*/ 2 h 8"/>
                <a:gd name="T12" fmla="*/ 4 w 12"/>
                <a:gd name="T13" fmla="*/ 8 h 8"/>
                <a:gd name="T14" fmla="*/ 0 w 12"/>
                <a:gd name="T15" fmla="*/ 8 h 8"/>
                <a:gd name="T16" fmla="*/ 0 w 12"/>
                <a:gd name="T17" fmla="*/ 8 h 8"/>
                <a:gd name="T18" fmla="*/ 0 w 12"/>
                <a:gd name="T19" fmla="*/ 8 h 8"/>
                <a:gd name="T20" fmla="*/ 4 w 12"/>
                <a:gd name="T2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8">
                  <a:moveTo>
                    <a:pt x="4" y="8"/>
                  </a:moveTo>
                  <a:lnTo>
                    <a:pt x="8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2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26" name="Freeform 908">
              <a:extLst>
                <a:ext uri="{FF2B5EF4-FFF2-40B4-BE49-F238E27FC236}">
                  <a16:creationId xmlns:a16="http://schemas.microsoft.com/office/drawing/2014/main" id="{1061BBC9-D1B7-4DAA-B8B0-0E7F2C79F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1184" y="4159850"/>
              <a:ext cx="9525" cy="0"/>
            </a:xfrm>
            <a:custGeom>
              <a:avLst/>
              <a:gdLst>
                <a:gd name="T0" fmla="*/ 6 w 6"/>
                <a:gd name="T1" fmla="*/ 2 w 6"/>
                <a:gd name="T2" fmla="*/ 0 w 6"/>
                <a:gd name="T3" fmla="*/ 2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27" name="Freeform 909">
              <a:extLst>
                <a:ext uri="{FF2B5EF4-FFF2-40B4-BE49-F238E27FC236}">
                  <a16:creationId xmlns:a16="http://schemas.microsoft.com/office/drawing/2014/main" id="{C070E129-4B51-41F0-913F-7F6B940769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5309" y="4136041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4 w 4"/>
                <a:gd name="T3" fmla="*/ 0 h 2"/>
                <a:gd name="T4" fmla="*/ 0 w 4"/>
                <a:gd name="T5" fmla="*/ 0 h 2"/>
                <a:gd name="T6" fmla="*/ 4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28" name="Freeform 910">
              <a:extLst>
                <a:ext uri="{FF2B5EF4-FFF2-40B4-BE49-F238E27FC236}">
                  <a16:creationId xmlns:a16="http://schemas.microsoft.com/office/drawing/2014/main" id="{7CDB0AFD-E49A-4730-9C2D-93B892C96A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4371" y="4194770"/>
              <a:ext cx="23813" cy="20634"/>
            </a:xfrm>
            <a:custGeom>
              <a:avLst/>
              <a:gdLst>
                <a:gd name="T0" fmla="*/ 2 w 15"/>
                <a:gd name="T1" fmla="*/ 13 h 13"/>
                <a:gd name="T2" fmla="*/ 6 w 15"/>
                <a:gd name="T3" fmla="*/ 13 h 13"/>
                <a:gd name="T4" fmla="*/ 8 w 15"/>
                <a:gd name="T5" fmla="*/ 11 h 13"/>
                <a:gd name="T6" fmla="*/ 15 w 15"/>
                <a:gd name="T7" fmla="*/ 2 h 13"/>
                <a:gd name="T8" fmla="*/ 15 w 15"/>
                <a:gd name="T9" fmla="*/ 0 h 13"/>
                <a:gd name="T10" fmla="*/ 15 w 15"/>
                <a:gd name="T11" fmla="*/ 2 h 13"/>
                <a:gd name="T12" fmla="*/ 8 w 15"/>
                <a:gd name="T13" fmla="*/ 11 h 13"/>
                <a:gd name="T14" fmla="*/ 6 w 15"/>
                <a:gd name="T15" fmla="*/ 13 h 13"/>
                <a:gd name="T16" fmla="*/ 2 w 15"/>
                <a:gd name="T17" fmla="*/ 13 h 13"/>
                <a:gd name="T18" fmla="*/ 0 w 15"/>
                <a:gd name="T19" fmla="*/ 11 h 13"/>
                <a:gd name="T20" fmla="*/ 0 w 15"/>
                <a:gd name="T21" fmla="*/ 11 h 13"/>
                <a:gd name="T22" fmla="*/ 0 w 15"/>
                <a:gd name="T23" fmla="*/ 11 h 13"/>
                <a:gd name="T24" fmla="*/ 2 w 15"/>
                <a:gd name="T2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13">
                  <a:moveTo>
                    <a:pt x="2" y="13"/>
                  </a:moveTo>
                  <a:lnTo>
                    <a:pt x="6" y="13"/>
                  </a:lnTo>
                  <a:lnTo>
                    <a:pt x="8" y="11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5" y="2"/>
                  </a:lnTo>
                  <a:lnTo>
                    <a:pt x="8" y="11"/>
                  </a:lnTo>
                  <a:lnTo>
                    <a:pt x="6" y="13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29" name="Rectangle 911">
              <a:extLst>
                <a:ext uri="{FF2B5EF4-FFF2-40B4-BE49-F238E27FC236}">
                  <a16:creationId xmlns:a16="http://schemas.microsoft.com/office/drawing/2014/main" id="{73776169-7276-4240-B482-012C21DF8A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4846" y="4204294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30" name="Freeform 912">
              <a:extLst>
                <a:ext uri="{FF2B5EF4-FFF2-40B4-BE49-F238E27FC236}">
                  <a16:creationId xmlns:a16="http://schemas.microsoft.com/office/drawing/2014/main" id="{338ADEF3-98A4-46F9-BC73-304EDABD86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1496" y="4091598"/>
              <a:ext cx="6350" cy="9524"/>
            </a:xfrm>
            <a:custGeom>
              <a:avLst/>
              <a:gdLst>
                <a:gd name="T0" fmla="*/ 4 w 4"/>
                <a:gd name="T1" fmla="*/ 6 h 6"/>
                <a:gd name="T2" fmla="*/ 2 w 4"/>
                <a:gd name="T3" fmla="*/ 2 h 6"/>
                <a:gd name="T4" fmla="*/ 0 w 4"/>
                <a:gd name="T5" fmla="*/ 0 h 6"/>
                <a:gd name="T6" fmla="*/ 2 w 4"/>
                <a:gd name="T7" fmla="*/ 2 h 6"/>
                <a:gd name="T8" fmla="*/ 4 w 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31" name="Freeform 913">
              <a:extLst>
                <a:ext uri="{FF2B5EF4-FFF2-40B4-BE49-F238E27FC236}">
                  <a16:creationId xmlns:a16="http://schemas.microsoft.com/office/drawing/2014/main" id="{A42E0B38-B871-4971-A2C8-FF1EEB44A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2759" y="4088423"/>
              <a:ext cx="39688" cy="6349"/>
            </a:xfrm>
            <a:custGeom>
              <a:avLst/>
              <a:gdLst>
                <a:gd name="T0" fmla="*/ 25 w 25"/>
                <a:gd name="T1" fmla="*/ 0 h 4"/>
                <a:gd name="T2" fmla="*/ 13 w 25"/>
                <a:gd name="T3" fmla="*/ 0 h 4"/>
                <a:gd name="T4" fmla="*/ 0 w 25"/>
                <a:gd name="T5" fmla="*/ 4 h 4"/>
                <a:gd name="T6" fmla="*/ 13 w 25"/>
                <a:gd name="T7" fmla="*/ 0 h 4"/>
                <a:gd name="T8" fmla="*/ 25 w 2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4">
                  <a:moveTo>
                    <a:pt x="25" y="0"/>
                  </a:moveTo>
                  <a:lnTo>
                    <a:pt x="13" y="0"/>
                  </a:lnTo>
                  <a:lnTo>
                    <a:pt x="0" y="4"/>
                  </a:lnTo>
                  <a:lnTo>
                    <a:pt x="13" y="0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32" name="Freeform 914">
              <a:extLst>
                <a:ext uri="{FF2B5EF4-FFF2-40B4-BE49-F238E27FC236}">
                  <a16:creationId xmlns:a16="http://schemas.microsoft.com/office/drawing/2014/main" id="{E4A48C9D-4446-4166-9D56-3FAE65B4F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6234" y="4067789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0 w 2"/>
                <a:gd name="T7" fmla="*/ 0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33" name="Freeform 915">
              <a:extLst>
                <a:ext uri="{FF2B5EF4-FFF2-40B4-BE49-F238E27FC236}">
                  <a16:creationId xmlns:a16="http://schemas.microsoft.com/office/drawing/2014/main" id="{5292CCAF-AC2A-4BCF-AE54-CBE8CDAA1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3059" y="4058265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0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34" name="Freeform 916">
              <a:extLst>
                <a:ext uri="{FF2B5EF4-FFF2-40B4-BE49-F238E27FC236}">
                  <a16:creationId xmlns:a16="http://schemas.microsoft.com/office/drawing/2014/main" id="{7A70DC40-F6BC-4990-87DB-1D4EA98A07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7846" y="4126518"/>
              <a:ext cx="12700" cy="9524"/>
            </a:xfrm>
            <a:custGeom>
              <a:avLst/>
              <a:gdLst>
                <a:gd name="T0" fmla="*/ 4 w 8"/>
                <a:gd name="T1" fmla="*/ 6 h 6"/>
                <a:gd name="T2" fmla="*/ 6 w 8"/>
                <a:gd name="T3" fmla="*/ 6 h 6"/>
                <a:gd name="T4" fmla="*/ 8 w 8"/>
                <a:gd name="T5" fmla="*/ 6 h 6"/>
                <a:gd name="T6" fmla="*/ 6 w 8"/>
                <a:gd name="T7" fmla="*/ 6 h 6"/>
                <a:gd name="T8" fmla="*/ 4 w 8"/>
                <a:gd name="T9" fmla="*/ 6 h 6"/>
                <a:gd name="T10" fmla="*/ 0 w 8"/>
                <a:gd name="T11" fmla="*/ 4 h 6"/>
                <a:gd name="T12" fmla="*/ 0 w 8"/>
                <a:gd name="T13" fmla="*/ 0 h 6"/>
                <a:gd name="T14" fmla="*/ 0 w 8"/>
                <a:gd name="T15" fmla="*/ 4 h 6"/>
                <a:gd name="T16" fmla="*/ 4 w 8"/>
                <a:gd name="T1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6">
                  <a:moveTo>
                    <a:pt x="4" y="6"/>
                  </a:moveTo>
                  <a:lnTo>
                    <a:pt x="6" y="6"/>
                  </a:lnTo>
                  <a:lnTo>
                    <a:pt x="8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35" name="Freeform 917">
              <a:extLst>
                <a:ext uri="{FF2B5EF4-FFF2-40B4-BE49-F238E27FC236}">
                  <a16:creationId xmlns:a16="http://schemas.microsoft.com/office/drawing/2014/main" id="{C8B5ED7E-42A3-4338-8F94-5B592E5DC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184" y="4175723"/>
              <a:ext cx="0" cy="9524"/>
            </a:xfrm>
            <a:custGeom>
              <a:avLst/>
              <a:gdLst>
                <a:gd name="T0" fmla="*/ 2 h 6"/>
                <a:gd name="T1" fmla="*/ 0 h 6"/>
                <a:gd name="T2" fmla="*/ 2 h 6"/>
                <a:gd name="T3" fmla="*/ 4 h 6"/>
                <a:gd name="T4" fmla="*/ 6 h 6"/>
                <a:gd name="T5" fmla="*/ 4 h 6"/>
                <a:gd name="T6" fmla="*/ 2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6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36" name="Freeform 918">
              <a:extLst>
                <a:ext uri="{FF2B5EF4-FFF2-40B4-BE49-F238E27FC236}">
                  <a16:creationId xmlns:a16="http://schemas.microsoft.com/office/drawing/2014/main" id="{A7C7F025-7626-44C7-8093-04765D725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3667" y="5409030"/>
              <a:ext cx="1779590" cy="647605"/>
            </a:xfrm>
            <a:custGeom>
              <a:avLst/>
              <a:gdLst>
                <a:gd name="T0" fmla="*/ 961 w 1121"/>
                <a:gd name="T1" fmla="*/ 51 h 408"/>
                <a:gd name="T2" fmla="*/ 924 w 1121"/>
                <a:gd name="T3" fmla="*/ 55 h 408"/>
                <a:gd name="T4" fmla="*/ 894 w 1121"/>
                <a:gd name="T5" fmla="*/ 18 h 408"/>
                <a:gd name="T6" fmla="*/ 877 w 1121"/>
                <a:gd name="T7" fmla="*/ 2 h 408"/>
                <a:gd name="T8" fmla="*/ 853 w 1121"/>
                <a:gd name="T9" fmla="*/ 16 h 408"/>
                <a:gd name="T10" fmla="*/ 826 w 1121"/>
                <a:gd name="T11" fmla="*/ 20 h 408"/>
                <a:gd name="T12" fmla="*/ 781 w 1121"/>
                <a:gd name="T13" fmla="*/ 6 h 408"/>
                <a:gd name="T14" fmla="*/ 720 w 1121"/>
                <a:gd name="T15" fmla="*/ 16 h 408"/>
                <a:gd name="T16" fmla="*/ 718 w 1121"/>
                <a:gd name="T17" fmla="*/ 25 h 408"/>
                <a:gd name="T18" fmla="*/ 697 w 1121"/>
                <a:gd name="T19" fmla="*/ 66 h 408"/>
                <a:gd name="T20" fmla="*/ 677 w 1121"/>
                <a:gd name="T21" fmla="*/ 76 h 408"/>
                <a:gd name="T22" fmla="*/ 660 w 1121"/>
                <a:gd name="T23" fmla="*/ 82 h 408"/>
                <a:gd name="T24" fmla="*/ 646 w 1121"/>
                <a:gd name="T25" fmla="*/ 98 h 408"/>
                <a:gd name="T26" fmla="*/ 613 w 1121"/>
                <a:gd name="T27" fmla="*/ 104 h 408"/>
                <a:gd name="T28" fmla="*/ 601 w 1121"/>
                <a:gd name="T29" fmla="*/ 100 h 408"/>
                <a:gd name="T30" fmla="*/ 582 w 1121"/>
                <a:gd name="T31" fmla="*/ 88 h 408"/>
                <a:gd name="T32" fmla="*/ 552 w 1121"/>
                <a:gd name="T33" fmla="*/ 109 h 408"/>
                <a:gd name="T34" fmla="*/ 521 w 1121"/>
                <a:gd name="T35" fmla="*/ 121 h 408"/>
                <a:gd name="T36" fmla="*/ 468 w 1121"/>
                <a:gd name="T37" fmla="*/ 127 h 408"/>
                <a:gd name="T38" fmla="*/ 431 w 1121"/>
                <a:gd name="T39" fmla="*/ 146 h 408"/>
                <a:gd name="T40" fmla="*/ 429 w 1121"/>
                <a:gd name="T41" fmla="*/ 174 h 408"/>
                <a:gd name="T42" fmla="*/ 433 w 1121"/>
                <a:gd name="T43" fmla="*/ 187 h 408"/>
                <a:gd name="T44" fmla="*/ 363 w 1121"/>
                <a:gd name="T45" fmla="*/ 197 h 408"/>
                <a:gd name="T46" fmla="*/ 257 w 1121"/>
                <a:gd name="T47" fmla="*/ 199 h 408"/>
                <a:gd name="T48" fmla="*/ 234 w 1121"/>
                <a:gd name="T49" fmla="*/ 186 h 408"/>
                <a:gd name="T50" fmla="*/ 218 w 1121"/>
                <a:gd name="T51" fmla="*/ 172 h 408"/>
                <a:gd name="T52" fmla="*/ 162 w 1121"/>
                <a:gd name="T53" fmla="*/ 141 h 408"/>
                <a:gd name="T54" fmla="*/ 152 w 1121"/>
                <a:gd name="T55" fmla="*/ 162 h 408"/>
                <a:gd name="T56" fmla="*/ 144 w 1121"/>
                <a:gd name="T57" fmla="*/ 184 h 408"/>
                <a:gd name="T58" fmla="*/ 134 w 1121"/>
                <a:gd name="T59" fmla="*/ 219 h 408"/>
                <a:gd name="T60" fmla="*/ 89 w 1121"/>
                <a:gd name="T61" fmla="*/ 217 h 408"/>
                <a:gd name="T62" fmla="*/ 48 w 1121"/>
                <a:gd name="T63" fmla="*/ 219 h 408"/>
                <a:gd name="T64" fmla="*/ 56 w 1121"/>
                <a:gd name="T65" fmla="*/ 230 h 408"/>
                <a:gd name="T66" fmla="*/ 84 w 1121"/>
                <a:gd name="T67" fmla="*/ 264 h 408"/>
                <a:gd name="T68" fmla="*/ 43 w 1121"/>
                <a:gd name="T69" fmla="*/ 301 h 408"/>
                <a:gd name="T70" fmla="*/ 48 w 1121"/>
                <a:gd name="T71" fmla="*/ 324 h 408"/>
                <a:gd name="T72" fmla="*/ 44 w 1121"/>
                <a:gd name="T73" fmla="*/ 348 h 408"/>
                <a:gd name="T74" fmla="*/ 46 w 1121"/>
                <a:gd name="T75" fmla="*/ 373 h 408"/>
                <a:gd name="T76" fmla="*/ 52 w 1121"/>
                <a:gd name="T77" fmla="*/ 391 h 408"/>
                <a:gd name="T78" fmla="*/ 19 w 1121"/>
                <a:gd name="T79" fmla="*/ 389 h 408"/>
                <a:gd name="T80" fmla="*/ 7 w 1121"/>
                <a:gd name="T81" fmla="*/ 404 h 408"/>
                <a:gd name="T82" fmla="*/ 310 w 1121"/>
                <a:gd name="T83" fmla="*/ 379 h 408"/>
                <a:gd name="T84" fmla="*/ 324 w 1121"/>
                <a:gd name="T85" fmla="*/ 402 h 408"/>
                <a:gd name="T86" fmla="*/ 920 w 1121"/>
                <a:gd name="T87" fmla="*/ 391 h 408"/>
                <a:gd name="T88" fmla="*/ 912 w 1121"/>
                <a:gd name="T89" fmla="*/ 385 h 408"/>
                <a:gd name="T90" fmla="*/ 939 w 1121"/>
                <a:gd name="T91" fmla="*/ 353 h 408"/>
                <a:gd name="T92" fmla="*/ 945 w 1121"/>
                <a:gd name="T93" fmla="*/ 334 h 408"/>
                <a:gd name="T94" fmla="*/ 963 w 1121"/>
                <a:gd name="T95" fmla="*/ 301 h 408"/>
                <a:gd name="T96" fmla="*/ 976 w 1121"/>
                <a:gd name="T97" fmla="*/ 262 h 408"/>
                <a:gd name="T98" fmla="*/ 1002 w 1121"/>
                <a:gd name="T99" fmla="*/ 246 h 408"/>
                <a:gd name="T100" fmla="*/ 1008 w 1121"/>
                <a:gd name="T101" fmla="*/ 225 h 408"/>
                <a:gd name="T102" fmla="*/ 1013 w 1121"/>
                <a:gd name="T103" fmla="*/ 219 h 408"/>
                <a:gd name="T104" fmla="*/ 1039 w 1121"/>
                <a:gd name="T105" fmla="*/ 209 h 408"/>
                <a:gd name="T106" fmla="*/ 1074 w 1121"/>
                <a:gd name="T107" fmla="*/ 201 h 408"/>
                <a:gd name="T108" fmla="*/ 1101 w 1121"/>
                <a:gd name="T109" fmla="*/ 184 h 408"/>
                <a:gd name="T110" fmla="*/ 1111 w 1121"/>
                <a:gd name="T111" fmla="*/ 168 h 408"/>
                <a:gd name="T112" fmla="*/ 1119 w 1121"/>
                <a:gd name="T113" fmla="*/ 135 h 408"/>
                <a:gd name="T114" fmla="*/ 1078 w 1121"/>
                <a:gd name="T115" fmla="*/ 117 h 408"/>
                <a:gd name="T116" fmla="*/ 1049 w 1121"/>
                <a:gd name="T117" fmla="*/ 84 h 408"/>
                <a:gd name="T118" fmla="*/ 1025 w 1121"/>
                <a:gd name="T119" fmla="*/ 68 h 408"/>
                <a:gd name="T120" fmla="*/ 1008 w 1121"/>
                <a:gd name="T121" fmla="*/ 37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21" h="408">
                  <a:moveTo>
                    <a:pt x="996" y="41"/>
                  </a:moveTo>
                  <a:lnTo>
                    <a:pt x="994" y="43"/>
                  </a:lnTo>
                  <a:lnTo>
                    <a:pt x="994" y="45"/>
                  </a:lnTo>
                  <a:lnTo>
                    <a:pt x="990" y="47"/>
                  </a:lnTo>
                  <a:lnTo>
                    <a:pt x="988" y="49"/>
                  </a:lnTo>
                  <a:lnTo>
                    <a:pt x="982" y="49"/>
                  </a:lnTo>
                  <a:lnTo>
                    <a:pt x="976" y="47"/>
                  </a:lnTo>
                  <a:lnTo>
                    <a:pt x="974" y="47"/>
                  </a:lnTo>
                  <a:lnTo>
                    <a:pt x="970" y="49"/>
                  </a:lnTo>
                  <a:lnTo>
                    <a:pt x="963" y="49"/>
                  </a:lnTo>
                  <a:lnTo>
                    <a:pt x="961" y="51"/>
                  </a:lnTo>
                  <a:lnTo>
                    <a:pt x="959" y="51"/>
                  </a:lnTo>
                  <a:lnTo>
                    <a:pt x="955" y="53"/>
                  </a:lnTo>
                  <a:lnTo>
                    <a:pt x="949" y="55"/>
                  </a:lnTo>
                  <a:lnTo>
                    <a:pt x="947" y="55"/>
                  </a:lnTo>
                  <a:lnTo>
                    <a:pt x="943" y="57"/>
                  </a:lnTo>
                  <a:lnTo>
                    <a:pt x="939" y="59"/>
                  </a:lnTo>
                  <a:lnTo>
                    <a:pt x="933" y="59"/>
                  </a:lnTo>
                  <a:lnTo>
                    <a:pt x="929" y="57"/>
                  </a:lnTo>
                  <a:lnTo>
                    <a:pt x="927" y="57"/>
                  </a:lnTo>
                  <a:lnTo>
                    <a:pt x="924" y="55"/>
                  </a:lnTo>
                  <a:lnTo>
                    <a:pt x="924" y="55"/>
                  </a:lnTo>
                  <a:lnTo>
                    <a:pt x="920" y="49"/>
                  </a:lnTo>
                  <a:lnTo>
                    <a:pt x="914" y="39"/>
                  </a:lnTo>
                  <a:lnTo>
                    <a:pt x="910" y="35"/>
                  </a:lnTo>
                  <a:lnTo>
                    <a:pt x="910" y="31"/>
                  </a:lnTo>
                  <a:lnTo>
                    <a:pt x="908" y="29"/>
                  </a:lnTo>
                  <a:lnTo>
                    <a:pt x="908" y="22"/>
                  </a:lnTo>
                  <a:lnTo>
                    <a:pt x="906" y="20"/>
                  </a:lnTo>
                  <a:lnTo>
                    <a:pt x="902" y="18"/>
                  </a:lnTo>
                  <a:lnTo>
                    <a:pt x="900" y="18"/>
                  </a:lnTo>
                  <a:lnTo>
                    <a:pt x="896" y="18"/>
                  </a:lnTo>
                  <a:lnTo>
                    <a:pt x="894" y="18"/>
                  </a:lnTo>
                  <a:lnTo>
                    <a:pt x="892" y="16"/>
                  </a:lnTo>
                  <a:lnTo>
                    <a:pt x="892" y="12"/>
                  </a:lnTo>
                  <a:lnTo>
                    <a:pt x="892" y="10"/>
                  </a:lnTo>
                  <a:lnTo>
                    <a:pt x="890" y="8"/>
                  </a:lnTo>
                  <a:lnTo>
                    <a:pt x="888" y="8"/>
                  </a:lnTo>
                  <a:lnTo>
                    <a:pt x="886" y="6"/>
                  </a:lnTo>
                  <a:lnTo>
                    <a:pt x="883" y="4"/>
                  </a:lnTo>
                  <a:lnTo>
                    <a:pt x="881" y="2"/>
                  </a:lnTo>
                  <a:lnTo>
                    <a:pt x="879" y="2"/>
                  </a:lnTo>
                  <a:lnTo>
                    <a:pt x="879" y="2"/>
                  </a:lnTo>
                  <a:lnTo>
                    <a:pt x="877" y="2"/>
                  </a:lnTo>
                  <a:lnTo>
                    <a:pt x="869" y="4"/>
                  </a:lnTo>
                  <a:lnTo>
                    <a:pt x="865" y="4"/>
                  </a:lnTo>
                  <a:lnTo>
                    <a:pt x="863" y="4"/>
                  </a:lnTo>
                  <a:lnTo>
                    <a:pt x="861" y="6"/>
                  </a:lnTo>
                  <a:lnTo>
                    <a:pt x="859" y="6"/>
                  </a:lnTo>
                  <a:lnTo>
                    <a:pt x="857" y="8"/>
                  </a:lnTo>
                  <a:lnTo>
                    <a:pt x="857" y="8"/>
                  </a:lnTo>
                  <a:lnTo>
                    <a:pt x="855" y="10"/>
                  </a:lnTo>
                  <a:lnTo>
                    <a:pt x="855" y="12"/>
                  </a:lnTo>
                  <a:lnTo>
                    <a:pt x="853" y="16"/>
                  </a:lnTo>
                  <a:lnTo>
                    <a:pt x="853" y="16"/>
                  </a:lnTo>
                  <a:lnTo>
                    <a:pt x="851" y="16"/>
                  </a:lnTo>
                  <a:lnTo>
                    <a:pt x="849" y="16"/>
                  </a:lnTo>
                  <a:lnTo>
                    <a:pt x="849" y="16"/>
                  </a:lnTo>
                  <a:lnTo>
                    <a:pt x="849" y="16"/>
                  </a:lnTo>
                  <a:lnTo>
                    <a:pt x="849" y="16"/>
                  </a:lnTo>
                  <a:lnTo>
                    <a:pt x="849" y="16"/>
                  </a:lnTo>
                  <a:lnTo>
                    <a:pt x="847" y="14"/>
                  </a:lnTo>
                  <a:lnTo>
                    <a:pt x="843" y="12"/>
                  </a:lnTo>
                  <a:lnTo>
                    <a:pt x="842" y="14"/>
                  </a:lnTo>
                  <a:lnTo>
                    <a:pt x="838" y="14"/>
                  </a:lnTo>
                  <a:lnTo>
                    <a:pt x="826" y="20"/>
                  </a:lnTo>
                  <a:lnTo>
                    <a:pt x="822" y="20"/>
                  </a:lnTo>
                  <a:lnTo>
                    <a:pt x="820" y="20"/>
                  </a:lnTo>
                  <a:lnTo>
                    <a:pt x="818" y="16"/>
                  </a:lnTo>
                  <a:lnTo>
                    <a:pt x="818" y="16"/>
                  </a:lnTo>
                  <a:lnTo>
                    <a:pt x="812" y="14"/>
                  </a:lnTo>
                  <a:lnTo>
                    <a:pt x="808" y="12"/>
                  </a:lnTo>
                  <a:lnTo>
                    <a:pt x="804" y="14"/>
                  </a:lnTo>
                  <a:lnTo>
                    <a:pt x="799" y="12"/>
                  </a:lnTo>
                  <a:lnTo>
                    <a:pt x="789" y="8"/>
                  </a:lnTo>
                  <a:lnTo>
                    <a:pt x="783" y="6"/>
                  </a:lnTo>
                  <a:lnTo>
                    <a:pt x="781" y="6"/>
                  </a:lnTo>
                  <a:lnTo>
                    <a:pt x="777" y="4"/>
                  </a:lnTo>
                  <a:lnTo>
                    <a:pt x="775" y="2"/>
                  </a:lnTo>
                  <a:lnTo>
                    <a:pt x="773" y="0"/>
                  </a:lnTo>
                  <a:lnTo>
                    <a:pt x="771" y="0"/>
                  </a:lnTo>
                  <a:lnTo>
                    <a:pt x="750" y="4"/>
                  </a:lnTo>
                  <a:lnTo>
                    <a:pt x="736" y="8"/>
                  </a:lnTo>
                  <a:lnTo>
                    <a:pt x="726" y="8"/>
                  </a:lnTo>
                  <a:lnTo>
                    <a:pt x="724" y="8"/>
                  </a:lnTo>
                  <a:lnTo>
                    <a:pt x="720" y="10"/>
                  </a:lnTo>
                  <a:lnTo>
                    <a:pt x="720" y="12"/>
                  </a:lnTo>
                  <a:lnTo>
                    <a:pt x="720" y="16"/>
                  </a:lnTo>
                  <a:lnTo>
                    <a:pt x="720" y="16"/>
                  </a:lnTo>
                  <a:lnTo>
                    <a:pt x="720" y="20"/>
                  </a:lnTo>
                  <a:lnTo>
                    <a:pt x="720" y="20"/>
                  </a:lnTo>
                  <a:lnTo>
                    <a:pt x="720" y="20"/>
                  </a:lnTo>
                  <a:lnTo>
                    <a:pt x="720" y="22"/>
                  </a:lnTo>
                  <a:lnTo>
                    <a:pt x="720" y="22"/>
                  </a:lnTo>
                  <a:lnTo>
                    <a:pt x="720" y="23"/>
                  </a:lnTo>
                  <a:lnTo>
                    <a:pt x="720" y="23"/>
                  </a:lnTo>
                  <a:lnTo>
                    <a:pt x="720" y="23"/>
                  </a:lnTo>
                  <a:lnTo>
                    <a:pt x="718" y="25"/>
                  </a:lnTo>
                  <a:lnTo>
                    <a:pt x="718" y="25"/>
                  </a:lnTo>
                  <a:lnTo>
                    <a:pt x="717" y="25"/>
                  </a:lnTo>
                  <a:lnTo>
                    <a:pt x="713" y="31"/>
                  </a:lnTo>
                  <a:lnTo>
                    <a:pt x="713" y="31"/>
                  </a:lnTo>
                  <a:lnTo>
                    <a:pt x="711" y="33"/>
                  </a:lnTo>
                  <a:lnTo>
                    <a:pt x="711" y="35"/>
                  </a:lnTo>
                  <a:lnTo>
                    <a:pt x="709" y="37"/>
                  </a:lnTo>
                  <a:lnTo>
                    <a:pt x="709" y="39"/>
                  </a:lnTo>
                  <a:lnTo>
                    <a:pt x="703" y="53"/>
                  </a:lnTo>
                  <a:lnTo>
                    <a:pt x="701" y="59"/>
                  </a:lnTo>
                  <a:lnTo>
                    <a:pt x="701" y="61"/>
                  </a:lnTo>
                  <a:lnTo>
                    <a:pt x="697" y="66"/>
                  </a:lnTo>
                  <a:lnTo>
                    <a:pt x="693" y="72"/>
                  </a:lnTo>
                  <a:lnTo>
                    <a:pt x="689" y="76"/>
                  </a:lnTo>
                  <a:lnTo>
                    <a:pt x="689" y="78"/>
                  </a:lnTo>
                  <a:lnTo>
                    <a:pt x="689" y="78"/>
                  </a:lnTo>
                  <a:lnTo>
                    <a:pt x="689" y="78"/>
                  </a:lnTo>
                  <a:lnTo>
                    <a:pt x="685" y="80"/>
                  </a:lnTo>
                  <a:lnTo>
                    <a:pt x="683" y="78"/>
                  </a:lnTo>
                  <a:lnTo>
                    <a:pt x="681" y="76"/>
                  </a:lnTo>
                  <a:lnTo>
                    <a:pt x="679" y="76"/>
                  </a:lnTo>
                  <a:lnTo>
                    <a:pt x="677" y="74"/>
                  </a:lnTo>
                  <a:lnTo>
                    <a:pt x="677" y="76"/>
                  </a:lnTo>
                  <a:lnTo>
                    <a:pt x="675" y="76"/>
                  </a:lnTo>
                  <a:lnTo>
                    <a:pt x="674" y="78"/>
                  </a:lnTo>
                  <a:lnTo>
                    <a:pt x="672" y="80"/>
                  </a:lnTo>
                  <a:lnTo>
                    <a:pt x="668" y="82"/>
                  </a:lnTo>
                  <a:lnTo>
                    <a:pt x="668" y="82"/>
                  </a:lnTo>
                  <a:lnTo>
                    <a:pt x="666" y="82"/>
                  </a:lnTo>
                  <a:lnTo>
                    <a:pt x="664" y="80"/>
                  </a:lnTo>
                  <a:lnTo>
                    <a:pt x="664" y="80"/>
                  </a:lnTo>
                  <a:lnTo>
                    <a:pt x="664" y="80"/>
                  </a:lnTo>
                  <a:lnTo>
                    <a:pt x="662" y="80"/>
                  </a:lnTo>
                  <a:lnTo>
                    <a:pt x="660" y="82"/>
                  </a:lnTo>
                  <a:lnTo>
                    <a:pt x="660" y="84"/>
                  </a:lnTo>
                  <a:lnTo>
                    <a:pt x="660" y="84"/>
                  </a:lnTo>
                  <a:lnTo>
                    <a:pt x="660" y="86"/>
                  </a:lnTo>
                  <a:lnTo>
                    <a:pt x="658" y="90"/>
                  </a:lnTo>
                  <a:lnTo>
                    <a:pt x="658" y="92"/>
                  </a:lnTo>
                  <a:lnTo>
                    <a:pt x="658" y="92"/>
                  </a:lnTo>
                  <a:lnTo>
                    <a:pt x="656" y="94"/>
                  </a:lnTo>
                  <a:lnTo>
                    <a:pt x="654" y="94"/>
                  </a:lnTo>
                  <a:lnTo>
                    <a:pt x="652" y="94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2" y="100"/>
                  </a:lnTo>
                  <a:lnTo>
                    <a:pt x="638" y="102"/>
                  </a:lnTo>
                  <a:lnTo>
                    <a:pt x="634" y="104"/>
                  </a:lnTo>
                  <a:lnTo>
                    <a:pt x="631" y="107"/>
                  </a:lnTo>
                  <a:lnTo>
                    <a:pt x="627" y="109"/>
                  </a:lnTo>
                  <a:lnTo>
                    <a:pt x="623" y="111"/>
                  </a:lnTo>
                  <a:lnTo>
                    <a:pt x="621" y="109"/>
                  </a:lnTo>
                  <a:lnTo>
                    <a:pt x="613" y="104"/>
                  </a:lnTo>
                  <a:lnTo>
                    <a:pt x="611" y="104"/>
                  </a:lnTo>
                  <a:lnTo>
                    <a:pt x="609" y="104"/>
                  </a:lnTo>
                  <a:lnTo>
                    <a:pt x="607" y="104"/>
                  </a:lnTo>
                  <a:lnTo>
                    <a:pt x="603" y="105"/>
                  </a:lnTo>
                  <a:lnTo>
                    <a:pt x="603" y="105"/>
                  </a:lnTo>
                  <a:lnTo>
                    <a:pt x="601" y="105"/>
                  </a:lnTo>
                  <a:lnTo>
                    <a:pt x="601" y="104"/>
                  </a:lnTo>
                  <a:lnTo>
                    <a:pt x="601" y="104"/>
                  </a:lnTo>
                  <a:lnTo>
                    <a:pt x="601" y="102"/>
                  </a:lnTo>
                  <a:lnTo>
                    <a:pt x="601" y="102"/>
                  </a:lnTo>
                  <a:lnTo>
                    <a:pt x="601" y="100"/>
                  </a:lnTo>
                  <a:lnTo>
                    <a:pt x="601" y="98"/>
                  </a:lnTo>
                  <a:lnTo>
                    <a:pt x="601" y="98"/>
                  </a:lnTo>
                  <a:lnTo>
                    <a:pt x="601" y="96"/>
                  </a:lnTo>
                  <a:lnTo>
                    <a:pt x="599" y="94"/>
                  </a:lnTo>
                  <a:lnTo>
                    <a:pt x="599" y="92"/>
                  </a:lnTo>
                  <a:lnTo>
                    <a:pt x="595" y="92"/>
                  </a:lnTo>
                  <a:lnTo>
                    <a:pt x="595" y="92"/>
                  </a:lnTo>
                  <a:lnTo>
                    <a:pt x="588" y="94"/>
                  </a:lnTo>
                  <a:lnTo>
                    <a:pt x="586" y="92"/>
                  </a:lnTo>
                  <a:lnTo>
                    <a:pt x="584" y="90"/>
                  </a:lnTo>
                  <a:lnTo>
                    <a:pt x="582" y="88"/>
                  </a:lnTo>
                  <a:lnTo>
                    <a:pt x="580" y="86"/>
                  </a:lnTo>
                  <a:lnTo>
                    <a:pt x="578" y="86"/>
                  </a:lnTo>
                  <a:lnTo>
                    <a:pt x="578" y="86"/>
                  </a:lnTo>
                  <a:lnTo>
                    <a:pt x="576" y="86"/>
                  </a:lnTo>
                  <a:lnTo>
                    <a:pt x="570" y="88"/>
                  </a:lnTo>
                  <a:lnTo>
                    <a:pt x="560" y="90"/>
                  </a:lnTo>
                  <a:lnTo>
                    <a:pt x="558" y="92"/>
                  </a:lnTo>
                  <a:lnTo>
                    <a:pt x="556" y="96"/>
                  </a:lnTo>
                  <a:lnTo>
                    <a:pt x="554" y="105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11"/>
                  </a:lnTo>
                  <a:lnTo>
                    <a:pt x="552" y="111"/>
                  </a:lnTo>
                  <a:lnTo>
                    <a:pt x="552" y="113"/>
                  </a:lnTo>
                  <a:lnTo>
                    <a:pt x="552" y="115"/>
                  </a:lnTo>
                  <a:lnTo>
                    <a:pt x="545" y="121"/>
                  </a:lnTo>
                  <a:lnTo>
                    <a:pt x="521" y="121"/>
                  </a:lnTo>
                  <a:lnTo>
                    <a:pt x="515" y="125"/>
                  </a:lnTo>
                  <a:lnTo>
                    <a:pt x="511" y="127"/>
                  </a:lnTo>
                  <a:lnTo>
                    <a:pt x="509" y="127"/>
                  </a:lnTo>
                  <a:lnTo>
                    <a:pt x="509" y="127"/>
                  </a:lnTo>
                  <a:lnTo>
                    <a:pt x="494" y="125"/>
                  </a:lnTo>
                  <a:lnTo>
                    <a:pt x="488" y="125"/>
                  </a:lnTo>
                  <a:lnTo>
                    <a:pt x="478" y="127"/>
                  </a:lnTo>
                  <a:lnTo>
                    <a:pt x="476" y="127"/>
                  </a:lnTo>
                  <a:lnTo>
                    <a:pt x="472" y="125"/>
                  </a:lnTo>
                  <a:lnTo>
                    <a:pt x="470" y="127"/>
                  </a:lnTo>
                  <a:lnTo>
                    <a:pt x="468" y="127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45" y="133"/>
                  </a:lnTo>
                  <a:lnTo>
                    <a:pt x="443" y="135"/>
                  </a:lnTo>
                  <a:lnTo>
                    <a:pt x="441" y="137"/>
                  </a:lnTo>
                  <a:lnTo>
                    <a:pt x="437" y="145"/>
                  </a:lnTo>
                  <a:lnTo>
                    <a:pt x="437" y="145"/>
                  </a:lnTo>
                  <a:lnTo>
                    <a:pt x="435" y="146"/>
                  </a:lnTo>
                  <a:lnTo>
                    <a:pt x="433" y="146"/>
                  </a:lnTo>
                  <a:lnTo>
                    <a:pt x="431" y="146"/>
                  </a:lnTo>
                  <a:lnTo>
                    <a:pt x="431" y="146"/>
                  </a:lnTo>
                  <a:lnTo>
                    <a:pt x="429" y="150"/>
                  </a:lnTo>
                  <a:lnTo>
                    <a:pt x="429" y="150"/>
                  </a:lnTo>
                  <a:lnTo>
                    <a:pt x="429" y="150"/>
                  </a:lnTo>
                  <a:lnTo>
                    <a:pt x="431" y="152"/>
                  </a:lnTo>
                  <a:lnTo>
                    <a:pt x="431" y="154"/>
                  </a:lnTo>
                  <a:lnTo>
                    <a:pt x="431" y="154"/>
                  </a:lnTo>
                  <a:lnTo>
                    <a:pt x="429" y="160"/>
                  </a:lnTo>
                  <a:lnTo>
                    <a:pt x="429" y="164"/>
                  </a:lnTo>
                  <a:lnTo>
                    <a:pt x="429" y="170"/>
                  </a:lnTo>
                  <a:lnTo>
                    <a:pt x="429" y="172"/>
                  </a:lnTo>
                  <a:lnTo>
                    <a:pt x="429" y="174"/>
                  </a:lnTo>
                  <a:lnTo>
                    <a:pt x="431" y="176"/>
                  </a:lnTo>
                  <a:lnTo>
                    <a:pt x="435" y="180"/>
                  </a:lnTo>
                  <a:lnTo>
                    <a:pt x="437" y="180"/>
                  </a:lnTo>
                  <a:lnTo>
                    <a:pt x="441" y="184"/>
                  </a:lnTo>
                  <a:lnTo>
                    <a:pt x="441" y="184"/>
                  </a:lnTo>
                  <a:lnTo>
                    <a:pt x="441" y="184"/>
                  </a:lnTo>
                  <a:lnTo>
                    <a:pt x="441" y="184"/>
                  </a:lnTo>
                  <a:lnTo>
                    <a:pt x="441" y="184"/>
                  </a:lnTo>
                  <a:lnTo>
                    <a:pt x="437" y="186"/>
                  </a:lnTo>
                  <a:lnTo>
                    <a:pt x="435" y="186"/>
                  </a:lnTo>
                  <a:lnTo>
                    <a:pt x="433" y="187"/>
                  </a:lnTo>
                  <a:lnTo>
                    <a:pt x="431" y="189"/>
                  </a:lnTo>
                  <a:lnTo>
                    <a:pt x="425" y="195"/>
                  </a:lnTo>
                  <a:lnTo>
                    <a:pt x="423" y="197"/>
                  </a:lnTo>
                  <a:lnTo>
                    <a:pt x="422" y="197"/>
                  </a:lnTo>
                  <a:lnTo>
                    <a:pt x="416" y="197"/>
                  </a:lnTo>
                  <a:lnTo>
                    <a:pt x="414" y="197"/>
                  </a:lnTo>
                  <a:lnTo>
                    <a:pt x="412" y="197"/>
                  </a:lnTo>
                  <a:lnTo>
                    <a:pt x="408" y="195"/>
                  </a:lnTo>
                  <a:lnTo>
                    <a:pt x="404" y="195"/>
                  </a:lnTo>
                  <a:lnTo>
                    <a:pt x="398" y="193"/>
                  </a:lnTo>
                  <a:lnTo>
                    <a:pt x="363" y="197"/>
                  </a:lnTo>
                  <a:lnTo>
                    <a:pt x="351" y="203"/>
                  </a:lnTo>
                  <a:lnTo>
                    <a:pt x="343" y="203"/>
                  </a:lnTo>
                  <a:lnTo>
                    <a:pt x="343" y="203"/>
                  </a:lnTo>
                  <a:lnTo>
                    <a:pt x="343" y="203"/>
                  </a:lnTo>
                  <a:lnTo>
                    <a:pt x="324" y="201"/>
                  </a:lnTo>
                  <a:lnTo>
                    <a:pt x="300" y="203"/>
                  </a:lnTo>
                  <a:lnTo>
                    <a:pt x="285" y="203"/>
                  </a:lnTo>
                  <a:lnTo>
                    <a:pt x="279" y="205"/>
                  </a:lnTo>
                  <a:lnTo>
                    <a:pt x="275" y="205"/>
                  </a:lnTo>
                  <a:lnTo>
                    <a:pt x="261" y="201"/>
                  </a:lnTo>
                  <a:lnTo>
                    <a:pt x="257" y="199"/>
                  </a:lnTo>
                  <a:lnTo>
                    <a:pt x="252" y="195"/>
                  </a:lnTo>
                  <a:lnTo>
                    <a:pt x="250" y="193"/>
                  </a:lnTo>
                  <a:lnTo>
                    <a:pt x="248" y="191"/>
                  </a:lnTo>
                  <a:lnTo>
                    <a:pt x="248" y="189"/>
                  </a:lnTo>
                  <a:lnTo>
                    <a:pt x="244" y="187"/>
                  </a:lnTo>
                  <a:lnTo>
                    <a:pt x="242" y="186"/>
                  </a:lnTo>
                  <a:lnTo>
                    <a:pt x="240" y="186"/>
                  </a:lnTo>
                  <a:lnTo>
                    <a:pt x="238" y="184"/>
                  </a:lnTo>
                  <a:lnTo>
                    <a:pt x="236" y="184"/>
                  </a:lnTo>
                  <a:lnTo>
                    <a:pt x="236" y="186"/>
                  </a:lnTo>
                  <a:lnTo>
                    <a:pt x="234" y="186"/>
                  </a:lnTo>
                  <a:lnTo>
                    <a:pt x="234" y="186"/>
                  </a:lnTo>
                  <a:lnTo>
                    <a:pt x="234" y="186"/>
                  </a:lnTo>
                  <a:lnTo>
                    <a:pt x="232" y="184"/>
                  </a:lnTo>
                  <a:lnTo>
                    <a:pt x="226" y="174"/>
                  </a:lnTo>
                  <a:lnTo>
                    <a:pt x="224" y="174"/>
                  </a:lnTo>
                  <a:lnTo>
                    <a:pt x="224" y="174"/>
                  </a:lnTo>
                  <a:lnTo>
                    <a:pt x="222" y="174"/>
                  </a:lnTo>
                  <a:lnTo>
                    <a:pt x="220" y="172"/>
                  </a:lnTo>
                  <a:lnTo>
                    <a:pt x="218" y="172"/>
                  </a:lnTo>
                  <a:lnTo>
                    <a:pt x="218" y="172"/>
                  </a:lnTo>
                  <a:lnTo>
                    <a:pt x="218" y="172"/>
                  </a:lnTo>
                  <a:lnTo>
                    <a:pt x="218" y="172"/>
                  </a:lnTo>
                  <a:lnTo>
                    <a:pt x="216" y="170"/>
                  </a:lnTo>
                  <a:lnTo>
                    <a:pt x="207" y="156"/>
                  </a:lnTo>
                  <a:lnTo>
                    <a:pt x="199" y="146"/>
                  </a:lnTo>
                  <a:lnTo>
                    <a:pt x="195" y="145"/>
                  </a:lnTo>
                  <a:lnTo>
                    <a:pt x="195" y="143"/>
                  </a:lnTo>
                  <a:lnTo>
                    <a:pt x="183" y="141"/>
                  </a:lnTo>
                  <a:lnTo>
                    <a:pt x="181" y="141"/>
                  </a:lnTo>
                  <a:lnTo>
                    <a:pt x="175" y="139"/>
                  </a:lnTo>
                  <a:lnTo>
                    <a:pt x="168" y="137"/>
                  </a:lnTo>
                  <a:lnTo>
                    <a:pt x="162" y="141"/>
                  </a:lnTo>
                  <a:lnTo>
                    <a:pt x="152" y="150"/>
                  </a:lnTo>
                  <a:lnTo>
                    <a:pt x="154" y="152"/>
                  </a:lnTo>
                  <a:lnTo>
                    <a:pt x="154" y="154"/>
                  </a:lnTo>
                  <a:lnTo>
                    <a:pt x="152" y="154"/>
                  </a:lnTo>
                  <a:lnTo>
                    <a:pt x="152" y="156"/>
                  </a:lnTo>
                  <a:lnTo>
                    <a:pt x="152" y="158"/>
                  </a:lnTo>
                  <a:lnTo>
                    <a:pt x="150" y="158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52" y="162"/>
                  </a:lnTo>
                  <a:lnTo>
                    <a:pt x="152" y="162"/>
                  </a:lnTo>
                  <a:lnTo>
                    <a:pt x="152" y="166"/>
                  </a:lnTo>
                  <a:lnTo>
                    <a:pt x="150" y="170"/>
                  </a:lnTo>
                  <a:lnTo>
                    <a:pt x="148" y="172"/>
                  </a:lnTo>
                  <a:lnTo>
                    <a:pt x="146" y="174"/>
                  </a:lnTo>
                  <a:lnTo>
                    <a:pt x="140" y="176"/>
                  </a:lnTo>
                  <a:lnTo>
                    <a:pt x="138" y="176"/>
                  </a:lnTo>
                  <a:lnTo>
                    <a:pt x="138" y="180"/>
                  </a:lnTo>
                  <a:lnTo>
                    <a:pt x="138" y="180"/>
                  </a:lnTo>
                  <a:lnTo>
                    <a:pt x="142" y="182"/>
                  </a:lnTo>
                  <a:lnTo>
                    <a:pt x="144" y="184"/>
                  </a:lnTo>
                  <a:lnTo>
                    <a:pt x="146" y="187"/>
                  </a:lnTo>
                  <a:lnTo>
                    <a:pt x="146" y="189"/>
                  </a:lnTo>
                  <a:lnTo>
                    <a:pt x="144" y="191"/>
                  </a:lnTo>
                  <a:lnTo>
                    <a:pt x="144" y="195"/>
                  </a:lnTo>
                  <a:lnTo>
                    <a:pt x="146" y="201"/>
                  </a:lnTo>
                  <a:lnTo>
                    <a:pt x="146" y="209"/>
                  </a:lnTo>
                  <a:lnTo>
                    <a:pt x="146" y="211"/>
                  </a:lnTo>
                  <a:lnTo>
                    <a:pt x="148" y="213"/>
                  </a:lnTo>
                  <a:lnTo>
                    <a:pt x="150" y="215"/>
                  </a:lnTo>
                  <a:lnTo>
                    <a:pt x="146" y="217"/>
                  </a:lnTo>
                  <a:lnTo>
                    <a:pt x="134" y="219"/>
                  </a:lnTo>
                  <a:lnTo>
                    <a:pt x="121" y="221"/>
                  </a:lnTo>
                  <a:lnTo>
                    <a:pt x="115" y="221"/>
                  </a:lnTo>
                  <a:lnTo>
                    <a:pt x="113" y="215"/>
                  </a:lnTo>
                  <a:lnTo>
                    <a:pt x="111" y="215"/>
                  </a:lnTo>
                  <a:lnTo>
                    <a:pt x="107" y="221"/>
                  </a:lnTo>
                  <a:lnTo>
                    <a:pt x="105" y="223"/>
                  </a:lnTo>
                  <a:lnTo>
                    <a:pt x="103" y="223"/>
                  </a:lnTo>
                  <a:lnTo>
                    <a:pt x="93" y="221"/>
                  </a:lnTo>
                  <a:lnTo>
                    <a:pt x="93" y="221"/>
                  </a:lnTo>
                  <a:lnTo>
                    <a:pt x="91" y="219"/>
                  </a:lnTo>
                  <a:lnTo>
                    <a:pt x="89" y="217"/>
                  </a:lnTo>
                  <a:lnTo>
                    <a:pt x="89" y="213"/>
                  </a:lnTo>
                  <a:lnTo>
                    <a:pt x="87" y="211"/>
                  </a:lnTo>
                  <a:lnTo>
                    <a:pt x="86" y="209"/>
                  </a:lnTo>
                  <a:lnTo>
                    <a:pt x="72" y="205"/>
                  </a:lnTo>
                  <a:lnTo>
                    <a:pt x="66" y="203"/>
                  </a:lnTo>
                  <a:lnTo>
                    <a:pt x="58" y="207"/>
                  </a:lnTo>
                  <a:lnTo>
                    <a:pt x="58" y="209"/>
                  </a:lnTo>
                  <a:lnTo>
                    <a:pt x="58" y="213"/>
                  </a:lnTo>
                  <a:lnTo>
                    <a:pt x="58" y="215"/>
                  </a:lnTo>
                  <a:lnTo>
                    <a:pt x="56" y="215"/>
                  </a:lnTo>
                  <a:lnTo>
                    <a:pt x="48" y="219"/>
                  </a:lnTo>
                  <a:lnTo>
                    <a:pt x="46" y="221"/>
                  </a:lnTo>
                  <a:lnTo>
                    <a:pt x="46" y="221"/>
                  </a:lnTo>
                  <a:lnTo>
                    <a:pt x="46" y="221"/>
                  </a:lnTo>
                  <a:lnTo>
                    <a:pt x="44" y="221"/>
                  </a:lnTo>
                  <a:lnTo>
                    <a:pt x="44" y="219"/>
                  </a:lnTo>
                  <a:lnTo>
                    <a:pt x="43" y="221"/>
                  </a:lnTo>
                  <a:lnTo>
                    <a:pt x="41" y="225"/>
                  </a:lnTo>
                  <a:lnTo>
                    <a:pt x="39" y="227"/>
                  </a:lnTo>
                  <a:lnTo>
                    <a:pt x="41" y="228"/>
                  </a:lnTo>
                  <a:lnTo>
                    <a:pt x="50" y="232"/>
                  </a:lnTo>
                  <a:lnTo>
                    <a:pt x="56" y="230"/>
                  </a:lnTo>
                  <a:lnTo>
                    <a:pt x="66" y="236"/>
                  </a:lnTo>
                  <a:lnTo>
                    <a:pt x="72" y="234"/>
                  </a:lnTo>
                  <a:lnTo>
                    <a:pt x="76" y="236"/>
                  </a:lnTo>
                  <a:lnTo>
                    <a:pt x="78" y="240"/>
                  </a:lnTo>
                  <a:lnTo>
                    <a:pt x="80" y="246"/>
                  </a:lnTo>
                  <a:lnTo>
                    <a:pt x="80" y="250"/>
                  </a:lnTo>
                  <a:lnTo>
                    <a:pt x="82" y="252"/>
                  </a:lnTo>
                  <a:lnTo>
                    <a:pt x="84" y="254"/>
                  </a:lnTo>
                  <a:lnTo>
                    <a:pt x="86" y="258"/>
                  </a:lnTo>
                  <a:lnTo>
                    <a:pt x="86" y="262"/>
                  </a:lnTo>
                  <a:lnTo>
                    <a:pt x="84" y="264"/>
                  </a:lnTo>
                  <a:lnTo>
                    <a:pt x="78" y="266"/>
                  </a:lnTo>
                  <a:lnTo>
                    <a:pt x="78" y="268"/>
                  </a:lnTo>
                  <a:lnTo>
                    <a:pt x="78" y="277"/>
                  </a:lnTo>
                  <a:lnTo>
                    <a:pt x="76" y="279"/>
                  </a:lnTo>
                  <a:lnTo>
                    <a:pt x="68" y="285"/>
                  </a:lnTo>
                  <a:lnTo>
                    <a:pt x="50" y="293"/>
                  </a:lnTo>
                  <a:lnTo>
                    <a:pt x="48" y="289"/>
                  </a:lnTo>
                  <a:lnTo>
                    <a:pt x="46" y="289"/>
                  </a:lnTo>
                  <a:lnTo>
                    <a:pt x="44" y="289"/>
                  </a:lnTo>
                  <a:lnTo>
                    <a:pt x="43" y="291"/>
                  </a:lnTo>
                  <a:lnTo>
                    <a:pt x="43" y="301"/>
                  </a:lnTo>
                  <a:lnTo>
                    <a:pt x="43" y="303"/>
                  </a:lnTo>
                  <a:lnTo>
                    <a:pt x="43" y="303"/>
                  </a:lnTo>
                  <a:lnTo>
                    <a:pt x="41" y="303"/>
                  </a:lnTo>
                  <a:lnTo>
                    <a:pt x="41" y="305"/>
                  </a:lnTo>
                  <a:lnTo>
                    <a:pt x="43" y="305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4" y="307"/>
                  </a:lnTo>
                  <a:lnTo>
                    <a:pt x="48" y="318"/>
                  </a:lnTo>
                  <a:lnTo>
                    <a:pt x="50" y="322"/>
                  </a:lnTo>
                  <a:lnTo>
                    <a:pt x="48" y="324"/>
                  </a:lnTo>
                  <a:lnTo>
                    <a:pt x="46" y="326"/>
                  </a:lnTo>
                  <a:lnTo>
                    <a:pt x="41" y="330"/>
                  </a:lnTo>
                  <a:lnTo>
                    <a:pt x="41" y="330"/>
                  </a:lnTo>
                  <a:lnTo>
                    <a:pt x="41" y="334"/>
                  </a:lnTo>
                  <a:lnTo>
                    <a:pt x="39" y="340"/>
                  </a:lnTo>
                  <a:lnTo>
                    <a:pt x="39" y="344"/>
                  </a:lnTo>
                  <a:lnTo>
                    <a:pt x="41" y="344"/>
                  </a:lnTo>
                  <a:lnTo>
                    <a:pt x="43" y="344"/>
                  </a:lnTo>
                  <a:lnTo>
                    <a:pt x="43" y="344"/>
                  </a:lnTo>
                  <a:lnTo>
                    <a:pt x="44" y="346"/>
                  </a:lnTo>
                  <a:lnTo>
                    <a:pt x="44" y="348"/>
                  </a:lnTo>
                  <a:lnTo>
                    <a:pt x="43" y="351"/>
                  </a:lnTo>
                  <a:lnTo>
                    <a:pt x="43" y="353"/>
                  </a:lnTo>
                  <a:lnTo>
                    <a:pt x="44" y="355"/>
                  </a:lnTo>
                  <a:lnTo>
                    <a:pt x="50" y="351"/>
                  </a:lnTo>
                  <a:lnTo>
                    <a:pt x="54" y="353"/>
                  </a:lnTo>
                  <a:lnTo>
                    <a:pt x="56" y="355"/>
                  </a:lnTo>
                  <a:lnTo>
                    <a:pt x="54" y="359"/>
                  </a:lnTo>
                  <a:lnTo>
                    <a:pt x="50" y="363"/>
                  </a:lnTo>
                  <a:lnTo>
                    <a:pt x="46" y="365"/>
                  </a:lnTo>
                  <a:lnTo>
                    <a:pt x="46" y="369"/>
                  </a:lnTo>
                  <a:lnTo>
                    <a:pt x="46" y="373"/>
                  </a:lnTo>
                  <a:lnTo>
                    <a:pt x="50" y="373"/>
                  </a:lnTo>
                  <a:lnTo>
                    <a:pt x="52" y="375"/>
                  </a:lnTo>
                  <a:lnTo>
                    <a:pt x="54" y="377"/>
                  </a:lnTo>
                  <a:lnTo>
                    <a:pt x="52" y="377"/>
                  </a:lnTo>
                  <a:lnTo>
                    <a:pt x="50" y="379"/>
                  </a:lnTo>
                  <a:lnTo>
                    <a:pt x="43" y="381"/>
                  </a:lnTo>
                  <a:lnTo>
                    <a:pt x="41" y="383"/>
                  </a:lnTo>
                  <a:lnTo>
                    <a:pt x="46" y="385"/>
                  </a:lnTo>
                  <a:lnTo>
                    <a:pt x="48" y="385"/>
                  </a:lnTo>
                  <a:lnTo>
                    <a:pt x="50" y="387"/>
                  </a:lnTo>
                  <a:lnTo>
                    <a:pt x="52" y="391"/>
                  </a:lnTo>
                  <a:lnTo>
                    <a:pt x="48" y="391"/>
                  </a:lnTo>
                  <a:lnTo>
                    <a:pt x="44" y="391"/>
                  </a:lnTo>
                  <a:lnTo>
                    <a:pt x="41" y="391"/>
                  </a:lnTo>
                  <a:lnTo>
                    <a:pt x="41" y="392"/>
                  </a:lnTo>
                  <a:lnTo>
                    <a:pt x="41" y="392"/>
                  </a:lnTo>
                  <a:lnTo>
                    <a:pt x="39" y="392"/>
                  </a:lnTo>
                  <a:lnTo>
                    <a:pt x="39" y="391"/>
                  </a:lnTo>
                  <a:lnTo>
                    <a:pt x="35" y="389"/>
                  </a:lnTo>
                  <a:lnTo>
                    <a:pt x="31" y="389"/>
                  </a:lnTo>
                  <a:lnTo>
                    <a:pt x="25" y="389"/>
                  </a:lnTo>
                  <a:lnTo>
                    <a:pt x="19" y="389"/>
                  </a:lnTo>
                  <a:lnTo>
                    <a:pt x="15" y="389"/>
                  </a:lnTo>
                  <a:lnTo>
                    <a:pt x="15" y="391"/>
                  </a:lnTo>
                  <a:lnTo>
                    <a:pt x="13" y="394"/>
                  </a:lnTo>
                  <a:lnTo>
                    <a:pt x="13" y="396"/>
                  </a:lnTo>
                  <a:lnTo>
                    <a:pt x="11" y="396"/>
                  </a:lnTo>
                  <a:lnTo>
                    <a:pt x="9" y="398"/>
                  </a:lnTo>
                  <a:lnTo>
                    <a:pt x="9" y="398"/>
                  </a:lnTo>
                  <a:lnTo>
                    <a:pt x="9" y="400"/>
                  </a:lnTo>
                  <a:lnTo>
                    <a:pt x="9" y="402"/>
                  </a:lnTo>
                  <a:lnTo>
                    <a:pt x="7" y="404"/>
                  </a:lnTo>
                  <a:lnTo>
                    <a:pt x="7" y="404"/>
                  </a:lnTo>
                  <a:lnTo>
                    <a:pt x="3" y="406"/>
                  </a:lnTo>
                  <a:lnTo>
                    <a:pt x="0" y="408"/>
                  </a:lnTo>
                  <a:lnTo>
                    <a:pt x="287" y="408"/>
                  </a:lnTo>
                  <a:lnTo>
                    <a:pt x="285" y="406"/>
                  </a:lnTo>
                  <a:lnTo>
                    <a:pt x="283" y="404"/>
                  </a:lnTo>
                  <a:lnTo>
                    <a:pt x="283" y="402"/>
                  </a:lnTo>
                  <a:lnTo>
                    <a:pt x="298" y="394"/>
                  </a:lnTo>
                  <a:lnTo>
                    <a:pt x="304" y="389"/>
                  </a:lnTo>
                  <a:lnTo>
                    <a:pt x="306" y="387"/>
                  </a:lnTo>
                  <a:lnTo>
                    <a:pt x="308" y="383"/>
                  </a:lnTo>
                  <a:lnTo>
                    <a:pt x="310" y="379"/>
                  </a:lnTo>
                  <a:lnTo>
                    <a:pt x="310" y="375"/>
                  </a:lnTo>
                  <a:lnTo>
                    <a:pt x="312" y="375"/>
                  </a:lnTo>
                  <a:lnTo>
                    <a:pt x="316" y="375"/>
                  </a:lnTo>
                  <a:lnTo>
                    <a:pt x="324" y="377"/>
                  </a:lnTo>
                  <a:lnTo>
                    <a:pt x="326" y="379"/>
                  </a:lnTo>
                  <a:lnTo>
                    <a:pt x="330" y="383"/>
                  </a:lnTo>
                  <a:lnTo>
                    <a:pt x="334" y="387"/>
                  </a:lnTo>
                  <a:lnTo>
                    <a:pt x="334" y="389"/>
                  </a:lnTo>
                  <a:lnTo>
                    <a:pt x="332" y="392"/>
                  </a:lnTo>
                  <a:lnTo>
                    <a:pt x="328" y="400"/>
                  </a:lnTo>
                  <a:lnTo>
                    <a:pt x="324" y="402"/>
                  </a:lnTo>
                  <a:lnTo>
                    <a:pt x="318" y="406"/>
                  </a:lnTo>
                  <a:lnTo>
                    <a:pt x="314" y="408"/>
                  </a:lnTo>
                  <a:lnTo>
                    <a:pt x="910" y="408"/>
                  </a:lnTo>
                  <a:lnTo>
                    <a:pt x="914" y="404"/>
                  </a:lnTo>
                  <a:lnTo>
                    <a:pt x="916" y="402"/>
                  </a:lnTo>
                  <a:lnTo>
                    <a:pt x="918" y="391"/>
                  </a:lnTo>
                  <a:lnTo>
                    <a:pt x="918" y="391"/>
                  </a:lnTo>
                  <a:lnTo>
                    <a:pt x="918" y="391"/>
                  </a:lnTo>
                  <a:lnTo>
                    <a:pt x="920" y="391"/>
                  </a:lnTo>
                  <a:lnTo>
                    <a:pt x="920" y="391"/>
                  </a:lnTo>
                  <a:lnTo>
                    <a:pt x="920" y="391"/>
                  </a:lnTo>
                  <a:lnTo>
                    <a:pt x="920" y="391"/>
                  </a:lnTo>
                  <a:lnTo>
                    <a:pt x="918" y="389"/>
                  </a:lnTo>
                  <a:lnTo>
                    <a:pt x="916" y="387"/>
                  </a:lnTo>
                  <a:lnTo>
                    <a:pt x="916" y="387"/>
                  </a:lnTo>
                  <a:lnTo>
                    <a:pt x="914" y="387"/>
                  </a:lnTo>
                  <a:lnTo>
                    <a:pt x="914" y="387"/>
                  </a:lnTo>
                  <a:lnTo>
                    <a:pt x="914" y="387"/>
                  </a:lnTo>
                  <a:lnTo>
                    <a:pt x="914" y="385"/>
                  </a:lnTo>
                  <a:lnTo>
                    <a:pt x="914" y="385"/>
                  </a:lnTo>
                  <a:lnTo>
                    <a:pt x="912" y="385"/>
                  </a:lnTo>
                  <a:lnTo>
                    <a:pt x="912" y="385"/>
                  </a:lnTo>
                  <a:lnTo>
                    <a:pt x="920" y="377"/>
                  </a:lnTo>
                  <a:lnTo>
                    <a:pt x="924" y="373"/>
                  </a:lnTo>
                  <a:lnTo>
                    <a:pt x="929" y="367"/>
                  </a:lnTo>
                  <a:lnTo>
                    <a:pt x="931" y="367"/>
                  </a:lnTo>
                  <a:lnTo>
                    <a:pt x="935" y="363"/>
                  </a:lnTo>
                  <a:lnTo>
                    <a:pt x="935" y="361"/>
                  </a:lnTo>
                  <a:lnTo>
                    <a:pt x="935" y="361"/>
                  </a:lnTo>
                  <a:lnTo>
                    <a:pt x="937" y="357"/>
                  </a:lnTo>
                  <a:lnTo>
                    <a:pt x="937" y="355"/>
                  </a:lnTo>
                  <a:lnTo>
                    <a:pt x="937" y="355"/>
                  </a:lnTo>
                  <a:lnTo>
                    <a:pt x="939" y="353"/>
                  </a:lnTo>
                  <a:lnTo>
                    <a:pt x="939" y="351"/>
                  </a:lnTo>
                  <a:lnTo>
                    <a:pt x="939" y="351"/>
                  </a:lnTo>
                  <a:lnTo>
                    <a:pt x="943" y="350"/>
                  </a:lnTo>
                  <a:lnTo>
                    <a:pt x="943" y="348"/>
                  </a:lnTo>
                  <a:lnTo>
                    <a:pt x="945" y="344"/>
                  </a:lnTo>
                  <a:lnTo>
                    <a:pt x="945" y="342"/>
                  </a:lnTo>
                  <a:lnTo>
                    <a:pt x="945" y="342"/>
                  </a:lnTo>
                  <a:lnTo>
                    <a:pt x="945" y="340"/>
                  </a:lnTo>
                  <a:lnTo>
                    <a:pt x="945" y="336"/>
                  </a:lnTo>
                  <a:lnTo>
                    <a:pt x="945" y="336"/>
                  </a:lnTo>
                  <a:lnTo>
                    <a:pt x="945" y="334"/>
                  </a:lnTo>
                  <a:lnTo>
                    <a:pt x="947" y="330"/>
                  </a:lnTo>
                  <a:lnTo>
                    <a:pt x="949" y="328"/>
                  </a:lnTo>
                  <a:lnTo>
                    <a:pt x="949" y="324"/>
                  </a:lnTo>
                  <a:lnTo>
                    <a:pt x="951" y="318"/>
                  </a:lnTo>
                  <a:lnTo>
                    <a:pt x="951" y="318"/>
                  </a:lnTo>
                  <a:lnTo>
                    <a:pt x="951" y="316"/>
                  </a:lnTo>
                  <a:lnTo>
                    <a:pt x="957" y="307"/>
                  </a:lnTo>
                  <a:lnTo>
                    <a:pt x="961" y="303"/>
                  </a:lnTo>
                  <a:lnTo>
                    <a:pt x="961" y="303"/>
                  </a:lnTo>
                  <a:lnTo>
                    <a:pt x="961" y="303"/>
                  </a:lnTo>
                  <a:lnTo>
                    <a:pt x="963" y="301"/>
                  </a:lnTo>
                  <a:lnTo>
                    <a:pt x="970" y="299"/>
                  </a:lnTo>
                  <a:lnTo>
                    <a:pt x="972" y="299"/>
                  </a:lnTo>
                  <a:lnTo>
                    <a:pt x="974" y="293"/>
                  </a:lnTo>
                  <a:lnTo>
                    <a:pt x="974" y="291"/>
                  </a:lnTo>
                  <a:lnTo>
                    <a:pt x="974" y="285"/>
                  </a:lnTo>
                  <a:lnTo>
                    <a:pt x="972" y="275"/>
                  </a:lnTo>
                  <a:lnTo>
                    <a:pt x="972" y="268"/>
                  </a:lnTo>
                  <a:lnTo>
                    <a:pt x="974" y="266"/>
                  </a:lnTo>
                  <a:lnTo>
                    <a:pt x="976" y="262"/>
                  </a:lnTo>
                  <a:lnTo>
                    <a:pt x="976" y="262"/>
                  </a:lnTo>
                  <a:lnTo>
                    <a:pt x="976" y="262"/>
                  </a:lnTo>
                  <a:lnTo>
                    <a:pt x="976" y="262"/>
                  </a:lnTo>
                  <a:lnTo>
                    <a:pt x="980" y="256"/>
                  </a:lnTo>
                  <a:lnTo>
                    <a:pt x="980" y="256"/>
                  </a:lnTo>
                  <a:lnTo>
                    <a:pt x="980" y="256"/>
                  </a:lnTo>
                  <a:lnTo>
                    <a:pt x="990" y="250"/>
                  </a:lnTo>
                  <a:lnTo>
                    <a:pt x="990" y="248"/>
                  </a:lnTo>
                  <a:lnTo>
                    <a:pt x="994" y="248"/>
                  </a:lnTo>
                  <a:lnTo>
                    <a:pt x="1000" y="246"/>
                  </a:lnTo>
                  <a:lnTo>
                    <a:pt x="1000" y="246"/>
                  </a:lnTo>
                  <a:lnTo>
                    <a:pt x="1000" y="246"/>
                  </a:lnTo>
                  <a:lnTo>
                    <a:pt x="1002" y="246"/>
                  </a:lnTo>
                  <a:lnTo>
                    <a:pt x="1002" y="244"/>
                  </a:lnTo>
                  <a:lnTo>
                    <a:pt x="1002" y="242"/>
                  </a:lnTo>
                  <a:lnTo>
                    <a:pt x="1002" y="242"/>
                  </a:lnTo>
                  <a:lnTo>
                    <a:pt x="1002" y="240"/>
                  </a:lnTo>
                  <a:lnTo>
                    <a:pt x="1004" y="238"/>
                  </a:lnTo>
                  <a:lnTo>
                    <a:pt x="1006" y="234"/>
                  </a:lnTo>
                  <a:lnTo>
                    <a:pt x="1008" y="232"/>
                  </a:lnTo>
                  <a:lnTo>
                    <a:pt x="1008" y="230"/>
                  </a:lnTo>
                  <a:lnTo>
                    <a:pt x="1008" y="230"/>
                  </a:lnTo>
                  <a:lnTo>
                    <a:pt x="1008" y="227"/>
                  </a:lnTo>
                  <a:lnTo>
                    <a:pt x="1008" y="225"/>
                  </a:lnTo>
                  <a:lnTo>
                    <a:pt x="1008" y="225"/>
                  </a:lnTo>
                  <a:lnTo>
                    <a:pt x="1008" y="225"/>
                  </a:lnTo>
                  <a:lnTo>
                    <a:pt x="1010" y="223"/>
                  </a:lnTo>
                  <a:lnTo>
                    <a:pt x="1010" y="223"/>
                  </a:lnTo>
                  <a:lnTo>
                    <a:pt x="1010" y="223"/>
                  </a:lnTo>
                  <a:lnTo>
                    <a:pt x="1010" y="223"/>
                  </a:lnTo>
                  <a:lnTo>
                    <a:pt x="1010" y="223"/>
                  </a:lnTo>
                  <a:lnTo>
                    <a:pt x="1011" y="221"/>
                  </a:lnTo>
                  <a:lnTo>
                    <a:pt x="1013" y="221"/>
                  </a:lnTo>
                  <a:lnTo>
                    <a:pt x="1013" y="219"/>
                  </a:lnTo>
                  <a:lnTo>
                    <a:pt x="1013" y="219"/>
                  </a:lnTo>
                  <a:lnTo>
                    <a:pt x="1017" y="213"/>
                  </a:lnTo>
                  <a:lnTo>
                    <a:pt x="1019" y="213"/>
                  </a:lnTo>
                  <a:lnTo>
                    <a:pt x="1019" y="211"/>
                  </a:lnTo>
                  <a:lnTo>
                    <a:pt x="1021" y="211"/>
                  </a:lnTo>
                  <a:lnTo>
                    <a:pt x="1023" y="209"/>
                  </a:lnTo>
                  <a:lnTo>
                    <a:pt x="1025" y="209"/>
                  </a:lnTo>
                  <a:lnTo>
                    <a:pt x="1027" y="209"/>
                  </a:lnTo>
                  <a:lnTo>
                    <a:pt x="1031" y="209"/>
                  </a:lnTo>
                  <a:lnTo>
                    <a:pt x="1035" y="209"/>
                  </a:lnTo>
                  <a:lnTo>
                    <a:pt x="1039" y="209"/>
                  </a:lnTo>
                  <a:lnTo>
                    <a:pt x="1039" y="209"/>
                  </a:lnTo>
                  <a:lnTo>
                    <a:pt x="1041" y="209"/>
                  </a:lnTo>
                  <a:lnTo>
                    <a:pt x="1041" y="207"/>
                  </a:lnTo>
                  <a:lnTo>
                    <a:pt x="1043" y="207"/>
                  </a:lnTo>
                  <a:lnTo>
                    <a:pt x="1045" y="197"/>
                  </a:lnTo>
                  <a:lnTo>
                    <a:pt x="1049" y="195"/>
                  </a:lnTo>
                  <a:lnTo>
                    <a:pt x="1051" y="195"/>
                  </a:lnTo>
                  <a:lnTo>
                    <a:pt x="1051" y="195"/>
                  </a:lnTo>
                  <a:lnTo>
                    <a:pt x="1051" y="195"/>
                  </a:lnTo>
                  <a:lnTo>
                    <a:pt x="1062" y="201"/>
                  </a:lnTo>
                  <a:lnTo>
                    <a:pt x="1068" y="203"/>
                  </a:lnTo>
                  <a:lnTo>
                    <a:pt x="1074" y="201"/>
                  </a:lnTo>
                  <a:lnTo>
                    <a:pt x="1080" y="199"/>
                  </a:lnTo>
                  <a:lnTo>
                    <a:pt x="1082" y="197"/>
                  </a:lnTo>
                  <a:lnTo>
                    <a:pt x="1086" y="195"/>
                  </a:lnTo>
                  <a:lnTo>
                    <a:pt x="1090" y="189"/>
                  </a:lnTo>
                  <a:lnTo>
                    <a:pt x="1092" y="189"/>
                  </a:lnTo>
                  <a:lnTo>
                    <a:pt x="1092" y="187"/>
                  </a:lnTo>
                  <a:lnTo>
                    <a:pt x="1096" y="187"/>
                  </a:lnTo>
                  <a:lnTo>
                    <a:pt x="1096" y="186"/>
                  </a:lnTo>
                  <a:lnTo>
                    <a:pt x="1099" y="186"/>
                  </a:lnTo>
                  <a:lnTo>
                    <a:pt x="1099" y="186"/>
                  </a:lnTo>
                  <a:lnTo>
                    <a:pt x="1101" y="184"/>
                  </a:lnTo>
                  <a:lnTo>
                    <a:pt x="1101" y="182"/>
                  </a:lnTo>
                  <a:lnTo>
                    <a:pt x="1101" y="182"/>
                  </a:lnTo>
                  <a:lnTo>
                    <a:pt x="1101" y="182"/>
                  </a:lnTo>
                  <a:lnTo>
                    <a:pt x="1099" y="180"/>
                  </a:lnTo>
                  <a:lnTo>
                    <a:pt x="1099" y="178"/>
                  </a:lnTo>
                  <a:lnTo>
                    <a:pt x="1101" y="176"/>
                  </a:lnTo>
                  <a:lnTo>
                    <a:pt x="1101" y="174"/>
                  </a:lnTo>
                  <a:lnTo>
                    <a:pt x="1105" y="172"/>
                  </a:lnTo>
                  <a:lnTo>
                    <a:pt x="1109" y="170"/>
                  </a:lnTo>
                  <a:lnTo>
                    <a:pt x="1111" y="170"/>
                  </a:lnTo>
                  <a:lnTo>
                    <a:pt x="1111" y="168"/>
                  </a:lnTo>
                  <a:lnTo>
                    <a:pt x="1113" y="166"/>
                  </a:lnTo>
                  <a:lnTo>
                    <a:pt x="1117" y="160"/>
                  </a:lnTo>
                  <a:lnTo>
                    <a:pt x="1119" y="158"/>
                  </a:lnTo>
                  <a:lnTo>
                    <a:pt x="1121" y="156"/>
                  </a:lnTo>
                  <a:lnTo>
                    <a:pt x="1121" y="156"/>
                  </a:lnTo>
                  <a:lnTo>
                    <a:pt x="1115" y="150"/>
                  </a:lnTo>
                  <a:lnTo>
                    <a:pt x="1113" y="148"/>
                  </a:lnTo>
                  <a:lnTo>
                    <a:pt x="1117" y="145"/>
                  </a:lnTo>
                  <a:lnTo>
                    <a:pt x="1117" y="141"/>
                  </a:lnTo>
                  <a:lnTo>
                    <a:pt x="1117" y="139"/>
                  </a:lnTo>
                  <a:lnTo>
                    <a:pt x="1119" y="135"/>
                  </a:lnTo>
                  <a:lnTo>
                    <a:pt x="1117" y="131"/>
                  </a:lnTo>
                  <a:lnTo>
                    <a:pt x="1115" y="127"/>
                  </a:lnTo>
                  <a:lnTo>
                    <a:pt x="1113" y="125"/>
                  </a:lnTo>
                  <a:lnTo>
                    <a:pt x="1109" y="119"/>
                  </a:lnTo>
                  <a:lnTo>
                    <a:pt x="1101" y="117"/>
                  </a:lnTo>
                  <a:lnTo>
                    <a:pt x="1101" y="115"/>
                  </a:lnTo>
                  <a:lnTo>
                    <a:pt x="1099" y="113"/>
                  </a:lnTo>
                  <a:lnTo>
                    <a:pt x="1096" y="113"/>
                  </a:lnTo>
                  <a:lnTo>
                    <a:pt x="1094" y="115"/>
                  </a:lnTo>
                  <a:lnTo>
                    <a:pt x="1090" y="117"/>
                  </a:lnTo>
                  <a:lnTo>
                    <a:pt x="1078" y="117"/>
                  </a:lnTo>
                  <a:lnTo>
                    <a:pt x="1076" y="119"/>
                  </a:lnTo>
                  <a:lnTo>
                    <a:pt x="1076" y="119"/>
                  </a:lnTo>
                  <a:lnTo>
                    <a:pt x="1074" y="117"/>
                  </a:lnTo>
                  <a:lnTo>
                    <a:pt x="1072" y="111"/>
                  </a:lnTo>
                  <a:lnTo>
                    <a:pt x="1070" y="104"/>
                  </a:lnTo>
                  <a:lnTo>
                    <a:pt x="1066" y="98"/>
                  </a:lnTo>
                  <a:lnTo>
                    <a:pt x="1054" y="82"/>
                  </a:lnTo>
                  <a:lnTo>
                    <a:pt x="1054" y="82"/>
                  </a:lnTo>
                  <a:lnTo>
                    <a:pt x="1053" y="82"/>
                  </a:lnTo>
                  <a:lnTo>
                    <a:pt x="1053" y="82"/>
                  </a:lnTo>
                  <a:lnTo>
                    <a:pt x="1049" y="84"/>
                  </a:lnTo>
                  <a:lnTo>
                    <a:pt x="1047" y="84"/>
                  </a:lnTo>
                  <a:lnTo>
                    <a:pt x="1045" y="82"/>
                  </a:lnTo>
                  <a:lnTo>
                    <a:pt x="1041" y="82"/>
                  </a:lnTo>
                  <a:lnTo>
                    <a:pt x="1041" y="82"/>
                  </a:lnTo>
                  <a:lnTo>
                    <a:pt x="1039" y="82"/>
                  </a:lnTo>
                  <a:lnTo>
                    <a:pt x="1039" y="82"/>
                  </a:lnTo>
                  <a:lnTo>
                    <a:pt x="1037" y="82"/>
                  </a:lnTo>
                  <a:lnTo>
                    <a:pt x="1037" y="84"/>
                  </a:lnTo>
                  <a:lnTo>
                    <a:pt x="1035" y="82"/>
                  </a:lnTo>
                  <a:lnTo>
                    <a:pt x="1033" y="82"/>
                  </a:lnTo>
                  <a:lnTo>
                    <a:pt x="1025" y="68"/>
                  </a:lnTo>
                  <a:lnTo>
                    <a:pt x="1023" y="64"/>
                  </a:lnTo>
                  <a:lnTo>
                    <a:pt x="1023" y="61"/>
                  </a:lnTo>
                  <a:lnTo>
                    <a:pt x="1023" y="59"/>
                  </a:lnTo>
                  <a:lnTo>
                    <a:pt x="1023" y="55"/>
                  </a:lnTo>
                  <a:lnTo>
                    <a:pt x="1023" y="53"/>
                  </a:lnTo>
                  <a:lnTo>
                    <a:pt x="1021" y="53"/>
                  </a:lnTo>
                  <a:lnTo>
                    <a:pt x="1017" y="53"/>
                  </a:lnTo>
                  <a:lnTo>
                    <a:pt x="1017" y="49"/>
                  </a:lnTo>
                  <a:lnTo>
                    <a:pt x="1019" y="41"/>
                  </a:lnTo>
                  <a:lnTo>
                    <a:pt x="1013" y="39"/>
                  </a:lnTo>
                  <a:lnTo>
                    <a:pt x="1008" y="37"/>
                  </a:lnTo>
                  <a:lnTo>
                    <a:pt x="1002" y="39"/>
                  </a:lnTo>
                  <a:lnTo>
                    <a:pt x="1002" y="41"/>
                  </a:lnTo>
                  <a:lnTo>
                    <a:pt x="1000" y="41"/>
                  </a:lnTo>
                  <a:lnTo>
                    <a:pt x="1000" y="41"/>
                  </a:lnTo>
                  <a:lnTo>
                    <a:pt x="996" y="41"/>
                  </a:lnTo>
                  <a:lnTo>
                    <a:pt x="996" y="41"/>
                  </a:lnTo>
                  <a:lnTo>
                    <a:pt x="996" y="4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37" name="Freeform 919">
              <a:extLst>
                <a:ext uri="{FF2B5EF4-FFF2-40B4-BE49-F238E27FC236}">
                  <a16:creationId xmlns:a16="http://schemas.microsoft.com/office/drawing/2014/main" id="{8BADC851-9544-40B6-B72C-2E4B7A37B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669" y="5440776"/>
              <a:ext cx="0" cy="4762"/>
            </a:xfrm>
            <a:custGeom>
              <a:avLst/>
              <a:gdLst>
                <a:gd name="T0" fmla="*/ 2 h 3"/>
                <a:gd name="T1" fmla="*/ 2 h 3"/>
                <a:gd name="T2" fmla="*/ 0 h 3"/>
                <a:gd name="T3" fmla="*/ 0 h 3"/>
                <a:gd name="T4" fmla="*/ 0 h 3"/>
                <a:gd name="T5" fmla="*/ 2 h 3"/>
                <a:gd name="T6" fmla="*/ 2 h 3"/>
                <a:gd name="T7" fmla="*/ 3 h 3"/>
                <a:gd name="T8" fmla="*/ 3 h 3"/>
                <a:gd name="T9" fmla="*/ 2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</a:cxnLst>
              <a:rect l="0" t="0" r="r" b="b"/>
              <a:pathLst>
                <a:path h="3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38" name="Rectangle 920">
              <a:extLst>
                <a:ext uri="{FF2B5EF4-FFF2-40B4-BE49-F238E27FC236}">
                  <a16:creationId xmlns:a16="http://schemas.microsoft.com/office/drawing/2014/main" id="{40528B2A-65FE-4AD0-9C3B-3B9B3192AD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7881" y="5640771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39" name="Freeform 921">
              <a:extLst>
                <a:ext uri="{FF2B5EF4-FFF2-40B4-BE49-F238E27FC236}">
                  <a16:creationId xmlns:a16="http://schemas.microsoft.com/office/drawing/2014/main" id="{A75E1F31-75A0-42EB-934D-CFA3C54E5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4294" y="5409030"/>
              <a:ext cx="42863" cy="6349"/>
            </a:xfrm>
            <a:custGeom>
              <a:avLst/>
              <a:gdLst>
                <a:gd name="T0" fmla="*/ 23 w 27"/>
                <a:gd name="T1" fmla="*/ 0 h 4"/>
                <a:gd name="T2" fmla="*/ 25 w 27"/>
                <a:gd name="T3" fmla="*/ 2 h 4"/>
                <a:gd name="T4" fmla="*/ 27 w 27"/>
                <a:gd name="T5" fmla="*/ 4 h 4"/>
                <a:gd name="T6" fmla="*/ 25 w 27"/>
                <a:gd name="T7" fmla="*/ 2 h 4"/>
                <a:gd name="T8" fmla="*/ 23 w 27"/>
                <a:gd name="T9" fmla="*/ 0 h 4"/>
                <a:gd name="T10" fmla="*/ 21 w 27"/>
                <a:gd name="T11" fmla="*/ 0 h 4"/>
                <a:gd name="T12" fmla="*/ 0 w 27"/>
                <a:gd name="T13" fmla="*/ 4 h 4"/>
                <a:gd name="T14" fmla="*/ 21 w 27"/>
                <a:gd name="T15" fmla="*/ 0 h 4"/>
                <a:gd name="T16" fmla="*/ 23 w 27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">
                  <a:moveTo>
                    <a:pt x="23" y="0"/>
                  </a:moveTo>
                  <a:lnTo>
                    <a:pt x="25" y="2"/>
                  </a:lnTo>
                  <a:lnTo>
                    <a:pt x="27" y="4"/>
                  </a:lnTo>
                  <a:lnTo>
                    <a:pt x="25" y="2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0" y="4"/>
                  </a:lnTo>
                  <a:lnTo>
                    <a:pt x="21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40" name="Freeform 922">
              <a:extLst>
                <a:ext uri="{FF2B5EF4-FFF2-40B4-BE49-F238E27FC236}">
                  <a16:creationId xmlns:a16="http://schemas.microsoft.com/office/drawing/2014/main" id="{C0202FF5-704F-4D14-8717-E4347B6E7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669" y="5424903"/>
              <a:ext cx="0" cy="9524"/>
            </a:xfrm>
            <a:custGeom>
              <a:avLst/>
              <a:gdLst>
                <a:gd name="T0" fmla="*/ 2 h 6"/>
                <a:gd name="T1" fmla="*/ 0 h 6"/>
                <a:gd name="T2" fmla="*/ 0 h 6"/>
                <a:gd name="T3" fmla="*/ 2 h 6"/>
                <a:gd name="T4" fmla="*/ 6 h 6"/>
                <a:gd name="T5" fmla="*/ 6 h 6"/>
                <a:gd name="T6" fmla="*/ 6 h 6"/>
                <a:gd name="T7" fmla="*/ 2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</a:cxnLst>
              <a:rect l="0" t="0" r="r" b="b"/>
              <a:pathLst>
                <a:path h="6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41" name="Rectangle 923">
              <a:extLst>
                <a:ext uri="{FF2B5EF4-FFF2-40B4-BE49-F238E27FC236}">
                  <a16:creationId xmlns:a16="http://schemas.microsoft.com/office/drawing/2014/main" id="{5FC3757D-D90A-477C-8C30-09E9DDC581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1457" y="5434427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42" name="Freeform 924">
              <a:extLst>
                <a:ext uri="{FF2B5EF4-FFF2-40B4-BE49-F238E27FC236}">
                  <a16:creationId xmlns:a16="http://schemas.microsoft.com/office/drawing/2014/main" id="{21CFC420-4CBD-4971-8C4F-9F9C22DE7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8594" y="5431252"/>
              <a:ext cx="31750" cy="9524"/>
            </a:xfrm>
            <a:custGeom>
              <a:avLst/>
              <a:gdLst>
                <a:gd name="T0" fmla="*/ 16 w 20"/>
                <a:gd name="T1" fmla="*/ 0 h 6"/>
                <a:gd name="T2" fmla="*/ 20 w 20"/>
                <a:gd name="T3" fmla="*/ 0 h 6"/>
                <a:gd name="T4" fmla="*/ 16 w 20"/>
                <a:gd name="T5" fmla="*/ 0 h 6"/>
                <a:gd name="T6" fmla="*/ 4 w 20"/>
                <a:gd name="T7" fmla="*/ 6 h 6"/>
                <a:gd name="T8" fmla="*/ 0 w 20"/>
                <a:gd name="T9" fmla="*/ 6 h 6"/>
                <a:gd name="T10" fmla="*/ 4 w 20"/>
                <a:gd name="T11" fmla="*/ 6 h 6"/>
                <a:gd name="T12" fmla="*/ 16 w 20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6">
                  <a:moveTo>
                    <a:pt x="16" y="0"/>
                  </a:moveTo>
                  <a:lnTo>
                    <a:pt x="20" y="0"/>
                  </a:lnTo>
                  <a:lnTo>
                    <a:pt x="16" y="0"/>
                  </a:lnTo>
                  <a:lnTo>
                    <a:pt x="4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43" name="Freeform 925">
              <a:extLst>
                <a:ext uri="{FF2B5EF4-FFF2-40B4-BE49-F238E27FC236}">
                  <a16:creationId xmlns:a16="http://schemas.microsoft.com/office/drawing/2014/main" id="{7786EAF2-CE6A-436E-BE41-38C475C6DA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231" y="5582042"/>
              <a:ext cx="58738" cy="25396"/>
            </a:xfrm>
            <a:custGeom>
              <a:avLst/>
              <a:gdLst>
                <a:gd name="T0" fmla="*/ 30 w 37"/>
                <a:gd name="T1" fmla="*/ 12 h 16"/>
                <a:gd name="T2" fmla="*/ 37 w 37"/>
                <a:gd name="T3" fmla="*/ 6 h 16"/>
                <a:gd name="T4" fmla="*/ 37 w 37"/>
                <a:gd name="T5" fmla="*/ 4 h 16"/>
                <a:gd name="T6" fmla="*/ 37 w 37"/>
                <a:gd name="T7" fmla="*/ 2 h 16"/>
                <a:gd name="T8" fmla="*/ 37 w 37"/>
                <a:gd name="T9" fmla="*/ 2 h 16"/>
                <a:gd name="T10" fmla="*/ 37 w 37"/>
                <a:gd name="T11" fmla="*/ 0 h 16"/>
                <a:gd name="T12" fmla="*/ 37 w 37"/>
                <a:gd name="T13" fmla="*/ 0 h 16"/>
                <a:gd name="T14" fmla="*/ 37 w 37"/>
                <a:gd name="T15" fmla="*/ 0 h 16"/>
                <a:gd name="T16" fmla="*/ 37 w 37"/>
                <a:gd name="T17" fmla="*/ 2 h 16"/>
                <a:gd name="T18" fmla="*/ 37 w 37"/>
                <a:gd name="T19" fmla="*/ 2 h 16"/>
                <a:gd name="T20" fmla="*/ 37 w 37"/>
                <a:gd name="T21" fmla="*/ 4 h 16"/>
                <a:gd name="T22" fmla="*/ 37 w 37"/>
                <a:gd name="T23" fmla="*/ 6 h 16"/>
                <a:gd name="T24" fmla="*/ 30 w 37"/>
                <a:gd name="T25" fmla="*/ 12 h 16"/>
                <a:gd name="T26" fmla="*/ 6 w 37"/>
                <a:gd name="T27" fmla="*/ 12 h 16"/>
                <a:gd name="T28" fmla="*/ 0 w 37"/>
                <a:gd name="T29" fmla="*/ 16 h 16"/>
                <a:gd name="T30" fmla="*/ 6 w 37"/>
                <a:gd name="T31" fmla="*/ 12 h 16"/>
                <a:gd name="T32" fmla="*/ 30 w 37"/>
                <a:gd name="T33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" h="16">
                  <a:moveTo>
                    <a:pt x="30" y="12"/>
                  </a:moveTo>
                  <a:lnTo>
                    <a:pt x="37" y="6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0" y="12"/>
                  </a:lnTo>
                  <a:lnTo>
                    <a:pt x="6" y="12"/>
                  </a:lnTo>
                  <a:lnTo>
                    <a:pt x="0" y="16"/>
                  </a:lnTo>
                  <a:lnTo>
                    <a:pt x="6" y="12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44" name="Freeform 926">
              <a:extLst>
                <a:ext uri="{FF2B5EF4-FFF2-40B4-BE49-F238E27FC236}">
                  <a16:creationId xmlns:a16="http://schemas.microsoft.com/office/drawing/2014/main" id="{FE44F244-B6D0-424C-84C6-6706A43B5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6857" y="5412205"/>
              <a:ext cx="19050" cy="3175"/>
            </a:xfrm>
            <a:custGeom>
              <a:avLst/>
              <a:gdLst>
                <a:gd name="T0" fmla="*/ 12 w 12"/>
                <a:gd name="T1" fmla="*/ 0 h 2"/>
                <a:gd name="T2" fmla="*/ 4 w 12"/>
                <a:gd name="T3" fmla="*/ 2 h 2"/>
                <a:gd name="T4" fmla="*/ 0 w 12"/>
                <a:gd name="T5" fmla="*/ 2 h 2"/>
                <a:gd name="T6" fmla="*/ 4 w 12"/>
                <a:gd name="T7" fmla="*/ 2 h 2"/>
                <a:gd name="T8" fmla="*/ 12 w 1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">
                  <a:moveTo>
                    <a:pt x="12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4" y="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45" name="Freeform 927">
              <a:extLst>
                <a:ext uri="{FF2B5EF4-FFF2-40B4-BE49-F238E27FC236}">
                  <a16:creationId xmlns:a16="http://schemas.microsoft.com/office/drawing/2014/main" id="{24E3A1D1-CC98-4E2C-A73C-A557ECD1E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1644" y="5474108"/>
              <a:ext cx="3175" cy="317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2 w 2"/>
                <a:gd name="T5" fmla="*/ 0 h 2"/>
                <a:gd name="T6" fmla="*/ 2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46" name="Freeform 928">
              <a:extLst>
                <a:ext uri="{FF2B5EF4-FFF2-40B4-BE49-F238E27FC236}">
                  <a16:creationId xmlns:a16="http://schemas.microsoft.com/office/drawing/2014/main" id="{56BC9788-E283-4003-A14C-F99E9046E2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9082" y="5412205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0 h 2"/>
                <a:gd name="T4" fmla="*/ 0 w 4"/>
                <a:gd name="T5" fmla="*/ 0 h 2"/>
                <a:gd name="T6" fmla="*/ 2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47" name="Rectangle 929">
              <a:extLst>
                <a:ext uri="{FF2B5EF4-FFF2-40B4-BE49-F238E27FC236}">
                  <a16:creationId xmlns:a16="http://schemas.microsoft.com/office/drawing/2014/main" id="{5A6C484A-413A-4BBC-8FD1-ACD94F0E9D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2244" y="5434427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48" name="Freeform 930">
              <a:extLst>
                <a:ext uri="{FF2B5EF4-FFF2-40B4-BE49-F238E27FC236}">
                  <a16:creationId xmlns:a16="http://schemas.microsoft.com/office/drawing/2014/main" id="{E70F33CB-8408-49C6-9887-361F9E1AE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0682" y="5496330"/>
              <a:ext cx="9525" cy="3175"/>
            </a:xfrm>
            <a:custGeom>
              <a:avLst/>
              <a:gdLst>
                <a:gd name="T0" fmla="*/ 6 w 6"/>
                <a:gd name="T1" fmla="*/ 0 h 2"/>
                <a:gd name="T2" fmla="*/ 4 w 6"/>
                <a:gd name="T3" fmla="*/ 0 h 2"/>
                <a:gd name="T4" fmla="*/ 0 w 6"/>
                <a:gd name="T5" fmla="*/ 2 h 2"/>
                <a:gd name="T6" fmla="*/ 4 w 6"/>
                <a:gd name="T7" fmla="*/ 0 h 2"/>
                <a:gd name="T8" fmla="*/ 6 w 6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6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49" name="Freeform 931">
              <a:extLst>
                <a:ext uri="{FF2B5EF4-FFF2-40B4-BE49-F238E27FC236}">
                  <a16:creationId xmlns:a16="http://schemas.microsoft.com/office/drawing/2014/main" id="{CEBB2B41-F478-41E7-8428-200B91D9B0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6082" y="5483632"/>
              <a:ext cx="36513" cy="6349"/>
            </a:xfrm>
            <a:custGeom>
              <a:avLst/>
              <a:gdLst>
                <a:gd name="T0" fmla="*/ 4 w 23"/>
                <a:gd name="T1" fmla="*/ 2 h 4"/>
                <a:gd name="T2" fmla="*/ 11 w 23"/>
                <a:gd name="T3" fmla="*/ 2 h 4"/>
                <a:gd name="T4" fmla="*/ 15 w 23"/>
                <a:gd name="T5" fmla="*/ 0 h 4"/>
                <a:gd name="T6" fmla="*/ 17 w 23"/>
                <a:gd name="T7" fmla="*/ 0 h 4"/>
                <a:gd name="T8" fmla="*/ 23 w 23"/>
                <a:gd name="T9" fmla="*/ 2 h 4"/>
                <a:gd name="T10" fmla="*/ 17 w 23"/>
                <a:gd name="T11" fmla="*/ 0 h 4"/>
                <a:gd name="T12" fmla="*/ 15 w 23"/>
                <a:gd name="T13" fmla="*/ 0 h 4"/>
                <a:gd name="T14" fmla="*/ 11 w 23"/>
                <a:gd name="T15" fmla="*/ 2 h 4"/>
                <a:gd name="T16" fmla="*/ 4 w 23"/>
                <a:gd name="T17" fmla="*/ 2 h 4"/>
                <a:gd name="T18" fmla="*/ 2 w 23"/>
                <a:gd name="T19" fmla="*/ 4 h 4"/>
                <a:gd name="T20" fmla="*/ 0 w 23"/>
                <a:gd name="T21" fmla="*/ 4 h 4"/>
                <a:gd name="T22" fmla="*/ 2 w 23"/>
                <a:gd name="T23" fmla="*/ 4 h 4"/>
                <a:gd name="T24" fmla="*/ 4 w 23"/>
                <a:gd name="T2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4">
                  <a:moveTo>
                    <a:pt x="4" y="2"/>
                  </a:moveTo>
                  <a:lnTo>
                    <a:pt x="11" y="2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1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50" name="Freeform 932">
              <a:extLst>
                <a:ext uri="{FF2B5EF4-FFF2-40B4-BE49-F238E27FC236}">
                  <a16:creationId xmlns:a16="http://schemas.microsoft.com/office/drawing/2014/main" id="{0B158191-2CFC-45D9-881A-37CCF27AF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9719" y="5428077"/>
              <a:ext cx="12700" cy="9524"/>
            </a:xfrm>
            <a:custGeom>
              <a:avLst/>
              <a:gdLst>
                <a:gd name="T0" fmla="*/ 2 w 8"/>
                <a:gd name="T1" fmla="*/ 6 h 6"/>
                <a:gd name="T2" fmla="*/ 4 w 8"/>
                <a:gd name="T3" fmla="*/ 6 h 6"/>
                <a:gd name="T4" fmla="*/ 8 w 8"/>
                <a:gd name="T5" fmla="*/ 6 h 6"/>
                <a:gd name="T6" fmla="*/ 4 w 8"/>
                <a:gd name="T7" fmla="*/ 6 h 6"/>
                <a:gd name="T8" fmla="*/ 2 w 8"/>
                <a:gd name="T9" fmla="*/ 6 h 6"/>
                <a:gd name="T10" fmla="*/ 0 w 8"/>
                <a:gd name="T11" fmla="*/ 4 h 6"/>
                <a:gd name="T12" fmla="*/ 0 w 8"/>
                <a:gd name="T13" fmla="*/ 0 h 6"/>
                <a:gd name="T14" fmla="*/ 0 w 8"/>
                <a:gd name="T15" fmla="*/ 4 h 6"/>
                <a:gd name="T16" fmla="*/ 2 w 8"/>
                <a:gd name="T1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6">
                  <a:moveTo>
                    <a:pt x="2" y="6"/>
                  </a:moveTo>
                  <a:lnTo>
                    <a:pt x="4" y="6"/>
                  </a:lnTo>
                  <a:lnTo>
                    <a:pt x="8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51" name="Freeform 933">
              <a:extLst>
                <a:ext uri="{FF2B5EF4-FFF2-40B4-BE49-F238E27FC236}">
                  <a16:creationId xmlns:a16="http://schemas.microsoft.com/office/drawing/2014/main" id="{13DBB98F-6BA2-4F2B-8B20-9435EA096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7893" y="5607439"/>
              <a:ext cx="23813" cy="3175"/>
            </a:xfrm>
            <a:custGeom>
              <a:avLst/>
              <a:gdLst>
                <a:gd name="T0" fmla="*/ 15 w 15"/>
                <a:gd name="T1" fmla="*/ 2 h 2"/>
                <a:gd name="T2" fmla="*/ 15 w 15"/>
                <a:gd name="T3" fmla="*/ 2 h 2"/>
                <a:gd name="T4" fmla="*/ 0 w 15"/>
                <a:gd name="T5" fmla="*/ 0 h 2"/>
                <a:gd name="T6" fmla="*/ 15 w 15"/>
                <a:gd name="T7" fmla="*/ 2 h 2"/>
                <a:gd name="T8" fmla="*/ 15 w 15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">
                  <a:moveTo>
                    <a:pt x="15" y="2"/>
                  </a:moveTo>
                  <a:lnTo>
                    <a:pt x="15" y="2"/>
                  </a:lnTo>
                  <a:lnTo>
                    <a:pt x="0" y="0"/>
                  </a:lnTo>
                  <a:lnTo>
                    <a:pt x="15" y="2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52" name="Freeform 934">
              <a:extLst>
                <a:ext uri="{FF2B5EF4-FFF2-40B4-BE49-F238E27FC236}">
                  <a16:creationId xmlns:a16="http://schemas.microsoft.com/office/drawing/2014/main" id="{A1F83ECC-BBCF-45A8-8293-55DE2C7BB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8231" y="5555059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4 w 4"/>
                <a:gd name="T3" fmla="*/ 0 h 2"/>
                <a:gd name="T4" fmla="*/ 0 w 4"/>
                <a:gd name="T5" fmla="*/ 0 h 2"/>
                <a:gd name="T6" fmla="*/ 4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53" name="Freeform 935">
              <a:extLst>
                <a:ext uri="{FF2B5EF4-FFF2-40B4-BE49-F238E27FC236}">
                  <a16:creationId xmlns:a16="http://schemas.microsoft.com/office/drawing/2014/main" id="{2C8DC7F1-4DEF-41FC-9C15-0497E395C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3019" y="5421728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54" name="Freeform 936">
              <a:extLst>
                <a:ext uri="{FF2B5EF4-FFF2-40B4-BE49-F238E27FC236}">
                  <a16:creationId xmlns:a16="http://schemas.microsoft.com/office/drawing/2014/main" id="{081278B5-965A-4478-8573-39B8BF068A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457" y="5434427"/>
              <a:ext cx="6350" cy="0"/>
            </a:xfrm>
            <a:custGeom>
              <a:avLst/>
              <a:gdLst>
                <a:gd name="T0" fmla="*/ 4 w 4"/>
                <a:gd name="T1" fmla="*/ 4 w 4"/>
                <a:gd name="T2" fmla="*/ 4 w 4"/>
                <a:gd name="T3" fmla="*/ 2 w 4"/>
                <a:gd name="T4" fmla="*/ 0 w 4"/>
                <a:gd name="T5" fmla="*/ 2 w 4"/>
                <a:gd name="T6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55" name="Freeform 937">
              <a:extLst>
                <a:ext uri="{FF2B5EF4-FFF2-40B4-BE49-F238E27FC236}">
                  <a16:creationId xmlns:a16="http://schemas.microsoft.com/office/drawing/2014/main" id="{007E78F0-2F8A-4FD7-94DE-B594D9514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456" y="5574106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56" name="Freeform 938">
              <a:extLst>
                <a:ext uri="{FF2B5EF4-FFF2-40B4-BE49-F238E27FC236}">
                  <a16:creationId xmlns:a16="http://schemas.microsoft.com/office/drawing/2014/main" id="{52F3BEDA-3A74-4F89-B3F3-FECBAE063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519" y="5496330"/>
              <a:ext cx="4763" cy="3175"/>
            </a:xfrm>
            <a:custGeom>
              <a:avLst/>
              <a:gdLst>
                <a:gd name="T0" fmla="*/ 3 w 3"/>
                <a:gd name="T1" fmla="*/ 2 h 2"/>
                <a:gd name="T2" fmla="*/ 0 w 3"/>
                <a:gd name="T3" fmla="*/ 0 h 2"/>
                <a:gd name="T4" fmla="*/ 0 w 3"/>
                <a:gd name="T5" fmla="*/ 0 h 2"/>
                <a:gd name="T6" fmla="*/ 0 w 3"/>
                <a:gd name="T7" fmla="*/ 0 h 2"/>
                <a:gd name="T8" fmla="*/ 3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57" name="Freeform 939">
              <a:extLst>
                <a:ext uri="{FF2B5EF4-FFF2-40B4-BE49-F238E27FC236}">
                  <a16:creationId xmlns:a16="http://schemas.microsoft.com/office/drawing/2014/main" id="{08CECE4C-0F15-4507-924F-0CE82F82E9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8681" y="5610613"/>
              <a:ext cx="11113" cy="3175"/>
            </a:xfrm>
            <a:custGeom>
              <a:avLst/>
              <a:gdLst>
                <a:gd name="T0" fmla="*/ 7 w 7"/>
                <a:gd name="T1" fmla="*/ 0 h 2"/>
                <a:gd name="T2" fmla="*/ 5 w 7"/>
                <a:gd name="T3" fmla="*/ 0 h 2"/>
                <a:gd name="T4" fmla="*/ 0 w 7"/>
                <a:gd name="T5" fmla="*/ 2 h 2"/>
                <a:gd name="T6" fmla="*/ 5 w 7"/>
                <a:gd name="T7" fmla="*/ 0 h 2"/>
                <a:gd name="T8" fmla="*/ 7 w 7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">
                  <a:moveTo>
                    <a:pt x="7" y="0"/>
                  </a:moveTo>
                  <a:lnTo>
                    <a:pt x="5" y="0"/>
                  </a:lnTo>
                  <a:lnTo>
                    <a:pt x="0" y="2"/>
                  </a:lnTo>
                  <a:lnTo>
                    <a:pt x="5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58" name="Rectangle 940">
              <a:extLst>
                <a:ext uri="{FF2B5EF4-FFF2-40B4-BE49-F238E27FC236}">
                  <a16:creationId xmlns:a16="http://schemas.microsoft.com/office/drawing/2014/main" id="{D581EAD5-C9F3-4361-BB6F-ED353D9121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7769" y="5536012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59" name="Freeform 941">
              <a:extLst>
                <a:ext uri="{FF2B5EF4-FFF2-40B4-BE49-F238E27FC236}">
                  <a16:creationId xmlns:a16="http://schemas.microsoft.com/office/drawing/2014/main" id="{A160C1AB-507F-4A44-BD7A-D9453DA64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4157" y="5418554"/>
              <a:ext cx="3175" cy="317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0 w 2"/>
                <a:gd name="T5" fmla="*/ 2 h 2"/>
                <a:gd name="T6" fmla="*/ 0 w 2"/>
                <a:gd name="T7" fmla="*/ 2 h 2"/>
                <a:gd name="T8" fmla="*/ 2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60" name="Freeform 942">
              <a:extLst>
                <a:ext uri="{FF2B5EF4-FFF2-40B4-BE49-F238E27FC236}">
                  <a16:creationId xmlns:a16="http://schemas.microsoft.com/office/drawing/2014/main" id="{D25D8890-CABE-4AE4-BC57-5F0E95D0F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5119" y="5455061"/>
              <a:ext cx="9525" cy="15873"/>
            </a:xfrm>
            <a:custGeom>
              <a:avLst/>
              <a:gdLst>
                <a:gd name="T0" fmla="*/ 2 w 6"/>
                <a:gd name="T1" fmla="*/ 6 h 10"/>
                <a:gd name="T2" fmla="*/ 6 w 6"/>
                <a:gd name="T3" fmla="*/ 10 h 10"/>
                <a:gd name="T4" fmla="*/ 2 w 6"/>
                <a:gd name="T5" fmla="*/ 6 h 10"/>
                <a:gd name="T6" fmla="*/ 2 w 6"/>
                <a:gd name="T7" fmla="*/ 2 h 10"/>
                <a:gd name="T8" fmla="*/ 0 w 6"/>
                <a:gd name="T9" fmla="*/ 0 h 10"/>
                <a:gd name="T10" fmla="*/ 2 w 6"/>
                <a:gd name="T11" fmla="*/ 2 h 10"/>
                <a:gd name="T12" fmla="*/ 2 w 6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0">
                  <a:moveTo>
                    <a:pt x="2" y="6"/>
                  </a:moveTo>
                  <a:lnTo>
                    <a:pt x="6" y="10"/>
                  </a:lnTo>
                  <a:lnTo>
                    <a:pt x="2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61" name="Rectangle 943">
              <a:extLst>
                <a:ext uri="{FF2B5EF4-FFF2-40B4-BE49-F238E27FC236}">
                  <a16:creationId xmlns:a16="http://schemas.microsoft.com/office/drawing/2014/main" id="{EF425080-4583-49F1-B0DB-CB03F1B6ED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3756" y="5701088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62" name="Freeform 944">
              <a:extLst>
                <a:ext uri="{FF2B5EF4-FFF2-40B4-BE49-F238E27FC236}">
                  <a16:creationId xmlns:a16="http://schemas.microsoft.com/office/drawing/2014/main" id="{4F4A317C-B4D0-49DA-AFE3-F2C8AF1A3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556" y="5448712"/>
              <a:ext cx="7938" cy="9524"/>
            </a:xfrm>
            <a:custGeom>
              <a:avLst/>
              <a:gdLst>
                <a:gd name="T0" fmla="*/ 5 w 5"/>
                <a:gd name="T1" fmla="*/ 0 h 6"/>
                <a:gd name="T2" fmla="*/ 4 w 5"/>
                <a:gd name="T3" fmla="*/ 0 h 6"/>
                <a:gd name="T4" fmla="*/ 0 w 5"/>
                <a:gd name="T5" fmla="*/ 6 h 6"/>
                <a:gd name="T6" fmla="*/ 4 w 5"/>
                <a:gd name="T7" fmla="*/ 0 h 6"/>
                <a:gd name="T8" fmla="*/ 5 w 5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5" y="0"/>
                  </a:moveTo>
                  <a:lnTo>
                    <a:pt x="4" y="0"/>
                  </a:lnTo>
                  <a:lnTo>
                    <a:pt x="0" y="6"/>
                  </a:lnTo>
                  <a:lnTo>
                    <a:pt x="4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63" name="Freeform 945">
              <a:extLst>
                <a:ext uri="{FF2B5EF4-FFF2-40B4-BE49-F238E27FC236}">
                  <a16:creationId xmlns:a16="http://schemas.microsoft.com/office/drawing/2014/main" id="{9818AC9A-059C-4FDC-9843-E51E841A0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7756" y="5564583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0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64" name="Freeform 946">
              <a:extLst>
                <a:ext uri="{FF2B5EF4-FFF2-40B4-BE49-F238E27FC236}">
                  <a16:creationId xmlns:a16="http://schemas.microsoft.com/office/drawing/2014/main" id="{EE0E4766-2FFC-4008-930F-793FA58F9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30" y="5639184"/>
              <a:ext cx="19050" cy="17460"/>
            </a:xfrm>
            <a:custGeom>
              <a:avLst/>
              <a:gdLst>
                <a:gd name="T0" fmla="*/ 12 w 12"/>
                <a:gd name="T1" fmla="*/ 11 h 11"/>
                <a:gd name="T2" fmla="*/ 4 w 12"/>
                <a:gd name="T3" fmla="*/ 1 h 11"/>
                <a:gd name="T4" fmla="*/ 0 w 12"/>
                <a:gd name="T5" fmla="*/ 0 h 11"/>
                <a:gd name="T6" fmla="*/ 4 w 12"/>
                <a:gd name="T7" fmla="*/ 1 h 11"/>
                <a:gd name="T8" fmla="*/ 12 w 12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">
                  <a:moveTo>
                    <a:pt x="12" y="11"/>
                  </a:moveTo>
                  <a:lnTo>
                    <a:pt x="4" y="1"/>
                  </a:lnTo>
                  <a:lnTo>
                    <a:pt x="0" y="0"/>
                  </a:lnTo>
                  <a:lnTo>
                    <a:pt x="4" y="1"/>
                  </a:lnTo>
                  <a:lnTo>
                    <a:pt x="12" y="1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65" name="Rectangle 947">
              <a:extLst>
                <a:ext uri="{FF2B5EF4-FFF2-40B4-BE49-F238E27FC236}">
                  <a16:creationId xmlns:a16="http://schemas.microsoft.com/office/drawing/2014/main" id="{6A1D101B-10D0-466F-BD21-003CE15709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9743" y="5682040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66" name="Freeform 948">
              <a:extLst>
                <a:ext uri="{FF2B5EF4-FFF2-40B4-BE49-F238E27FC236}">
                  <a16:creationId xmlns:a16="http://schemas.microsoft.com/office/drawing/2014/main" id="{C672D21A-7592-454E-AFE5-559535451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181" y="5704262"/>
              <a:ext cx="19050" cy="17460"/>
            </a:xfrm>
            <a:custGeom>
              <a:avLst/>
              <a:gdLst>
                <a:gd name="T0" fmla="*/ 8 w 12"/>
                <a:gd name="T1" fmla="*/ 3 h 11"/>
                <a:gd name="T2" fmla="*/ 10 w 12"/>
                <a:gd name="T3" fmla="*/ 1 h 11"/>
                <a:gd name="T4" fmla="*/ 12 w 12"/>
                <a:gd name="T5" fmla="*/ 0 h 11"/>
                <a:gd name="T6" fmla="*/ 10 w 12"/>
                <a:gd name="T7" fmla="*/ 1 h 11"/>
                <a:gd name="T8" fmla="*/ 8 w 12"/>
                <a:gd name="T9" fmla="*/ 3 h 11"/>
                <a:gd name="T10" fmla="*/ 2 w 12"/>
                <a:gd name="T11" fmla="*/ 9 h 11"/>
                <a:gd name="T12" fmla="*/ 0 w 12"/>
                <a:gd name="T13" fmla="*/ 11 h 11"/>
                <a:gd name="T14" fmla="*/ 2 w 12"/>
                <a:gd name="T15" fmla="*/ 9 h 11"/>
                <a:gd name="T16" fmla="*/ 8 w 12"/>
                <a:gd name="T17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1">
                  <a:moveTo>
                    <a:pt x="8" y="3"/>
                  </a:moveTo>
                  <a:lnTo>
                    <a:pt x="10" y="1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2" y="9"/>
                  </a:lnTo>
                  <a:lnTo>
                    <a:pt x="0" y="11"/>
                  </a:lnTo>
                  <a:lnTo>
                    <a:pt x="2" y="9"/>
                  </a:lnTo>
                  <a:lnTo>
                    <a:pt x="8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67" name="Freeform 949">
              <a:extLst>
                <a:ext uri="{FF2B5EF4-FFF2-40B4-BE49-F238E27FC236}">
                  <a16:creationId xmlns:a16="http://schemas.microsoft.com/office/drawing/2014/main" id="{E00602A1-C509-4700-B96A-959987CF7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7756" y="5570932"/>
              <a:ext cx="0" cy="3175"/>
            </a:xfrm>
            <a:custGeom>
              <a:avLst/>
              <a:gdLst>
                <a:gd name="T0" fmla="*/ 2 h 2"/>
                <a:gd name="T1" fmla="*/ 2 h 2"/>
                <a:gd name="T2" fmla="*/ 0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68" name="Freeform 950">
              <a:extLst>
                <a:ext uri="{FF2B5EF4-FFF2-40B4-BE49-F238E27FC236}">
                  <a16:creationId xmlns:a16="http://schemas.microsoft.com/office/drawing/2014/main" id="{F5BC26B1-A504-40EA-9EDB-BCA457CFA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3144" y="5555059"/>
              <a:ext cx="6350" cy="20634"/>
            </a:xfrm>
            <a:custGeom>
              <a:avLst/>
              <a:gdLst>
                <a:gd name="T0" fmla="*/ 4 w 4"/>
                <a:gd name="T1" fmla="*/ 0 h 13"/>
                <a:gd name="T2" fmla="*/ 4 w 4"/>
                <a:gd name="T3" fmla="*/ 0 h 13"/>
                <a:gd name="T4" fmla="*/ 2 w 4"/>
                <a:gd name="T5" fmla="*/ 4 h 13"/>
                <a:gd name="T6" fmla="*/ 0 w 4"/>
                <a:gd name="T7" fmla="*/ 13 h 13"/>
                <a:gd name="T8" fmla="*/ 2 w 4"/>
                <a:gd name="T9" fmla="*/ 4 h 13"/>
                <a:gd name="T10" fmla="*/ 4 w 4"/>
                <a:gd name="T1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3">
                  <a:moveTo>
                    <a:pt x="4" y="0"/>
                  </a:moveTo>
                  <a:lnTo>
                    <a:pt x="4" y="0"/>
                  </a:lnTo>
                  <a:lnTo>
                    <a:pt x="2" y="4"/>
                  </a:lnTo>
                  <a:lnTo>
                    <a:pt x="0" y="13"/>
                  </a:lnTo>
                  <a:lnTo>
                    <a:pt x="2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69" name="Freeform 951">
              <a:extLst>
                <a:ext uri="{FF2B5EF4-FFF2-40B4-BE49-F238E27FC236}">
                  <a16:creationId xmlns:a16="http://schemas.microsoft.com/office/drawing/2014/main" id="{AC729045-D1D9-491D-B9FE-08426AE8D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7881" y="5688389"/>
              <a:ext cx="9525" cy="6349"/>
            </a:xfrm>
            <a:custGeom>
              <a:avLst/>
              <a:gdLst>
                <a:gd name="T0" fmla="*/ 0 w 6"/>
                <a:gd name="T1" fmla="*/ 0 h 4"/>
                <a:gd name="T2" fmla="*/ 4 w 6"/>
                <a:gd name="T3" fmla="*/ 4 h 4"/>
                <a:gd name="T4" fmla="*/ 6 w 6"/>
                <a:gd name="T5" fmla="*/ 4 h 4"/>
                <a:gd name="T6" fmla="*/ 4 w 6"/>
                <a:gd name="T7" fmla="*/ 4 h 4"/>
                <a:gd name="T8" fmla="*/ 0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4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70" name="Freeform 952">
              <a:extLst>
                <a:ext uri="{FF2B5EF4-FFF2-40B4-BE49-F238E27FC236}">
                  <a16:creationId xmlns:a16="http://schemas.microsoft.com/office/drawing/2014/main" id="{EC619E7A-76F4-49AB-A2EF-B04DDC136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119" y="5532837"/>
              <a:ext cx="9525" cy="6349"/>
            </a:xfrm>
            <a:custGeom>
              <a:avLst/>
              <a:gdLst>
                <a:gd name="T0" fmla="*/ 4 w 6"/>
                <a:gd name="T1" fmla="*/ 2 h 4"/>
                <a:gd name="T2" fmla="*/ 6 w 6"/>
                <a:gd name="T3" fmla="*/ 0 h 4"/>
                <a:gd name="T4" fmla="*/ 4 w 6"/>
                <a:gd name="T5" fmla="*/ 2 h 4"/>
                <a:gd name="T6" fmla="*/ 0 w 6"/>
                <a:gd name="T7" fmla="*/ 4 h 4"/>
                <a:gd name="T8" fmla="*/ 0 w 6"/>
                <a:gd name="T9" fmla="*/ 4 h 4"/>
                <a:gd name="T10" fmla="*/ 0 w 6"/>
                <a:gd name="T11" fmla="*/ 4 h 4"/>
                <a:gd name="T12" fmla="*/ 4 w 6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4" y="2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71" name="Freeform 953">
              <a:extLst>
                <a:ext uri="{FF2B5EF4-FFF2-40B4-BE49-F238E27FC236}">
                  <a16:creationId xmlns:a16="http://schemas.microsoft.com/office/drawing/2014/main" id="{9618FC90-C81A-473D-8181-F463DB60D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8406" y="5526488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2 h 2"/>
                <a:gd name="T6" fmla="*/ 0 w 2"/>
                <a:gd name="T7" fmla="*/ 0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72" name="Freeform 954">
              <a:extLst>
                <a:ext uri="{FF2B5EF4-FFF2-40B4-BE49-F238E27FC236}">
                  <a16:creationId xmlns:a16="http://schemas.microsoft.com/office/drawing/2014/main" id="{1C1CC521-0F12-45EF-9B39-C151400652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9918" y="5728071"/>
              <a:ext cx="68263" cy="3175"/>
            </a:xfrm>
            <a:custGeom>
              <a:avLst/>
              <a:gdLst>
                <a:gd name="T0" fmla="*/ 43 w 43"/>
                <a:gd name="T1" fmla="*/ 2 h 2"/>
                <a:gd name="T2" fmla="*/ 43 w 43"/>
                <a:gd name="T3" fmla="*/ 2 h 2"/>
                <a:gd name="T4" fmla="*/ 24 w 43"/>
                <a:gd name="T5" fmla="*/ 0 h 2"/>
                <a:gd name="T6" fmla="*/ 0 w 43"/>
                <a:gd name="T7" fmla="*/ 2 h 2"/>
                <a:gd name="T8" fmla="*/ 24 w 43"/>
                <a:gd name="T9" fmla="*/ 0 h 2"/>
                <a:gd name="T10" fmla="*/ 43 w 43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2">
                  <a:moveTo>
                    <a:pt x="43" y="2"/>
                  </a:moveTo>
                  <a:lnTo>
                    <a:pt x="43" y="2"/>
                  </a:lnTo>
                  <a:lnTo>
                    <a:pt x="24" y="0"/>
                  </a:lnTo>
                  <a:lnTo>
                    <a:pt x="0" y="2"/>
                  </a:lnTo>
                  <a:lnTo>
                    <a:pt x="24" y="0"/>
                  </a:lnTo>
                  <a:lnTo>
                    <a:pt x="43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73" name="Freeform 955">
              <a:extLst>
                <a:ext uri="{FF2B5EF4-FFF2-40B4-BE49-F238E27FC236}">
                  <a16:creationId xmlns:a16="http://schemas.microsoft.com/office/drawing/2014/main" id="{04BE4758-A196-4452-80E0-55ECE9F72E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6" y="5493155"/>
              <a:ext cx="3175" cy="12698"/>
            </a:xfrm>
            <a:custGeom>
              <a:avLst/>
              <a:gdLst>
                <a:gd name="T0" fmla="*/ 2 w 2"/>
                <a:gd name="T1" fmla="*/ 0 h 8"/>
                <a:gd name="T2" fmla="*/ 0 w 2"/>
                <a:gd name="T3" fmla="*/ 6 h 8"/>
                <a:gd name="T4" fmla="*/ 0 w 2"/>
                <a:gd name="T5" fmla="*/ 8 h 8"/>
                <a:gd name="T6" fmla="*/ 0 w 2"/>
                <a:gd name="T7" fmla="*/ 6 h 8"/>
                <a:gd name="T8" fmla="*/ 2 w 2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8">
                  <a:moveTo>
                    <a:pt x="2" y="0"/>
                  </a:moveTo>
                  <a:lnTo>
                    <a:pt x="0" y="6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74" name="Rectangle 956">
              <a:extLst>
                <a:ext uri="{FF2B5EF4-FFF2-40B4-BE49-F238E27FC236}">
                  <a16:creationId xmlns:a16="http://schemas.microsoft.com/office/drawing/2014/main" id="{7FC0DAEF-62A4-4555-8FDC-78B3511DFA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7456" y="5529663"/>
              <a:ext cx="1588" cy="3175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75" name="Freeform 957">
              <a:extLst>
                <a:ext uri="{FF2B5EF4-FFF2-40B4-BE49-F238E27FC236}">
                  <a16:creationId xmlns:a16="http://schemas.microsoft.com/office/drawing/2014/main" id="{8A2C6792-BC4D-4AEB-A424-E56A816E0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368" y="5712198"/>
              <a:ext cx="49213" cy="22222"/>
            </a:xfrm>
            <a:custGeom>
              <a:avLst/>
              <a:gdLst>
                <a:gd name="T0" fmla="*/ 4 w 31"/>
                <a:gd name="T1" fmla="*/ 4 h 14"/>
                <a:gd name="T2" fmla="*/ 9 w 31"/>
                <a:gd name="T3" fmla="*/ 8 h 14"/>
                <a:gd name="T4" fmla="*/ 13 w 31"/>
                <a:gd name="T5" fmla="*/ 10 h 14"/>
                <a:gd name="T6" fmla="*/ 27 w 31"/>
                <a:gd name="T7" fmla="*/ 14 h 14"/>
                <a:gd name="T8" fmla="*/ 31 w 31"/>
                <a:gd name="T9" fmla="*/ 14 h 14"/>
                <a:gd name="T10" fmla="*/ 27 w 31"/>
                <a:gd name="T11" fmla="*/ 14 h 14"/>
                <a:gd name="T12" fmla="*/ 13 w 31"/>
                <a:gd name="T13" fmla="*/ 10 h 14"/>
                <a:gd name="T14" fmla="*/ 9 w 31"/>
                <a:gd name="T15" fmla="*/ 8 h 14"/>
                <a:gd name="T16" fmla="*/ 4 w 31"/>
                <a:gd name="T17" fmla="*/ 4 h 14"/>
                <a:gd name="T18" fmla="*/ 2 w 31"/>
                <a:gd name="T19" fmla="*/ 2 h 14"/>
                <a:gd name="T20" fmla="*/ 0 w 31"/>
                <a:gd name="T21" fmla="*/ 0 h 14"/>
                <a:gd name="T22" fmla="*/ 2 w 31"/>
                <a:gd name="T23" fmla="*/ 2 h 14"/>
                <a:gd name="T24" fmla="*/ 4 w 31"/>
                <a:gd name="T2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" h="14">
                  <a:moveTo>
                    <a:pt x="4" y="4"/>
                  </a:moveTo>
                  <a:lnTo>
                    <a:pt x="9" y="8"/>
                  </a:lnTo>
                  <a:lnTo>
                    <a:pt x="13" y="10"/>
                  </a:lnTo>
                  <a:lnTo>
                    <a:pt x="27" y="14"/>
                  </a:lnTo>
                  <a:lnTo>
                    <a:pt x="31" y="14"/>
                  </a:lnTo>
                  <a:lnTo>
                    <a:pt x="27" y="14"/>
                  </a:lnTo>
                  <a:lnTo>
                    <a:pt x="13" y="10"/>
                  </a:lnTo>
                  <a:lnTo>
                    <a:pt x="9" y="8"/>
                  </a:ln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76" name="Freeform 958">
              <a:extLst>
                <a:ext uri="{FF2B5EF4-FFF2-40B4-BE49-F238E27FC236}">
                  <a16:creationId xmlns:a16="http://schemas.microsoft.com/office/drawing/2014/main" id="{7D028786-8F8D-40C7-A48C-6DA509CDF2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1368" y="5718548"/>
              <a:ext cx="9525" cy="3175"/>
            </a:xfrm>
            <a:custGeom>
              <a:avLst/>
              <a:gdLst>
                <a:gd name="T0" fmla="*/ 6 w 6"/>
                <a:gd name="T1" fmla="*/ 2 h 2"/>
                <a:gd name="T2" fmla="*/ 4 w 6"/>
                <a:gd name="T3" fmla="*/ 2 h 2"/>
                <a:gd name="T4" fmla="*/ 0 w 6"/>
                <a:gd name="T5" fmla="*/ 0 h 2"/>
                <a:gd name="T6" fmla="*/ 4 w 6"/>
                <a:gd name="T7" fmla="*/ 2 h 2"/>
                <a:gd name="T8" fmla="*/ 6 w 6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6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4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77" name="Freeform 959">
              <a:extLst>
                <a:ext uri="{FF2B5EF4-FFF2-40B4-BE49-F238E27FC236}">
                  <a16:creationId xmlns:a16="http://schemas.microsoft.com/office/drawing/2014/main" id="{A63965C9-FB2A-4AA2-8567-EE6CB4542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8544" y="5545535"/>
              <a:ext cx="12700" cy="3175"/>
            </a:xfrm>
            <a:custGeom>
              <a:avLst/>
              <a:gdLst>
                <a:gd name="T0" fmla="*/ 8 w 8"/>
                <a:gd name="T1" fmla="*/ 0 h 2"/>
                <a:gd name="T2" fmla="*/ 6 w 8"/>
                <a:gd name="T3" fmla="*/ 0 h 2"/>
                <a:gd name="T4" fmla="*/ 0 w 8"/>
                <a:gd name="T5" fmla="*/ 2 h 2"/>
                <a:gd name="T6" fmla="*/ 6 w 8"/>
                <a:gd name="T7" fmla="*/ 0 h 2"/>
                <a:gd name="T8" fmla="*/ 8 w 8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8" y="0"/>
                  </a:moveTo>
                  <a:lnTo>
                    <a:pt x="6" y="0"/>
                  </a:lnTo>
                  <a:lnTo>
                    <a:pt x="0" y="2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78" name="Freeform 960">
              <a:extLst>
                <a:ext uri="{FF2B5EF4-FFF2-40B4-BE49-F238E27FC236}">
                  <a16:creationId xmlns:a16="http://schemas.microsoft.com/office/drawing/2014/main" id="{D1834C4F-E6A7-40FA-8495-95E9E5462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9206" y="5461410"/>
              <a:ext cx="3175" cy="6349"/>
            </a:xfrm>
            <a:custGeom>
              <a:avLst/>
              <a:gdLst>
                <a:gd name="T0" fmla="*/ 2 w 2"/>
                <a:gd name="T1" fmla="*/ 0 h 4"/>
                <a:gd name="T2" fmla="*/ 2 w 2"/>
                <a:gd name="T3" fmla="*/ 2 h 4"/>
                <a:gd name="T4" fmla="*/ 0 w 2"/>
                <a:gd name="T5" fmla="*/ 4 h 4"/>
                <a:gd name="T6" fmla="*/ 2 w 2"/>
                <a:gd name="T7" fmla="*/ 2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2" y="2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79" name="Freeform 961">
              <a:extLst>
                <a:ext uri="{FF2B5EF4-FFF2-40B4-BE49-F238E27FC236}">
                  <a16:creationId xmlns:a16="http://schemas.microsoft.com/office/drawing/2014/main" id="{EA94B9CB-EC1A-41EC-A6EE-D5104BC8F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6093" y="5685215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80" name="Freeform 962">
              <a:extLst>
                <a:ext uri="{FF2B5EF4-FFF2-40B4-BE49-F238E27FC236}">
                  <a16:creationId xmlns:a16="http://schemas.microsoft.com/office/drawing/2014/main" id="{01ED322A-B7E7-47EA-8AF5-1A7A260EFC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969" y="5575693"/>
              <a:ext cx="3175" cy="6349"/>
            </a:xfrm>
            <a:custGeom>
              <a:avLst/>
              <a:gdLst>
                <a:gd name="T0" fmla="*/ 2 w 2"/>
                <a:gd name="T1" fmla="*/ 0 h 4"/>
                <a:gd name="T2" fmla="*/ 0 w 2"/>
                <a:gd name="T3" fmla="*/ 4 h 4"/>
                <a:gd name="T4" fmla="*/ 0 w 2"/>
                <a:gd name="T5" fmla="*/ 4 h 4"/>
                <a:gd name="T6" fmla="*/ 0 w 2"/>
                <a:gd name="T7" fmla="*/ 4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81" name="Freeform 963">
              <a:extLst>
                <a:ext uri="{FF2B5EF4-FFF2-40B4-BE49-F238E27FC236}">
                  <a16:creationId xmlns:a16="http://schemas.microsoft.com/office/drawing/2014/main" id="{C19FCACC-1C05-4FE0-9CB5-9D452AD00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143" y="5701088"/>
              <a:ext cx="9525" cy="3175"/>
            </a:xfrm>
            <a:custGeom>
              <a:avLst/>
              <a:gdLst>
                <a:gd name="T0" fmla="*/ 2 w 6"/>
                <a:gd name="T1" fmla="*/ 2 h 2"/>
                <a:gd name="T2" fmla="*/ 2 w 6"/>
                <a:gd name="T3" fmla="*/ 0 h 2"/>
                <a:gd name="T4" fmla="*/ 4 w 6"/>
                <a:gd name="T5" fmla="*/ 0 h 2"/>
                <a:gd name="T6" fmla="*/ 6 w 6"/>
                <a:gd name="T7" fmla="*/ 2 h 2"/>
                <a:gd name="T8" fmla="*/ 4 w 6"/>
                <a:gd name="T9" fmla="*/ 0 h 2"/>
                <a:gd name="T10" fmla="*/ 2 w 6"/>
                <a:gd name="T11" fmla="*/ 0 h 2"/>
                <a:gd name="T12" fmla="*/ 2 w 6"/>
                <a:gd name="T13" fmla="*/ 2 h 2"/>
                <a:gd name="T14" fmla="*/ 0 w 6"/>
                <a:gd name="T15" fmla="*/ 2 h 2"/>
                <a:gd name="T16" fmla="*/ 0 w 6"/>
                <a:gd name="T17" fmla="*/ 2 h 2"/>
                <a:gd name="T18" fmla="*/ 2 w 6"/>
                <a:gd name="T1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">
                  <a:moveTo>
                    <a:pt x="2" y="2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82" name="Freeform 964">
              <a:extLst>
                <a:ext uri="{FF2B5EF4-FFF2-40B4-BE49-F238E27FC236}">
                  <a16:creationId xmlns:a16="http://schemas.microsoft.com/office/drawing/2014/main" id="{35F6E232-D7EC-4DBD-ABEE-48050F12FD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4706" y="5662993"/>
              <a:ext cx="0" cy="19047"/>
            </a:xfrm>
            <a:custGeom>
              <a:avLst/>
              <a:gdLst>
                <a:gd name="T0" fmla="*/ 4 h 12"/>
                <a:gd name="T1" fmla="*/ 0 h 12"/>
                <a:gd name="T2" fmla="*/ 4 h 12"/>
                <a:gd name="T3" fmla="*/ 10 h 12"/>
                <a:gd name="T4" fmla="*/ 12 h 12"/>
                <a:gd name="T5" fmla="*/ 10 h 12"/>
                <a:gd name="T6" fmla="*/ 4 h 1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12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83" name="Freeform 965">
              <a:extLst>
                <a:ext uri="{FF2B5EF4-FFF2-40B4-BE49-F238E27FC236}">
                  <a16:creationId xmlns:a16="http://schemas.microsoft.com/office/drawing/2014/main" id="{0028B5F9-296A-4E0C-BE26-886CE86DC2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2844" y="5564583"/>
              <a:ext cx="6350" cy="3175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2 h 2"/>
                <a:gd name="T4" fmla="*/ 4 w 4"/>
                <a:gd name="T5" fmla="*/ 0 h 2"/>
                <a:gd name="T6" fmla="*/ 4 w 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84" name="Freeform 966">
              <a:extLst>
                <a:ext uri="{FF2B5EF4-FFF2-40B4-BE49-F238E27FC236}">
                  <a16:creationId xmlns:a16="http://schemas.microsoft.com/office/drawing/2014/main" id="{AD71B82F-71D6-4035-B83E-13F8EE5453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1419" y="5536012"/>
              <a:ext cx="6350" cy="3175"/>
            </a:xfrm>
            <a:custGeom>
              <a:avLst/>
              <a:gdLst>
                <a:gd name="T0" fmla="*/ 4 w 4"/>
                <a:gd name="T1" fmla="*/ 0 h 2"/>
                <a:gd name="T2" fmla="*/ 2 w 4"/>
                <a:gd name="T3" fmla="*/ 0 h 2"/>
                <a:gd name="T4" fmla="*/ 0 w 4"/>
                <a:gd name="T5" fmla="*/ 2 h 2"/>
                <a:gd name="T6" fmla="*/ 2 w 4"/>
                <a:gd name="T7" fmla="*/ 0 h 2"/>
                <a:gd name="T8" fmla="*/ 4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85" name="Freeform 967">
              <a:extLst>
                <a:ext uri="{FF2B5EF4-FFF2-40B4-BE49-F238E27FC236}">
                  <a16:creationId xmlns:a16="http://schemas.microsoft.com/office/drawing/2014/main" id="{C4B522B7-A880-460F-A67A-000C9004E8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0931" y="5574106"/>
              <a:ext cx="6350" cy="1587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1 h 1"/>
                <a:gd name="T4" fmla="*/ 0 w 4"/>
                <a:gd name="T5" fmla="*/ 1 h 1"/>
                <a:gd name="T6" fmla="*/ 0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86" name="Freeform 968">
              <a:extLst>
                <a:ext uri="{FF2B5EF4-FFF2-40B4-BE49-F238E27FC236}">
                  <a16:creationId xmlns:a16="http://schemas.microsoft.com/office/drawing/2014/main" id="{1377BBA8-5D85-4EFE-9A53-D6A63C0CA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4706" y="5647120"/>
              <a:ext cx="3175" cy="6349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0 h 4"/>
                <a:gd name="T4" fmla="*/ 0 w 2"/>
                <a:gd name="T5" fmla="*/ 0 h 4"/>
                <a:gd name="T6" fmla="*/ 2 w 2"/>
                <a:gd name="T7" fmla="*/ 2 h 4"/>
                <a:gd name="T8" fmla="*/ 2 w 2"/>
                <a:gd name="T9" fmla="*/ 4 h 4"/>
                <a:gd name="T10" fmla="*/ 2 w 2"/>
                <a:gd name="T11" fmla="*/ 2 h 4"/>
                <a:gd name="T12" fmla="*/ 0 w 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87" name="Freeform 969">
              <a:extLst>
                <a:ext uri="{FF2B5EF4-FFF2-40B4-BE49-F238E27FC236}">
                  <a16:creationId xmlns:a16="http://schemas.microsoft.com/office/drawing/2014/main" id="{58B6E4A3-1469-46BA-8749-2C8638F64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8244" y="5542361"/>
              <a:ext cx="3175" cy="12698"/>
            </a:xfrm>
            <a:custGeom>
              <a:avLst/>
              <a:gdLst>
                <a:gd name="T0" fmla="*/ 2 w 2"/>
                <a:gd name="T1" fmla="*/ 2 h 8"/>
                <a:gd name="T2" fmla="*/ 2 w 2"/>
                <a:gd name="T3" fmla="*/ 0 h 8"/>
                <a:gd name="T4" fmla="*/ 2 w 2"/>
                <a:gd name="T5" fmla="*/ 2 h 8"/>
                <a:gd name="T6" fmla="*/ 0 w 2"/>
                <a:gd name="T7" fmla="*/ 6 h 8"/>
                <a:gd name="T8" fmla="*/ 0 w 2"/>
                <a:gd name="T9" fmla="*/ 8 h 8"/>
                <a:gd name="T10" fmla="*/ 0 w 2"/>
                <a:gd name="T11" fmla="*/ 6 h 8"/>
                <a:gd name="T12" fmla="*/ 2 w 2"/>
                <a:gd name="T13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">
                  <a:moveTo>
                    <a:pt x="2" y="2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88" name="Freeform 970">
              <a:extLst>
                <a:ext uri="{FF2B5EF4-FFF2-40B4-BE49-F238E27FC236}">
                  <a16:creationId xmlns:a16="http://schemas.microsoft.com/office/drawing/2014/main" id="{D31330D8-5AF3-4249-91C6-DEFA1AB1F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194" y="5558233"/>
              <a:ext cx="12700" cy="6349"/>
            </a:xfrm>
            <a:custGeom>
              <a:avLst/>
              <a:gdLst>
                <a:gd name="T0" fmla="*/ 6 w 8"/>
                <a:gd name="T1" fmla="*/ 0 h 4"/>
                <a:gd name="T2" fmla="*/ 8 w 8"/>
                <a:gd name="T3" fmla="*/ 0 h 4"/>
                <a:gd name="T4" fmla="*/ 6 w 8"/>
                <a:gd name="T5" fmla="*/ 0 h 4"/>
                <a:gd name="T6" fmla="*/ 0 w 8"/>
                <a:gd name="T7" fmla="*/ 4 h 4"/>
                <a:gd name="T8" fmla="*/ 0 w 8"/>
                <a:gd name="T9" fmla="*/ 4 h 4"/>
                <a:gd name="T10" fmla="*/ 0 w 8"/>
                <a:gd name="T11" fmla="*/ 4 h 4"/>
                <a:gd name="T12" fmla="*/ 6 w 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89" name="Freeform 971">
              <a:extLst>
                <a:ext uri="{FF2B5EF4-FFF2-40B4-BE49-F238E27FC236}">
                  <a16:creationId xmlns:a16="http://schemas.microsoft.com/office/drawing/2014/main" id="{3C124D84-8B82-4370-9124-66DB0F9E6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5381" y="5570932"/>
              <a:ext cx="11113" cy="7936"/>
            </a:xfrm>
            <a:custGeom>
              <a:avLst/>
              <a:gdLst>
                <a:gd name="T0" fmla="*/ 7 w 7"/>
                <a:gd name="T1" fmla="*/ 0 h 5"/>
                <a:gd name="T2" fmla="*/ 7 w 7"/>
                <a:gd name="T3" fmla="*/ 0 h 5"/>
                <a:gd name="T4" fmla="*/ 3 w 7"/>
                <a:gd name="T5" fmla="*/ 2 h 5"/>
                <a:gd name="T6" fmla="*/ 0 w 7"/>
                <a:gd name="T7" fmla="*/ 5 h 5"/>
                <a:gd name="T8" fmla="*/ 3 w 7"/>
                <a:gd name="T9" fmla="*/ 2 h 5"/>
                <a:gd name="T10" fmla="*/ 7 w 7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7" y="0"/>
                  </a:moveTo>
                  <a:lnTo>
                    <a:pt x="7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3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90" name="Freeform 972">
              <a:extLst>
                <a:ext uri="{FF2B5EF4-FFF2-40B4-BE49-F238E27FC236}">
                  <a16:creationId xmlns:a16="http://schemas.microsoft.com/office/drawing/2014/main" id="{CEBCA5C8-D591-4189-90FF-A4C6C23127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0769" y="5551884"/>
              <a:ext cx="17463" cy="6349"/>
            </a:xfrm>
            <a:custGeom>
              <a:avLst/>
              <a:gdLst>
                <a:gd name="T0" fmla="*/ 4 w 11"/>
                <a:gd name="T1" fmla="*/ 4 h 4"/>
                <a:gd name="T2" fmla="*/ 11 w 11"/>
                <a:gd name="T3" fmla="*/ 2 h 4"/>
                <a:gd name="T4" fmla="*/ 11 w 11"/>
                <a:gd name="T5" fmla="*/ 2 h 4"/>
                <a:gd name="T6" fmla="*/ 4 w 11"/>
                <a:gd name="T7" fmla="*/ 4 h 4"/>
                <a:gd name="T8" fmla="*/ 2 w 11"/>
                <a:gd name="T9" fmla="*/ 2 h 4"/>
                <a:gd name="T10" fmla="*/ 0 w 11"/>
                <a:gd name="T11" fmla="*/ 0 h 4"/>
                <a:gd name="T12" fmla="*/ 2 w 11"/>
                <a:gd name="T13" fmla="*/ 2 h 4"/>
                <a:gd name="T14" fmla="*/ 4 w 11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4" y="4"/>
                  </a:moveTo>
                  <a:lnTo>
                    <a:pt x="11" y="2"/>
                  </a:lnTo>
                  <a:lnTo>
                    <a:pt x="11" y="2"/>
                  </a:ln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91" name="Freeform 973">
              <a:extLst>
                <a:ext uri="{FF2B5EF4-FFF2-40B4-BE49-F238E27FC236}">
                  <a16:creationId xmlns:a16="http://schemas.microsoft.com/office/drawing/2014/main" id="{4A1B79BB-F0AA-4E03-8789-F840B7EF3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7406" y="5626486"/>
              <a:ext cx="6350" cy="12698"/>
            </a:xfrm>
            <a:custGeom>
              <a:avLst/>
              <a:gdLst>
                <a:gd name="T0" fmla="*/ 4 w 4"/>
                <a:gd name="T1" fmla="*/ 0 h 8"/>
                <a:gd name="T2" fmla="*/ 0 w 4"/>
                <a:gd name="T3" fmla="*/ 8 h 8"/>
                <a:gd name="T4" fmla="*/ 0 w 4"/>
                <a:gd name="T5" fmla="*/ 8 h 8"/>
                <a:gd name="T6" fmla="*/ 0 w 4"/>
                <a:gd name="T7" fmla="*/ 8 h 8"/>
                <a:gd name="T8" fmla="*/ 4 w 4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92" name="Rectangle 974">
              <a:extLst>
                <a:ext uri="{FF2B5EF4-FFF2-40B4-BE49-F238E27FC236}">
                  <a16:creationId xmlns:a16="http://schemas.microsoft.com/office/drawing/2014/main" id="{37E67AB8-F20C-4AB0-9551-73FF89493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1944" y="6062985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93" name="Freeform 975">
              <a:extLst>
                <a:ext uri="{FF2B5EF4-FFF2-40B4-BE49-F238E27FC236}">
                  <a16:creationId xmlns:a16="http://schemas.microsoft.com/office/drawing/2014/main" id="{F1484AD4-641A-4337-9141-57E2110E38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44" y="6056636"/>
              <a:ext cx="6350" cy="6349"/>
            </a:xfrm>
            <a:custGeom>
              <a:avLst/>
              <a:gdLst>
                <a:gd name="T0" fmla="*/ 0 w 4"/>
                <a:gd name="T1" fmla="*/ 4 h 4"/>
                <a:gd name="T2" fmla="*/ 0 w 4"/>
                <a:gd name="T3" fmla="*/ 4 h 4"/>
                <a:gd name="T4" fmla="*/ 4 w 4"/>
                <a:gd name="T5" fmla="*/ 0 h 4"/>
                <a:gd name="T6" fmla="*/ 4 w 4"/>
                <a:gd name="T7" fmla="*/ 0 h 4"/>
                <a:gd name="T8" fmla="*/ 0 w 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94" name="Freeform 976">
              <a:extLst>
                <a:ext uri="{FF2B5EF4-FFF2-40B4-BE49-F238E27FC236}">
                  <a16:creationId xmlns:a16="http://schemas.microsoft.com/office/drawing/2014/main" id="{AA80EBF1-E23C-453F-A0B9-CBD930860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3069" y="5815371"/>
              <a:ext cx="6350" cy="9524"/>
            </a:xfrm>
            <a:custGeom>
              <a:avLst/>
              <a:gdLst>
                <a:gd name="T0" fmla="*/ 0 w 4"/>
                <a:gd name="T1" fmla="*/ 6 h 6"/>
                <a:gd name="T2" fmla="*/ 4 w 4"/>
                <a:gd name="T3" fmla="*/ 0 h 6"/>
                <a:gd name="T4" fmla="*/ 4 w 4"/>
                <a:gd name="T5" fmla="*/ 0 h 6"/>
                <a:gd name="T6" fmla="*/ 0 w 4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0" y="6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95" name="Rectangle 977">
              <a:extLst>
                <a:ext uri="{FF2B5EF4-FFF2-40B4-BE49-F238E27FC236}">
                  <a16:creationId xmlns:a16="http://schemas.microsoft.com/office/drawing/2014/main" id="{E9C06E76-AE0B-4695-83EF-72C80C41F1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3257" y="5656644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96" name="Freeform 978">
              <a:extLst>
                <a:ext uri="{FF2B5EF4-FFF2-40B4-BE49-F238E27FC236}">
                  <a16:creationId xmlns:a16="http://schemas.microsoft.com/office/drawing/2014/main" id="{6119B415-C0D2-464E-9EB5-9DCCBBBB4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9894" y="5824895"/>
              <a:ext cx="3175" cy="6349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0 h 4"/>
                <a:gd name="T4" fmla="*/ 2 w 2"/>
                <a:gd name="T5" fmla="*/ 0 h 4"/>
                <a:gd name="T6" fmla="*/ 0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97" name="Freeform 979">
              <a:extLst>
                <a:ext uri="{FF2B5EF4-FFF2-40B4-BE49-F238E27FC236}">
                  <a16:creationId xmlns:a16="http://schemas.microsoft.com/office/drawing/2014/main" id="{3C6533C3-D014-43D6-8C86-0B6B1568A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4207" y="5678866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98" name="Freeform 980">
              <a:extLst>
                <a:ext uri="{FF2B5EF4-FFF2-40B4-BE49-F238E27FC236}">
                  <a16:creationId xmlns:a16="http://schemas.microsoft.com/office/drawing/2014/main" id="{ED917A08-FC8B-4C44-B4D3-17DE636C2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8457" y="5982034"/>
              <a:ext cx="9525" cy="9524"/>
            </a:xfrm>
            <a:custGeom>
              <a:avLst/>
              <a:gdLst>
                <a:gd name="T0" fmla="*/ 2 w 6"/>
                <a:gd name="T1" fmla="*/ 6 h 6"/>
                <a:gd name="T2" fmla="*/ 0 w 6"/>
                <a:gd name="T3" fmla="*/ 6 h 6"/>
                <a:gd name="T4" fmla="*/ 2 w 6"/>
                <a:gd name="T5" fmla="*/ 6 h 6"/>
                <a:gd name="T6" fmla="*/ 6 w 6"/>
                <a:gd name="T7" fmla="*/ 2 h 6"/>
                <a:gd name="T8" fmla="*/ 6 w 6"/>
                <a:gd name="T9" fmla="*/ 0 h 6"/>
                <a:gd name="T10" fmla="*/ 6 w 6"/>
                <a:gd name="T11" fmla="*/ 0 h 6"/>
                <a:gd name="T12" fmla="*/ 6 w 6"/>
                <a:gd name="T13" fmla="*/ 2 h 6"/>
                <a:gd name="T14" fmla="*/ 2 w 6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2" y="6"/>
                  </a:moveTo>
                  <a:lnTo>
                    <a:pt x="0" y="6"/>
                  </a:lnTo>
                  <a:lnTo>
                    <a:pt x="2" y="6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99" name="Freeform 981">
              <a:extLst>
                <a:ext uri="{FF2B5EF4-FFF2-40B4-BE49-F238E27FC236}">
                  <a16:creationId xmlns:a16="http://schemas.microsoft.com/office/drawing/2014/main" id="{0D1A6B78-A35A-4AAF-83CE-7AF3C63D9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8332" y="5688389"/>
              <a:ext cx="3175" cy="9524"/>
            </a:xfrm>
            <a:custGeom>
              <a:avLst/>
              <a:gdLst>
                <a:gd name="T0" fmla="*/ 0 w 2"/>
                <a:gd name="T1" fmla="*/ 4 h 6"/>
                <a:gd name="T2" fmla="*/ 2 w 2"/>
                <a:gd name="T3" fmla="*/ 6 h 6"/>
                <a:gd name="T4" fmla="*/ 2 w 2"/>
                <a:gd name="T5" fmla="*/ 6 h 6"/>
                <a:gd name="T6" fmla="*/ 2 w 2"/>
                <a:gd name="T7" fmla="*/ 6 h 6"/>
                <a:gd name="T8" fmla="*/ 0 w 2"/>
                <a:gd name="T9" fmla="*/ 4 h 6"/>
                <a:gd name="T10" fmla="*/ 0 w 2"/>
                <a:gd name="T11" fmla="*/ 2 h 6"/>
                <a:gd name="T12" fmla="*/ 2 w 2"/>
                <a:gd name="T13" fmla="*/ 0 h 6"/>
                <a:gd name="T14" fmla="*/ 0 w 2"/>
                <a:gd name="T15" fmla="*/ 2 h 6"/>
                <a:gd name="T16" fmla="*/ 0 w 2"/>
                <a:gd name="T1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6">
                  <a:moveTo>
                    <a:pt x="0" y="4"/>
                  </a:move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00" name="Freeform 982">
              <a:extLst>
                <a:ext uri="{FF2B5EF4-FFF2-40B4-BE49-F238E27FC236}">
                  <a16:creationId xmlns:a16="http://schemas.microsoft.com/office/drawing/2014/main" id="{76F19273-384B-4D80-A955-15CCCAF64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9894" y="5870925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01" name="Freeform 983">
              <a:extLst>
                <a:ext uri="{FF2B5EF4-FFF2-40B4-BE49-F238E27FC236}">
                  <a16:creationId xmlns:a16="http://schemas.microsoft.com/office/drawing/2014/main" id="{C7BD932A-348A-4883-8984-233B79B96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5294" y="5802673"/>
              <a:ext cx="6350" cy="3175"/>
            </a:xfrm>
            <a:custGeom>
              <a:avLst/>
              <a:gdLst>
                <a:gd name="T0" fmla="*/ 0 w 4"/>
                <a:gd name="T1" fmla="*/ 2 h 2"/>
                <a:gd name="T2" fmla="*/ 0 w 4"/>
                <a:gd name="T3" fmla="*/ 0 h 2"/>
                <a:gd name="T4" fmla="*/ 4 w 4"/>
                <a:gd name="T5" fmla="*/ 0 h 2"/>
                <a:gd name="T6" fmla="*/ 0 w 4"/>
                <a:gd name="T7" fmla="*/ 0 h 2"/>
                <a:gd name="T8" fmla="*/ 0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02" name="Freeform 984">
              <a:extLst>
                <a:ext uri="{FF2B5EF4-FFF2-40B4-BE49-F238E27FC236}">
                  <a16:creationId xmlns:a16="http://schemas.microsoft.com/office/drawing/2014/main" id="{74B175FD-2170-460D-A2AA-2CA3A5E88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0207" y="5913782"/>
              <a:ext cx="3175" cy="9524"/>
            </a:xfrm>
            <a:custGeom>
              <a:avLst/>
              <a:gdLst>
                <a:gd name="T0" fmla="*/ 0 w 2"/>
                <a:gd name="T1" fmla="*/ 6 h 6"/>
                <a:gd name="T2" fmla="*/ 2 w 2"/>
                <a:gd name="T3" fmla="*/ 0 h 6"/>
                <a:gd name="T4" fmla="*/ 2 w 2"/>
                <a:gd name="T5" fmla="*/ 0 h 6"/>
                <a:gd name="T6" fmla="*/ 2 w 2"/>
                <a:gd name="T7" fmla="*/ 0 h 6"/>
                <a:gd name="T8" fmla="*/ 0 w 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03" name="Freeform 985">
              <a:extLst>
                <a:ext uri="{FF2B5EF4-FFF2-40B4-BE49-F238E27FC236}">
                  <a16:creationId xmlns:a16="http://schemas.microsoft.com/office/drawing/2014/main" id="{FAFFAF06-2601-4185-A762-6FF6C38E2F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4169" y="602965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04" name="Freeform 986">
              <a:extLst>
                <a:ext uri="{FF2B5EF4-FFF2-40B4-BE49-F238E27FC236}">
                  <a16:creationId xmlns:a16="http://schemas.microsoft.com/office/drawing/2014/main" id="{D4FD077B-8952-456A-A48A-A0F9B57D9F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982" y="5972510"/>
              <a:ext cx="3175" cy="9524"/>
            </a:xfrm>
            <a:custGeom>
              <a:avLst/>
              <a:gdLst>
                <a:gd name="T0" fmla="*/ 0 w 2"/>
                <a:gd name="T1" fmla="*/ 6 h 6"/>
                <a:gd name="T2" fmla="*/ 2 w 2"/>
                <a:gd name="T3" fmla="*/ 2 h 6"/>
                <a:gd name="T4" fmla="*/ 2 w 2"/>
                <a:gd name="T5" fmla="*/ 0 h 6"/>
                <a:gd name="T6" fmla="*/ 2 w 2"/>
                <a:gd name="T7" fmla="*/ 2 h 6"/>
                <a:gd name="T8" fmla="*/ 0 w 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05" name="Freeform 987">
              <a:extLst>
                <a:ext uri="{FF2B5EF4-FFF2-40B4-BE49-F238E27FC236}">
                  <a16:creationId xmlns:a16="http://schemas.microsoft.com/office/drawing/2014/main" id="{1043609F-54CD-4008-9303-B70E947F8D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3857" y="5942352"/>
              <a:ext cx="0" cy="9524"/>
            </a:xfrm>
            <a:custGeom>
              <a:avLst/>
              <a:gdLst>
                <a:gd name="T0" fmla="*/ 6 h 6"/>
                <a:gd name="T1" fmla="*/ 6 h 6"/>
                <a:gd name="T2" fmla="*/ 6 h 6"/>
                <a:gd name="T3" fmla="*/ 4 h 6"/>
                <a:gd name="T4" fmla="*/ 0 h 6"/>
                <a:gd name="T5" fmla="*/ 4 h 6"/>
                <a:gd name="T6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06" name="Freeform 988">
              <a:extLst>
                <a:ext uri="{FF2B5EF4-FFF2-40B4-BE49-F238E27FC236}">
                  <a16:creationId xmlns:a16="http://schemas.microsoft.com/office/drawing/2014/main" id="{973C6F97-C455-4FD6-AAFD-96E01649CA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0994" y="6029652"/>
              <a:ext cx="3175" cy="0"/>
            </a:xfrm>
            <a:custGeom>
              <a:avLst/>
              <a:gdLst>
                <a:gd name="T0" fmla="*/ 0 w 2"/>
                <a:gd name="T1" fmla="*/ 2 w 2"/>
                <a:gd name="T2" fmla="*/ 0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07" name="Freeform 989">
              <a:extLst>
                <a:ext uri="{FF2B5EF4-FFF2-40B4-BE49-F238E27FC236}">
                  <a16:creationId xmlns:a16="http://schemas.microsoft.com/office/drawing/2014/main" id="{4782EFFD-20D3-4643-892C-81657C79C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7382" y="5662993"/>
              <a:ext cx="9525" cy="12698"/>
            </a:xfrm>
            <a:custGeom>
              <a:avLst/>
              <a:gdLst>
                <a:gd name="T0" fmla="*/ 0 w 6"/>
                <a:gd name="T1" fmla="*/ 8 h 8"/>
                <a:gd name="T2" fmla="*/ 2 w 6"/>
                <a:gd name="T3" fmla="*/ 6 h 8"/>
                <a:gd name="T4" fmla="*/ 6 w 6"/>
                <a:gd name="T5" fmla="*/ 0 h 8"/>
                <a:gd name="T6" fmla="*/ 2 w 6"/>
                <a:gd name="T7" fmla="*/ 6 h 8"/>
                <a:gd name="T8" fmla="*/ 0 w 6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0" y="8"/>
                  </a:moveTo>
                  <a:lnTo>
                    <a:pt x="2" y="6"/>
                  </a:lnTo>
                  <a:lnTo>
                    <a:pt x="6" y="0"/>
                  </a:lnTo>
                  <a:lnTo>
                    <a:pt x="2" y="6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08" name="Freeform 990">
              <a:extLst>
                <a:ext uri="{FF2B5EF4-FFF2-40B4-BE49-F238E27FC236}">
                  <a16:creationId xmlns:a16="http://schemas.microsoft.com/office/drawing/2014/main" id="{E661C6DE-ECC4-4908-833A-042C888DF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9257" y="5883623"/>
              <a:ext cx="17463" cy="6349"/>
            </a:xfrm>
            <a:custGeom>
              <a:avLst/>
              <a:gdLst>
                <a:gd name="T0" fmla="*/ 2 w 11"/>
                <a:gd name="T1" fmla="*/ 2 h 4"/>
                <a:gd name="T2" fmla="*/ 0 w 11"/>
                <a:gd name="T3" fmla="*/ 4 h 4"/>
                <a:gd name="T4" fmla="*/ 0 w 11"/>
                <a:gd name="T5" fmla="*/ 4 h 4"/>
                <a:gd name="T6" fmla="*/ 2 w 11"/>
                <a:gd name="T7" fmla="*/ 2 h 4"/>
                <a:gd name="T8" fmla="*/ 9 w 11"/>
                <a:gd name="T9" fmla="*/ 0 h 4"/>
                <a:gd name="T10" fmla="*/ 11 w 11"/>
                <a:gd name="T11" fmla="*/ 0 h 4"/>
                <a:gd name="T12" fmla="*/ 9 w 11"/>
                <a:gd name="T13" fmla="*/ 0 h 4"/>
                <a:gd name="T14" fmla="*/ 2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2" y="2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2" y="2"/>
                  </a:lnTo>
                  <a:lnTo>
                    <a:pt x="9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09" name="Freeform 991">
              <a:extLst>
                <a:ext uri="{FF2B5EF4-FFF2-40B4-BE49-F238E27FC236}">
                  <a16:creationId xmlns:a16="http://schemas.microsoft.com/office/drawing/2014/main" id="{CC71656D-2CCB-4EC1-97F7-75E483237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4644" y="6023303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0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10" name="Freeform 992">
              <a:extLst>
                <a:ext uri="{FF2B5EF4-FFF2-40B4-BE49-F238E27FC236}">
                  <a16:creationId xmlns:a16="http://schemas.microsoft.com/office/drawing/2014/main" id="{7CDC0B60-E83C-4702-8FFD-974AA9BD50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4507" y="5740769"/>
              <a:ext cx="15875" cy="3175"/>
            </a:xfrm>
            <a:custGeom>
              <a:avLst/>
              <a:gdLst>
                <a:gd name="T0" fmla="*/ 4 w 10"/>
                <a:gd name="T1" fmla="*/ 0 h 2"/>
                <a:gd name="T2" fmla="*/ 2 w 10"/>
                <a:gd name="T3" fmla="*/ 0 h 2"/>
                <a:gd name="T4" fmla="*/ 0 w 10"/>
                <a:gd name="T5" fmla="*/ 2 h 2"/>
                <a:gd name="T6" fmla="*/ 2 w 10"/>
                <a:gd name="T7" fmla="*/ 0 h 2"/>
                <a:gd name="T8" fmla="*/ 4 w 10"/>
                <a:gd name="T9" fmla="*/ 0 h 2"/>
                <a:gd name="T10" fmla="*/ 6 w 10"/>
                <a:gd name="T11" fmla="*/ 0 h 2"/>
                <a:gd name="T12" fmla="*/ 10 w 10"/>
                <a:gd name="T13" fmla="*/ 0 h 2"/>
                <a:gd name="T14" fmla="*/ 6 w 10"/>
                <a:gd name="T15" fmla="*/ 0 h 2"/>
                <a:gd name="T16" fmla="*/ 4 w 10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11" name="Freeform 993">
              <a:extLst>
                <a:ext uri="{FF2B5EF4-FFF2-40B4-BE49-F238E27FC236}">
                  <a16:creationId xmlns:a16="http://schemas.microsoft.com/office/drawing/2014/main" id="{930B089B-692E-4931-97D8-5575281C4C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8294" y="6047112"/>
              <a:ext cx="9525" cy="9524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4 w 6"/>
                <a:gd name="T5" fmla="*/ 2 h 6"/>
                <a:gd name="T6" fmla="*/ 0 w 6"/>
                <a:gd name="T7" fmla="*/ 6 h 6"/>
                <a:gd name="T8" fmla="*/ 0 w 6"/>
                <a:gd name="T9" fmla="*/ 6 h 6"/>
                <a:gd name="T10" fmla="*/ 4 w 6"/>
                <a:gd name="T11" fmla="*/ 2 h 6"/>
                <a:gd name="T12" fmla="*/ 6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12" name="Freeform 994">
              <a:extLst>
                <a:ext uri="{FF2B5EF4-FFF2-40B4-BE49-F238E27FC236}">
                  <a16:creationId xmlns:a16="http://schemas.microsoft.com/office/drawing/2014/main" id="{F1D1D219-F196-481A-8BB1-9CBDB2735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1807" y="5747118"/>
              <a:ext cx="9525" cy="9524"/>
            </a:xfrm>
            <a:custGeom>
              <a:avLst/>
              <a:gdLst>
                <a:gd name="T0" fmla="*/ 0 w 6"/>
                <a:gd name="T1" fmla="*/ 6 h 6"/>
                <a:gd name="T2" fmla="*/ 0 w 6"/>
                <a:gd name="T3" fmla="*/ 6 h 6"/>
                <a:gd name="T4" fmla="*/ 0 w 6"/>
                <a:gd name="T5" fmla="*/ 6 h 6"/>
                <a:gd name="T6" fmla="*/ 4 w 6"/>
                <a:gd name="T7" fmla="*/ 0 h 6"/>
                <a:gd name="T8" fmla="*/ 6 w 6"/>
                <a:gd name="T9" fmla="*/ 0 h 6"/>
                <a:gd name="T10" fmla="*/ 4 w 6"/>
                <a:gd name="T11" fmla="*/ 0 h 6"/>
                <a:gd name="T12" fmla="*/ 0 w 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4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13" name="Freeform 995">
              <a:extLst>
                <a:ext uri="{FF2B5EF4-FFF2-40B4-BE49-F238E27FC236}">
                  <a16:creationId xmlns:a16="http://schemas.microsoft.com/office/drawing/2014/main" id="{45875782-BE72-4982-A28C-EE369AC8A6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7819" y="6023303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2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14" name="Freeform 996">
              <a:extLst>
                <a:ext uri="{FF2B5EF4-FFF2-40B4-BE49-F238E27FC236}">
                  <a16:creationId xmlns:a16="http://schemas.microsoft.com/office/drawing/2014/main" id="{F8E0ABF8-EB7F-4EE4-819C-73377C6746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3082" y="5737595"/>
              <a:ext cx="3175" cy="3175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2 h 2"/>
                <a:gd name="T4" fmla="*/ 2 w 2"/>
                <a:gd name="T5" fmla="*/ 0 h 2"/>
                <a:gd name="T6" fmla="*/ 2 w 2"/>
                <a:gd name="T7" fmla="*/ 2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15" name="Freeform 997">
              <a:extLst>
                <a:ext uri="{FF2B5EF4-FFF2-40B4-BE49-F238E27FC236}">
                  <a16:creationId xmlns:a16="http://schemas.microsoft.com/office/drawing/2014/main" id="{C0B6743F-EEF3-4A23-B1BA-14CABDB33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1345" y="5709024"/>
              <a:ext cx="15875" cy="12698"/>
            </a:xfrm>
            <a:custGeom>
              <a:avLst/>
              <a:gdLst>
                <a:gd name="T0" fmla="*/ 4 w 10"/>
                <a:gd name="T1" fmla="*/ 6 h 8"/>
                <a:gd name="T2" fmla="*/ 0 w 10"/>
                <a:gd name="T3" fmla="*/ 8 h 8"/>
                <a:gd name="T4" fmla="*/ 4 w 10"/>
                <a:gd name="T5" fmla="*/ 6 h 8"/>
                <a:gd name="T6" fmla="*/ 8 w 10"/>
                <a:gd name="T7" fmla="*/ 0 h 8"/>
                <a:gd name="T8" fmla="*/ 10 w 10"/>
                <a:gd name="T9" fmla="*/ 0 h 8"/>
                <a:gd name="T10" fmla="*/ 8 w 10"/>
                <a:gd name="T11" fmla="*/ 0 h 8"/>
                <a:gd name="T12" fmla="*/ 4 w 10"/>
                <a:gd name="T13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8">
                  <a:moveTo>
                    <a:pt x="4" y="6"/>
                  </a:moveTo>
                  <a:lnTo>
                    <a:pt x="0" y="8"/>
                  </a:lnTo>
                  <a:lnTo>
                    <a:pt x="4" y="6"/>
                  </a:lnTo>
                  <a:lnTo>
                    <a:pt x="8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16" name="Rectangle 998">
              <a:extLst>
                <a:ext uri="{FF2B5EF4-FFF2-40B4-BE49-F238E27FC236}">
                  <a16:creationId xmlns:a16="http://schemas.microsoft.com/office/drawing/2014/main" id="{6A85FCF6-DAAD-49DF-BB1B-AABFCAF7FE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8957" y="5718548"/>
              <a:ext cx="3175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17" name="Freeform 999">
              <a:extLst>
                <a:ext uri="{FF2B5EF4-FFF2-40B4-BE49-F238E27FC236}">
                  <a16:creationId xmlns:a16="http://schemas.microsoft.com/office/drawing/2014/main" id="{DE5905A3-3A8D-4403-9640-BB02F7700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70" y="5762991"/>
              <a:ext cx="3175" cy="3175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18" name="Freeform 1000">
              <a:extLst>
                <a:ext uri="{FF2B5EF4-FFF2-40B4-BE49-F238E27FC236}">
                  <a16:creationId xmlns:a16="http://schemas.microsoft.com/office/drawing/2014/main" id="{E77D73F2-A12C-4272-8AA5-9CA004708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9" y="5780451"/>
              <a:ext cx="9525" cy="19047"/>
            </a:xfrm>
            <a:custGeom>
              <a:avLst/>
              <a:gdLst>
                <a:gd name="T0" fmla="*/ 2 w 6"/>
                <a:gd name="T1" fmla="*/ 6 h 12"/>
                <a:gd name="T2" fmla="*/ 2 w 6"/>
                <a:gd name="T3" fmla="*/ 8 h 12"/>
                <a:gd name="T4" fmla="*/ 2 w 6"/>
                <a:gd name="T5" fmla="*/ 8 h 12"/>
                <a:gd name="T6" fmla="*/ 2 w 6"/>
                <a:gd name="T7" fmla="*/ 10 h 12"/>
                <a:gd name="T8" fmla="*/ 2 w 6"/>
                <a:gd name="T9" fmla="*/ 12 h 12"/>
                <a:gd name="T10" fmla="*/ 0 w 6"/>
                <a:gd name="T11" fmla="*/ 12 h 12"/>
                <a:gd name="T12" fmla="*/ 2 w 6"/>
                <a:gd name="T13" fmla="*/ 12 h 12"/>
                <a:gd name="T14" fmla="*/ 2 w 6"/>
                <a:gd name="T15" fmla="*/ 10 h 12"/>
                <a:gd name="T16" fmla="*/ 2 w 6"/>
                <a:gd name="T17" fmla="*/ 8 h 12"/>
                <a:gd name="T18" fmla="*/ 2 w 6"/>
                <a:gd name="T19" fmla="*/ 8 h 12"/>
                <a:gd name="T20" fmla="*/ 2 w 6"/>
                <a:gd name="T21" fmla="*/ 6 h 12"/>
                <a:gd name="T22" fmla="*/ 4 w 6"/>
                <a:gd name="T23" fmla="*/ 4 h 12"/>
                <a:gd name="T24" fmla="*/ 6 w 6"/>
                <a:gd name="T25" fmla="*/ 0 h 12"/>
                <a:gd name="T26" fmla="*/ 4 w 6"/>
                <a:gd name="T27" fmla="*/ 4 h 12"/>
                <a:gd name="T28" fmla="*/ 2 w 6"/>
                <a:gd name="T2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" h="12">
                  <a:moveTo>
                    <a:pt x="2" y="6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0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4" y="4"/>
                  </a:lnTo>
                  <a:lnTo>
                    <a:pt x="6" y="0"/>
                  </a:lnTo>
                  <a:lnTo>
                    <a:pt x="4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19" name="Freeform 1001">
              <a:extLst>
                <a:ext uri="{FF2B5EF4-FFF2-40B4-BE49-F238E27FC236}">
                  <a16:creationId xmlns:a16="http://schemas.microsoft.com/office/drawing/2014/main" id="{076EBA2F-E83B-4D40-824A-177402556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70" y="5769340"/>
              <a:ext cx="0" cy="4762"/>
            </a:xfrm>
            <a:custGeom>
              <a:avLst/>
              <a:gdLst>
                <a:gd name="T0" fmla="*/ 3 h 3"/>
                <a:gd name="T1" fmla="*/ 3 h 3"/>
                <a:gd name="T2" fmla="*/ 0 h 3"/>
                <a:gd name="T3" fmla="*/ 3 h 3"/>
                <a:gd name="T4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20" name="Freeform 1002">
              <a:extLst>
                <a:ext uri="{FF2B5EF4-FFF2-40B4-BE49-F238E27FC236}">
                  <a16:creationId xmlns:a16="http://schemas.microsoft.com/office/drawing/2014/main" id="{B1C97A6D-3B39-47F3-AE4F-13FF76585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32" y="5966161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0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21" name="Freeform 1003">
              <a:extLst>
                <a:ext uri="{FF2B5EF4-FFF2-40B4-BE49-F238E27FC236}">
                  <a16:creationId xmlns:a16="http://schemas.microsoft.com/office/drawing/2014/main" id="{D44A2BD6-1B1D-427C-9347-6C86B9D18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3570" y="5701088"/>
              <a:ext cx="7938" cy="4762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2 h 3"/>
                <a:gd name="T4" fmla="*/ 0 w 5"/>
                <a:gd name="T5" fmla="*/ 3 h 3"/>
                <a:gd name="T6" fmla="*/ 0 w 5"/>
                <a:gd name="T7" fmla="*/ 2 h 3"/>
                <a:gd name="T8" fmla="*/ 3 w 5"/>
                <a:gd name="T9" fmla="*/ 2 h 3"/>
                <a:gd name="T10" fmla="*/ 3 w 5"/>
                <a:gd name="T11" fmla="*/ 2 h 3"/>
                <a:gd name="T12" fmla="*/ 5 w 5"/>
                <a:gd name="T13" fmla="*/ 0 h 3"/>
                <a:gd name="T14" fmla="*/ 3 w 5"/>
                <a:gd name="T15" fmla="*/ 2 h 3"/>
                <a:gd name="T16" fmla="*/ 3 w 5"/>
                <a:gd name="T1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22" name="Freeform 1004">
              <a:extLst>
                <a:ext uri="{FF2B5EF4-FFF2-40B4-BE49-F238E27FC236}">
                  <a16:creationId xmlns:a16="http://schemas.microsoft.com/office/drawing/2014/main" id="{9B7A7527-A82E-46DA-B0E3-5C8B39136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1469" y="6020128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23" name="Freeform 1005">
              <a:extLst>
                <a:ext uri="{FF2B5EF4-FFF2-40B4-BE49-F238E27FC236}">
                  <a16:creationId xmlns:a16="http://schemas.microsoft.com/office/drawing/2014/main" id="{0DC5CB0D-75E7-48D3-BA98-11304C297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7045" y="5759817"/>
              <a:ext cx="1588" cy="3175"/>
            </a:xfrm>
            <a:custGeom>
              <a:avLst/>
              <a:gdLst>
                <a:gd name="T0" fmla="*/ 0 w 1"/>
                <a:gd name="T1" fmla="*/ 2 h 2"/>
                <a:gd name="T2" fmla="*/ 0 w 1"/>
                <a:gd name="T3" fmla="*/ 2 h 2"/>
                <a:gd name="T4" fmla="*/ 1 w 1"/>
                <a:gd name="T5" fmla="*/ 0 h 2"/>
                <a:gd name="T6" fmla="*/ 0 w 1"/>
                <a:gd name="T7" fmla="*/ 2 h 2"/>
                <a:gd name="T8" fmla="*/ 0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24" name="Freeform 1006">
              <a:extLst>
                <a:ext uri="{FF2B5EF4-FFF2-40B4-BE49-F238E27FC236}">
                  <a16:creationId xmlns:a16="http://schemas.microsoft.com/office/drawing/2014/main" id="{BBF87017-937A-4288-8B2E-C4CFBAC41F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466" y="5994732"/>
              <a:ext cx="290513" cy="61903"/>
            </a:xfrm>
            <a:custGeom>
              <a:avLst/>
              <a:gdLst>
                <a:gd name="T0" fmla="*/ 172 w 183"/>
                <a:gd name="T1" fmla="*/ 35 h 39"/>
                <a:gd name="T2" fmla="*/ 170 w 183"/>
                <a:gd name="T3" fmla="*/ 33 h 39"/>
                <a:gd name="T4" fmla="*/ 170 w 183"/>
                <a:gd name="T5" fmla="*/ 27 h 39"/>
                <a:gd name="T6" fmla="*/ 168 w 183"/>
                <a:gd name="T7" fmla="*/ 23 h 39"/>
                <a:gd name="T8" fmla="*/ 168 w 183"/>
                <a:gd name="T9" fmla="*/ 22 h 39"/>
                <a:gd name="T10" fmla="*/ 170 w 183"/>
                <a:gd name="T11" fmla="*/ 18 h 39"/>
                <a:gd name="T12" fmla="*/ 179 w 183"/>
                <a:gd name="T13" fmla="*/ 12 h 39"/>
                <a:gd name="T14" fmla="*/ 183 w 183"/>
                <a:gd name="T15" fmla="*/ 8 h 39"/>
                <a:gd name="T16" fmla="*/ 183 w 183"/>
                <a:gd name="T17" fmla="*/ 4 h 39"/>
                <a:gd name="T18" fmla="*/ 183 w 183"/>
                <a:gd name="T19" fmla="*/ 0 h 39"/>
                <a:gd name="T20" fmla="*/ 179 w 183"/>
                <a:gd name="T21" fmla="*/ 0 h 39"/>
                <a:gd name="T22" fmla="*/ 172 w 183"/>
                <a:gd name="T23" fmla="*/ 0 h 39"/>
                <a:gd name="T24" fmla="*/ 168 w 183"/>
                <a:gd name="T25" fmla="*/ 2 h 39"/>
                <a:gd name="T26" fmla="*/ 152 w 183"/>
                <a:gd name="T27" fmla="*/ 10 h 39"/>
                <a:gd name="T28" fmla="*/ 140 w 183"/>
                <a:gd name="T29" fmla="*/ 12 h 39"/>
                <a:gd name="T30" fmla="*/ 133 w 183"/>
                <a:gd name="T31" fmla="*/ 14 h 39"/>
                <a:gd name="T32" fmla="*/ 125 w 183"/>
                <a:gd name="T33" fmla="*/ 18 h 39"/>
                <a:gd name="T34" fmla="*/ 119 w 183"/>
                <a:gd name="T35" fmla="*/ 22 h 39"/>
                <a:gd name="T36" fmla="*/ 111 w 183"/>
                <a:gd name="T37" fmla="*/ 23 h 39"/>
                <a:gd name="T38" fmla="*/ 109 w 183"/>
                <a:gd name="T39" fmla="*/ 23 h 39"/>
                <a:gd name="T40" fmla="*/ 107 w 183"/>
                <a:gd name="T41" fmla="*/ 27 h 39"/>
                <a:gd name="T42" fmla="*/ 105 w 183"/>
                <a:gd name="T43" fmla="*/ 27 h 39"/>
                <a:gd name="T44" fmla="*/ 101 w 183"/>
                <a:gd name="T45" fmla="*/ 25 h 39"/>
                <a:gd name="T46" fmla="*/ 95 w 183"/>
                <a:gd name="T47" fmla="*/ 22 h 39"/>
                <a:gd name="T48" fmla="*/ 93 w 183"/>
                <a:gd name="T49" fmla="*/ 22 h 39"/>
                <a:gd name="T50" fmla="*/ 92 w 183"/>
                <a:gd name="T51" fmla="*/ 22 h 39"/>
                <a:gd name="T52" fmla="*/ 90 w 183"/>
                <a:gd name="T53" fmla="*/ 22 h 39"/>
                <a:gd name="T54" fmla="*/ 90 w 183"/>
                <a:gd name="T55" fmla="*/ 22 h 39"/>
                <a:gd name="T56" fmla="*/ 90 w 183"/>
                <a:gd name="T57" fmla="*/ 22 h 39"/>
                <a:gd name="T58" fmla="*/ 82 w 183"/>
                <a:gd name="T59" fmla="*/ 20 h 39"/>
                <a:gd name="T60" fmla="*/ 78 w 183"/>
                <a:gd name="T61" fmla="*/ 20 h 39"/>
                <a:gd name="T62" fmla="*/ 72 w 183"/>
                <a:gd name="T63" fmla="*/ 22 h 39"/>
                <a:gd name="T64" fmla="*/ 72 w 183"/>
                <a:gd name="T65" fmla="*/ 22 h 39"/>
                <a:gd name="T66" fmla="*/ 70 w 183"/>
                <a:gd name="T67" fmla="*/ 23 h 39"/>
                <a:gd name="T68" fmla="*/ 70 w 183"/>
                <a:gd name="T69" fmla="*/ 23 h 39"/>
                <a:gd name="T70" fmla="*/ 68 w 183"/>
                <a:gd name="T71" fmla="*/ 23 h 39"/>
                <a:gd name="T72" fmla="*/ 66 w 183"/>
                <a:gd name="T73" fmla="*/ 22 h 39"/>
                <a:gd name="T74" fmla="*/ 66 w 183"/>
                <a:gd name="T75" fmla="*/ 22 h 39"/>
                <a:gd name="T76" fmla="*/ 64 w 183"/>
                <a:gd name="T77" fmla="*/ 20 h 39"/>
                <a:gd name="T78" fmla="*/ 64 w 183"/>
                <a:gd name="T79" fmla="*/ 20 h 39"/>
                <a:gd name="T80" fmla="*/ 60 w 183"/>
                <a:gd name="T81" fmla="*/ 18 h 39"/>
                <a:gd name="T82" fmla="*/ 58 w 183"/>
                <a:gd name="T83" fmla="*/ 20 h 39"/>
                <a:gd name="T84" fmla="*/ 58 w 183"/>
                <a:gd name="T85" fmla="*/ 20 h 39"/>
                <a:gd name="T86" fmla="*/ 56 w 183"/>
                <a:gd name="T87" fmla="*/ 22 h 39"/>
                <a:gd name="T88" fmla="*/ 51 w 183"/>
                <a:gd name="T89" fmla="*/ 27 h 39"/>
                <a:gd name="T90" fmla="*/ 45 w 183"/>
                <a:gd name="T91" fmla="*/ 27 h 39"/>
                <a:gd name="T92" fmla="*/ 41 w 183"/>
                <a:gd name="T93" fmla="*/ 25 h 39"/>
                <a:gd name="T94" fmla="*/ 35 w 183"/>
                <a:gd name="T95" fmla="*/ 23 h 39"/>
                <a:gd name="T96" fmla="*/ 23 w 183"/>
                <a:gd name="T97" fmla="*/ 25 h 39"/>
                <a:gd name="T98" fmla="*/ 11 w 183"/>
                <a:gd name="T99" fmla="*/ 29 h 39"/>
                <a:gd name="T100" fmla="*/ 8 w 183"/>
                <a:gd name="T101" fmla="*/ 31 h 39"/>
                <a:gd name="T102" fmla="*/ 0 w 183"/>
                <a:gd name="T103" fmla="*/ 39 h 39"/>
                <a:gd name="T104" fmla="*/ 172 w 183"/>
                <a:gd name="T105" fmla="*/ 39 h 39"/>
                <a:gd name="T106" fmla="*/ 172 w 183"/>
                <a:gd name="T107" fmla="*/ 37 h 39"/>
                <a:gd name="T108" fmla="*/ 172 w 183"/>
                <a:gd name="T109" fmla="*/ 3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3" h="39">
                  <a:moveTo>
                    <a:pt x="172" y="35"/>
                  </a:moveTo>
                  <a:lnTo>
                    <a:pt x="170" y="33"/>
                  </a:lnTo>
                  <a:lnTo>
                    <a:pt x="170" y="27"/>
                  </a:lnTo>
                  <a:lnTo>
                    <a:pt x="168" y="23"/>
                  </a:lnTo>
                  <a:lnTo>
                    <a:pt x="168" y="22"/>
                  </a:lnTo>
                  <a:lnTo>
                    <a:pt x="170" y="18"/>
                  </a:lnTo>
                  <a:lnTo>
                    <a:pt x="179" y="12"/>
                  </a:lnTo>
                  <a:lnTo>
                    <a:pt x="183" y="8"/>
                  </a:lnTo>
                  <a:lnTo>
                    <a:pt x="183" y="4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2" y="0"/>
                  </a:lnTo>
                  <a:lnTo>
                    <a:pt x="168" y="2"/>
                  </a:lnTo>
                  <a:lnTo>
                    <a:pt x="152" y="10"/>
                  </a:lnTo>
                  <a:lnTo>
                    <a:pt x="140" y="12"/>
                  </a:lnTo>
                  <a:lnTo>
                    <a:pt x="133" y="14"/>
                  </a:lnTo>
                  <a:lnTo>
                    <a:pt x="125" y="18"/>
                  </a:lnTo>
                  <a:lnTo>
                    <a:pt x="119" y="22"/>
                  </a:lnTo>
                  <a:lnTo>
                    <a:pt x="111" y="23"/>
                  </a:lnTo>
                  <a:lnTo>
                    <a:pt x="109" y="23"/>
                  </a:lnTo>
                  <a:lnTo>
                    <a:pt x="107" y="27"/>
                  </a:lnTo>
                  <a:lnTo>
                    <a:pt x="105" y="27"/>
                  </a:lnTo>
                  <a:lnTo>
                    <a:pt x="101" y="25"/>
                  </a:lnTo>
                  <a:lnTo>
                    <a:pt x="95" y="22"/>
                  </a:lnTo>
                  <a:lnTo>
                    <a:pt x="93" y="22"/>
                  </a:lnTo>
                  <a:lnTo>
                    <a:pt x="92" y="22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82" y="20"/>
                  </a:lnTo>
                  <a:lnTo>
                    <a:pt x="78" y="20"/>
                  </a:lnTo>
                  <a:lnTo>
                    <a:pt x="72" y="22"/>
                  </a:lnTo>
                  <a:lnTo>
                    <a:pt x="72" y="22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68" y="23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0" y="18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6" y="22"/>
                  </a:lnTo>
                  <a:lnTo>
                    <a:pt x="51" y="27"/>
                  </a:lnTo>
                  <a:lnTo>
                    <a:pt x="45" y="27"/>
                  </a:lnTo>
                  <a:lnTo>
                    <a:pt x="41" y="25"/>
                  </a:lnTo>
                  <a:lnTo>
                    <a:pt x="35" y="23"/>
                  </a:lnTo>
                  <a:lnTo>
                    <a:pt x="23" y="25"/>
                  </a:lnTo>
                  <a:lnTo>
                    <a:pt x="11" y="29"/>
                  </a:lnTo>
                  <a:lnTo>
                    <a:pt x="8" y="31"/>
                  </a:lnTo>
                  <a:lnTo>
                    <a:pt x="0" y="39"/>
                  </a:lnTo>
                  <a:lnTo>
                    <a:pt x="172" y="39"/>
                  </a:lnTo>
                  <a:lnTo>
                    <a:pt x="172" y="37"/>
                  </a:lnTo>
                  <a:lnTo>
                    <a:pt x="172" y="35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25" name="Freeform 1007">
              <a:extLst>
                <a:ext uri="{FF2B5EF4-FFF2-40B4-BE49-F238E27FC236}">
                  <a16:creationId xmlns:a16="http://schemas.microsoft.com/office/drawing/2014/main" id="{938431F2-ACF1-4265-A665-97065B4E99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5" y="2851941"/>
              <a:ext cx="26988" cy="31745"/>
            </a:xfrm>
            <a:custGeom>
              <a:avLst/>
              <a:gdLst>
                <a:gd name="T0" fmla="*/ 6 w 17"/>
                <a:gd name="T1" fmla="*/ 6 h 20"/>
                <a:gd name="T2" fmla="*/ 4 w 17"/>
                <a:gd name="T3" fmla="*/ 6 h 20"/>
                <a:gd name="T4" fmla="*/ 0 w 17"/>
                <a:gd name="T5" fmla="*/ 8 h 20"/>
                <a:gd name="T6" fmla="*/ 0 w 17"/>
                <a:gd name="T7" fmla="*/ 14 h 20"/>
                <a:gd name="T8" fmla="*/ 2 w 17"/>
                <a:gd name="T9" fmla="*/ 18 h 20"/>
                <a:gd name="T10" fmla="*/ 4 w 17"/>
                <a:gd name="T11" fmla="*/ 20 h 20"/>
                <a:gd name="T12" fmla="*/ 8 w 17"/>
                <a:gd name="T13" fmla="*/ 20 h 20"/>
                <a:gd name="T14" fmla="*/ 11 w 17"/>
                <a:gd name="T15" fmla="*/ 18 h 20"/>
                <a:gd name="T16" fmla="*/ 15 w 17"/>
                <a:gd name="T17" fmla="*/ 10 h 20"/>
                <a:gd name="T18" fmla="*/ 17 w 17"/>
                <a:gd name="T19" fmla="*/ 4 h 20"/>
                <a:gd name="T20" fmla="*/ 17 w 17"/>
                <a:gd name="T21" fmla="*/ 0 h 20"/>
                <a:gd name="T22" fmla="*/ 6 w 17"/>
                <a:gd name="T23" fmla="*/ 6 h 20"/>
                <a:gd name="T24" fmla="*/ 6 w 17"/>
                <a:gd name="T25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20">
                  <a:moveTo>
                    <a:pt x="6" y="6"/>
                  </a:moveTo>
                  <a:lnTo>
                    <a:pt x="4" y="6"/>
                  </a:lnTo>
                  <a:lnTo>
                    <a:pt x="0" y="8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1" y="18"/>
                  </a:lnTo>
                  <a:lnTo>
                    <a:pt x="15" y="10"/>
                  </a:lnTo>
                  <a:lnTo>
                    <a:pt x="17" y="4"/>
                  </a:lnTo>
                  <a:lnTo>
                    <a:pt x="17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26" name="Freeform 1008">
              <a:extLst>
                <a:ext uri="{FF2B5EF4-FFF2-40B4-BE49-F238E27FC236}">
                  <a16:creationId xmlns:a16="http://schemas.microsoft.com/office/drawing/2014/main" id="{15070890-108B-44F5-8188-51849BBF26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402" y="2620200"/>
              <a:ext cx="101600" cy="149203"/>
            </a:xfrm>
            <a:custGeom>
              <a:avLst/>
              <a:gdLst>
                <a:gd name="T0" fmla="*/ 2 w 64"/>
                <a:gd name="T1" fmla="*/ 94 h 94"/>
                <a:gd name="T2" fmla="*/ 4 w 64"/>
                <a:gd name="T3" fmla="*/ 94 h 94"/>
                <a:gd name="T4" fmla="*/ 4 w 64"/>
                <a:gd name="T5" fmla="*/ 90 h 94"/>
                <a:gd name="T6" fmla="*/ 4 w 64"/>
                <a:gd name="T7" fmla="*/ 84 h 94"/>
                <a:gd name="T8" fmla="*/ 4 w 64"/>
                <a:gd name="T9" fmla="*/ 68 h 94"/>
                <a:gd name="T10" fmla="*/ 4 w 64"/>
                <a:gd name="T11" fmla="*/ 66 h 94"/>
                <a:gd name="T12" fmla="*/ 4 w 64"/>
                <a:gd name="T13" fmla="*/ 60 h 94"/>
                <a:gd name="T14" fmla="*/ 6 w 64"/>
                <a:gd name="T15" fmla="*/ 58 h 94"/>
                <a:gd name="T16" fmla="*/ 6 w 64"/>
                <a:gd name="T17" fmla="*/ 58 h 94"/>
                <a:gd name="T18" fmla="*/ 12 w 64"/>
                <a:gd name="T19" fmla="*/ 54 h 94"/>
                <a:gd name="T20" fmla="*/ 12 w 64"/>
                <a:gd name="T21" fmla="*/ 54 h 94"/>
                <a:gd name="T22" fmla="*/ 14 w 64"/>
                <a:gd name="T23" fmla="*/ 54 h 94"/>
                <a:gd name="T24" fmla="*/ 16 w 64"/>
                <a:gd name="T25" fmla="*/ 54 h 94"/>
                <a:gd name="T26" fmla="*/ 18 w 64"/>
                <a:gd name="T27" fmla="*/ 56 h 94"/>
                <a:gd name="T28" fmla="*/ 18 w 64"/>
                <a:gd name="T29" fmla="*/ 58 h 94"/>
                <a:gd name="T30" fmla="*/ 29 w 64"/>
                <a:gd name="T31" fmla="*/ 58 h 94"/>
                <a:gd name="T32" fmla="*/ 31 w 64"/>
                <a:gd name="T33" fmla="*/ 56 h 94"/>
                <a:gd name="T34" fmla="*/ 37 w 64"/>
                <a:gd name="T35" fmla="*/ 54 h 94"/>
                <a:gd name="T36" fmla="*/ 39 w 64"/>
                <a:gd name="T37" fmla="*/ 53 h 94"/>
                <a:gd name="T38" fmla="*/ 61 w 64"/>
                <a:gd name="T39" fmla="*/ 53 h 94"/>
                <a:gd name="T40" fmla="*/ 64 w 64"/>
                <a:gd name="T41" fmla="*/ 51 h 94"/>
                <a:gd name="T42" fmla="*/ 27 w 64"/>
                <a:gd name="T43" fmla="*/ 53 h 94"/>
                <a:gd name="T44" fmla="*/ 20 w 64"/>
                <a:gd name="T45" fmla="*/ 51 h 94"/>
                <a:gd name="T46" fmla="*/ 14 w 64"/>
                <a:gd name="T47" fmla="*/ 45 h 94"/>
                <a:gd name="T48" fmla="*/ 16 w 64"/>
                <a:gd name="T49" fmla="*/ 35 h 94"/>
                <a:gd name="T50" fmla="*/ 14 w 64"/>
                <a:gd name="T51" fmla="*/ 29 h 94"/>
                <a:gd name="T52" fmla="*/ 16 w 64"/>
                <a:gd name="T53" fmla="*/ 23 h 94"/>
                <a:gd name="T54" fmla="*/ 18 w 64"/>
                <a:gd name="T55" fmla="*/ 17 h 94"/>
                <a:gd name="T56" fmla="*/ 25 w 64"/>
                <a:gd name="T57" fmla="*/ 13 h 94"/>
                <a:gd name="T58" fmla="*/ 27 w 64"/>
                <a:gd name="T59" fmla="*/ 10 h 94"/>
                <a:gd name="T60" fmla="*/ 25 w 64"/>
                <a:gd name="T61" fmla="*/ 8 h 94"/>
                <a:gd name="T62" fmla="*/ 21 w 64"/>
                <a:gd name="T63" fmla="*/ 6 h 94"/>
                <a:gd name="T64" fmla="*/ 21 w 64"/>
                <a:gd name="T65" fmla="*/ 6 h 94"/>
                <a:gd name="T66" fmla="*/ 31 w 64"/>
                <a:gd name="T67" fmla="*/ 4 h 94"/>
                <a:gd name="T68" fmla="*/ 23 w 64"/>
                <a:gd name="T69" fmla="*/ 0 h 94"/>
                <a:gd name="T70" fmla="*/ 18 w 64"/>
                <a:gd name="T71" fmla="*/ 10 h 94"/>
                <a:gd name="T72" fmla="*/ 4 w 64"/>
                <a:gd name="T73" fmla="*/ 45 h 94"/>
                <a:gd name="T74" fmla="*/ 2 w 64"/>
                <a:gd name="T75" fmla="*/ 51 h 94"/>
                <a:gd name="T76" fmla="*/ 0 w 64"/>
                <a:gd name="T77" fmla="*/ 82 h 94"/>
                <a:gd name="T78" fmla="*/ 2 w 64"/>
                <a:gd name="T79" fmla="*/ 90 h 94"/>
                <a:gd name="T80" fmla="*/ 2 w 64"/>
                <a:gd name="T81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" h="94">
                  <a:moveTo>
                    <a:pt x="2" y="94"/>
                  </a:moveTo>
                  <a:lnTo>
                    <a:pt x="4" y="94"/>
                  </a:lnTo>
                  <a:lnTo>
                    <a:pt x="4" y="90"/>
                  </a:lnTo>
                  <a:lnTo>
                    <a:pt x="4" y="84"/>
                  </a:lnTo>
                  <a:lnTo>
                    <a:pt x="4" y="68"/>
                  </a:lnTo>
                  <a:lnTo>
                    <a:pt x="4" y="66"/>
                  </a:lnTo>
                  <a:lnTo>
                    <a:pt x="4" y="60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4" y="54"/>
                  </a:lnTo>
                  <a:lnTo>
                    <a:pt x="16" y="54"/>
                  </a:lnTo>
                  <a:lnTo>
                    <a:pt x="18" y="56"/>
                  </a:lnTo>
                  <a:lnTo>
                    <a:pt x="18" y="58"/>
                  </a:lnTo>
                  <a:lnTo>
                    <a:pt x="29" y="58"/>
                  </a:lnTo>
                  <a:lnTo>
                    <a:pt x="31" y="56"/>
                  </a:lnTo>
                  <a:lnTo>
                    <a:pt x="37" y="54"/>
                  </a:lnTo>
                  <a:lnTo>
                    <a:pt x="39" y="53"/>
                  </a:lnTo>
                  <a:lnTo>
                    <a:pt x="61" y="53"/>
                  </a:lnTo>
                  <a:lnTo>
                    <a:pt x="64" y="51"/>
                  </a:lnTo>
                  <a:lnTo>
                    <a:pt x="27" y="53"/>
                  </a:lnTo>
                  <a:lnTo>
                    <a:pt x="20" y="51"/>
                  </a:lnTo>
                  <a:lnTo>
                    <a:pt x="14" y="45"/>
                  </a:lnTo>
                  <a:lnTo>
                    <a:pt x="16" y="35"/>
                  </a:lnTo>
                  <a:lnTo>
                    <a:pt x="14" y="29"/>
                  </a:lnTo>
                  <a:lnTo>
                    <a:pt x="16" y="23"/>
                  </a:lnTo>
                  <a:lnTo>
                    <a:pt x="18" y="17"/>
                  </a:lnTo>
                  <a:lnTo>
                    <a:pt x="25" y="13"/>
                  </a:lnTo>
                  <a:lnTo>
                    <a:pt x="27" y="10"/>
                  </a:lnTo>
                  <a:lnTo>
                    <a:pt x="25" y="8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31" y="4"/>
                  </a:lnTo>
                  <a:lnTo>
                    <a:pt x="23" y="0"/>
                  </a:lnTo>
                  <a:lnTo>
                    <a:pt x="18" y="10"/>
                  </a:lnTo>
                  <a:lnTo>
                    <a:pt x="4" y="45"/>
                  </a:lnTo>
                  <a:lnTo>
                    <a:pt x="2" y="51"/>
                  </a:lnTo>
                  <a:lnTo>
                    <a:pt x="0" y="82"/>
                  </a:lnTo>
                  <a:lnTo>
                    <a:pt x="2" y="90"/>
                  </a:lnTo>
                  <a:lnTo>
                    <a:pt x="2" y="9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grpSp>
          <p:nvGrpSpPr>
            <p:cNvPr id="527" name="Group 205">
              <a:extLst>
                <a:ext uri="{FF2B5EF4-FFF2-40B4-BE49-F238E27FC236}">
                  <a16:creationId xmlns:a16="http://schemas.microsoft.com/office/drawing/2014/main" id="{69BF7A77-6890-4FB7-A1B5-FAA542936D8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240407" y="2509568"/>
              <a:ext cx="2451103" cy="3542828"/>
              <a:chOff x="1412" y="1584"/>
              <a:chExt cx="1544" cy="2232"/>
            </a:xfrm>
            <a:grpFill/>
          </p:grpSpPr>
          <p:sp>
            <p:nvSpPr>
              <p:cNvPr id="1693" name="Freeform 5">
                <a:extLst>
                  <a:ext uri="{FF2B5EF4-FFF2-40B4-BE49-F238E27FC236}">
                    <a16:creationId xmlns:a16="http://schemas.microsoft.com/office/drawing/2014/main" id="{2375960C-BC75-4931-8D03-1E1AE9E8FA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6" y="2978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94" name="Freeform 6">
                <a:extLst>
                  <a:ext uri="{FF2B5EF4-FFF2-40B4-BE49-F238E27FC236}">
                    <a16:creationId xmlns:a16="http://schemas.microsoft.com/office/drawing/2014/main" id="{0A8950AB-A3E4-41FF-88F0-6B91269CDA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6" y="2980"/>
                <a:ext cx="6" cy="12"/>
              </a:xfrm>
              <a:custGeom>
                <a:avLst/>
                <a:gdLst>
                  <a:gd name="T0" fmla="*/ 4 w 6"/>
                  <a:gd name="T1" fmla="*/ 10 h 12"/>
                  <a:gd name="T2" fmla="*/ 0 w 6"/>
                  <a:gd name="T3" fmla="*/ 12 h 12"/>
                  <a:gd name="T4" fmla="*/ 4 w 6"/>
                  <a:gd name="T5" fmla="*/ 10 h 12"/>
                  <a:gd name="T6" fmla="*/ 6 w 6"/>
                  <a:gd name="T7" fmla="*/ 6 h 12"/>
                  <a:gd name="T8" fmla="*/ 2 w 6"/>
                  <a:gd name="T9" fmla="*/ 0 h 12"/>
                  <a:gd name="T10" fmla="*/ 6 w 6"/>
                  <a:gd name="T11" fmla="*/ 6 h 12"/>
                  <a:gd name="T12" fmla="*/ 4 w 6"/>
                  <a:gd name="T13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2">
                    <a:moveTo>
                      <a:pt x="4" y="10"/>
                    </a:moveTo>
                    <a:lnTo>
                      <a:pt x="0" y="12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2" y="0"/>
                    </a:lnTo>
                    <a:lnTo>
                      <a:pt x="6" y="6"/>
                    </a:lnTo>
                    <a:lnTo>
                      <a:pt x="4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95" name="Freeform 7">
                <a:extLst>
                  <a:ext uri="{FF2B5EF4-FFF2-40B4-BE49-F238E27FC236}">
                    <a16:creationId xmlns:a16="http://schemas.microsoft.com/office/drawing/2014/main" id="{1F279DA6-217E-4D04-B9A0-A3F98C8D6D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4" y="2246"/>
                <a:ext cx="0" cy="4"/>
              </a:xfrm>
              <a:custGeom>
                <a:avLst/>
                <a:gdLst>
                  <a:gd name="T0" fmla="*/ 4 h 4"/>
                  <a:gd name="T1" fmla="*/ 4 h 4"/>
                  <a:gd name="T2" fmla="*/ 0 h 4"/>
                  <a:gd name="T3" fmla="*/ 4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96" name="Freeform 8">
                <a:extLst>
                  <a:ext uri="{FF2B5EF4-FFF2-40B4-BE49-F238E27FC236}">
                    <a16:creationId xmlns:a16="http://schemas.microsoft.com/office/drawing/2014/main" id="{CE0BC6CB-6610-41C9-8D33-C1E7F58352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8" y="2151"/>
                <a:ext cx="10" cy="25"/>
              </a:xfrm>
              <a:custGeom>
                <a:avLst/>
                <a:gdLst>
                  <a:gd name="T0" fmla="*/ 6 w 10"/>
                  <a:gd name="T1" fmla="*/ 19 h 25"/>
                  <a:gd name="T2" fmla="*/ 10 w 10"/>
                  <a:gd name="T3" fmla="*/ 23 h 25"/>
                  <a:gd name="T4" fmla="*/ 10 w 10"/>
                  <a:gd name="T5" fmla="*/ 25 h 25"/>
                  <a:gd name="T6" fmla="*/ 10 w 10"/>
                  <a:gd name="T7" fmla="*/ 23 h 25"/>
                  <a:gd name="T8" fmla="*/ 6 w 10"/>
                  <a:gd name="T9" fmla="*/ 19 h 25"/>
                  <a:gd name="T10" fmla="*/ 4 w 10"/>
                  <a:gd name="T11" fmla="*/ 11 h 25"/>
                  <a:gd name="T12" fmla="*/ 0 w 10"/>
                  <a:gd name="T13" fmla="*/ 0 h 25"/>
                  <a:gd name="T14" fmla="*/ 4 w 10"/>
                  <a:gd name="T15" fmla="*/ 11 h 25"/>
                  <a:gd name="T16" fmla="*/ 6 w 10"/>
                  <a:gd name="T17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25">
                    <a:moveTo>
                      <a:pt x="6" y="19"/>
                    </a:moveTo>
                    <a:lnTo>
                      <a:pt x="10" y="23"/>
                    </a:lnTo>
                    <a:lnTo>
                      <a:pt x="10" y="25"/>
                    </a:lnTo>
                    <a:lnTo>
                      <a:pt x="10" y="23"/>
                    </a:lnTo>
                    <a:lnTo>
                      <a:pt x="6" y="19"/>
                    </a:lnTo>
                    <a:lnTo>
                      <a:pt x="4" y="11"/>
                    </a:lnTo>
                    <a:lnTo>
                      <a:pt x="0" y="0"/>
                    </a:lnTo>
                    <a:lnTo>
                      <a:pt x="4" y="11"/>
                    </a:lnTo>
                    <a:lnTo>
                      <a:pt x="6" y="1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97" name="Freeform 9">
                <a:extLst>
                  <a:ext uri="{FF2B5EF4-FFF2-40B4-BE49-F238E27FC236}">
                    <a16:creationId xmlns:a16="http://schemas.microsoft.com/office/drawing/2014/main" id="{D1207F10-390D-4D7D-86FD-8CDEFB7C0D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7" y="3205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98" name="Freeform 10">
                <a:extLst>
                  <a:ext uri="{FF2B5EF4-FFF2-40B4-BE49-F238E27FC236}">
                    <a16:creationId xmlns:a16="http://schemas.microsoft.com/office/drawing/2014/main" id="{C65747E5-D96A-4A48-9FAF-09C354A844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" y="2030"/>
                <a:ext cx="28" cy="101"/>
              </a:xfrm>
              <a:custGeom>
                <a:avLst/>
                <a:gdLst>
                  <a:gd name="T0" fmla="*/ 4 w 28"/>
                  <a:gd name="T1" fmla="*/ 37 h 101"/>
                  <a:gd name="T2" fmla="*/ 18 w 28"/>
                  <a:gd name="T3" fmla="*/ 82 h 101"/>
                  <a:gd name="T4" fmla="*/ 26 w 28"/>
                  <a:gd name="T5" fmla="*/ 97 h 101"/>
                  <a:gd name="T6" fmla="*/ 28 w 28"/>
                  <a:gd name="T7" fmla="*/ 101 h 101"/>
                  <a:gd name="T8" fmla="*/ 26 w 28"/>
                  <a:gd name="T9" fmla="*/ 97 h 101"/>
                  <a:gd name="T10" fmla="*/ 18 w 28"/>
                  <a:gd name="T11" fmla="*/ 82 h 101"/>
                  <a:gd name="T12" fmla="*/ 4 w 28"/>
                  <a:gd name="T13" fmla="*/ 37 h 101"/>
                  <a:gd name="T14" fmla="*/ 0 w 28"/>
                  <a:gd name="T15" fmla="*/ 17 h 101"/>
                  <a:gd name="T16" fmla="*/ 0 w 28"/>
                  <a:gd name="T17" fmla="*/ 0 h 101"/>
                  <a:gd name="T18" fmla="*/ 0 w 28"/>
                  <a:gd name="T19" fmla="*/ 0 h 101"/>
                  <a:gd name="T20" fmla="*/ 0 w 28"/>
                  <a:gd name="T21" fmla="*/ 17 h 101"/>
                  <a:gd name="T22" fmla="*/ 4 w 28"/>
                  <a:gd name="T23" fmla="*/ 37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" h="101">
                    <a:moveTo>
                      <a:pt x="4" y="37"/>
                    </a:moveTo>
                    <a:lnTo>
                      <a:pt x="18" y="82"/>
                    </a:lnTo>
                    <a:lnTo>
                      <a:pt x="26" y="97"/>
                    </a:lnTo>
                    <a:lnTo>
                      <a:pt x="28" y="101"/>
                    </a:lnTo>
                    <a:lnTo>
                      <a:pt x="26" y="97"/>
                    </a:lnTo>
                    <a:lnTo>
                      <a:pt x="18" y="82"/>
                    </a:lnTo>
                    <a:lnTo>
                      <a:pt x="4" y="37"/>
                    </a:lnTo>
                    <a:lnTo>
                      <a:pt x="0" y="17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" y="3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99" name="Freeform 11">
                <a:extLst>
                  <a:ext uri="{FF2B5EF4-FFF2-40B4-BE49-F238E27FC236}">
                    <a16:creationId xmlns:a16="http://schemas.microsoft.com/office/drawing/2014/main" id="{B011B09F-A238-40DB-B1B4-0654A8C54A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5" y="3799"/>
                <a:ext cx="2" cy="11"/>
              </a:xfrm>
              <a:custGeom>
                <a:avLst/>
                <a:gdLst>
                  <a:gd name="T0" fmla="*/ 0 w 2"/>
                  <a:gd name="T1" fmla="*/ 11 h 11"/>
                  <a:gd name="T2" fmla="*/ 0 w 2"/>
                  <a:gd name="T3" fmla="*/ 11 h 11"/>
                  <a:gd name="T4" fmla="*/ 2 w 2"/>
                  <a:gd name="T5" fmla="*/ 0 h 11"/>
                  <a:gd name="T6" fmla="*/ 2 w 2"/>
                  <a:gd name="T7" fmla="*/ 0 h 11"/>
                  <a:gd name="T8" fmla="*/ 0 w 2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1">
                    <a:moveTo>
                      <a:pt x="0" y="11"/>
                    </a:moveTo>
                    <a:lnTo>
                      <a:pt x="0" y="1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00" name="Freeform 12">
                <a:extLst>
                  <a:ext uri="{FF2B5EF4-FFF2-40B4-BE49-F238E27FC236}">
                    <a16:creationId xmlns:a16="http://schemas.microsoft.com/office/drawing/2014/main" id="{4335F03A-8746-4476-8732-A09D621629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8" y="3224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2 w 4"/>
                  <a:gd name="T4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01" name="Freeform 13">
                <a:extLst>
                  <a:ext uri="{FF2B5EF4-FFF2-40B4-BE49-F238E27FC236}">
                    <a16:creationId xmlns:a16="http://schemas.microsoft.com/office/drawing/2014/main" id="{04294B94-68C6-4B2C-8975-22FEBEC5FC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0" y="2264"/>
                <a:ext cx="6" cy="60"/>
              </a:xfrm>
              <a:custGeom>
                <a:avLst/>
                <a:gdLst>
                  <a:gd name="T0" fmla="*/ 4 w 6"/>
                  <a:gd name="T1" fmla="*/ 4 h 60"/>
                  <a:gd name="T2" fmla="*/ 4 w 6"/>
                  <a:gd name="T3" fmla="*/ 37 h 60"/>
                  <a:gd name="T4" fmla="*/ 6 w 6"/>
                  <a:gd name="T5" fmla="*/ 45 h 60"/>
                  <a:gd name="T6" fmla="*/ 2 w 6"/>
                  <a:gd name="T7" fmla="*/ 57 h 60"/>
                  <a:gd name="T8" fmla="*/ 0 w 6"/>
                  <a:gd name="T9" fmla="*/ 60 h 60"/>
                  <a:gd name="T10" fmla="*/ 2 w 6"/>
                  <a:gd name="T11" fmla="*/ 57 h 60"/>
                  <a:gd name="T12" fmla="*/ 6 w 6"/>
                  <a:gd name="T13" fmla="*/ 45 h 60"/>
                  <a:gd name="T14" fmla="*/ 4 w 6"/>
                  <a:gd name="T15" fmla="*/ 37 h 60"/>
                  <a:gd name="T16" fmla="*/ 4 w 6"/>
                  <a:gd name="T17" fmla="*/ 4 h 60"/>
                  <a:gd name="T18" fmla="*/ 2 w 6"/>
                  <a:gd name="T19" fmla="*/ 2 h 60"/>
                  <a:gd name="T20" fmla="*/ 2 w 6"/>
                  <a:gd name="T21" fmla="*/ 0 h 60"/>
                  <a:gd name="T22" fmla="*/ 2 w 6"/>
                  <a:gd name="T23" fmla="*/ 2 h 60"/>
                  <a:gd name="T24" fmla="*/ 4 w 6"/>
                  <a:gd name="T25" fmla="*/ 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60">
                    <a:moveTo>
                      <a:pt x="4" y="4"/>
                    </a:moveTo>
                    <a:lnTo>
                      <a:pt x="4" y="37"/>
                    </a:lnTo>
                    <a:lnTo>
                      <a:pt x="6" y="45"/>
                    </a:lnTo>
                    <a:lnTo>
                      <a:pt x="2" y="57"/>
                    </a:lnTo>
                    <a:lnTo>
                      <a:pt x="0" y="60"/>
                    </a:lnTo>
                    <a:lnTo>
                      <a:pt x="2" y="57"/>
                    </a:lnTo>
                    <a:lnTo>
                      <a:pt x="6" y="45"/>
                    </a:lnTo>
                    <a:lnTo>
                      <a:pt x="4" y="37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02" name="Freeform 14">
                <a:extLst>
                  <a:ext uri="{FF2B5EF4-FFF2-40B4-BE49-F238E27FC236}">
                    <a16:creationId xmlns:a16="http://schemas.microsoft.com/office/drawing/2014/main" id="{52575C38-8A22-4D3C-AF9D-79329E606E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9" y="3594"/>
                <a:ext cx="8" cy="5"/>
              </a:xfrm>
              <a:custGeom>
                <a:avLst/>
                <a:gdLst>
                  <a:gd name="T0" fmla="*/ 4 w 8"/>
                  <a:gd name="T1" fmla="*/ 1 h 5"/>
                  <a:gd name="T2" fmla="*/ 8 w 8"/>
                  <a:gd name="T3" fmla="*/ 3 h 5"/>
                  <a:gd name="T4" fmla="*/ 8 w 8"/>
                  <a:gd name="T5" fmla="*/ 5 h 5"/>
                  <a:gd name="T6" fmla="*/ 8 w 8"/>
                  <a:gd name="T7" fmla="*/ 3 h 5"/>
                  <a:gd name="T8" fmla="*/ 4 w 8"/>
                  <a:gd name="T9" fmla="*/ 1 h 5"/>
                  <a:gd name="T10" fmla="*/ 2 w 8"/>
                  <a:gd name="T11" fmla="*/ 0 h 5"/>
                  <a:gd name="T12" fmla="*/ 0 w 8"/>
                  <a:gd name="T13" fmla="*/ 0 h 5"/>
                  <a:gd name="T14" fmla="*/ 2 w 8"/>
                  <a:gd name="T15" fmla="*/ 0 h 5"/>
                  <a:gd name="T16" fmla="*/ 4 w 8"/>
                  <a:gd name="T1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5">
                    <a:moveTo>
                      <a:pt x="4" y="1"/>
                    </a:moveTo>
                    <a:lnTo>
                      <a:pt x="8" y="3"/>
                    </a:lnTo>
                    <a:lnTo>
                      <a:pt x="8" y="5"/>
                    </a:lnTo>
                    <a:lnTo>
                      <a:pt x="8" y="3"/>
                    </a:lnTo>
                    <a:lnTo>
                      <a:pt x="4" y="1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03" name="Freeform 15">
                <a:extLst>
                  <a:ext uri="{FF2B5EF4-FFF2-40B4-BE49-F238E27FC236}">
                    <a16:creationId xmlns:a16="http://schemas.microsoft.com/office/drawing/2014/main" id="{66370CC0-FE07-4757-B23B-271A9FDBC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9" y="3191"/>
                <a:ext cx="6" cy="4"/>
              </a:xfrm>
              <a:custGeom>
                <a:avLst/>
                <a:gdLst>
                  <a:gd name="T0" fmla="*/ 6 w 6"/>
                  <a:gd name="T1" fmla="*/ 4 h 4"/>
                  <a:gd name="T2" fmla="*/ 2 w 6"/>
                  <a:gd name="T3" fmla="*/ 0 h 4"/>
                  <a:gd name="T4" fmla="*/ 0 w 6"/>
                  <a:gd name="T5" fmla="*/ 0 h 4"/>
                  <a:gd name="T6" fmla="*/ 2 w 6"/>
                  <a:gd name="T7" fmla="*/ 0 h 4"/>
                  <a:gd name="T8" fmla="*/ 6 w 6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6" y="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04" name="Freeform 16">
                <a:extLst>
                  <a:ext uri="{FF2B5EF4-FFF2-40B4-BE49-F238E27FC236}">
                    <a16:creationId xmlns:a16="http://schemas.microsoft.com/office/drawing/2014/main" id="{B9F25230-AE58-4FC3-AD5F-5FC3953546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2" y="2252"/>
                <a:ext cx="2" cy="6"/>
              </a:xfrm>
              <a:custGeom>
                <a:avLst/>
                <a:gdLst>
                  <a:gd name="T0" fmla="*/ 0 w 2"/>
                  <a:gd name="T1" fmla="*/ 4 h 6"/>
                  <a:gd name="T2" fmla="*/ 0 w 2"/>
                  <a:gd name="T3" fmla="*/ 6 h 6"/>
                  <a:gd name="T4" fmla="*/ 0 w 2"/>
                  <a:gd name="T5" fmla="*/ 4 h 6"/>
                  <a:gd name="T6" fmla="*/ 2 w 2"/>
                  <a:gd name="T7" fmla="*/ 2 h 6"/>
                  <a:gd name="T8" fmla="*/ 2 w 2"/>
                  <a:gd name="T9" fmla="*/ 0 h 6"/>
                  <a:gd name="T10" fmla="*/ 2 w 2"/>
                  <a:gd name="T11" fmla="*/ 2 h 6"/>
                  <a:gd name="T12" fmla="*/ 0 w 2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0" y="4"/>
                    </a:moveTo>
                    <a:lnTo>
                      <a:pt x="0" y="6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05" name="Freeform 17">
                <a:extLst>
                  <a:ext uri="{FF2B5EF4-FFF2-40B4-BE49-F238E27FC236}">
                    <a16:creationId xmlns:a16="http://schemas.microsoft.com/office/drawing/2014/main" id="{B209340D-6D83-41AC-BACB-D2D982C060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5" y="3185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06" name="Freeform 18">
                <a:extLst>
                  <a:ext uri="{FF2B5EF4-FFF2-40B4-BE49-F238E27FC236}">
                    <a16:creationId xmlns:a16="http://schemas.microsoft.com/office/drawing/2014/main" id="{3639CFE9-E90E-44F0-A372-78F7802FD0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1" y="3209"/>
                <a:ext cx="10" cy="10"/>
              </a:xfrm>
              <a:custGeom>
                <a:avLst/>
                <a:gdLst>
                  <a:gd name="T0" fmla="*/ 8 w 10"/>
                  <a:gd name="T1" fmla="*/ 0 h 10"/>
                  <a:gd name="T2" fmla="*/ 10 w 10"/>
                  <a:gd name="T3" fmla="*/ 0 h 10"/>
                  <a:gd name="T4" fmla="*/ 8 w 10"/>
                  <a:gd name="T5" fmla="*/ 0 h 10"/>
                  <a:gd name="T6" fmla="*/ 4 w 10"/>
                  <a:gd name="T7" fmla="*/ 4 h 10"/>
                  <a:gd name="T8" fmla="*/ 0 w 10"/>
                  <a:gd name="T9" fmla="*/ 10 h 10"/>
                  <a:gd name="T10" fmla="*/ 4 w 10"/>
                  <a:gd name="T11" fmla="*/ 4 h 10"/>
                  <a:gd name="T12" fmla="*/ 8 w 10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0">
                    <a:moveTo>
                      <a:pt x="8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4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07" name="Freeform 19">
                <a:extLst>
                  <a:ext uri="{FF2B5EF4-FFF2-40B4-BE49-F238E27FC236}">
                    <a16:creationId xmlns:a16="http://schemas.microsoft.com/office/drawing/2014/main" id="{CD95037C-EA76-4839-8C32-2375BB6CC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7" y="2963"/>
                <a:ext cx="4" cy="8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2 h 8"/>
                  <a:gd name="T4" fmla="*/ 0 w 4"/>
                  <a:gd name="T5" fmla="*/ 8 h 8"/>
                  <a:gd name="T6" fmla="*/ 4 w 4"/>
                  <a:gd name="T7" fmla="*/ 2 h 8"/>
                  <a:gd name="T8" fmla="*/ 4 w 4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4" y="0"/>
                    </a:moveTo>
                    <a:lnTo>
                      <a:pt x="4" y="2"/>
                    </a:lnTo>
                    <a:lnTo>
                      <a:pt x="0" y="8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08" name="Freeform 20">
                <a:extLst>
                  <a:ext uri="{FF2B5EF4-FFF2-40B4-BE49-F238E27FC236}">
                    <a16:creationId xmlns:a16="http://schemas.microsoft.com/office/drawing/2014/main" id="{F487AD74-CA76-40F0-B7F9-662FAD794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1" y="3195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2 h 2"/>
                  <a:gd name="T4" fmla="*/ 4 w 4"/>
                  <a:gd name="T5" fmla="*/ 2 h 2"/>
                  <a:gd name="T6" fmla="*/ 2 w 4"/>
                  <a:gd name="T7" fmla="*/ 0 h 2"/>
                  <a:gd name="T8" fmla="*/ 0 w 4"/>
                  <a:gd name="T9" fmla="*/ 0 h 2"/>
                  <a:gd name="T10" fmla="*/ 2 w 4"/>
                  <a:gd name="T11" fmla="*/ 0 h 2"/>
                  <a:gd name="T12" fmla="*/ 4 w 4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09" name="Freeform 21">
                <a:extLst>
                  <a:ext uri="{FF2B5EF4-FFF2-40B4-BE49-F238E27FC236}">
                    <a16:creationId xmlns:a16="http://schemas.microsoft.com/office/drawing/2014/main" id="{DC57BAC9-68D2-4D2F-8180-21F0EAF42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6" y="3217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2 w 4"/>
                  <a:gd name="T4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10" name="Freeform 22">
                <a:extLst>
                  <a:ext uri="{FF2B5EF4-FFF2-40B4-BE49-F238E27FC236}">
                    <a16:creationId xmlns:a16="http://schemas.microsoft.com/office/drawing/2014/main" id="{4D9CFDDF-9A95-4941-9FF2-357DEA7052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3191"/>
                <a:ext cx="12" cy="2"/>
              </a:xfrm>
              <a:custGeom>
                <a:avLst/>
                <a:gdLst>
                  <a:gd name="T0" fmla="*/ 10 w 12"/>
                  <a:gd name="T1" fmla="*/ 0 h 2"/>
                  <a:gd name="T2" fmla="*/ 12 w 12"/>
                  <a:gd name="T3" fmla="*/ 0 h 2"/>
                  <a:gd name="T4" fmla="*/ 12 w 12"/>
                  <a:gd name="T5" fmla="*/ 0 h 2"/>
                  <a:gd name="T6" fmla="*/ 12 w 12"/>
                  <a:gd name="T7" fmla="*/ 0 h 2"/>
                  <a:gd name="T8" fmla="*/ 10 w 12"/>
                  <a:gd name="T9" fmla="*/ 0 h 2"/>
                  <a:gd name="T10" fmla="*/ 2 w 12"/>
                  <a:gd name="T11" fmla="*/ 0 h 2"/>
                  <a:gd name="T12" fmla="*/ 0 w 12"/>
                  <a:gd name="T13" fmla="*/ 2 h 2"/>
                  <a:gd name="T14" fmla="*/ 2 w 12"/>
                  <a:gd name="T15" fmla="*/ 0 h 2"/>
                  <a:gd name="T16" fmla="*/ 10 w 12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2">
                    <a:moveTo>
                      <a:pt x="10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11" name="Freeform 23">
                <a:extLst>
                  <a:ext uri="{FF2B5EF4-FFF2-40B4-BE49-F238E27FC236}">
                    <a16:creationId xmlns:a16="http://schemas.microsoft.com/office/drawing/2014/main" id="{277FE956-4FBE-4597-9302-8AFC06E0F0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9" y="3191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2 h 2"/>
                  <a:gd name="T4" fmla="*/ 0 w 4"/>
                  <a:gd name="T5" fmla="*/ 2 h 2"/>
                  <a:gd name="T6" fmla="*/ 2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12" name="Freeform 24">
                <a:extLst>
                  <a:ext uri="{FF2B5EF4-FFF2-40B4-BE49-F238E27FC236}">
                    <a16:creationId xmlns:a16="http://schemas.microsoft.com/office/drawing/2014/main" id="{961DC355-AA6B-4AC2-9F8B-64ADA88A3A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6" y="2969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0 w 2"/>
                  <a:gd name="T3" fmla="*/ 6 h 6"/>
                  <a:gd name="T4" fmla="*/ 0 w 2"/>
                  <a:gd name="T5" fmla="*/ 6 h 6"/>
                  <a:gd name="T6" fmla="*/ 2 w 2"/>
                  <a:gd name="T7" fmla="*/ 0 h 6"/>
                  <a:gd name="T8" fmla="*/ 2 w 2"/>
                  <a:gd name="T9" fmla="*/ 0 h 6"/>
                  <a:gd name="T10" fmla="*/ 2 w 2"/>
                  <a:gd name="T11" fmla="*/ 0 h 6"/>
                  <a:gd name="T12" fmla="*/ 0 w 2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13" name="Freeform 25">
                <a:extLst>
                  <a:ext uri="{FF2B5EF4-FFF2-40B4-BE49-F238E27FC236}">
                    <a16:creationId xmlns:a16="http://schemas.microsoft.com/office/drawing/2014/main" id="{3D754264-1107-4C1A-ACA7-701BF9E593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9" y="3537"/>
                <a:ext cx="45" cy="16"/>
              </a:xfrm>
              <a:custGeom>
                <a:avLst/>
                <a:gdLst>
                  <a:gd name="T0" fmla="*/ 25 w 45"/>
                  <a:gd name="T1" fmla="*/ 10 h 16"/>
                  <a:gd name="T2" fmla="*/ 31 w 45"/>
                  <a:gd name="T3" fmla="*/ 12 h 16"/>
                  <a:gd name="T4" fmla="*/ 33 w 45"/>
                  <a:gd name="T5" fmla="*/ 12 h 16"/>
                  <a:gd name="T6" fmla="*/ 45 w 45"/>
                  <a:gd name="T7" fmla="*/ 14 h 16"/>
                  <a:gd name="T8" fmla="*/ 45 w 45"/>
                  <a:gd name="T9" fmla="*/ 16 h 16"/>
                  <a:gd name="T10" fmla="*/ 45 w 45"/>
                  <a:gd name="T11" fmla="*/ 14 h 16"/>
                  <a:gd name="T12" fmla="*/ 33 w 45"/>
                  <a:gd name="T13" fmla="*/ 12 h 16"/>
                  <a:gd name="T14" fmla="*/ 31 w 45"/>
                  <a:gd name="T15" fmla="*/ 12 h 16"/>
                  <a:gd name="T16" fmla="*/ 25 w 45"/>
                  <a:gd name="T17" fmla="*/ 10 h 16"/>
                  <a:gd name="T18" fmla="*/ 18 w 45"/>
                  <a:gd name="T19" fmla="*/ 8 h 16"/>
                  <a:gd name="T20" fmla="*/ 12 w 45"/>
                  <a:gd name="T21" fmla="*/ 12 h 16"/>
                  <a:gd name="T22" fmla="*/ 8 w 45"/>
                  <a:gd name="T23" fmla="*/ 8 h 16"/>
                  <a:gd name="T24" fmla="*/ 4 w 45"/>
                  <a:gd name="T25" fmla="*/ 6 h 16"/>
                  <a:gd name="T26" fmla="*/ 0 w 45"/>
                  <a:gd name="T27" fmla="*/ 4 h 16"/>
                  <a:gd name="T28" fmla="*/ 0 w 45"/>
                  <a:gd name="T29" fmla="*/ 0 h 16"/>
                  <a:gd name="T30" fmla="*/ 0 w 45"/>
                  <a:gd name="T31" fmla="*/ 0 h 16"/>
                  <a:gd name="T32" fmla="*/ 0 w 45"/>
                  <a:gd name="T33" fmla="*/ 0 h 16"/>
                  <a:gd name="T34" fmla="*/ 0 w 45"/>
                  <a:gd name="T35" fmla="*/ 4 h 16"/>
                  <a:gd name="T36" fmla="*/ 4 w 45"/>
                  <a:gd name="T37" fmla="*/ 6 h 16"/>
                  <a:gd name="T38" fmla="*/ 8 w 45"/>
                  <a:gd name="T39" fmla="*/ 8 h 16"/>
                  <a:gd name="T40" fmla="*/ 12 w 45"/>
                  <a:gd name="T41" fmla="*/ 12 h 16"/>
                  <a:gd name="T42" fmla="*/ 18 w 45"/>
                  <a:gd name="T43" fmla="*/ 8 h 16"/>
                  <a:gd name="T44" fmla="*/ 25 w 45"/>
                  <a:gd name="T45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" h="16">
                    <a:moveTo>
                      <a:pt x="25" y="10"/>
                    </a:moveTo>
                    <a:lnTo>
                      <a:pt x="31" y="12"/>
                    </a:lnTo>
                    <a:lnTo>
                      <a:pt x="33" y="12"/>
                    </a:lnTo>
                    <a:lnTo>
                      <a:pt x="45" y="14"/>
                    </a:lnTo>
                    <a:lnTo>
                      <a:pt x="45" y="16"/>
                    </a:lnTo>
                    <a:lnTo>
                      <a:pt x="45" y="14"/>
                    </a:lnTo>
                    <a:lnTo>
                      <a:pt x="33" y="12"/>
                    </a:lnTo>
                    <a:lnTo>
                      <a:pt x="31" y="12"/>
                    </a:lnTo>
                    <a:lnTo>
                      <a:pt x="25" y="10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8" y="8"/>
                    </a:lnTo>
                    <a:lnTo>
                      <a:pt x="4" y="6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4" y="6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18" y="8"/>
                    </a:lnTo>
                    <a:lnTo>
                      <a:pt x="25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14" name="Freeform 26">
                <a:extLst>
                  <a:ext uri="{FF2B5EF4-FFF2-40B4-BE49-F238E27FC236}">
                    <a16:creationId xmlns:a16="http://schemas.microsoft.com/office/drawing/2014/main" id="{9CF89F05-9722-47F2-868F-528A49C71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7" y="3580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4 w 4"/>
                  <a:gd name="T3" fmla="*/ 2 h 2"/>
                  <a:gd name="T4" fmla="*/ 2 w 4"/>
                  <a:gd name="T5" fmla="*/ 0 h 2"/>
                  <a:gd name="T6" fmla="*/ 0 w 4"/>
                  <a:gd name="T7" fmla="*/ 0 h 2"/>
                  <a:gd name="T8" fmla="*/ 0 w 4"/>
                  <a:gd name="T9" fmla="*/ 0 h 2"/>
                  <a:gd name="T10" fmla="*/ 2 w 4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15" name="Freeform 27">
                <a:extLst>
                  <a:ext uri="{FF2B5EF4-FFF2-40B4-BE49-F238E27FC236}">
                    <a16:creationId xmlns:a16="http://schemas.microsoft.com/office/drawing/2014/main" id="{0A65EA37-C900-4AE4-87C4-3C6DD96C39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1" y="3193"/>
                <a:ext cx="4" cy="8"/>
              </a:xfrm>
              <a:custGeom>
                <a:avLst/>
                <a:gdLst>
                  <a:gd name="T0" fmla="*/ 0 w 4"/>
                  <a:gd name="T1" fmla="*/ 4 h 8"/>
                  <a:gd name="T2" fmla="*/ 2 w 4"/>
                  <a:gd name="T3" fmla="*/ 0 h 8"/>
                  <a:gd name="T4" fmla="*/ 0 w 4"/>
                  <a:gd name="T5" fmla="*/ 4 h 8"/>
                  <a:gd name="T6" fmla="*/ 2 w 4"/>
                  <a:gd name="T7" fmla="*/ 6 h 8"/>
                  <a:gd name="T8" fmla="*/ 4 w 4"/>
                  <a:gd name="T9" fmla="*/ 8 h 8"/>
                  <a:gd name="T10" fmla="*/ 2 w 4"/>
                  <a:gd name="T11" fmla="*/ 6 h 8"/>
                  <a:gd name="T12" fmla="*/ 0 w 4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0" y="4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2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16" name="Freeform 28">
                <a:extLst>
                  <a:ext uri="{FF2B5EF4-FFF2-40B4-BE49-F238E27FC236}">
                    <a16:creationId xmlns:a16="http://schemas.microsoft.com/office/drawing/2014/main" id="{23FF4C62-A841-4CD1-9F59-E65D4C422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2" y="3783"/>
                <a:ext cx="51" cy="33"/>
              </a:xfrm>
              <a:custGeom>
                <a:avLst/>
                <a:gdLst>
                  <a:gd name="T0" fmla="*/ 41 w 51"/>
                  <a:gd name="T1" fmla="*/ 27 h 33"/>
                  <a:gd name="T2" fmla="*/ 45 w 51"/>
                  <a:gd name="T3" fmla="*/ 25 h 33"/>
                  <a:gd name="T4" fmla="*/ 49 w 51"/>
                  <a:gd name="T5" fmla="*/ 17 h 33"/>
                  <a:gd name="T6" fmla="*/ 51 w 51"/>
                  <a:gd name="T7" fmla="*/ 14 h 33"/>
                  <a:gd name="T8" fmla="*/ 51 w 51"/>
                  <a:gd name="T9" fmla="*/ 12 h 33"/>
                  <a:gd name="T10" fmla="*/ 47 w 51"/>
                  <a:gd name="T11" fmla="*/ 8 h 33"/>
                  <a:gd name="T12" fmla="*/ 43 w 51"/>
                  <a:gd name="T13" fmla="*/ 4 h 33"/>
                  <a:gd name="T14" fmla="*/ 41 w 51"/>
                  <a:gd name="T15" fmla="*/ 2 h 33"/>
                  <a:gd name="T16" fmla="*/ 33 w 51"/>
                  <a:gd name="T17" fmla="*/ 0 h 33"/>
                  <a:gd name="T18" fmla="*/ 29 w 51"/>
                  <a:gd name="T19" fmla="*/ 0 h 33"/>
                  <a:gd name="T20" fmla="*/ 27 w 51"/>
                  <a:gd name="T21" fmla="*/ 0 h 33"/>
                  <a:gd name="T22" fmla="*/ 27 w 51"/>
                  <a:gd name="T23" fmla="*/ 4 h 33"/>
                  <a:gd name="T24" fmla="*/ 25 w 51"/>
                  <a:gd name="T25" fmla="*/ 8 h 33"/>
                  <a:gd name="T26" fmla="*/ 23 w 51"/>
                  <a:gd name="T27" fmla="*/ 12 h 33"/>
                  <a:gd name="T28" fmla="*/ 21 w 51"/>
                  <a:gd name="T29" fmla="*/ 14 h 33"/>
                  <a:gd name="T30" fmla="*/ 15 w 51"/>
                  <a:gd name="T31" fmla="*/ 19 h 33"/>
                  <a:gd name="T32" fmla="*/ 0 w 51"/>
                  <a:gd name="T33" fmla="*/ 27 h 33"/>
                  <a:gd name="T34" fmla="*/ 0 w 51"/>
                  <a:gd name="T35" fmla="*/ 29 h 33"/>
                  <a:gd name="T36" fmla="*/ 2 w 51"/>
                  <a:gd name="T37" fmla="*/ 31 h 33"/>
                  <a:gd name="T38" fmla="*/ 4 w 51"/>
                  <a:gd name="T39" fmla="*/ 33 h 33"/>
                  <a:gd name="T40" fmla="*/ 31 w 51"/>
                  <a:gd name="T41" fmla="*/ 33 h 33"/>
                  <a:gd name="T42" fmla="*/ 35 w 51"/>
                  <a:gd name="T43" fmla="*/ 31 h 33"/>
                  <a:gd name="T44" fmla="*/ 41 w 51"/>
                  <a:gd name="T45" fmla="*/ 2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1" h="33">
                    <a:moveTo>
                      <a:pt x="41" y="27"/>
                    </a:moveTo>
                    <a:lnTo>
                      <a:pt x="45" y="25"/>
                    </a:lnTo>
                    <a:lnTo>
                      <a:pt x="49" y="17"/>
                    </a:lnTo>
                    <a:lnTo>
                      <a:pt x="51" y="14"/>
                    </a:lnTo>
                    <a:lnTo>
                      <a:pt x="51" y="12"/>
                    </a:lnTo>
                    <a:lnTo>
                      <a:pt x="47" y="8"/>
                    </a:lnTo>
                    <a:lnTo>
                      <a:pt x="43" y="4"/>
                    </a:lnTo>
                    <a:lnTo>
                      <a:pt x="41" y="2"/>
                    </a:lnTo>
                    <a:lnTo>
                      <a:pt x="33" y="0"/>
                    </a:lnTo>
                    <a:lnTo>
                      <a:pt x="29" y="0"/>
                    </a:lnTo>
                    <a:lnTo>
                      <a:pt x="27" y="0"/>
                    </a:lnTo>
                    <a:lnTo>
                      <a:pt x="27" y="4"/>
                    </a:lnTo>
                    <a:lnTo>
                      <a:pt x="25" y="8"/>
                    </a:lnTo>
                    <a:lnTo>
                      <a:pt x="23" y="12"/>
                    </a:lnTo>
                    <a:lnTo>
                      <a:pt x="21" y="14"/>
                    </a:lnTo>
                    <a:lnTo>
                      <a:pt x="15" y="19"/>
                    </a:lnTo>
                    <a:lnTo>
                      <a:pt x="0" y="27"/>
                    </a:lnTo>
                    <a:lnTo>
                      <a:pt x="0" y="29"/>
                    </a:lnTo>
                    <a:lnTo>
                      <a:pt x="2" y="31"/>
                    </a:lnTo>
                    <a:lnTo>
                      <a:pt x="4" y="33"/>
                    </a:lnTo>
                    <a:lnTo>
                      <a:pt x="31" y="33"/>
                    </a:lnTo>
                    <a:lnTo>
                      <a:pt x="35" y="31"/>
                    </a:lnTo>
                    <a:lnTo>
                      <a:pt x="41" y="2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17" name="Freeform 29">
                <a:extLst>
                  <a:ext uri="{FF2B5EF4-FFF2-40B4-BE49-F238E27FC236}">
                    <a16:creationId xmlns:a16="http://schemas.microsoft.com/office/drawing/2014/main" id="{69A6FD9B-B580-40A5-89EC-570AFF8FAD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4" y="2221"/>
                <a:ext cx="6" cy="8"/>
              </a:xfrm>
              <a:custGeom>
                <a:avLst/>
                <a:gdLst>
                  <a:gd name="T0" fmla="*/ 6 w 6"/>
                  <a:gd name="T1" fmla="*/ 8 h 8"/>
                  <a:gd name="T2" fmla="*/ 2 w 6"/>
                  <a:gd name="T3" fmla="*/ 2 h 8"/>
                  <a:gd name="T4" fmla="*/ 0 w 6"/>
                  <a:gd name="T5" fmla="*/ 0 h 8"/>
                  <a:gd name="T6" fmla="*/ 2 w 6"/>
                  <a:gd name="T7" fmla="*/ 2 h 8"/>
                  <a:gd name="T8" fmla="*/ 6 w 6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8">
                    <a:moveTo>
                      <a:pt x="6" y="8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18" name="Freeform 30">
                <a:extLst>
                  <a:ext uri="{FF2B5EF4-FFF2-40B4-BE49-F238E27FC236}">
                    <a16:creationId xmlns:a16="http://schemas.microsoft.com/office/drawing/2014/main" id="{779BC5F6-408C-47A4-942A-B3E315572A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8" y="2965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19" name="Freeform 31">
                <a:extLst>
                  <a:ext uri="{FF2B5EF4-FFF2-40B4-BE49-F238E27FC236}">
                    <a16:creationId xmlns:a16="http://schemas.microsoft.com/office/drawing/2014/main" id="{E83BFF67-0F36-4E52-8080-2F4D4544D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2" y="2231"/>
                <a:ext cx="2" cy="6"/>
              </a:xfrm>
              <a:custGeom>
                <a:avLst/>
                <a:gdLst>
                  <a:gd name="T0" fmla="*/ 2 w 2"/>
                  <a:gd name="T1" fmla="*/ 6 h 6"/>
                  <a:gd name="T2" fmla="*/ 2 w 2"/>
                  <a:gd name="T3" fmla="*/ 6 h 6"/>
                  <a:gd name="T4" fmla="*/ 2 w 2"/>
                  <a:gd name="T5" fmla="*/ 6 h 6"/>
                  <a:gd name="T6" fmla="*/ 0 w 2"/>
                  <a:gd name="T7" fmla="*/ 4 h 6"/>
                  <a:gd name="T8" fmla="*/ 0 w 2"/>
                  <a:gd name="T9" fmla="*/ 0 h 6"/>
                  <a:gd name="T10" fmla="*/ 0 w 2"/>
                  <a:gd name="T11" fmla="*/ 4 h 6"/>
                  <a:gd name="T12" fmla="*/ 2 w 2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2" y="6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20" name="Freeform 32">
                <a:extLst>
                  <a:ext uri="{FF2B5EF4-FFF2-40B4-BE49-F238E27FC236}">
                    <a16:creationId xmlns:a16="http://schemas.microsoft.com/office/drawing/2014/main" id="{384F75F3-DC42-4B7E-8725-A149174817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0" y="2180"/>
                <a:ext cx="4" cy="10"/>
              </a:xfrm>
              <a:custGeom>
                <a:avLst/>
                <a:gdLst>
                  <a:gd name="T0" fmla="*/ 2 w 4"/>
                  <a:gd name="T1" fmla="*/ 8 h 10"/>
                  <a:gd name="T2" fmla="*/ 4 w 4"/>
                  <a:gd name="T3" fmla="*/ 10 h 10"/>
                  <a:gd name="T4" fmla="*/ 2 w 4"/>
                  <a:gd name="T5" fmla="*/ 8 h 10"/>
                  <a:gd name="T6" fmla="*/ 0 w 4"/>
                  <a:gd name="T7" fmla="*/ 2 h 10"/>
                  <a:gd name="T8" fmla="*/ 0 w 4"/>
                  <a:gd name="T9" fmla="*/ 0 h 10"/>
                  <a:gd name="T10" fmla="*/ 0 w 4"/>
                  <a:gd name="T11" fmla="*/ 2 h 10"/>
                  <a:gd name="T12" fmla="*/ 2 w 4"/>
                  <a:gd name="T13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0">
                    <a:moveTo>
                      <a:pt x="2" y="8"/>
                    </a:moveTo>
                    <a:lnTo>
                      <a:pt x="4" y="10"/>
                    </a:lnTo>
                    <a:lnTo>
                      <a:pt x="2" y="8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21" name="Rectangle 33">
                <a:extLst>
                  <a:ext uri="{FF2B5EF4-FFF2-40B4-BE49-F238E27FC236}">
                    <a16:creationId xmlns:a16="http://schemas.microsoft.com/office/drawing/2014/main" id="{D1122661-461F-43B8-93CD-546559DEDE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1" y="2961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22" name="Freeform 34">
                <a:extLst>
                  <a:ext uri="{FF2B5EF4-FFF2-40B4-BE49-F238E27FC236}">
                    <a16:creationId xmlns:a16="http://schemas.microsoft.com/office/drawing/2014/main" id="{66A17CA5-2A6C-4A39-B0A4-C39B6B15FC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3" y="3582"/>
                <a:ext cx="10" cy="12"/>
              </a:xfrm>
              <a:custGeom>
                <a:avLst/>
                <a:gdLst>
                  <a:gd name="T0" fmla="*/ 8 w 10"/>
                  <a:gd name="T1" fmla="*/ 10 h 12"/>
                  <a:gd name="T2" fmla="*/ 10 w 10"/>
                  <a:gd name="T3" fmla="*/ 12 h 12"/>
                  <a:gd name="T4" fmla="*/ 10 w 10"/>
                  <a:gd name="T5" fmla="*/ 12 h 12"/>
                  <a:gd name="T6" fmla="*/ 8 w 10"/>
                  <a:gd name="T7" fmla="*/ 10 h 12"/>
                  <a:gd name="T8" fmla="*/ 2 w 10"/>
                  <a:gd name="T9" fmla="*/ 0 h 12"/>
                  <a:gd name="T10" fmla="*/ 0 w 10"/>
                  <a:gd name="T11" fmla="*/ 0 h 12"/>
                  <a:gd name="T12" fmla="*/ 2 w 10"/>
                  <a:gd name="T13" fmla="*/ 0 h 12"/>
                  <a:gd name="T14" fmla="*/ 8 w 10"/>
                  <a:gd name="T15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2">
                    <a:moveTo>
                      <a:pt x="8" y="10"/>
                    </a:moveTo>
                    <a:lnTo>
                      <a:pt x="10" y="12"/>
                    </a:lnTo>
                    <a:lnTo>
                      <a:pt x="10" y="12"/>
                    </a:lnTo>
                    <a:lnTo>
                      <a:pt x="8" y="1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23" name="Freeform 35">
                <a:extLst>
                  <a:ext uri="{FF2B5EF4-FFF2-40B4-BE49-F238E27FC236}">
                    <a16:creationId xmlns:a16="http://schemas.microsoft.com/office/drawing/2014/main" id="{45E8F28F-A98F-4173-98EE-23EF971629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2" y="3185"/>
                <a:ext cx="20" cy="8"/>
              </a:xfrm>
              <a:custGeom>
                <a:avLst/>
                <a:gdLst>
                  <a:gd name="T0" fmla="*/ 20 w 20"/>
                  <a:gd name="T1" fmla="*/ 8 h 8"/>
                  <a:gd name="T2" fmla="*/ 8 w 20"/>
                  <a:gd name="T3" fmla="*/ 4 h 8"/>
                  <a:gd name="T4" fmla="*/ 0 w 20"/>
                  <a:gd name="T5" fmla="*/ 0 h 8"/>
                  <a:gd name="T6" fmla="*/ 8 w 20"/>
                  <a:gd name="T7" fmla="*/ 4 h 8"/>
                  <a:gd name="T8" fmla="*/ 20 w 20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8">
                    <a:moveTo>
                      <a:pt x="20" y="8"/>
                    </a:moveTo>
                    <a:lnTo>
                      <a:pt x="8" y="4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2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24" name="Freeform 36">
                <a:extLst>
                  <a:ext uri="{FF2B5EF4-FFF2-40B4-BE49-F238E27FC236}">
                    <a16:creationId xmlns:a16="http://schemas.microsoft.com/office/drawing/2014/main" id="{EC6D4FB2-2A08-4C31-B118-435781479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4" y="2211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0 w 2"/>
                  <a:gd name="T3" fmla="*/ 2 h 6"/>
                  <a:gd name="T4" fmla="*/ 2 w 2"/>
                  <a:gd name="T5" fmla="*/ 0 h 6"/>
                  <a:gd name="T6" fmla="*/ 0 w 2"/>
                  <a:gd name="T7" fmla="*/ 2 h 6"/>
                  <a:gd name="T8" fmla="*/ 0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25" name="Freeform 37">
                <a:extLst>
                  <a:ext uri="{FF2B5EF4-FFF2-40B4-BE49-F238E27FC236}">
                    <a16:creationId xmlns:a16="http://schemas.microsoft.com/office/drawing/2014/main" id="{AFAEEAD3-2DFC-4FDA-9907-5F0D68323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6" y="2203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2 w 4"/>
                  <a:gd name="T3" fmla="*/ 4 h 6"/>
                  <a:gd name="T4" fmla="*/ 4 w 4"/>
                  <a:gd name="T5" fmla="*/ 0 h 6"/>
                  <a:gd name="T6" fmla="*/ 2 w 4"/>
                  <a:gd name="T7" fmla="*/ 4 h 6"/>
                  <a:gd name="T8" fmla="*/ 0 w 4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2" y="4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26" name="Rectangle 38">
                <a:extLst>
                  <a:ext uri="{FF2B5EF4-FFF2-40B4-BE49-F238E27FC236}">
                    <a16:creationId xmlns:a16="http://schemas.microsoft.com/office/drawing/2014/main" id="{BAAB8669-8EF2-40D2-B320-573E166BE4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1" y="319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27" name="Freeform 39">
                <a:extLst>
                  <a:ext uri="{FF2B5EF4-FFF2-40B4-BE49-F238E27FC236}">
                    <a16:creationId xmlns:a16="http://schemas.microsoft.com/office/drawing/2014/main" id="{D69ACBD5-136C-4683-AF83-835F3AD885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6" y="3564"/>
                <a:ext cx="11" cy="16"/>
              </a:xfrm>
              <a:custGeom>
                <a:avLst/>
                <a:gdLst>
                  <a:gd name="T0" fmla="*/ 11 w 11"/>
                  <a:gd name="T1" fmla="*/ 16 h 16"/>
                  <a:gd name="T2" fmla="*/ 9 w 11"/>
                  <a:gd name="T3" fmla="*/ 14 h 16"/>
                  <a:gd name="T4" fmla="*/ 0 w 11"/>
                  <a:gd name="T5" fmla="*/ 0 h 16"/>
                  <a:gd name="T6" fmla="*/ 9 w 11"/>
                  <a:gd name="T7" fmla="*/ 14 h 16"/>
                  <a:gd name="T8" fmla="*/ 11 w 11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6">
                    <a:moveTo>
                      <a:pt x="11" y="16"/>
                    </a:moveTo>
                    <a:lnTo>
                      <a:pt x="9" y="14"/>
                    </a:lnTo>
                    <a:lnTo>
                      <a:pt x="0" y="0"/>
                    </a:lnTo>
                    <a:lnTo>
                      <a:pt x="9" y="14"/>
                    </a:lnTo>
                    <a:lnTo>
                      <a:pt x="11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28" name="Rectangle 40">
                <a:extLst>
                  <a:ext uri="{FF2B5EF4-FFF2-40B4-BE49-F238E27FC236}">
                    <a16:creationId xmlns:a16="http://schemas.microsoft.com/office/drawing/2014/main" id="{A92166E9-FCA2-4B0E-962E-A0C8C17232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32" y="295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29" name="Freeform 41">
                <a:extLst>
                  <a:ext uri="{FF2B5EF4-FFF2-40B4-BE49-F238E27FC236}">
                    <a16:creationId xmlns:a16="http://schemas.microsoft.com/office/drawing/2014/main" id="{21115A45-8DE2-4DDA-8B30-5ACDC23F38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8" y="3580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2 h 4"/>
                  <a:gd name="T4" fmla="*/ 2 w 2"/>
                  <a:gd name="T5" fmla="*/ 4 h 4"/>
                  <a:gd name="T6" fmla="*/ 0 w 2"/>
                  <a:gd name="T7" fmla="*/ 2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30" name="Freeform 42">
                <a:extLst>
                  <a:ext uri="{FF2B5EF4-FFF2-40B4-BE49-F238E27FC236}">
                    <a16:creationId xmlns:a16="http://schemas.microsoft.com/office/drawing/2014/main" id="{52CD28D5-1B48-43A1-BD6D-CB4FE88540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0" y="2961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31" name="Freeform 43">
                <a:extLst>
                  <a:ext uri="{FF2B5EF4-FFF2-40B4-BE49-F238E27FC236}">
                    <a16:creationId xmlns:a16="http://schemas.microsoft.com/office/drawing/2014/main" id="{2C78C8C6-C402-4AF5-A47D-A153DEC3F5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0" y="3265"/>
                <a:ext cx="8" cy="0"/>
              </a:xfrm>
              <a:custGeom>
                <a:avLst/>
                <a:gdLst>
                  <a:gd name="T0" fmla="*/ 8 w 8"/>
                  <a:gd name="T1" fmla="*/ 6 w 8"/>
                  <a:gd name="T2" fmla="*/ 0 w 8"/>
                  <a:gd name="T3" fmla="*/ 6 w 8"/>
                  <a:gd name="T4" fmla="*/ 8 w 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8">
                    <a:moveTo>
                      <a:pt x="8" y="0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32" name="Freeform 44">
                <a:extLst>
                  <a:ext uri="{FF2B5EF4-FFF2-40B4-BE49-F238E27FC236}">
                    <a16:creationId xmlns:a16="http://schemas.microsoft.com/office/drawing/2014/main" id="{B85B489C-B416-4BEE-AB30-E969851B78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8" y="3562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0 h 6"/>
                  <a:gd name="T4" fmla="*/ 0 w 2"/>
                  <a:gd name="T5" fmla="*/ 6 h 6"/>
                  <a:gd name="T6" fmla="*/ 2 w 2"/>
                  <a:gd name="T7" fmla="*/ 0 h 6"/>
                  <a:gd name="T8" fmla="*/ 2 w 2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6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33" name="Freeform 45">
                <a:extLst>
                  <a:ext uri="{FF2B5EF4-FFF2-40B4-BE49-F238E27FC236}">
                    <a16:creationId xmlns:a16="http://schemas.microsoft.com/office/drawing/2014/main" id="{41F354A6-DEE8-4C31-80D8-965447D5A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4" y="1590"/>
                <a:ext cx="27" cy="24"/>
              </a:xfrm>
              <a:custGeom>
                <a:avLst/>
                <a:gdLst>
                  <a:gd name="T0" fmla="*/ 10 w 27"/>
                  <a:gd name="T1" fmla="*/ 18 h 24"/>
                  <a:gd name="T2" fmla="*/ 0 w 27"/>
                  <a:gd name="T3" fmla="*/ 0 h 24"/>
                  <a:gd name="T4" fmla="*/ 0 w 27"/>
                  <a:gd name="T5" fmla="*/ 0 h 24"/>
                  <a:gd name="T6" fmla="*/ 10 w 27"/>
                  <a:gd name="T7" fmla="*/ 18 h 24"/>
                  <a:gd name="T8" fmla="*/ 15 w 27"/>
                  <a:gd name="T9" fmla="*/ 24 h 24"/>
                  <a:gd name="T10" fmla="*/ 27 w 27"/>
                  <a:gd name="T11" fmla="*/ 24 h 24"/>
                  <a:gd name="T12" fmla="*/ 15 w 27"/>
                  <a:gd name="T13" fmla="*/ 24 h 24"/>
                  <a:gd name="T14" fmla="*/ 10 w 27"/>
                  <a:gd name="T15" fmla="*/ 1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24">
                    <a:moveTo>
                      <a:pt x="10" y="18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0" y="18"/>
                    </a:lnTo>
                    <a:lnTo>
                      <a:pt x="15" y="24"/>
                    </a:lnTo>
                    <a:lnTo>
                      <a:pt x="27" y="24"/>
                    </a:lnTo>
                    <a:lnTo>
                      <a:pt x="15" y="24"/>
                    </a:lnTo>
                    <a:lnTo>
                      <a:pt x="10" y="1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34" name="Freeform 46">
                <a:extLst>
                  <a:ext uri="{FF2B5EF4-FFF2-40B4-BE49-F238E27FC236}">
                    <a16:creationId xmlns:a16="http://schemas.microsoft.com/office/drawing/2014/main" id="{002D56FC-3854-4E69-B5B0-CC7450CD59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9" y="2945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2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35" name="Freeform 47">
                <a:extLst>
                  <a:ext uri="{FF2B5EF4-FFF2-40B4-BE49-F238E27FC236}">
                    <a16:creationId xmlns:a16="http://schemas.microsoft.com/office/drawing/2014/main" id="{9AAF2944-64FD-4744-9307-209CE6DDBB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9" y="3256"/>
                <a:ext cx="0" cy="6"/>
              </a:xfrm>
              <a:custGeom>
                <a:avLst/>
                <a:gdLst>
                  <a:gd name="T0" fmla="*/ 4 h 6"/>
                  <a:gd name="T1" fmla="*/ 4 h 6"/>
                  <a:gd name="T2" fmla="*/ 6 h 6"/>
                  <a:gd name="T3" fmla="*/ 4 h 6"/>
                  <a:gd name="T4" fmla="*/ 4 h 6"/>
                  <a:gd name="T5" fmla="*/ 2 h 6"/>
                  <a:gd name="T6" fmla="*/ 0 h 6"/>
                  <a:gd name="T7" fmla="*/ 2 h 6"/>
                  <a:gd name="T8" fmla="*/ 4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6">
                    <a:moveTo>
                      <a:pt x="0" y="4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36" name="Freeform 48">
                <a:extLst>
                  <a:ext uri="{FF2B5EF4-FFF2-40B4-BE49-F238E27FC236}">
                    <a16:creationId xmlns:a16="http://schemas.microsoft.com/office/drawing/2014/main" id="{4EB7DA9E-CF84-470A-A460-FF25B8D296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6" y="1584"/>
                <a:ext cx="8" cy="6"/>
              </a:xfrm>
              <a:custGeom>
                <a:avLst/>
                <a:gdLst>
                  <a:gd name="T0" fmla="*/ 0 w 8"/>
                  <a:gd name="T1" fmla="*/ 2 h 6"/>
                  <a:gd name="T2" fmla="*/ 2 w 8"/>
                  <a:gd name="T3" fmla="*/ 0 h 6"/>
                  <a:gd name="T4" fmla="*/ 8 w 8"/>
                  <a:gd name="T5" fmla="*/ 6 h 6"/>
                  <a:gd name="T6" fmla="*/ 2 w 8"/>
                  <a:gd name="T7" fmla="*/ 0 h 6"/>
                  <a:gd name="T8" fmla="*/ 0 w 8"/>
                  <a:gd name="T9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6">
                    <a:moveTo>
                      <a:pt x="0" y="2"/>
                    </a:moveTo>
                    <a:lnTo>
                      <a:pt x="2" y="0"/>
                    </a:lnTo>
                    <a:lnTo>
                      <a:pt x="8" y="6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37" name="Freeform 49">
                <a:extLst>
                  <a:ext uri="{FF2B5EF4-FFF2-40B4-BE49-F238E27FC236}">
                    <a16:creationId xmlns:a16="http://schemas.microsoft.com/office/drawing/2014/main" id="{DF2DA239-5F22-4C11-9578-9651AA8B57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3252"/>
                <a:ext cx="6" cy="4"/>
              </a:xfrm>
              <a:custGeom>
                <a:avLst/>
                <a:gdLst>
                  <a:gd name="T0" fmla="*/ 4 w 6"/>
                  <a:gd name="T1" fmla="*/ 4 h 4"/>
                  <a:gd name="T2" fmla="*/ 6 w 6"/>
                  <a:gd name="T3" fmla="*/ 4 h 4"/>
                  <a:gd name="T4" fmla="*/ 4 w 6"/>
                  <a:gd name="T5" fmla="*/ 4 h 4"/>
                  <a:gd name="T6" fmla="*/ 2 w 6"/>
                  <a:gd name="T7" fmla="*/ 2 h 4"/>
                  <a:gd name="T8" fmla="*/ 0 w 6"/>
                  <a:gd name="T9" fmla="*/ 0 h 4"/>
                  <a:gd name="T10" fmla="*/ 2 w 6"/>
                  <a:gd name="T11" fmla="*/ 2 h 4"/>
                  <a:gd name="T12" fmla="*/ 4 w 6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4" y="4"/>
                    </a:moveTo>
                    <a:lnTo>
                      <a:pt x="6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38" name="Rectangle 50">
                <a:extLst>
                  <a:ext uri="{FF2B5EF4-FFF2-40B4-BE49-F238E27FC236}">
                    <a16:creationId xmlns:a16="http://schemas.microsoft.com/office/drawing/2014/main" id="{C9C56D62-2AD5-44C0-A371-129D2870B5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52" y="297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39" name="Freeform 51">
                <a:extLst>
                  <a:ext uri="{FF2B5EF4-FFF2-40B4-BE49-F238E27FC236}">
                    <a16:creationId xmlns:a16="http://schemas.microsoft.com/office/drawing/2014/main" id="{BEF7ED7D-D58F-4A92-946B-44E70742B0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9" y="3262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3 w 3"/>
                  <a:gd name="T3" fmla="*/ 2 h 2"/>
                  <a:gd name="T4" fmla="*/ 0 w 3"/>
                  <a:gd name="T5" fmla="*/ 2 h 2"/>
                  <a:gd name="T6" fmla="*/ 0 w 3"/>
                  <a:gd name="T7" fmla="*/ 0 h 2"/>
                  <a:gd name="T8" fmla="*/ 0 w 3"/>
                  <a:gd name="T9" fmla="*/ 0 h 2"/>
                  <a:gd name="T10" fmla="*/ 0 w 3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3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40" name="Freeform 52">
                <a:extLst>
                  <a:ext uri="{FF2B5EF4-FFF2-40B4-BE49-F238E27FC236}">
                    <a16:creationId xmlns:a16="http://schemas.microsoft.com/office/drawing/2014/main" id="{BC667FE3-CA83-4C57-9659-C35B653165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6" y="3588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4 h 4"/>
                  <a:gd name="T4" fmla="*/ 4 w 4"/>
                  <a:gd name="T5" fmla="*/ 4 h 4"/>
                  <a:gd name="T6" fmla="*/ 0 w 4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41" name="Freeform 53">
                <a:extLst>
                  <a:ext uri="{FF2B5EF4-FFF2-40B4-BE49-F238E27FC236}">
                    <a16:creationId xmlns:a16="http://schemas.microsoft.com/office/drawing/2014/main" id="{6835625F-B9FF-4CD2-AC62-B517834449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8" y="3533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2 w 6"/>
                  <a:gd name="T3" fmla="*/ 2 h 2"/>
                  <a:gd name="T4" fmla="*/ 0 w 6"/>
                  <a:gd name="T5" fmla="*/ 2 h 2"/>
                  <a:gd name="T6" fmla="*/ 2 w 6"/>
                  <a:gd name="T7" fmla="*/ 2 h 2"/>
                  <a:gd name="T8" fmla="*/ 6 w 6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42" name="Freeform 54">
                <a:extLst>
                  <a:ext uri="{FF2B5EF4-FFF2-40B4-BE49-F238E27FC236}">
                    <a16:creationId xmlns:a16="http://schemas.microsoft.com/office/drawing/2014/main" id="{6D6315A2-EE43-4BB4-A03C-C1484D3C14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4" y="1633"/>
                <a:ext cx="41" cy="14"/>
              </a:xfrm>
              <a:custGeom>
                <a:avLst/>
                <a:gdLst>
                  <a:gd name="T0" fmla="*/ 39 w 41"/>
                  <a:gd name="T1" fmla="*/ 10 h 14"/>
                  <a:gd name="T2" fmla="*/ 35 w 41"/>
                  <a:gd name="T3" fmla="*/ 10 h 14"/>
                  <a:gd name="T4" fmla="*/ 32 w 41"/>
                  <a:gd name="T5" fmla="*/ 14 h 14"/>
                  <a:gd name="T6" fmla="*/ 30 w 41"/>
                  <a:gd name="T7" fmla="*/ 14 h 14"/>
                  <a:gd name="T8" fmla="*/ 28 w 41"/>
                  <a:gd name="T9" fmla="*/ 14 h 14"/>
                  <a:gd name="T10" fmla="*/ 24 w 41"/>
                  <a:gd name="T11" fmla="*/ 10 h 14"/>
                  <a:gd name="T12" fmla="*/ 18 w 41"/>
                  <a:gd name="T13" fmla="*/ 10 h 14"/>
                  <a:gd name="T14" fmla="*/ 14 w 41"/>
                  <a:gd name="T15" fmla="*/ 8 h 14"/>
                  <a:gd name="T16" fmla="*/ 8 w 41"/>
                  <a:gd name="T17" fmla="*/ 2 h 14"/>
                  <a:gd name="T18" fmla="*/ 0 w 41"/>
                  <a:gd name="T19" fmla="*/ 0 h 14"/>
                  <a:gd name="T20" fmla="*/ 8 w 41"/>
                  <a:gd name="T21" fmla="*/ 2 h 14"/>
                  <a:gd name="T22" fmla="*/ 14 w 41"/>
                  <a:gd name="T23" fmla="*/ 8 h 14"/>
                  <a:gd name="T24" fmla="*/ 18 w 41"/>
                  <a:gd name="T25" fmla="*/ 10 h 14"/>
                  <a:gd name="T26" fmla="*/ 24 w 41"/>
                  <a:gd name="T27" fmla="*/ 10 h 14"/>
                  <a:gd name="T28" fmla="*/ 28 w 41"/>
                  <a:gd name="T29" fmla="*/ 14 h 14"/>
                  <a:gd name="T30" fmla="*/ 30 w 41"/>
                  <a:gd name="T31" fmla="*/ 14 h 14"/>
                  <a:gd name="T32" fmla="*/ 32 w 41"/>
                  <a:gd name="T33" fmla="*/ 14 h 14"/>
                  <a:gd name="T34" fmla="*/ 35 w 41"/>
                  <a:gd name="T35" fmla="*/ 10 h 14"/>
                  <a:gd name="T36" fmla="*/ 39 w 41"/>
                  <a:gd name="T37" fmla="*/ 10 h 14"/>
                  <a:gd name="T38" fmla="*/ 41 w 41"/>
                  <a:gd name="T39" fmla="*/ 12 h 14"/>
                  <a:gd name="T40" fmla="*/ 41 w 41"/>
                  <a:gd name="T41" fmla="*/ 12 h 14"/>
                  <a:gd name="T42" fmla="*/ 41 w 41"/>
                  <a:gd name="T43" fmla="*/ 12 h 14"/>
                  <a:gd name="T44" fmla="*/ 39 w 41"/>
                  <a:gd name="T45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1" h="14">
                    <a:moveTo>
                      <a:pt x="39" y="10"/>
                    </a:moveTo>
                    <a:lnTo>
                      <a:pt x="35" y="10"/>
                    </a:lnTo>
                    <a:lnTo>
                      <a:pt x="32" y="14"/>
                    </a:lnTo>
                    <a:lnTo>
                      <a:pt x="30" y="14"/>
                    </a:lnTo>
                    <a:lnTo>
                      <a:pt x="28" y="14"/>
                    </a:lnTo>
                    <a:lnTo>
                      <a:pt x="24" y="10"/>
                    </a:lnTo>
                    <a:lnTo>
                      <a:pt x="18" y="10"/>
                    </a:lnTo>
                    <a:lnTo>
                      <a:pt x="14" y="8"/>
                    </a:lnTo>
                    <a:lnTo>
                      <a:pt x="8" y="2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4" y="8"/>
                    </a:lnTo>
                    <a:lnTo>
                      <a:pt x="18" y="10"/>
                    </a:lnTo>
                    <a:lnTo>
                      <a:pt x="24" y="10"/>
                    </a:lnTo>
                    <a:lnTo>
                      <a:pt x="28" y="14"/>
                    </a:lnTo>
                    <a:lnTo>
                      <a:pt x="30" y="14"/>
                    </a:lnTo>
                    <a:lnTo>
                      <a:pt x="32" y="14"/>
                    </a:lnTo>
                    <a:lnTo>
                      <a:pt x="35" y="10"/>
                    </a:lnTo>
                    <a:lnTo>
                      <a:pt x="39" y="10"/>
                    </a:lnTo>
                    <a:lnTo>
                      <a:pt x="41" y="12"/>
                    </a:lnTo>
                    <a:lnTo>
                      <a:pt x="41" y="12"/>
                    </a:lnTo>
                    <a:lnTo>
                      <a:pt x="41" y="12"/>
                    </a:lnTo>
                    <a:lnTo>
                      <a:pt x="39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43" name="Freeform 55">
                <a:extLst>
                  <a:ext uri="{FF2B5EF4-FFF2-40B4-BE49-F238E27FC236}">
                    <a16:creationId xmlns:a16="http://schemas.microsoft.com/office/drawing/2014/main" id="{3264F06D-CD25-488F-AEF1-26DB06F290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8" y="3554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4 h 4"/>
                  <a:gd name="T4" fmla="*/ 0 w 2"/>
                  <a:gd name="T5" fmla="*/ 4 h 4"/>
                  <a:gd name="T6" fmla="*/ 0 w 2"/>
                  <a:gd name="T7" fmla="*/ 4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44" name="Freeform 56">
                <a:extLst>
                  <a:ext uri="{FF2B5EF4-FFF2-40B4-BE49-F238E27FC236}">
                    <a16:creationId xmlns:a16="http://schemas.microsoft.com/office/drawing/2014/main" id="{18BB34DD-3022-4B2E-A849-B4AC108466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2" y="3267"/>
                <a:ext cx="12" cy="10"/>
              </a:xfrm>
              <a:custGeom>
                <a:avLst/>
                <a:gdLst>
                  <a:gd name="T0" fmla="*/ 12 w 12"/>
                  <a:gd name="T1" fmla="*/ 10 h 10"/>
                  <a:gd name="T2" fmla="*/ 6 w 12"/>
                  <a:gd name="T3" fmla="*/ 8 h 10"/>
                  <a:gd name="T4" fmla="*/ 0 w 12"/>
                  <a:gd name="T5" fmla="*/ 0 h 10"/>
                  <a:gd name="T6" fmla="*/ 6 w 12"/>
                  <a:gd name="T7" fmla="*/ 8 h 10"/>
                  <a:gd name="T8" fmla="*/ 12 w 12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0">
                    <a:moveTo>
                      <a:pt x="12" y="10"/>
                    </a:moveTo>
                    <a:lnTo>
                      <a:pt x="6" y="8"/>
                    </a:lnTo>
                    <a:lnTo>
                      <a:pt x="0" y="0"/>
                    </a:lnTo>
                    <a:lnTo>
                      <a:pt x="6" y="8"/>
                    </a:lnTo>
                    <a:lnTo>
                      <a:pt x="1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45" name="Freeform 57">
                <a:extLst>
                  <a:ext uri="{FF2B5EF4-FFF2-40B4-BE49-F238E27FC236}">
                    <a16:creationId xmlns:a16="http://schemas.microsoft.com/office/drawing/2014/main" id="{05B74794-4D79-4435-838F-8270D7B42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9" y="2936"/>
                <a:ext cx="18" cy="7"/>
              </a:xfrm>
              <a:custGeom>
                <a:avLst/>
                <a:gdLst>
                  <a:gd name="T0" fmla="*/ 14 w 18"/>
                  <a:gd name="T1" fmla="*/ 3 h 7"/>
                  <a:gd name="T2" fmla="*/ 18 w 18"/>
                  <a:gd name="T3" fmla="*/ 7 h 7"/>
                  <a:gd name="T4" fmla="*/ 18 w 18"/>
                  <a:gd name="T5" fmla="*/ 7 h 7"/>
                  <a:gd name="T6" fmla="*/ 14 w 18"/>
                  <a:gd name="T7" fmla="*/ 3 h 7"/>
                  <a:gd name="T8" fmla="*/ 12 w 18"/>
                  <a:gd name="T9" fmla="*/ 1 h 7"/>
                  <a:gd name="T10" fmla="*/ 0 w 18"/>
                  <a:gd name="T11" fmla="*/ 0 h 7"/>
                  <a:gd name="T12" fmla="*/ 12 w 18"/>
                  <a:gd name="T13" fmla="*/ 1 h 7"/>
                  <a:gd name="T14" fmla="*/ 14 w 18"/>
                  <a:gd name="T1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7">
                    <a:moveTo>
                      <a:pt x="14" y="3"/>
                    </a:moveTo>
                    <a:lnTo>
                      <a:pt x="18" y="7"/>
                    </a:lnTo>
                    <a:lnTo>
                      <a:pt x="18" y="7"/>
                    </a:lnTo>
                    <a:lnTo>
                      <a:pt x="14" y="3"/>
                    </a:lnTo>
                    <a:lnTo>
                      <a:pt x="12" y="1"/>
                    </a:lnTo>
                    <a:lnTo>
                      <a:pt x="0" y="0"/>
                    </a:lnTo>
                    <a:lnTo>
                      <a:pt x="12" y="1"/>
                    </a:lnTo>
                    <a:lnTo>
                      <a:pt x="14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46" name="Freeform 58">
                <a:extLst>
                  <a:ext uri="{FF2B5EF4-FFF2-40B4-BE49-F238E27FC236}">
                    <a16:creationId xmlns:a16="http://schemas.microsoft.com/office/drawing/2014/main" id="{A944C5B1-240C-4860-BA08-E0F5183CBB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4" y="3592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6 w 6"/>
                  <a:gd name="T3" fmla="*/ 0 h 2"/>
                  <a:gd name="T4" fmla="*/ 6 w 6"/>
                  <a:gd name="T5" fmla="*/ 0 h 2"/>
                  <a:gd name="T6" fmla="*/ 2 w 6"/>
                  <a:gd name="T7" fmla="*/ 2 h 2"/>
                  <a:gd name="T8" fmla="*/ 0 w 6"/>
                  <a:gd name="T9" fmla="*/ 2 h 2"/>
                  <a:gd name="T10" fmla="*/ 2 w 6"/>
                  <a:gd name="T11" fmla="*/ 2 h 2"/>
                  <a:gd name="T12" fmla="*/ 6 w 6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47" name="Freeform 59">
                <a:extLst>
                  <a:ext uri="{FF2B5EF4-FFF2-40B4-BE49-F238E27FC236}">
                    <a16:creationId xmlns:a16="http://schemas.microsoft.com/office/drawing/2014/main" id="{F09AE756-825A-4F5F-9827-26EF31A2D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2932"/>
                <a:ext cx="3" cy="2"/>
              </a:xfrm>
              <a:custGeom>
                <a:avLst/>
                <a:gdLst>
                  <a:gd name="T0" fmla="*/ 3 w 3"/>
                  <a:gd name="T1" fmla="*/ 2 h 2"/>
                  <a:gd name="T2" fmla="*/ 1 w 3"/>
                  <a:gd name="T3" fmla="*/ 0 h 2"/>
                  <a:gd name="T4" fmla="*/ 0 w 3"/>
                  <a:gd name="T5" fmla="*/ 0 h 2"/>
                  <a:gd name="T6" fmla="*/ 1 w 3"/>
                  <a:gd name="T7" fmla="*/ 0 h 2"/>
                  <a:gd name="T8" fmla="*/ 3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48" name="Freeform 60">
                <a:extLst>
                  <a:ext uri="{FF2B5EF4-FFF2-40B4-BE49-F238E27FC236}">
                    <a16:creationId xmlns:a16="http://schemas.microsoft.com/office/drawing/2014/main" id="{0818CA57-AE49-469A-80E2-0A92C54AE5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3" y="2598"/>
                <a:ext cx="2" cy="4"/>
              </a:xfrm>
              <a:custGeom>
                <a:avLst/>
                <a:gdLst>
                  <a:gd name="T0" fmla="*/ 2 w 2"/>
                  <a:gd name="T1" fmla="*/ 2 h 4"/>
                  <a:gd name="T2" fmla="*/ 0 w 2"/>
                  <a:gd name="T3" fmla="*/ 4 h 4"/>
                  <a:gd name="T4" fmla="*/ 2 w 2"/>
                  <a:gd name="T5" fmla="*/ 2 h 4"/>
                  <a:gd name="T6" fmla="*/ 0 w 2"/>
                  <a:gd name="T7" fmla="*/ 2 h 4"/>
                  <a:gd name="T8" fmla="*/ 0 w 2"/>
                  <a:gd name="T9" fmla="*/ 0 h 4"/>
                  <a:gd name="T10" fmla="*/ 0 w 2"/>
                  <a:gd name="T11" fmla="*/ 2 h 4"/>
                  <a:gd name="T12" fmla="*/ 2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49" name="Freeform 61">
                <a:extLst>
                  <a:ext uri="{FF2B5EF4-FFF2-40B4-BE49-F238E27FC236}">
                    <a16:creationId xmlns:a16="http://schemas.microsoft.com/office/drawing/2014/main" id="{6E556214-D739-4CC9-B85A-619A3239D3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1" y="2943"/>
                <a:ext cx="6" cy="0"/>
              </a:xfrm>
              <a:custGeom>
                <a:avLst/>
                <a:gdLst>
                  <a:gd name="T0" fmla="*/ 6 w 6"/>
                  <a:gd name="T1" fmla="*/ 6 w 6"/>
                  <a:gd name="T2" fmla="*/ 6 w 6"/>
                  <a:gd name="T3" fmla="*/ 0 w 6"/>
                  <a:gd name="T4" fmla="*/ 0 w 6"/>
                  <a:gd name="T5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50" name="Freeform 62">
                <a:extLst>
                  <a:ext uri="{FF2B5EF4-FFF2-40B4-BE49-F238E27FC236}">
                    <a16:creationId xmlns:a16="http://schemas.microsoft.com/office/drawing/2014/main" id="{68ECB998-BADA-4DC8-A2B4-D5D6ED224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0" y="3553"/>
                <a:ext cx="6" cy="1"/>
              </a:xfrm>
              <a:custGeom>
                <a:avLst/>
                <a:gdLst>
                  <a:gd name="T0" fmla="*/ 4 w 6"/>
                  <a:gd name="T1" fmla="*/ 1 h 1"/>
                  <a:gd name="T2" fmla="*/ 6 w 6"/>
                  <a:gd name="T3" fmla="*/ 0 h 1"/>
                  <a:gd name="T4" fmla="*/ 4 w 6"/>
                  <a:gd name="T5" fmla="*/ 1 h 1"/>
                  <a:gd name="T6" fmla="*/ 2 w 6"/>
                  <a:gd name="T7" fmla="*/ 1 h 1"/>
                  <a:gd name="T8" fmla="*/ 0 w 6"/>
                  <a:gd name="T9" fmla="*/ 1 h 1"/>
                  <a:gd name="T10" fmla="*/ 0 w 6"/>
                  <a:gd name="T11" fmla="*/ 1 h 1"/>
                  <a:gd name="T12" fmla="*/ 2 w 6"/>
                  <a:gd name="T13" fmla="*/ 1 h 1"/>
                  <a:gd name="T14" fmla="*/ 4 w 6"/>
                  <a:gd name="T1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">
                    <a:moveTo>
                      <a:pt x="4" y="1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51" name="Freeform 63">
                <a:extLst>
                  <a:ext uri="{FF2B5EF4-FFF2-40B4-BE49-F238E27FC236}">
                    <a16:creationId xmlns:a16="http://schemas.microsoft.com/office/drawing/2014/main" id="{84226BA5-986D-4C8F-BC33-2742B5DB2B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7" y="294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52" name="Freeform 64">
                <a:extLst>
                  <a:ext uri="{FF2B5EF4-FFF2-40B4-BE49-F238E27FC236}">
                    <a16:creationId xmlns:a16="http://schemas.microsoft.com/office/drawing/2014/main" id="{49B0BCCF-C372-4F66-B08F-546DF84018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0" y="3537"/>
                <a:ext cx="22" cy="8"/>
              </a:xfrm>
              <a:custGeom>
                <a:avLst/>
                <a:gdLst>
                  <a:gd name="T0" fmla="*/ 4 w 22"/>
                  <a:gd name="T1" fmla="*/ 4 h 8"/>
                  <a:gd name="T2" fmla="*/ 20 w 22"/>
                  <a:gd name="T3" fmla="*/ 0 h 8"/>
                  <a:gd name="T4" fmla="*/ 22 w 22"/>
                  <a:gd name="T5" fmla="*/ 0 h 8"/>
                  <a:gd name="T6" fmla="*/ 20 w 22"/>
                  <a:gd name="T7" fmla="*/ 0 h 8"/>
                  <a:gd name="T8" fmla="*/ 4 w 22"/>
                  <a:gd name="T9" fmla="*/ 4 h 8"/>
                  <a:gd name="T10" fmla="*/ 2 w 22"/>
                  <a:gd name="T11" fmla="*/ 6 h 8"/>
                  <a:gd name="T12" fmla="*/ 0 w 22"/>
                  <a:gd name="T13" fmla="*/ 8 h 8"/>
                  <a:gd name="T14" fmla="*/ 2 w 22"/>
                  <a:gd name="T15" fmla="*/ 6 h 8"/>
                  <a:gd name="T16" fmla="*/ 4 w 22"/>
                  <a:gd name="T1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8">
                    <a:moveTo>
                      <a:pt x="4" y="4"/>
                    </a:moveTo>
                    <a:lnTo>
                      <a:pt x="20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53" name="Freeform 65">
                <a:extLst>
                  <a:ext uri="{FF2B5EF4-FFF2-40B4-BE49-F238E27FC236}">
                    <a16:creationId xmlns:a16="http://schemas.microsoft.com/office/drawing/2014/main" id="{FDD5DC31-F1F4-4833-A710-F5DB8DCCC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" y="1616"/>
                <a:ext cx="10" cy="6"/>
              </a:xfrm>
              <a:custGeom>
                <a:avLst/>
                <a:gdLst>
                  <a:gd name="T0" fmla="*/ 0 w 10"/>
                  <a:gd name="T1" fmla="*/ 0 h 6"/>
                  <a:gd name="T2" fmla="*/ 4 w 10"/>
                  <a:gd name="T3" fmla="*/ 2 h 6"/>
                  <a:gd name="T4" fmla="*/ 10 w 10"/>
                  <a:gd name="T5" fmla="*/ 6 h 6"/>
                  <a:gd name="T6" fmla="*/ 4 w 10"/>
                  <a:gd name="T7" fmla="*/ 2 h 6"/>
                  <a:gd name="T8" fmla="*/ 0 w 10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6">
                    <a:moveTo>
                      <a:pt x="0" y="0"/>
                    </a:moveTo>
                    <a:lnTo>
                      <a:pt x="4" y="2"/>
                    </a:lnTo>
                    <a:lnTo>
                      <a:pt x="10" y="6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54" name="Freeform 66">
                <a:extLst>
                  <a:ext uri="{FF2B5EF4-FFF2-40B4-BE49-F238E27FC236}">
                    <a16:creationId xmlns:a16="http://schemas.microsoft.com/office/drawing/2014/main" id="{F15823E1-2A4C-4844-9EE4-FB3A82D530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9" y="3533"/>
                <a:ext cx="24" cy="2"/>
              </a:xfrm>
              <a:custGeom>
                <a:avLst/>
                <a:gdLst>
                  <a:gd name="T0" fmla="*/ 6 w 24"/>
                  <a:gd name="T1" fmla="*/ 2 h 2"/>
                  <a:gd name="T2" fmla="*/ 8 w 24"/>
                  <a:gd name="T3" fmla="*/ 2 h 2"/>
                  <a:gd name="T4" fmla="*/ 18 w 24"/>
                  <a:gd name="T5" fmla="*/ 0 h 2"/>
                  <a:gd name="T6" fmla="*/ 24 w 24"/>
                  <a:gd name="T7" fmla="*/ 0 h 2"/>
                  <a:gd name="T8" fmla="*/ 18 w 24"/>
                  <a:gd name="T9" fmla="*/ 0 h 2"/>
                  <a:gd name="T10" fmla="*/ 8 w 24"/>
                  <a:gd name="T11" fmla="*/ 2 h 2"/>
                  <a:gd name="T12" fmla="*/ 6 w 24"/>
                  <a:gd name="T13" fmla="*/ 2 h 2"/>
                  <a:gd name="T14" fmla="*/ 2 w 24"/>
                  <a:gd name="T15" fmla="*/ 0 h 2"/>
                  <a:gd name="T16" fmla="*/ 0 w 24"/>
                  <a:gd name="T17" fmla="*/ 2 h 2"/>
                  <a:gd name="T18" fmla="*/ 2 w 24"/>
                  <a:gd name="T19" fmla="*/ 0 h 2"/>
                  <a:gd name="T20" fmla="*/ 6 w 24"/>
                  <a:gd name="T2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2">
                    <a:moveTo>
                      <a:pt x="6" y="2"/>
                    </a:moveTo>
                    <a:lnTo>
                      <a:pt x="8" y="2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55" name="Freeform 67">
                <a:extLst>
                  <a:ext uri="{FF2B5EF4-FFF2-40B4-BE49-F238E27FC236}">
                    <a16:creationId xmlns:a16="http://schemas.microsoft.com/office/drawing/2014/main" id="{E5365ADD-A776-44F2-A0EA-8F345F3398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3" y="3199"/>
                <a:ext cx="3" cy="4"/>
              </a:xfrm>
              <a:custGeom>
                <a:avLst/>
                <a:gdLst>
                  <a:gd name="T0" fmla="*/ 3 w 3"/>
                  <a:gd name="T1" fmla="*/ 4 h 4"/>
                  <a:gd name="T2" fmla="*/ 2 w 3"/>
                  <a:gd name="T3" fmla="*/ 0 h 4"/>
                  <a:gd name="T4" fmla="*/ 0 w 3"/>
                  <a:gd name="T5" fmla="*/ 0 h 4"/>
                  <a:gd name="T6" fmla="*/ 2 w 3"/>
                  <a:gd name="T7" fmla="*/ 0 h 4"/>
                  <a:gd name="T8" fmla="*/ 3 w 3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56" name="Freeform 68">
                <a:extLst>
                  <a:ext uri="{FF2B5EF4-FFF2-40B4-BE49-F238E27FC236}">
                    <a16:creationId xmlns:a16="http://schemas.microsoft.com/office/drawing/2014/main" id="{782B485E-CF0D-4A4C-B757-0FFCAA199F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5" y="3178"/>
                <a:ext cx="1" cy="5"/>
              </a:xfrm>
              <a:custGeom>
                <a:avLst/>
                <a:gdLst>
                  <a:gd name="T0" fmla="*/ 1 w 1"/>
                  <a:gd name="T1" fmla="*/ 4 h 5"/>
                  <a:gd name="T2" fmla="*/ 1 w 1"/>
                  <a:gd name="T3" fmla="*/ 4 h 5"/>
                  <a:gd name="T4" fmla="*/ 0 w 1"/>
                  <a:gd name="T5" fmla="*/ 4 h 5"/>
                  <a:gd name="T6" fmla="*/ 1 w 1"/>
                  <a:gd name="T7" fmla="*/ 0 h 5"/>
                  <a:gd name="T8" fmla="*/ 0 w 1"/>
                  <a:gd name="T9" fmla="*/ 4 h 5"/>
                  <a:gd name="T10" fmla="*/ 1 w 1"/>
                  <a:gd name="T11" fmla="*/ 4 h 5"/>
                  <a:gd name="T12" fmla="*/ 1 w 1"/>
                  <a:gd name="T13" fmla="*/ 4 h 5"/>
                  <a:gd name="T14" fmla="*/ 1 w 1"/>
                  <a:gd name="T15" fmla="*/ 5 h 5"/>
                  <a:gd name="T16" fmla="*/ 1 w 1"/>
                  <a:gd name="T17" fmla="*/ 5 h 5"/>
                  <a:gd name="T18" fmla="*/ 1 w 1"/>
                  <a:gd name="T19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" h="5">
                    <a:moveTo>
                      <a:pt x="1" y="4"/>
                    </a:moveTo>
                    <a:lnTo>
                      <a:pt x="1" y="4"/>
                    </a:lnTo>
                    <a:lnTo>
                      <a:pt x="0" y="4"/>
                    </a:lnTo>
                    <a:lnTo>
                      <a:pt x="1" y="0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57" name="Freeform 69">
                <a:extLst>
                  <a:ext uri="{FF2B5EF4-FFF2-40B4-BE49-F238E27FC236}">
                    <a16:creationId xmlns:a16="http://schemas.microsoft.com/office/drawing/2014/main" id="{01C1A374-E0DA-468C-9A42-5546BE126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5" y="2561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2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58" name="Freeform 70">
                <a:extLst>
                  <a:ext uri="{FF2B5EF4-FFF2-40B4-BE49-F238E27FC236}">
                    <a16:creationId xmlns:a16="http://schemas.microsoft.com/office/drawing/2014/main" id="{D2E1B9CE-35BE-4234-81D0-D49CF80EC6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3" y="1991"/>
                <a:ext cx="2" cy="5"/>
              </a:xfrm>
              <a:custGeom>
                <a:avLst/>
                <a:gdLst>
                  <a:gd name="T0" fmla="*/ 2 w 2"/>
                  <a:gd name="T1" fmla="*/ 5 h 5"/>
                  <a:gd name="T2" fmla="*/ 2 w 2"/>
                  <a:gd name="T3" fmla="*/ 5 h 5"/>
                  <a:gd name="T4" fmla="*/ 0 w 2"/>
                  <a:gd name="T5" fmla="*/ 0 h 5"/>
                  <a:gd name="T6" fmla="*/ 2 w 2"/>
                  <a:gd name="T7" fmla="*/ 5 h 5"/>
                  <a:gd name="T8" fmla="*/ 2 w 2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lnTo>
                      <a:pt x="2" y="5"/>
                    </a:lnTo>
                    <a:lnTo>
                      <a:pt x="0" y="0"/>
                    </a:lnTo>
                    <a:lnTo>
                      <a:pt x="2" y="5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59" name="Rectangle 71">
                <a:extLst>
                  <a:ext uri="{FF2B5EF4-FFF2-40B4-BE49-F238E27FC236}">
                    <a16:creationId xmlns:a16="http://schemas.microsoft.com/office/drawing/2014/main" id="{333D8F21-793C-464B-B3BB-D8AFDE0591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88" y="316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60" name="Freeform 72">
                <a:extLst>
                  <a:ext uri="{FF2B5EF4-FFF2-40B4-BE49-F238E27FC236}">
                    <a16:creationId xmlns:a16="http://schemas.microsoft.com/office/drawing/2014/main" id="{E7646073-A231-4D9B-AF82-17093CC2C2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2" y="3207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4 w 4"/>
                  <a:gd name="T3" fmla="*/ 0 h 2"/>
                  <a:gd name="T4" fmla="*/ 2 w 4"/>
                  <a:gd name="T5" fmla="*/ 2 h 2"/>
                  <a:gd name="T6" fmla="*/ 0 w 4"/>
                  <a:gd name="T7" fmla="*/ 2 h 2"/>
                  <a:gd name="T8" fmla="*/ 0 w 4"/>
                  <a:gd name="T9" fmla="*/ 2 h 2"/>
                  <a:gd name="T10" fmla="*/ 0 w 4"/>
                  <a:gd name="T11" fmla="*/ 2 h 2"/>
                  <a:gd name="T12" fmla="*/ 2 w 4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61" name="Freeform 73">
                <a:extLst>
                  <a:ext uri="{FF2B5EF4-FFF2-40B4-BE49-F238E27FC236}">
                    <a16:creationId xmlns:a16="http://schemas.microsoft.com/office/drawing/2014/main" id="{E7DBCEFA-7EA0-4888-A6B7-CACEED756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8" y="2978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0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  <a:gd name="T10" fmla="*/ 0 w 2"/>
                  <a:gd name="T11" fmla="*/ 2 h 2"/>
                  <a:gd name="T12" fmla="*/ 0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62" name="Freeform 74">
                <a:extLst>
                  <a:ext uri="{FF2B5EF4-FFF2-40B4-BE49-F238E27FC236}">
                    <a16:creationId xmlns:a16="http://schemas.microsoft.com/office/drawing/2014/main" id="{B0C936BA-95AE-4647-B4E6-902BAD61E6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5" y="319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  <a:gd name="T10" fmla="*/ 2 w 2"/>
                  <a:gd name="T11" fmla="*/ 0 h 2"/>
                  <a:gd name="T12" fmla="*/ 2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63" name="Freeform 75">
                <a:extLst>
                  <a:ext uri="{FF2B5EF4-FFF2-40B4-BE49-F238E27FC236}">
                    <a16:creationId xmlns:a16="http://schemas.microsoft.com/office/drawing/2014/main" id="{2CDB11B1-357B-434B-928E-09E1415E66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0" y="2973"/>
                <a:ext cx="33" cy="5"/>
              </a:xfrm>
              <a:custGeom>
                <a:avLst/>
                <a:gdLst>
                  <a:gd name="T0" fmla="*/ 5 w 33"/>
                  <a:gd name="T1" fmla="*/ 0 h 5"/>
                  <a:gd name="T2" fmla="*/ 13 w 33"/>
                  <a:gd name="T3" fmla="*/ 0 h 5"/>
                  <a:gd name="T4" fmla="*/ 29 w 33"/>
                  <a:gd name="T5" fmla="*/ 2 h 5"/>
                  <a:gd name="T6" fmla="*/ 33 w 33"/>
                  <a:gd name="T7" fmla="*/ 2 h 5"/>
                  <a:gd name="T8" fmla="*/ 33 w 33"/>
                  <a:gd name="T9" fmla="*/ 0 h 5"/>
                  <a:gd name="T10" fmla="*/ 33 w 33"/>
                  <a:gd name="T11" fmla="*/ 2 h 5"/>
                  <a:gd name="T12" fmla="*/ 29 w 33"/>
                  <a:gd name="T13" fmla="*/ 2 h 5"/>
                  <a:gd name="T14" fmla="*/ 13 w 33"/>
                  <a:gd name="T15" fmla="*/ 0 h 5"/>
                  <a:gd name="T16" fmla="*/ 5 w 33"/>
                  <a:gd name="T17" fmla="*/ 0 h 5"/>
                  <a:gd name="T18" fmla="*/ 0 w 33"/>
                  <a:gd name="T19" fmla="*/ 5 h 5"/>
                  <a:gd name="T20" fmla="*/ 0 w 33"/>
                  <a:gd name="T21" fmla="*/ 5 h 5"/>
                  <a:gd name="T22" fmla="*/ 0 w 33"/>
                  <a:gd name="T23" fmla="*/ 5 h 5"/>
                  <a:gd name="T24" fmla="*/ 5 w 33"/>
                  <a:gd name="T2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5">
                    <a:moveTo>
                      <a:pt x="5" y="0"/>
                    </a:moveTo>
                    <a:lnTo>
                      <a:pt x="13" y="0"/>
                    </a:lnTo>
                    <a:lnTo>
                      <a:pt x="29" y="2"/>
                    </a:lnTo>
                    <a:lnTo>
                      <a:pt x="33" y="2"/>
                    </a:lnTo>
                    <a:lnTo>
                      <a:pt x="33" y="0"/>
                    </a:lnTo>
                    <a:lnTo>
                      <a:pt x="33" y="2"/>
                    </a:lnTo>
                    <a:lnTo>
                      <a:pt x="29" y="2"/>
                    </a:lnTo>
                    <a:lnTo>
                      <a:pt x="13" y="0"/>
                    </a:lnTo>
                    <a:lnTo>
                      <a:pt x="5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64" name="Freeform 76">
                <a:extLst>
                  <a:ext uri="{FF2B5EF4-FFF2-40B4-BE49-F238E27FC236}">
                    <a16:creationId xmlns:a16="http://schemas.microsoft.com/office/drawing/2014/main" id="{E897E6EF-9614-4FED-B492-89DB35637C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9" y="2010"/>
                <a:ext cx="2" cy="14"/>
              </a:xfrm>
              <a:custGeom>
                <a:avLst/>
                <a:gdLst>
                  <a:gd name="T0" fmla="*/ 2 w 2"/>
                  <a:gd name="T1" fmla="*/ 14 h 14"/>
                  <a:gd name="T2" fmla="*/ 0 w 2"/>
                  <a:gd name="T3" fmla="*/ 8 h 14"/>
                  <a:gd name="T4" fmla="*/ 0 w 2"/>
                  <a:gd name="T5" fmla="*/ 0 h 14"/>
                  <a:gd name="T6" fmla="*/ 0 w 2"/>
                  <a:gd name="T7" fmla="*/ 8 h 14"/>
                  <a:gd name="T8" fmla="*/ 2 w 2"/>
                  <a:gd name="T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4">
                    <a:moveTo>
                      <a:pt x="2" y="14"/>
                    </a:moveTo>
                    <a:lnTo>
                      <a:pt x="0" y="8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65" name="Rectangle 77">
                <a:extLst>
                  <a:ext uri="{FF2B5EF4-FFF2-40B4-BE49-F238E27FC236}">
                    <a16:creationId xmlns:a16="http://schemas.microsoft.com/office/drawing/2014/main" id="{4F972E32-F7B2-4D68-9B1D-CB53A9B42C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66" y="318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66" name="Freeform 78">
                <a:extLst>
                  <a:ext uri="{FF2B5EF4-FFF2-40B4-BE49-F238E27FC236}">
                    <a16:creationId xmlns:a16="http://schemas.microsoft.com/office/drawing/2014/main" id="{D08E9D30-3EB6-4E60-AA86-620B2A2617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8" y="3611"/>
                <a:ext cx="21" cy="2"/>
              </a:xfrm>
              <a:custGeom>
                <a:avLst/>
                <a:gdLst>
                  <a:gd name="T0" fmla="*/ 21 w 21"/>
                  <a:gd name="T1" fmla="*/ 0 h 2"/>
                  <a:gd name="T2" fmla="*/ 6 w 21"/>
                  <a:gd name="T3" fmla="*/ 0 h 2"/>
                  <a:gd name="T4" fmla="*/ 0 w 21"/>
                  <a:gd name="T5" fmla="*/ 2 h 2"/>
                  <a:gd name="T6" fmla="*/ 6 w 21"/>
                  <a:gd name="T7" fmla="*/ 0 h 2"/>
                  <a:gd name="T8" fmla="*/ 21 w 2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">
                    <a:moveTo>
                      <a:pt x="21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6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67" name="Freeform 79">
                <a:extLst>
                  <a:ext uri="{FF2B5EF4-FFF2-40B4-BE49-F238E27FC236}">
                    <a16:creationId xmlns:a16="http://schemas.microsoft.com/office/drawing/2014/main" id="{4B874482-82B2-41B9-A374-607335D17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1" y="3185"/>
                <a:ext cx="2" cy="10"/>
              </a:xfrm>
              <a:custGeom>
                <a:avLst/>
                <a:gdLst>
                  <a:gd name="T0" fmla="*/ 2 w 2"/>
                  <a:gd name="T1" fmla="*/ 6 h 10"/>
                  <a:gd name="T2" fmla="*/ 2 w 2"/>
                  <a:gd name="T3" fmla="*/ 0 h 10"/>
                  <a:gd name="T4" fmla="*/ 2 w 2"/>
                  <a:gd name="T5" fmla="*/ 0 h 10"/>
                  <a:gd name="T6" fmla="*/ 2 w 2"/>
                  <a:gd name="T7" fmla="*/ 6 h 10"/>
                  <a:gd name="T8" fmla="*/ 0 w 2"/>
                  <a:gd name="T9" fmla="*/ 8 h 10"/>
                  <a:gd name="T10" fmla="*/ 0 w 2"/>
                  <a:gd name="T11" fmla="*/ 10 h 10"/>
                  <a:gd name="T12" fmla="*/ 0 w 2"/>
                  <a:gd name="T13" fmla="*/ 8 h 10"/>
                  <a:gd name="T14" fmla="*/ 2 w 2"/>
                  <a:gd name="T1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0">
                    <a:moveTo>
                      <a:pt x="2" y="6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68" name="Freeform 80">
                <a:extLst>
                  <a:ext uri="{FF2B5EF4-FFF2-40B4-BE49-F238E27FC236}">
                    <a16:creationId xmlns:a16="http://schemas.microsoft.com/office/drawing/2014/main" id="{96F9F26D-FD34-470A-B9C7-7E7D21F0F7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6" y="1846"/>
                <a:ext cx="6" cy="10"/>
              </a:xfrm>
              <a:custGeom>
                <a:avLst/>
                <a:gdLst>
                  <a:gd name="T0" fmla="*/ 6 w 6"/>
                  <a:gd name="T1" fmla="*/ 10 h 10"/>
                  <a:gd name="T2" fmla="*/ 6 w 6"/>
                  <a:gd name="T3" fmla="*/ 10 h 10"/>
                  <a:gd name="T4" fmla="*/ 0 w 6"/>
                  <a:gd name="T5" fmla="*/ 0 h 10"/>
                  <a:gd name="T6" fmla="*/ 6 w 6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10">
                    <a:moveTo>
                      <a:pt x="6" y="10"/>
                    </a:moveTo>
                    <a:lnTo>
                      <a:pt x="6" y="10"/>
                    </a:lnTo>
                    <a:lnTo>
                      <a:pt x="0" y="0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69" name="Freeform 81">
                <a:extLst>
                  <a:ext uri="{FF2B5EF4-FFF2-40B4-BE49-F238E27FC236}">
                    <a16:creationId xmlns:a16="http://schemas.microsoft.com/office/drawing/2014/main" id="{992ED693-FFFB-4F96-B948-C8FA545262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7" y="3197"/>
                <a:ext cx="6" cy="2"/>
              </a:xfrm>
              <a:custGeom>
                <a:avLst/>
                <a:gdLst>
                  <a:gd name="T0" fmla="*/ 2 w 6"/>
                  <a:gd name="T1" fmla="*/ 2 h 2"/>
                  <a:gd name="T2" fmla="*/ 4 w 6"/>
                  <a:gd name="T3" fmla="*/ 2 h 2"/>
                  <a:gd name="T4" fmla="*/ 6 w 6"/>
                  <a:gd name="T5" fmla="*/ 2 h 2"/>
                  <a:gd name="T6" fmla="*/ 4 w 6"/>
                  <a:gd name="T7" fmla="*/ 2 h 2"/>
                  <a:gd name="T8" fmla="*/ 2 w 6"/>
                  <a:gd name="T9" fmla="*/ 2 h 2"/>
                  <a:gd name="T10" fmla="*/ 0 w 6"/>
                  <a:gd name="T11" fmla="*/ 0 h 2"/>
                  <a:gd name="T12" fmla="*/ 0 w 6"/>
                  <a:gd name="T13" fmla="*/ 0 h 2"/>
                  <a:gd name="T14" fmla="*/ 0 w 6"/>
                  <a:gd name="T15" fmla="*/ 0 h 2"/>
                  <a:gd name="T16" fmla="*/ 2 w 6"/>
                  <a:gd name="T1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2">
                    <a:moveTo>
                      <a:pt x="2" y="2"/>
                    </a:moveTo>
                    <a:lnTo>
                      <a:pt x="4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70" name="Freeform 83">
                <a:extLst>
                  <a:ext uri="{FF2B5EF4-FFF2-40B4-BE49-F238E27FC236}">
                    <a16:creationId xmlns:a16="http://schemas.microsoft.com/office/drawing/2014/main" id="{0DC78B26-7DEC-4E85-B9F1-58638F0F58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3" y="3605"/>
                <a:ext cx="9" cy="0"/>
              </a:xfrm>
              <a:custGeom>
                <a:avLst/>
                <a:gdLst>
                  <a:gd name="T0" fmla="*/ 8 w 9"/>
                  <a:gd name="T1" fmla="*/ 9 w 9"/>
                  <a:gd name="T2" fmla="*/ 8 w 9"/>
                  <a:gd name="T3" fmla="*/ 2 w 9"/>
                  <a:gd name="T4" fmla="*/ 0 w 9"/>
                  <a:gd name="T5" fmla="*/ 2 w 9"/>
                  <a:gd name="T6" fmla="*/ 8 w 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9">
                    <a:moveTo>
                      <a:pt x="8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71" name="Freeform 84">
                <a:extLst>
                  <a:ext uri="{FF2B5EF4-FFF2-40B4-BE49-F238E27FC236}">
                    <a16:creationId xmlns:a16="http://schemas.microsoft.com/office/drawing/2014/main" id="{7ACA4EE9-C2CB-41AD-996E-71A73F38EB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2" y="3601"/>
                <a:ext cx="65" cy="10"/>
              </a:xfrm>
              <a:custGeom>
                <a:avLst/>
                <a:gdLst>
                  <a:gd name="T0" fmla="*/ 8 w 65"/>
                  <a:gd name="T1" fmla="*/ 10 h 10"/>
                  <a:gd name="T2" fmla="*/ 20 w 65"/>
                  <a:gd name="T3" fmla="*/ 4 h 10"/>
                  <a:gd name="T4" fmla="*/ 55 w 65"/>
                  <a:gd name="T5" fmla="*/ 0 h 10"/>
                  <a:gd name="T6" fmla="*/ 61 w 65"/>
                  <a:gd name="T7" fmla="*/ 2 h 10"/>
                  <a:gd name="T8" fmla="*/ 65 w 65"/>
                  <a:gd name="T9" fmla="*/ 2 h 10"/>
                  <a:gd name="T10" fmla="*/ 61 w 65"/>
                  <a:gd name="T11" fmla="*/ 2 h 10"/>
                  <a:gd name="T12" fmla="*/ 55 w 65"/>
                  <a:gd name="T13" fmla="*/ 0 h 10"/>
                  <a:gd name="T14" fmla="*/ 20 w 65"/>
                  <a:gd name="T15" fmla="*/ 4 h 10"/>
                  <a:gd name="T16" fmla="*/ 8 w 65"/>
                  <a:gd name="T17" fmla="*/ 10 h 10"/>
                  <a:gd name="T18" fmla="*/ 0 w 65"/>
                  <a:gd name="T19" fmla="*/ 10 h 10"/>
                  <a:gd name="T20" fmla="*/ 0 w 65"/>
                  <a:gd name="T21" fmla="*/ 10 h 10"/>
                  <a:gd name="T22" fmla="*/ 8 w 65"/>
                  <a:gd name="T2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5" h="10">
                    <a:moveTo>
                      <a:pt x="8" y="10"/>
                    </a:moveTo>
                    <a:lnTo>
                      <a:pt x="20" y="4"/>
                    </a:lnTo>
                    <a:lnTo>
                      <a:pt x="55" y="0"/>
                    </a:lnTo>
                    <a:lnTo>
                      <a:pt x="61" y="2"/>
                    </a:lnTo>
                    <a:lnTo>
                      <a:pt x="65" y="2"/>
                    </a:lnTo>
                    <a:lnTo>
                      <a:pt x="61" y="2"/>
                    </a:lnTo>
                    <a:lnTo>
                      <a:pt x="55" y="0"/>
                    </a:lnTo>
                    <a:lnTo>
                      <a:pt x="20" y="4"/>
                    </a:lnTo>
                    <a:lnTo>
                      <a:pt x="8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72" name="Freeform 85">
                <a:extLst>
                  <a:ext uri="{FF2B5EF4-FFF2-40B4-BE49-F238E27FC236}">
                    <a16:creationId xmlns:a16="http://schemas.microsoft.com/office/drawing/2014/main" id="{98EF90CB-0BEA-405A-907F-E98279C20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6" y="2971"/>
                <a:ext cx="4" cy="6"/>
              </a:xfrm>
              <a:custGeom>
                <a:avLst/>
                <a:gdLst>
                  <a:gd name="T0" fmla="*/ 2 w 4"/>
                  <a:gd name="T1" fmla="*/ 0 h 6"/>
                  <a:gd name="T2" fmla="*/ 4 w 4"/>
                  <a:gd name="T3" fmla="*/ 0 h 6"/>
                  <a:gd name="T4" fmla="*/ 2 w 4"/>
                  <a:gd name="T5" fmla="*/ 0 h 6"/>
                  <a:gd name="T6" fmla="*/ 0 w 4"/>
                  <a:gd name="T7" fmla="*/ 6 h 6"/>
                  <a:gd name="T8" fmla="*/ 0 w 4"/>
                  <a:gd name="T9" fmla="*/ 6 h 6"/>
                  <a:gd name="T10" fmla="*/ 2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73" name="Rectangle 86">
                <a:extLst>
                  <a:ext uri="{FF2B5EF4-FFF2-40B4-BE49-F238E27FC236}">
                    <a16:creationId xmlns:a16="http://schemas.microsoft.com/office/drawing/2014/main" id="{6163A86A-4AE4-4A21-9B86-21A846A66B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9" y="2604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74" name="Freeform 87">
                <a:extLst>
                  <a:ext uri="{FF2B5EF4-FFF2-40B4-BE49-F238E27FC236}">
                    <a16:creationId xmlns:a16="http://schemas.microsoft.com/office/drawing/2014/main" id="{A30092E2-9F89-4C2E-AAC0-D29BDE5CB0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1975"/>
                <a:ext cx="2" cy="16"/>
              </a:xfrm>
              <a:custGeom>
                <a:avLst/>
                <a:gdLst>
                  <a:gd name="T0" fmla="*/ 0 w 2"/>
                  <a:gd name="T1" fmla="*/ 0 h 16"/>
                  <a:gd name="T2" fmla="*/ 0 w 2"/>
                  <a:gd name="T3" fmla="*/ 8 h 16"/>
                  <a:gd name="T4" fmla="*/ 2 w 2"/>
                  <a:gd name="T5" fmla="*/ 16 h 16"/>
                  <a:gd name="T6" fmla="*/ 2 w 2"/>
                  <a:gd name="T7" fmla="*/ 16 h 16"/>
                  <a:gd name="T8" fmla="*/ 0 w 2"/>
                  <a:gd name="T9" fmla="*/ 8 h 16"/>
                  <a:gd name="T10" fmla="*/ 0 w 2"/>
                  <a:gd name="T11" fmla="*/ 0 h 16"/>
                  <a:gd name="T12" fmla="*/ 0 w 2"/>
                  <a:gd name="T13" fmla="*/ 0 h 16"/>
                  <a:gd name="T14" fmla="*/ 0 w 2"/>
                  <a:gd name="T1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6">
                    <a:moveTo>
                      <a:pt x="0" y="0"/>
                    </a:moveTo>
                    <a:lnTo>
                      <a:pt x="0" y="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75" name="Freeform 88">
                <a:extLst>
                  <a:ext uri="{FF2B5EF4-FFF2-40B4-BE49-F238E27FC236}">
                    <a16:creationId xmlns:a16="http://schemas.microsoft.com/office/drawing/2014/main" id="{C9148CE7-BCD1-4B96-9EE4-F8FB6C0469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3" y="2572"/>
                <a:ext cx="6" cy="12"/>
              </a:xfrm>
              <a:custGeom>
                <a:avLst/>
                <a:gdLst>
                  <a:gd name="T0" fmla="*/ 2 w 6"/>
                  <a:gd name="T1" fmla="*/ 6 h 12"/>
                  <a:gd name="T2" fmla="*/ 0 w 6"/>
                  <a:gd name="T3" fmla="*/ 8 h 12"/>
                  <a:gd name="T4" fmla="*/ 0 w 6"/>
                  <a:gd name="T5" fmla="*/ 10 h 12"/>
                  <a:gd name="T6" fmla="*/ 0 w 6"/>
                  <a:gd name="T7" fmla="*/ 12 h 12"/>
                  <a:gd name="T8" fmla="*/ 0 w 6"/>
                  <a:gd name="T9" fmla="*/ 10 h 12"/>
                  <a:gd name="T10" fmla="*/ 0 w 6"/>
                  <a:gd name="T11" fmla="*/ 8 h 12"/>
                  <a:gd name="T12" fmla="*/ 2 w 6"/>
                  <a:gd name="T13" fmla="*/ 6 h 12"/>
                  <a:gd name="T14" fmla="*/ 4 w 6"/>
                  <a:gd name="T15" fmla="*/ 2 h 12"/>
                  <a:gd name="T16" fmla="*/ 6 w 6"/>
                  <a:gd name="T17" fmla="*/ 0 h 12"/>
                  <a:gd name="T18" fmla="*/ 4 w 6"/>
                  <a:gd name="T19" fmla="*/ 2 h 12"/>
                  <a:gd name="T20" fmla="*/ 2 w 6"/>
                  <a:gd name="T21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12">
                    <a:moveTo>
                      <a:pt x="2" y="6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76" name="Freeform 89">
                <a:extLst>
                  <a:ext uri="{FF2B5EF4-FFF2-40B4-BE49-F238E27FC236}">
                    <a16:creationId xmlns:a16="http://schemas.microsoft.com/office/drawing/2014/main" id="{DB4566A2-F23E-4C61-A1C7-1C612137BF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2" y="2971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0 w 4"/>
                  <a:gd name="T5" fmla="*/ 0 h 4"/>
                  <a:gd name="T6" fmla="*/ 0 w 4"/>
                  <a:gd name="T7" fmla="*/ 0 h 4"/>
                  <a:gd name="T8" fmla="*/ 4 w 4"/>
                  <a:gd name="T9" fmla="*/ 4 h 4"/>
                  <a:gd name="T10" fmla="*/ 4 w 4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77" name="Freeform 90">
                <a:extLst>
                  <a:ext uri="{FF2B5EF4-FFF2-40B4-BE49-F238E27FC236}">
                    <a16:creationId xmlns:a16="http://schemas.microsoft.com/office/drawing/2014/main" id="{E2498672-EE1C-4723-ABBA-9BF0C6D0D9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4" y="3164"/>
                <a:ext cx="10" cy="2"/>
              </a:xfrm>
              <a:custGeom>
                <a:avLst/>
                <a:gdLst>
                  <a:gd name="T0" fmla="*/ 4 w 10"/>
                  <a:gd name="T1" fmla="*/ 0 h 2"/>
                  <a:gd name="T2" fmla="*/ 10 w 10"/>
                  <a:gd name="T3" fmla="*/ 2 h 2"/>
                  <a:gd name="T4" fmla="*/ 10 w 10"/>
                  <a:gd name="T5" fmla="*/ 0 h 2"/>
                  <a:gd name="T6" fmla="*/ 10 w 10"/>
                  <a:gd name="T7" fmla="*/ 2 h 2"/>
                  <a:gd name="T8" fmla="*/ 4 w 10"/>
                  <a:gd name="T9" fmla="*/ 0 h 2"/>
                  <a:gd name="T10" fmla="*/ 2 w 10"/>
                  <a:gd name="T11" fmla="*/ 2 h 2"/>
                  <a:gd name="T12" fmla="*/ 0 w 10"/>
                  <a:gd name="T13" fmla="*/ 2 h 2"/>
                  <a:gd name="T14" fmla="*/ 2 w 10"/>
                  <a:gd name="T15" fmla="*/ 2 h 2"/>
                  <a:gd name="T16" fmla="*/ 4 w 10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2">
                    <a:moveTo>
                      <a:pt x="4" y="0"/>
                    </a:moveTo>
                    <a:lnTo>
                      <a:pt x="10" y="2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78" name="Freeform 91">
                <a:extLst>
                  <a:ext uri="{FF2B5EF4-FFF2-40B4-BE49-F238E27FC236}">
                    <a16:creationId xmlns:a16="http://schemas.microsoft.com/office/drawing/2014/main" id="{BD2D4C20-785D-48C0-8EE5-738E53C6BD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0" y="3215"/>
                <a:ext cx="8" cy="6"/>
              </a:xfrm>
              <a:custGeom>
                <a:avLst/>
                <a:gdLst>
                  <a:gd name="T0" fmla="*/ 8 w 8"/>
                  <a:gd name="T1" fmla="*/ 6 h 6"/>
                  <a:gd name="T2" fmla="*/ 8 w 8"/>
                  <a:gd name="T3" fmla="*/ 6 h 6"/>
                  <a:gd name="T4" fmla="*/ 2 w 8"/>
                  <a:gd name="T5" fmla="*/ 0 h 6"/>
                  <a:gd name="T6" fmla="*/ 0 w 8"/>
                  <a:gd name="T7" fmla="*/ 0 h 6"/>
                  <a:gd name="T8" fmla="*/ 2 w 8"/>
                  <a:gd name="T9" fmla="*/ 0 h 6"/>
                  <a:gd name="T10" fmla="*/ 8 w 8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6">
                    <a:moveTo>
                      <a:pt x="8" y="6"/>
                    </a:moveTo>
                    <a:lnTo>
                      <a:pt x="8" y="6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79" name="Freeform 92">
                <a:extLst>
                  <a:ext uri="{FF2B5EF4-FFF2-40B4-BE49-F238E27FC236}">
                    <a16:creationId xmlns:a16="http://schemas.microsoft.com/office/drawing/2014/main" id="{9D736DF9-1F77-48E1-BBC5-2CBB7888F3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3" y="3182"/>
                <a:ext cx="10" cy="3"/>
              </a:xfrm>
              <a:custGeom>
                <a:avLst/>
                <a:gdLst>
                  <a:gd name="T0" fmla="*/ 4 w 10"/>
                  <a:gd name="T1" fmla="*/ 3 h 3"/>
                  <a:gd name="T2" fmla="*/ 8 w 10"/>
                  <a:gd name="T3" fmla="*/ 3 h 3"/>
                  <a:gd name="T4" fmla="*/ 10 w 10"/>
                  <a:gd name="T5" fmla="*/ 3 h 3"/>
                  <a:gd name="T6" fmla="*/ 8 w 10"/>
                  <a:gd name="T7" fmla="*/ 3 h 3"/>
                  <a:gd name="T8" fmla="*/ 4 w 10"/>
                  <a:gd name="T9" fmla="*/ 3 h 3"/>
                  <a:gd name="T10" fmla="*/ 2 w 10"/>
                  <a:gd name="T11" fmla="*/ 1 h 3"/>
                  <a:gd name="T12" fmla="*/ 0 w 10"/>
                  <a:gd name="T13" fmla="*/ 0 h 3"/>
                  <a:gd name="T14" fmla="*/ 2 w 10"/>
                  <a:gd name="T15" fmla="*/ 1 h 3"/>
                  <a:gd name="T16" fmla="*/ 4 w 10"/>
                  <a:gd name="T1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3">
                    <a:moveTo>
                      <a:pt x="4" y="3"/>
                    </a:moveTo>
                    <a:lnTo>
                      <a:pt x="8" y="3"/>
                    </a:lnTo>
                    <a:lnTo>
                      <a:pt x="10" y="3"/>
                    </a:lnTo>
                    <a:lnTo>
                      <a:pt x="8" y="3"/>
                    </a:lnTo>
                    <a:lnTo>
                      <a:pt x="4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2" y="1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80" name="Freeform 93">
                <a:extLst>
                  <a:ext uri="{FF2B5EF4-FFF2-40B4-BE49-F238E27FC236}">
                    <a16:creationId xmlns:a16="http://schemas.microsoft.com/office/drawing/2014/main" id="{A0FDC9FB-33A7-4E0B-A9FC-044C0D3192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2" y="3223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  <a:gd name="T3" fmla="*/ 0 h 1"/>
                  <a:gd name="T4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81" name="Freeform 94">
                <a:extLst>
                  <a:ext uri="{FF2B5EF4-FFF2-40B4-BE49-F238E27FC236}">
                    <a16:creationId xmlns:a16="http://schemas.microsoft.com/office/drawing/2014/main" id="{2A7CDFF2-DDCF-4513-8C07-CCF77F094C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1" y="2481"/>
                <a:ext cx="2" cy="5"/>
              </a:xfrm>
              <a:custGeom>
                <a:avLst/>
                <a:gdLst>
                  <a:gd name="T0" fmla="*/ 2 w 2"/>
                  <a:gd name="T1" fmla="*/ 4 h 5"/>
                  <a:gd name="T2" fmla="*/ 2 w 2"/>
                  <a:gd name="T3" fmla="*/ 5 h 5"/>
                  <a:gd name="T4" fmla="*/ 2 w 2"/>
                  <a:gd name="T5" fmla="*/ 5 h 5"/>
                  <a:gd name="T6" fmla="*/ 2 w 2"/>
                  <a:gd name="T7" fmla="*/ 4 h 5"/>
                  <a:gd name="T8" fmla="*/ 0 w 2"/>
                  <a:gd name="T9" fmla="*/ 2 h 5"/>
                  <a:gd name="T10" fmla="*/ 0 w 2"/>
                  <a:gd name="T11" fmla="*/ 0 h 5"/>
                  <a:gd name="T12" fmla="*/ 0 w 2"/>
                  <a:gd name="T13" fmla="*/ 0 h 5"/>
                  <a:gd name="T14" fmla="*/ 0 w 2"/>
                  <a:gd name="T15" fmla="*/ 2 h 5"/>
                  <a:gd name="T16" fmla="*/ 2 w 2"/>
                  <a:gd name="T1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5">
                    <a:moveTo>
                      <a:pt x="2" y="4"/>
                    </a:moveTo>
                    <a:lnTo>
                      <a:pt x="2" y="5"/>
                    </a:lnTo>
                    <a:lnTo>
                      <a:pt x="2" y="5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82" name="Freeform 95">
                <a:extLst>
                  <a:ext uri="{FF2B5EF4-FFF2-40B4-BE49-F238E27FC236}">
                    <a16:creationId xmlns:a16="http://schemas.microsoft.com/office/drawing/2014/main" id="{AFFBFED1-A9CC-4E6B-85F9-D72FD1E7ED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1" y="3123"/>
                <a:ext cx="13" cy="4"/>
              </a:xfrm>
              <a:custGeom>
                <a:avLst/>
                <a:gdLst>
                  <a:gd name="T0" fmla="*/ 3 w 13"/>
                  <a:gd name="T1" fmla="*/ 4 h 4"/>
                  <a:gd name="T2" fmla="*/ 5 w 13"/>
                  <a:gd name="T3" fmla="*/ 4 h 4"/>
                  <a:gd name="T4" fmla="*/ 7 w 13"/>
                  <a:gd name="T5" fmla="*/ 4 h 4"/>
                  <a:gd name="T6" fmla="*/ 9 w 13"/>
                  <a:gd name="T7" fmla="*/ 4 h 4"/>
                  <a:gd name="T8" fmla="*/ 13 w 13"/>
                  <a:gd name="T9" fmla="*/ 2 h 4"/>
                  <a:gd name="T10" fmla="*/ 13 w 13"/>
                  <a:gd name="T11" fmla="*/ 4 h 4"/>
                  <a:gd name="T12" fmla="*/ 13 w 13"/>
                  <a:gd name="T13" fmla="*/ 2 h 4"/>
                  <a:gd name="T14" fmla="*/ 9 w 13"/>
                  <a:gd name="T15" fmla="*/ 4 h 4"/>
                  <a:gd name="T16" fmla="*/ 7 w 13"/>
                  <a:gd name="T17" fmla="*/ 4 h 4"/>
                  <a:gd name="T18" fmla="*/ 5 w 13"/>
                  <a:gd name="T19" fmla="*/ 4 h 4"/>
                  <a:gd name="T20" fmla="*/ 3 w 13"/>
                  <a:gd name="T21" fmla="*/ 4 h 4"/>
                  <a:gd name="T22" fmla="*/ 0 w 13"/>
                  <a:gd name="T23" fmla="*/ 0 h 4"/>
                  <a:gd name="T24" fmla="*/ 0 w 13"/>
                  <a:gd name="T25" fmla="*/ 0 h 4"/>
                  <a:gd name="T26" fmla="*/ 0 w 13"/>
                  <a:gd name="T27" fmla="*/ 0 h 4"/>
                  <a:gd name="T28" fmla="*/ 3 w 13"/>
                  <a:gd name="T2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" h="4">
                    <a:moveTo>
                      <a:pt x="3" y="4"/>
                    </a:moveTo>
                    <a:lnTo>
                      <a:pt x="5" y="4"/>
                    </a:lnTo>
                    <a:lnTo>
                      <a:pt x="7" y="4"/>
                    </a:lnTo>
                    <a:lnTo>
                      <a:pt x="9" y="4"/>
                    </a:lnTo>
                    <a:lnTo>
                      <a:pt x="13" y="2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7" y="4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83" name="Freeform 96">
                <a:extLst>
                  <a:ext uri="{FF2B5EF4-FFF2-40B4-BE49-F238E27FC236}">
                    <a16:creationId xmlns:a16="http://schemas.microsoft.com/office/drawing/2014/main" id="{8010DB44-EC04-4F63-99F2-EC17DA7438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4" y="3144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2 h 2"/>
                  <a:gd name="T10" fmla="*/ 0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84" name="Freeform 97">
                <a:extLst>
                  <a:ext uri="{FF2B5EF4-FFF2-40B4-BE49-F238E27FC236}">
                    <a16:creationId xmlns:a16="http://schemas.microsoft.com/office/drawing/2014/main" id="{936A7738-094E-456F-AE73-47360F4993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0" y="3578"/>
                <a:ext cx="8" cy="6"/>
              </a:xfrm>
              <a:custGeom>
                <a:avLst/>
                <a:gdLst>
                  <a:gd name="T0" fmla="*/ 0 w 8"/>
                  <a:gd name="T1" fmla="*/ 4 h 6"/>
                  <a:gd name="T2" fmla="*/ 0 w 8"/>
                  <a:gd name="T3" fmla="*/ 6 h 6"/>
                  <a:gd name="T4" fmla="*/ 0 w 8"/>
                  <a:gd name="T5" fmla="*/ 4 h 6"/>
                  <a:gd name="T6" fmla="*/ 4 w 8"/>
                  <a:gd name="T7" fmla="*/ 2 h 6"/>
                  <a:gd name="T8" fmla="*/ 8 w 8"/>
                  <a:gd name="T9" fmla="*/ 0 h 6"/>
                  <a:gd name="T10" fmla="*/ 4 w 8"/>
                  <a:gd name="T11" fmla="*/ 2 h 6"/>
                  <a:gd name="T12" fmla="*/ 0 w 8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0" y="4"/>
                    </a:moveTo>
                    <a:lnTo>
                      <a:pt x="0" y="6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85" name="Rectangle 98">
                <a:extLst>
                  <a:ext uri="{FF2B5EF4-FFF2-40B4-BE49-F238E27FC236}">
                    <a16:creationId xmlns:a16="http://schemas.microsoft.com/office/drawing/2014/main" id="{2AC9DCE0-11A8-45E1-BAF8-B43E337618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5" y="319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86" name="Freeform 99">
                <a:extLst>
                  <a:ext uri="{FF2B5EF4-FFF2-40B4-BE49-F238E27FC236}">
                    <a16:creationId xmlns:a16="http://schemas.microsoft.com/office/drawing/2014/main" id="{31FA677D-F988-4AB2-A687-98DB6BD455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1" y="2479"/>
                <a:ext cx="8" cy="2"/>
              </a:xfrm>
              <a:custGeom>
                <a:avLst/>
                <a:gdLst>
                  <a:gd name="T0" fmla="*/ 8 w 8"/>
                  <a:gd name="T1" fmla="*/ 2 h 2"/>
                  <a:gd name="T2" fmla="*/ 6 w 8"/>
                  <a:gd name="T3" fmla="*/ 0 h 2"/>
                  <a:gd name="T4" fmla="*/ 0 w 8"/>
                  <a:gd name="T5" fmla="*/ 0 h 2"/>
                  <a:gd name="T6" fmla="*/ 6 w 8"/>
                  <a:gd name="T7" fmla="*/ 0 h 2"/>
                  <a:gd name="T8" fmla="*/ 8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8" y="2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87" name="Freeform 100">
                <a:extLst>
                  <a:ext uri="{FF2B5EF4-FFF2-40B4-BE49-F238E27FC236}">
                    <a16:creationId xmlns:a16="http://schemas.microsoft.com/office/drawing/2014/main" id="{5099B174-24A1-4F35-A2E5-3DD69509B6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5" y="2486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2 h 2"/>
                  <a:gd name="T4" fmla="*/ 0 w 2"/>
                  <a:gd name="T5" fmla="*/ 0 h 2"/>
                  <a:gd name="T6" fmla="*/ 0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88" name="Rectangle 101">
                <a:extLst>
                  <a:ext uri="{FF2B5EF4-FFF2-40B4-BE49-F238E27FC236}">
                    <a16:creationId xmlns:a16="http://schemas.microsoft.com/office/drawing/2014/main" id="{DBEBCB88-0798-4C2A-8115-19AE1C22C1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1" y="261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89" name="Freeform 102">
                <a:extLst>
                  <a:ext uri="{FF2B5EF4-FFF2-40B4-BE49-F238E27FC236}">
                    <a16:creationId xmlns:a16="http://schemas.microsoft.com/office/drawing/2014/main" id="{202DFF77-ACB7-4113-95A9-2B5ED25776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4" y="3180"/>
                <a:ext cx="1" cy="15"/>
              </a:xfrm>
              <a:custGeom>
                <a:avLst/>
                <a:gdLst>
                  <a:gd name="T0" fmla="*/ 0 w 1"/>
                  <a:gd name="T1" fmla="*/ 3 h 15"/>
                  <a:gd name="T2" fmla="*/ 1 w 1"/>
                  <a:gd name="T3" fmla="*/ 7 h 15"/>
                  <a:gd name="T4" fmla="*/ 0 w 1"/>
                  <a:gd name="T5" fmla="*/ 15 h 15"/>
                  <a:gd name="T6" fmla="*/ 1 w 1"/>
                  <a:gd name="T7" fmla="*/ 7 h 15"/>
                  <a:gd name="T8" fmla="*/ 0 w 1"/>
                  <a:gd name="T9" fmla="*/ 3 h 15"/>
                  <a:gd name="T10" fmla="*/ 0 w 1"/>
                  <a:gd name="T11" fmla="*/ 2 h 15"/>
                  <a:gd name="T12" fmla="*/ 0 w 1"/>
                  <a:gd name="T13" fmla="*/ 0 h 15"/>
                  <a:gd name="T14" fmla="*/ 0 w 1"/>
                  <a:gd name="T15" fmla="*/ 2 h 15"/>
                  <a:gd name="T16" fmla="*/ 0 w 1"/>
                  <a:gd name="T17" fmla="*/ 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15">
                    <a:moveTo>
                      <a:pt x="0" y="3"/>
                    </a:moveTo>
                    <a:lnTo>
                      <a:pt x="1" y="7"/>
                    </a:lnTo>
                    <a:lnTo>
                      <a:pt x="0" y="15"/>
                    </a:lnTo>
                    <a:lnTo>
                      <a:pt x="1" y="7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90" name="Freeform 103">
                <a:extLst>
                  <a:ext uri="{FF2B5EF4-FFF2-40B4-BE49-F238E27FC236}">
                    <a16:creationId xmlns:a16="http://schemas.microsoft.com/office/drawing/2014/main" id="{771ED69A-2E2F-4D04-9520-FA32543637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9" y="2494"/>
                <a:ext cx="2" cy="14"/>
              </a:xfrm>
              <a:custGeom>
                <a:avLst/>
                <a:gdLst>
                  <a:gd name="T0" fmla="*/ 0 w 2"/>
                  <a:gd name="T1" fmla="*/ 4 h 14"/>
                  <a:gd name="T2" fmla="*/ 2 w 2"/>
                  <a:gd name="T3" fmla="*/ 14 h 14"/>
                  <a:gd name="T4" fmla="*/ 2 w 2"/>
                  <a:gd name="T5" fmla="*/ 14 h 14"/>
                  <a:gd name="T6" fmla="*/ 0 w 2"/>
                  <a:gd name="T7" fmla="*/ 4 h 14"/>
                  <a:gd name="T8" fmla="*/ 0 w 2"/>
                  <a:gd name="T9" fmla="*/ 2 h 14"/>
                  <a:gd name="T10" fmla="*/ 0 w 2"/>
                  <a:gd name="T11" fmla="*/ 0 h 14"/>
                  <a:gd name="T12" fmla="*/ 0 w 2"/>
                  <a:gd name="T13" fmla="*/ 2 h 14"/>
                  <a:gd name="T14" fmla="*/ 0 w 2"/>
                  <a:gd name="T15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4">
                    <a:moveTo>
                      <a:pt x="0" y="4"/>
                    </a:moveTo>
                    <a:lnTo>
                      <a:pt x="2" y="14"/>
                    </a:lnTo>
                    <a:lnTo>
                      <a:pt x="2" y="1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91" name="Freeform 104">
                <a:extLst>
                  <a:ext uri="{FF2B5EF4-FFF2-40B4-BE49-F238E27FC236}">
                    <a16:creationId xmlns:a16="http://schemas.microsoft.com/office/drawing/2014/main" id="{15E7DD4A-B7DE-4919-8108-08E190AF1E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" y="3564"/>
                <a:ext cx="4" cy="4"/>
              </a:xfrm>
              <a:custGeom>
                <a:avLst/>
                <a:gdLst>
                  <a:gd name="T0" fmla="*/ 0 w 4"/>
                  <a:gd name="T1" fmla="*/ 4 h 4"/>
                  <a:gd name="T2" fmla="*/ 2 w 4"/>
                  <a:gd name="T3" fmla="*/ 2 h 4"/>
                  <a:gd name="T4" fmla="*/ 4 w 4"/>
                  <a:gd name="T5" fmla="*/ 0 h 4"/>
                  <a:gd name="T6" fmla="*/ 2 w 4"/>
                  <a:gd name="T7" fmla="*/ 2 h 4"/>
                  <a:gd name="T8" fmla="*/ 0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2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92" name="Freeform 105">
                <a:extLst>
                  <a:ext uri="{FF2B5EF4-FFF2-40B4-BE49-F238E27FC236}">
                    <a16:creationId xmlns:a16="http://schemas.microsoft.com/office/drawing/2014/main" id="{86302ABD-909A-454A-9A3C-91033CFF1C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" y="3197"/>
                <a:ext cx="13" cy="2"/>
              </a:xfrm>
              <a:custGeom>
                <a:avLst/>
                <a:gdLst>
                  <a:gd name="T0" fmla="*/ 12 w 13"/>
                  <a:gd name="T1" fmla="*/ 2 h 2"/>
                  <a:gd name="T2" fmla="*/ 13 w 13"/>
                  <a:gd name="T3" fmla="*/ 2 h 2"/>
                  <a:gd name="T4" fmla="*/ 12 w 13"/>
                  <a:gd name="T5" fmla="*/ 2 h 2"/>
                  <a:gd name="T6" fmla="*/ 10 w 13"/>
                  <a:gd name="T7" fmla="*/ 2 h 2"/>
                  <a:gd name="T8" fmla="*/ 0 w 13"/>
                  <a:gd name="T9" fmla="*/ 0 h 2"/>
                  <a:gd name="T10" fmla="*/ 10 w 13"/>
                  <a:gd name="T11" fmla="*/ 2 h 2"/>
                  <a:gd name="T12" fmla="*/ 12 w 13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2">
                    <a:moveTo>
                      <a:pt x="12" y="2"/>
                    </a:moveTo>
                    <a:lnTo>
                      <a:pt x="13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10" y="2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93" name="Freeform 106">
                <a:extLst>
                  <a:ext uri="{FF2B5EF4-FFF2-40B4-BE49-F238E27FC236}">
                    <a16:creationId xmlns:a16="http://schemas.microsoft.com/office/drawing/2014/main" id="{EA21280F-4593-447D-B633-68A29EA8F0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7" y="3072"/>
                <a:ext cx="2" cy="6"/>
              </a:xfrm>
              <a:custGeom>
                <a:avLst/>
                <a:gdLst>
                  <a:gd name="T0" fmla="*/ 2 w 2"/>
                  <a:gd name="T1" fmla="*/ 6 h 6"/>
                  <a:gd name="T2" fmla="*/ 0 w 2"/>
                  <a:gd name="T3" fmla="*/ 2 h 6"/>
                  <a:gd name="T4" fmla="*/ 2 w 2"/>
                  <a:gd name="T5" fmla="*/ 0 h 6"/>
                  <a:gd name="T6" fmla="*/ 0 w 2"/>
                  <a:gd name="T7" fmla="*/ 2 h 6"/>
                  <a:gd name="T8" fmla="*/ 2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94" name="Rectangle 107">
                <a:extLst>
                  <a:ext uri="{FF2B5EF4-FFF2-40B4-BE49-F238E27FC236}">
                    <a16:creationId xmlns:a16="http://schemas.microsoft.com/office/drawing/2014/main" id="{AD9B281F-C194-43EA-9869-6381D9266A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7" y="306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95" name="Rectangle 108">
                <a:extLst>
                  <a:ext uri="{FF2B5EF4-FFF2-40B4-BE49-F238E27FC236}">
                    <a16:creationId xmlns:a16="http://schemas.microsoft.com/office/drawing/2014/main" id="{47F131C0-7C79-4C95-9C95-56EF332B74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5" y="2479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96" name="Freeform 109">
                <a:extLst>
                  <a:ext uri="{FF2B5EF4-FFF2-40B4-BE49-F238E27FC236}">
                    <a16:creationId xmlns:a16="http://schemas.microsoft.com/office/drawing/2014/main" id="{4A3B056E-E528-418E-B486-9665E042E7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9" y="3088"/>
                <a:ext cx="18" cy="33"/>
              </a:xfrm>
              <a:custGeom>
                <a:avLst/>
                <a:gdLst>
                  <a:gd name="T0" fmla="*/ 2 w 18"/>
                  <a:gd name="T1" fmla="*/ 12 h 33"/>
                  <a:gd name="T2" fmla="*/ 6 w 18"/>
                  <a:gd name="T3" fmla="*/ 21 h 33"/>
                  <a:gd name="T4" fmla="*/ 8 w 18"/>
                  <a:gd name="T5" fmla="*/ 27 h 33"/>
                  <a:gd name="T6" fmla="*/ 10 w 18"/>
                  <a:gd name="T7" fmla="*/ 29 h 33"/>
                  <a:gd name="T8" fmla="*/ 12 w 18"/>
                  <a:gd name="T9" fmla="*/ 31 h 33"/>
                  <a:gd name="T10" fmla="*/ 16 w 18"/>
                  <a:gd name="T11" fmla="*/ 31 h 33"/>
                  <a:gd name="T12" fmla="*/ 18 w 18"/>
                  <a:gd name="T13" fmla="*/ 33 h 33"/>
                  <a:gd name="T14" fmla="*/ 16 w 18"/>
                  <a:gd name="T15" fmla="*/ 31 h 33"/>
                  <a:gd name="T16" fmla="*/ 12 w 18"/>
                  <a:gd name="T17" fmla="*/ 31 h 33"/>
                  <a:gd name="T18" fmla="*/ 10 w 18"/>
                  <a:gd name="T19" fmla="*/ 29 h 33"/>
                  <a:gd name="T20" fmla="*/ 8 w 18"/>
                  <a:gd name="T21" fmla="*/ 27 h 33"/>
                  <a:gd name="T22" fmla="*/ 6 w 18"/>
                  <a:gd name="T23" fmla="*/ 21 h 33"/>
                  <a:gd name="T24" fmla="*/ 2 w 18"/>
                  <a:gd name="T25" fmla="*/ 12 h 33"/>
                  <a:gd name="T26" fmla="*/ 0 w 18"/>
                  <a:gd name="T27" fmla="*/ 4 h 33"/>
                  <a:gd name="T28" fmla="*/ 0 w 18"/>
                  <a:gd name="T29" fmla="*/ 0 h 33"/>
                  <a:gd name="T30" fmla="*/ 0 w 18"/>
                  <a:gd name="T31" fmla="*/ 4 h 33"/>
                  <a:gd name="T32" fmla="*/ 2 w 18"/>
                  <a:gd name="T33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33">
                    <a:moveTo>
                      <a:pt x="2" y="12"/>
                    </a:moveTo>
                    <a:lnTo>
                      <a:pt x="6" y="21"/>
                    </a:lnTo>
                    <a:lnTo>
                      <a:pt x="8" y="27"/>
                    </a:lnTo>
                    <a:lnTo>
                      <a:pt x="10" y="29"/>
                    </a:lnTo>
                    <a:lnTo>
                      <a:pt x="12" y="31"/>
                    </a:lnTo>
                    <a:lnTo>
                      <a:pt x="16" y="31"/>
                    </a:lnTo>
                    <a:lnTo>
                      <a:pt x="18" y="33"/>
                    </a:lnTo>
                    <a:lnTo>
                      <a:pt x="16" y="31"/>
                    </a:lnTo>
                    <a:lnTo>
                      <a:pt x="12" y="31"/>
                    </a:lnTo>
                    <a:lnTo>
                      <a:pt x="10" y="29"/>
                    </a:lnTo>
                    <a:lnTo>
                      <a:pt x="8" y="27"/>
                    </a:lnTo>
                    <a:lnTo>
                      <a:pt x="6" y="21"/>
                    </a:lnTo>
                    <a:lnTo>
                      <a:pt x="2" y="12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97" name="Rectangle 110">
                <a:extLst>
                  <a:ext uri="{FF2B5EF4-FFF2-40B4-BE49-F238E27FC236}">
                    <a16:creationId xmlns:a16="http://schemas.microsoft.com/office/drawing/2014/main" id="{06215036-1A40-4D3E-841F-66DEA3C2DF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2" y="322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98" name="Freeform 111">
                <a:extLst>
                  <a:ext uri="{FF2B5EF4-FFF2-40B4-BE49-F238E27FC236}">
                    <a16:creationId xmlns:a16="http://schemas.microsoft.com/office/drawing/2014/main" id="{3E7AE520-582E-46F1-A54A-CB51A59A2D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8" y="3064"/>
                <a:ext cx="11" cy="4"/>
              </a:xfrm>
              <a:custGeom>
                <a:avLst/>
                <a:gdLst>
                  <a:gd name="T0" fmla="*/ 11 w 11"/>
                  <a:gd name="T1" fmla="*/ 4 h 4"/>
                  <a:gd name="T2" fmla="*/ 11 w 11"/>
                  <a:gd name="T3" fmla="*/ 4 h 4"/>
                  <a:gd name="T4" fmla="*/ 11 w 11"/>
                  <a:gd name="T5" fmla="*/ 4 h 4"/>
                  <a:gd name="T6" fmla="*/ 7 w 11"/>
                  <a:gd name="T7" fmla="*/ 4 h 4"/>
                  <a:gd name="T8" fmla="*/ 0 w 11"/>
                  <a:gd name="T9" fmla="*/ 0 h 4"/>
                  <a:gd name="T10" fmla="*/ 7 w 11"/>
                  <a:gd name="T11" fmla="*/ 4 h 4"/>
                  <a:gd name="T12" fmla="*/ 11 w 11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4">
                    <a:moveTo>
                      <a:pt x="11" y="4"/>
                    </a:moveTo>
                    <a:lnTo>
                      <a:pt x="11" y="4"/>
                    </a:lnTo>
                    <a:lnTo>
                      <a:pt x="11" y="4"/>
                    </a:lnTo>
                    <a:lnTo>
                      <a:pt x="7" y="4"/>
                    </a:lnTo>
                    <a:lnTo>
                      <a:pt x="0" y="0"/>
                    </a:lnTo>
                    <a:lnTo>
                      <a:pt x="7" y="4"/>
                    </a:lnTo>
                    <a:lnTo>
                      <a:pt x="1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99" name="Freeform 112">
                <a:extLst>
                  <a:ext uri="{FF2B5EF4-FFF2-40B4-BE49-F238E27FC236}">
                    <a16:creationId xmlns:a16="http://schemas.microsoft.com/office/drawing/2014/main" id="{35402CD9-0683-4AE0-BDBC-103FD26814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0" y="3603"/>
                <a:ext cx="8" cy="12"/>
              </a:xfrm>
              <a:custGeom>
                <a:avLst/>
                <a:gdLst>
                  <a:gd name="T0" fmla="*/ 2 w 8"/>
                  <a:gd name="T1" fmla="*/ 12 h 12"/>
                  <a:gd name="T2" fmla="*/ 0 w 8"/>
                  <a:gd name="T3" fmla="*/ 12 h 12"/>
                  <a:gd name="T4" fmla="*/ 2 w 8"/>
                  <a:gd name="T5" fmla="*/ 12 h 12"/>
                  <a:gd name="T6" fmla="*/ 4 w 8"/>
                  <a:gd name="T7" fmla="*/ 2 h 12"/>
                  <a:gd name="T8" fmla="*/ 8 w 8"/>
                  <a:gd name="T9" fmla="*/ 0 h 12"/>
                  <a:gd name="T10" fmla="*/ 4 w 8"/>
                  <a:gd name="T11" fmla="*/ 2 h 12"/>
                  <a:gd name="T12" fmla="*/ 2 w 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2">
                    <a:moveTo>
                      <a:pt x="2" y="12"/>
                    </a:moveTo>
                    <a:lnTo>
                      <a:pt x="0" y="12"/>
                    </a:lnTo>
                    <a:lnTo>
                      <a:pt x="2" y="12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00" name="Freeform 113">
                <a:extLst>
                  <a:ext uri="{FF2B5EF4-FFF2-40B4-BE49-F238E27FC236}">
                    <a16:creationId xmlns:a16="http://schemas.microsoft.com/office/drawing/2014/main" id="{C57C4B97-1371-4D0D-877C-E242E5D3F5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0" y="3603"/>
                <a:ext cx="31" cy="8"/>
              </a:xfrm>
              <a:custGeom>
                <a:avLst/>
                <a:gdLst>
                  <a:gd name="T0" fmla="*/ 23 w 31"/>
                  <a:gd name="T1" fmla="*/ 6 h 8"/>
                  <a:gd name="T2" fmla="*/ 17 w 31"/>
                  <a:gd name="T3" fmla="*/ 8 h 8"/>
                  <a:gd name="T4" fmla="*/ 11 w 31"/>
                  <a:gd name="T5" fmla="*/ 6 h 8"/>
                  <a:gd name="T6" fmla="*/ 0 w 31"/>
                  <a:gd name="T7" fmla="*/ 0 h 8"/>
                  <a:gd name="T8" fmla="*/ 0 w 31"/>
                  <a:gd name="T9" fmla="*/ 0 h 8"/>
                  <a:gd name="T10" fmla="*/ 11 w 31"/>
                  <a:gd name="T11" fmla="*/ 6 h 8"/>
                  <a:gd name="T12" fmla="*/ 17 w 31"/>
                  <a:gd name="T13" fmla="*/ 8 h 8"/>
                  <a:gd name="T14" fmla="*/ 23 w 31"/>
                  <a:gd name="T15" fmla="*/ 6 h 8"/>
                  <a:gd name="T16" fmla="*/ 29 w 31"/>
                  <a:gd name="T17" fmla="*/ 4 h 8"/>
                  <a:gd name="T18" fmla="*/ 31 w 31"/>
                  <a:gd name="T19" fmla="*/ 2 h 8"/>
                  <a:gd name="T20" fmla="*/ 29 w 31"/>
                  <a:gd name="T21" fmla="*/ 4 h 8"/>
                  <a:gd name="T22" fmla="*/ 23 w 31"/>
                  <a:gd name="T23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1" h="8">
                    <a:moveTo>
                      <a:pt x="23" y="6"/>
                    </a:moveTo>
                    <a:lnTo>
                      <a:pt x="17" y="8"/>
                    </a:lnTo>
                    <a:lnTo>
                      <a:pt x="11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1" y="6"/>
                    </a:lnTo>
                    <a:lnTo>
                      <a:pt x="17" y="8"/>
                    </a:lnTo>
                    <a:lnTo>
                      <a:pt x="23" y="6"/>
                    </a:lnTo>
                    <a:lnTo>
                      <a:pt x="29" y="4"/>
                    </a:lnTo>
                    <a:lnTo>
                      <a:pt x="31" y="2"/>
                    </a:lnTo>
                    <a:lnTo>
                      <a:pt x="29" y="4"/>
                    </a:lnTo>
                    <a:lnTo>
                      <a:pt x="23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01" name="Freeform 114">
                <a:extLst>
                  <a:ext uri="{FF2B5EF4-FFF2-40B4-BE49-F238E27FC236}">
                    <a16:creationId xmlns:a16="http://schemas.microsoft.com/office/drawing/2014/main" id="{9C3F2E09-C65A-4FDA-A40C-7C3A3B0274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" y="3185"/>
                <a:ext cx="0" cy="10"/>
              </a:xfrm>
              <a:custGeom>
                <a:avLst/>
                <a:gdLst>
                  <a:gd name="T0" fmla="*/ 4 h 10"/>
                  <a:gd name="T1" fmla="*/ 8 h 10"/>
                  <a:gd name="T2" fmla="*/ 10 h 10"/>
                  <a:gd name="T3" fmla="*/ 8 h 10"/>
                  <a:gd name="T4" fmla="*/ 4 h 10"/>
                  <a:gd name="T5" fmla="*/ 2 h 10"/>
                  <a:gd name="T6" fmla="*/ 0 h 10"/>
                  <a:gd name="T7" fmla="*/ 0 h 10"/>
                  <a:gd name="T8" fmla="*/ 2 h 10"/>
                  <a:gd name="T9" fmla="*/ 4 h 1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</a:cxnLst>
                <a:rect l="0" t="0" r="r" b="b"/>
                <a:pathLst>
                  <a:path h="10">
                    <a:moveTo>
                      <a:pt x="0" y="4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02" name="Freeform 115">
                <a:extLst>
                  <a:ext uri="{FF2B5EF4-FFF2-40B4-BE49-F238E27FC236}">
                    <a16:creationId xmlns:a16="http://schemas.microsoft.com/office/drawing/2014/main" id="{725753FE-B500-49C9-880C-0A5F6C9051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0" y="3590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0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03" name="Freeform 116">
                <a:extLst>
                  <a:ext uri="{FF2B5EF4-FFF2-40B4-BE49-F238E27FC236}">
                    <a16:creationId xmlns:a16="http://schemas.microsoft.com/office/drawing/2014/main" id="{00D5D027-9B02-4B80-8FC0-797BCEB23D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9" y="2555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0 h 4"/>
                  <a:gd name="T4" fmla="*/ 0 w 2"/>
                  <a:gd name="T5" fmla="*/ 0 h 4"/>
                  <a:gd name="T6" fmla="*/ 2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04" name="Freeform 117">
                <a:extLst>
                  <a:ext uri="{FF2B5EF4-FFF2-40B4-BE49-F238E27FC236}">
                    <a16:creationId xmlns:a16="http://schemas.microsoft.com/office/drawing/2014/main" id="{B504AF96-F751-42D7-AEC7-F903E31EC9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1" y="2608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  <a:gd name="T3" fmla="*/ 0 h 1"/>
                  <a:gd name="T4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05" name="Freeform 118">
                <a:extLst>
                  <a:ext uri="{FF2B5EF4-FFF2-40B4-BE49-F238E27FC236}">
                    <a16:creationId xmlns:a16="http://schemas.microsoft.com/office/drawing/2014/main" id="{E9ECFC57-48D6-4C65-83E4-11E632D918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1" y="3595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0 w 4"/>
                  <a:gd name="T3" fmla="*/ 0 h 2"/>
                  <a:gd name="T4" fmla="*/ 4 w 4"/>
                  <a:gd name="T5" fmla="*/ 0 h 2"/>
                  <a:gd name="T6" fmla="*/ 0 w 4"/>
                  <a:gd name="T7" fmla="*/ 0 h 2"/>
                  <a:gd name="T8" fmla="*/ 0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06" name="Freeform 119">
                <a:extLst>
                  <a:ext uri="{FF2B5EF4-FFF2-40B4-BE49-F238E27FC236}">
                    <a16:creationId xmlns:a16="http://schemas.microsoft.com/office/drawing/2014/main" id="{BDEFCBFF-131B-4B58-892F-60594EDB42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9" y="3080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4 w 4"/>
                  <a:gd name="T3" fmla="*/ 0 h 6"/>
                  <a:gd name="T4" fmla="*/ 4 w 4"/>
                  <a:gd name="T5" fmla="*/ 0 h 6"/>
                  <a:gd name="T6" fmla="*/ 0 w 4"/>
                  <a:gd name="T7" fmla="*/ 6 h 6"/>
                  <a:gd name="T8" fmla="*/ 0 w 4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07" name="Freeform 120">
                <a:extLst>
                  <a:ext uri="{FF2B5EF4-FFF2-40B4-BE49-F238E27FC236}">
                    <a16:creationId xmlns:a16="http://schemas.microsoft.com/office/drawing/2014/main" id="{171C0E69-856E-4B8F-BD96-4D670C1B5B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0" y="3357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2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  <a:gd name="T10" fmla="*/ 2 w 2"/>
                  <a:gd name="T11" fmla="*/ 0 h 2"/>
                  <a:gd name="T12" fmla="*/ 0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08" name="Freeform 121">
                <a:extLst>
                  <a:ext uri="{FF2B5EF4-FFF2-40B4-BE49-F238E27FC236}">
                    <a16:creationId xmlns:a16="http://schemas.microsoft.com/office/drawing/2014/main" id="{CB4F92A2-B3C1-43B6-81E0-4AC5CD4A6F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3336"/>
                <a:ext cx="2" cy="4"/>
              </a:xfrm>
              <a:custGeom>
                <a:avLst/>
                <a:gdLst>
                  <a:gd name="T0" fmla="*/ 0 w 2"/>
                  <a:gd name="T1" fmla="*/ 2 h 4"/>
                  <a:gd name="T2" fmla="*/ 0 w 2"/>
                  <a:gd name="T3" fmla="*/ 4 h 4"/>
                  <a:gd name="T4" fmla="*/ 0 w 2"/>
                  <a:gd name="T5" fmla="*/ 2 h 4"/>
                  <a:gd name="T6" fmla="*/ 0 w 2"/>
                  <a:gd name="T7" fmla="*/ 0 h 4"/>
                  <a:gd name="T8" fmla="*/ 2 w 2"/>
                  <a:gd name="T9" fmla="*/ 0 h 4"/>
                  <a:gd name="T10" fmla="*/ 0 w 2"/>
                  <a:gd name="T11" fmla="*/ 0 h 4"/>
                  <a:gd name="T12" fmla="*/ 0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09" name="Freeform 122">
                <a:extLst>
                  <a:ext uri="{FF2B5EF4-FFF2-40B4-BE49-F238E27FC236}">
                    <a16:creationId xmlns:a16="http://schemas.microsoft.com/office/drawing/2014/main" id="{7C41CC6D-D78D-4F01-82CD-DFD60F1B92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7" y="2637"/>
                <a:ext cx="6" cy="6"/>
              </a:xfrm>
              <a:custGeom>
                <a:avLst/>
                <a:gdLst>
                  <a:gd name="T0" fmla="*/ 4 w 6"/>
                  <a:gd name="T1" fmla="*/ 2 h 6"/>
                  <a:gd name="T2" fmla="*/ 4 w 6"/>
                  <a:gd name="T3" fmla="*/ 6 h 6"/>
                  <a:gd name="T4" fmla="*/ 6 w 6"/>
                  <a:gd name="T5" fmla="*/ 6 h 6"/>
                  <a:gd name="T6" fmla="*/ 4 w 6"/>
                  <a:gd name="T7" fmla="*/ 6 h 6"/>
                  <a:gd name="T8" fmla="*/ 4 w 6"/>
                  <a:gd name="T9" fmla="*/ 2 h 6"/>
                  <a:gd name="T10" fmla="*/ 2 w 6"/>
                  <a:gd name="T11" fmla="*/ 0 h 6"/>
                  <a:gd name="T12" fmla="*/ 0 w 6"/>
                  <a:gd name="T13" fmla="*/ 0 h 6"/>
                  <a:gd name="T14" fmla="*/ 2 w 6"/>
                  <a:gd name="T15" fmla="*/ 0 h 6"/>
                  <a:gd name="T16" fmla="*/ 4 w 6"/>
                  <a:gd name="T1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4" y="2"/>
                    </a:moveTo>
                    <a:lnTo>
                      <a:pt x="4" y="6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10" name="Freeform 123">
                <a:extLst>
                  <a:ext uri="{FF2B5EF4-FFF2-40B4-BE49-F238E27FC236}">
                    <a16:creationId xmlns:a16="http://schemas.microsoft.com/office/drawing/2014/main" id="{7D34315D-1D8B-4CAD-A9FA-4D0023962F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6" y="3330"/>
                <a:ext cx="4" cy="4"/>
              </a:xfrm>
              <a:custGeom>
                <a:avLst/>
                <a:gdLst>
                  <a:gd name="T0" fmla="*/ 0 w 4"/>
                  <a:gd name="T1" fmla="*/ 4 h 4"/>
                  <a:gd name="T2" fmla="*/ 0 w 4"/>
                  <a:gd name="T3" fmla="*/ 4 h 4"/>
                  <a:gd name="T4" fmla="*/ 4 w 4"/>
                  <a:gd name="T5" fmla="*/ 0 h 4"/>
                  <a:gd name="T6" fmla="*/ 0 w 4"/>
                  <a:gd name="T7" fmla="*/ 4 h 4"/>
                  <a:gd name="T8" fmla="*/ 0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0" y="4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11" name="Freeform 124">
                <a:extLst>
                  <a:ext uri="{FF2B5EF4-FFF2-40B4-BE49-F238E27FC236}">
                    <a16:creationId xmlns:a16="http://schemas.microsoft.com/office/drawing/2014/main" id="{1DA8522F-115F-48DF-B4B9-EDC977F51F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4" y="3168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0 w 4"/>
                  <a:gd name="T3" fmla="*/ 0 h 2"/>
                  <a:gd name="T4" fmla="*/ 0 w 4"/>
                  <a:gd name="T5" fmla="*/ 0 h 2"/>
                  <a:gd name="T6" fmla="*/ 4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12" name="Freeform 125">
                <a:extLst>
                  <a:ext uri="{FF2B5EF4-FFF2-40B4-BE49-F238E27FC236}">
                    <a16:creationId xmlns:a16="http://schemas.microsoft.com/office/drawing/2014/main" id="{FF132A89-C11E-4783-8A20-B5B6730A4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3342"/>
                <a:ext cx="0" cy="7"/>
              </a:xfrm>
              <a:custGeom>
                <a:avLst/>
                <a:gdLst>
                  <a:gd name="T0" fmla="*/ 7 h 7"/>
                  <a:gd name="T1" fmla="*/ 0 h 7"/>
                  <a:gd name="T2" fmla="*/ 0 h 7"/>
                  <a:gd name="T3" fmla="*/ 0 h 7"/>
                  <a:gd name="T4" fmla="*/ 7 h 7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7">
                    <a:moveTo>
                      <a:pt x="0" y="7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13" name="Freeform 126">
                <a:extLst>
                  <a:ext uri="{FF2B5EF4-FFF2-40B4-BE49-F238E27FC236}">
                    <a16:creationId xmlns:a16="http://schemas.microsoft.com/office/drawing/2014/main" id="{EAF6EB61-ADB4-4112-90FA-2CD335C2F6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6" y="3129"/>
                <a:ext cx="0" cy="6"/>
              </a:xfrm>
              <a:custGeom>
                <a:avLst/>
                <a:gdLst>
                  <a:gd name="T0" fmla="*/ 6 h 6"/>
                  <a:gd name="T1" fmla="*/ 0 h 6"/>
                  <a:gd name="T2" fmla="*/ 0 h 6"/>
                  <a:gd name="T3" fmla="*/ 0 h 6"/>
                  <a:gd name="T4" fmla="*/ 6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6">
                    <a:moveTo>
                      <a:pt x="0" y="6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14" name="Freeform 127">
                <a:extLst>
                  <a:ext uri="{FF2B5EF4-FFF2-40B4-BE49-F238E27FC236}">
                    <a16:creationId xmlns:a16="http://schemas.microsoft.com/office/drawing/2014/main" id="{08C41612-F403-4DBF-8957-25189CCCEC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2" y="3299"/>
                <a:ext cx="7" cy="6"/>
              </a:xfrm>
              <a:custGeom>
                <a:avLst/>
                <a:gdLst>
                  <a:gd name="T0" fmla="*/ 5 w 7"/>
                  <a:gd name="T1" fmla="*/ 4 h 6"/>
                  <a:gd name="T2" fmla="*/ 0 w 7"/>
                  <a:gd name="T3" fmla="*/ 6 h 6"/>
                  <a:gd name="T4" fmla="*/ 0 w 7"/>
                  <a:gd name="T5" fmla="*/ 6 h 6"/>
                  <a:gd name="T6" fmla="*/ 0 w 7"/>
                  <a:gd name="T7" fmla="*/ 6 h 6"/>
                  <a:gd name="T8" fmla="*/ 5 w 7"/>
                  <a:gd name="T9" fmla="*/ 4 h 6"/>
                  <a:gd name="T10" fmla="*/ 7 w 7"/>
                  <a:gd name="T11" fmla="*/ 2 h 6"/>
                  <a:gd name="T12" fmla="*/ 7 w 7"/>
                  <a:gd name="T13" fmla="*/ 0 h 6"/>
                  <a:gd name="T14" fmla="*/ 7 w 7"/>
                  <a:gd name="T15" fmla="*/ 2 h 6"/>
                  <a:gd name="T16" fmla="*/ 5 w 7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6">
                    <a:moveTo>
                      <a:pt x="5" y="4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" y="4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7" y="2"/>
                    </a:lnTo>
                    <a:lnTo>
                      <a:pt x="5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15" name="Freeform 128">
                <a:extLst>
                  <a:ext uri="{FF2B5EF4-FFF2-40B4-BE49-F238E27FC236}">
                    <a16:creationId xmlns:a16="http://schemas.microsoft.com/office/drawing/2014/main" id="{A72A5708-1156-4A65-A83A-583D93993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1" y="3287"/>
                <a:ext cx="0" cy="8"/>
              </a:xfrm>
              <a:custGeom>
                <a:avLst/>
                <a:gdLst>
                  <a:gd name="T0" fmla="*/ 8 h 8"/>
                  <a:gd name="T1" fmla="*/ 4 h 8"/>
                  <a:gd name="T2" fmla="*/ 0 h 8"/>
                  <a:gd name="T3" fmla="*/ 4 h 8"/>
                  <a:gd name="T4" fmla="*/ 8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8">
                    <a:moveTo>
                      <a:pt x="0" y="8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16" name="Freeform 129">
                <a:extLst>
                  <a:ext uri="{FF2B5EF4-FFF2-40B4-BE49-F238E27FC236}">
                    <a16:creationId xmlns:a16="http://schemas.microsoft.com/office/drawing/2014/main" id="{7CB85600-AF8B-44E4-8319-899713A95E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" y="3314"/>
                <a:ext cx="4" cy="8"/>
              </a:xfrm>
              <a:custGeom>
                <a:avLst/>
                <a:gdLst>
                  <a:gd name="T0" fmla="*/ 0 w 4"/>
                  <a:gd name="T1" fmla="*/ 8 h 8"/>
                  <a:gd name="T2" fmla="*/ 0 w 4"/>
                  <a:gd name="T3" fmla="*/ 8 h 8"/>
                  <a:gd name="T4" fmla="*/ 2 w 4"/>
                  <a:gd name="T5" fmla="*/ 2 h 8"/>
                  <a:gd name="T6" fmla="*/ 4 w 4"/>
                  <a:gd name="T7" fmla="*/ 0 h 8"/>
                  <a:gd name="T8" fmla="*/ 2 w 4"/>
                  <a:gd name="T9" fmla="*/ 2 h 8"/>
                  <a:gd name="T10" fmla="*/ 0 w 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0" y="8"/>
                    </a:moveTo>
                    <a:lnTo>
                      <a:pt x="0" y="8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17" name="Freeform 130">
                <a:extLst>
                  <a:ext uri="{FF2B5EF4-FFF2-40B4-BE49-F238E27FC236}">
                    <a16:creationId xmlns:a16="http://schemas.microsoft.com/office/drawing/2014/main" id="{72461F84-5545-471B-83DD-0AA990BFD0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3351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2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18" name="Rectangle 131">
                <a:extLst>
                  <a:ext uri="{FF2B5EF4-FFF2-40B4-BE49-F238E27FC236}">
                    <a16:creationId xmlns:a16="http://schemas.microsoft.com/office/drawing/2014/main" id="{150108E4-204B-4753-AC3C-4FE8E67B99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23" y="3281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19" name="Freeform 132">
                <a:extLst>
                  <a:ext uri="{FF2B5EF4-FFF2-40B4-BE49-F238E27FC236}">
                    <a16:creationId xmlns:a16="http://schemas.microsoft.com/office/drawing/2014/main" id="{02A16CCF-BFDA-4822-B771-46F45C7462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" y="3326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20" name="Freeform 133">
                <a:extLst>
                  <a:ext uri="{FF2B5EF4-FFF2-40B4-BE49-F238E27FC236}">
                    <a16:creationId xmlns:a16="http://schemas.microsoft.com/office/drawing/2014/main" id="{D4ED3274-03AA-4BEF-A9D0-D78430D0C6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3" y="2543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  <a:gd name="T14" fmla="*/ 0 w 2"/>
                  <a:gd name="T15" fmla="*/ 0 h 2"/>
                  <a:gd name="T16" fmla="*/ 2 w 2"/>
                  <a:gd name="T17" fmla="*/ 0 h 2"/>
                  <a:gd name="T18" fmla="*/ 2 w 2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21" name="Freeform 134">
                <a:extLst>
                  <a:ext uri="{FF2B5EF4-FFF2-40B4-BE49-F238E27FC236}">
                    <a16:creationId xmlns:a16="http://schemas.microsoft.com/office/drawing/2014/main" id="{BB0E064B-DF4F-43F3-98F3-600A74570B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" y="2631"/>
                <a:ext cx="2" cy="6"/>
              </a:xfrm>
              <a:custGeom>
                <a:avLst/>
                <a:gdLst>
                  <a:gd name="T0" fmla="*/ 2 w 2"/>
                  <a:gd name="T1" fmla="*/ 6 h 6"/>
                  <a:gd name="T2" fmla="*/ 2 w 2"/>
                  <a:gd name="T3" fmla="*/ 6 h 6"/>
                  <a:gd name="T4" fmla="*/ 0 w 2"/>
                  <a:gd name="T5" fmla="*/ 0 h 6"/>
                  <a:gd name="T6" fmla="*/ 0 w 2"/>
                  <a:gd name="T7" fmla="*/ 0 h 6"/>
                  <a:gd name="T8" fmla="*/ 2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2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22" name="Freeform 135">
                <a:extLst>
                  <a:ext uri="{FF2B5EF4-FFF2-40B4-BE49-F238E27FC236}">
                    <a16:creationId xmlns:a16="http://schemas.microsoft.com/office/drawing/2014/main" id="{CE4973D4-7099-40B5-B88A-539F948733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7" y="3410"/>
                <a:ext cx="2" cy="16"/>
              </a:xfrm>
              <a:custGeom>
                <a:avLst/>
                <a:gdLst>
                  <a:gd name="T0" fmla="*/ 2 w 2"/>
                  <a:gd name="T1" fmla="*/ 14 h 16"/>
                  <a:gd name="T2" fmla="*/ 0 w 2"/>
                  <a:gd name="T3" fmla="*/ 16 h 16"/>
                  <a:gd name="T4" fmla="*/ 2 w 2"/>
                  <a:gd name="T5" fmla="*/ 14 h 16"/>
                  <a:gd name="T6" fmla="*/ 0 w 2"/>
                  <a:gd name="T7" fmla="*/ 2 h 16"/>
                  <a:gd name="T8" fmla="*/ 0 w 2"/>
                  <a:gd name="T9" fmla="*/ 0 h 16"/>
                  <a:gd name="T10" fmla="*/ 0 w 2"/>
                  <a:gd name="T11" fmla="*/ 2 h 16"/>
                  <a:gd name="T12" fmla="*/ 2 w 2"/>
                  <a:gd name="T13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16">
                    <a:moveTo>
                      <a:pt x="2" y="14"/>
                    </a:moveTo>
                    <a:lnTo>
                      <a:pt x="0" y="16"/>
                    </a:lnTo>
                    <a:lnTo>
                      <a:pt x="2" y="1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23" name="Freeform 136">
                <a:extLst>
                  <a:ext uri="{FF2B5EF4-FFF2-40B4-BE49-F238E27FC236}">
                    <a16:creationId xmlns:a16="http://schemas.microsoft.com/office/drawing/2014/main" id="{4CF4C994-02C1-45B0-8D2A-6BFA1117A2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5" y="3156"/>
                <a:ext cx="4" cy="12"/>
              </a:xfrm>
              <a:custGeom>
                <a:avLst/>
                <a:gdLst>
                  <a:gd name="T0" fmla="*/ 4 w 4"/>
                  <a:gd name="T1" fmla="*/ 12 h 12"/>
                  <a:gd name="T2" fmla="*/ 2 w 4"/>
                  <a:gd name="T3" fmla="*/ 4 h 12"/>
                  <a:gd name="T4" fmla="*/ 0 w 4"/>
                  <a:gd name="T5" fmla="*/ 0 h 12"/>
                  <a:gd name="T6" fmla="*/ 2 w 4"/>
                  <a:gd name="T7" fmla="*/ 4 h 12"/>
                  <a:gd name="T8" fmla="*/ 4 w 4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2">
                    <a:moveTo>
                      <a:pt x="4" y="12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24" name="Freeform 137">
                <a:extLst>
                  <a:ext uri="{FF2B5EF4-FFF2-40B4-BE49-F238E27FC236}">
                    <a16:creationId xmlns:a16="http://schemas.microsoft.com/office/drawing/2014/main" id="{31F1CEC4-75EB-4A3C-A21D-6083913773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3" y="2526"/>
                <a:ext cx="2" cy="17"/>
              </a:xfrm>
              <a:custGeom>
                <a:avLst/>
                <a:gdLst>
                  <a:gd name="T0" fmla="*/ 2 w 2"/>
                  <a:gd name="T1" fmla="*/ 5 h 17"/>
                  <a:gd name="T2" fmla="*/ 2 w 2"/>
                  <a:gd name="T3" fmla="*/ 13 h 17"/>
                  <a:gd name="T4" fmla="*/ 0 w 2"/>
                  <a:gd name="T5" fmla="*/ 17 h 17"/>
                  <a:gd name="T6" fmla="*/ 2 w 2"/>
                  <a:gd name="T7" fmla="*/ 13 h 17"/>
                  <a:gd name="T8" fmla="*/ 2 w 2"/>
                  <a:gd name="T9" fmla="*/ 5 h 17"/>
                  <a:gd name="T10" fmla="*/ 2 w 2"/>
                  <a:gd name="T11" fmla="*/ 0 h 17"/>
                  <a:gd name="T12" fmla="*/ 2 w 2"/>
                  <a:gd name="T13" fmla="*/ 0 h 17"/>
                  <a:gd name="T14" fmla="*/ 2 w 2"/>
                  <a:gd name="T15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7">
                    <a:moveTo>
                      <a:pt x="2" y="5"/>
                    </a:moveTo>
                    <a:lnTo>
                      <a:pt x="2" y="13"/>
                    </a:lnTo>
                    <a:lnTo>
                      <a:pt x="0" y="17"/>
                    </a:lnTo>
                    <a:lnTo>
                      <a:pt x="2" y="13"/>
                    </a:lnTo>
                    <a:lnTo>
                      <a:pt x="2" y="5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25" name="Freeform 138">
                <a:extLst>
                  <a:ext uri="{FF2B5EF4-FFF2-40B4-BE49-F238E27FC236}">
                    <a16:creationId xmlns:a16="http://schemas.microsoft.com/office/drawing/2014/main" id="{2754034D-CD89-48EE-8C98-31C0D6C971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3445"/>
                <a:ext cx="0" cy="4"/>
              </a:xfrm>
              <a:custGeom>
                <a:avLst/>
                <a:gdLst>
                  <a:gd name="T0" fmla="*/ 4 h 4"/>
                  <a:gd name="T1" fmla="*/ 0 h 4"/>
                  <a:gd name="T2" fmla="*/ 4 h 4"/>
                  <a:gd name="T3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26" name="Freeform 139">
                <a:extLst>
                  <a:ext uri="{FF2B5EF4-FFF2-40B4-BE49-F238E27FC236}">
                    <a16:creationId xmlns:a16="http://schemas.microsoft.com/office/drawing/2014/main" id="{2EBE6F46-50BE-427C-92DF-01EEA4D279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1" y="2545"/>
                <a:ext cx="4" cy="8"/>
              </a:xfrm>
              <a:custGeom>
                <a:avLst/>
                <a:gdLst>
                  <a:gd name="T0" fmla="*/ 0 w 4"/>
                  <a:gd name="T1" fmla="*/ 8 h 8"/>
                  <a:gd name="T2" fmla="*/ 0 w 4"/>
                  <a:gd name="T3" fmla="*/ 8 h 8"/>
                  <a:gd name="T4" fmla="*/ 0 w 4"/>
                  <a:gd name="T5" fmla="*/ 8 h 8"/>
                  <a:gd name="T6" fmla="*/ 2 w 4"/>
                  <a:gd name="T7" fmla="*/ 2 h 8"/>
                  <a:gd name="T8" fmla="*/ 4 w 4"/>
                  <a:gd name="T9" fmla="*/ 0 h 8"/>
                  <a:gd name="T10" fmla="*/ 2 w 4"/>
                  <a:gd name="T11" fmla="*/ 2 h 8"/>
                  <a:gd name="T12" fmla="*/ 0 w 4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0" y="8"/>
                    </a:moveTo>
                    <a:lnTo>
                      <a:pt x="0" y="8"/>
                    </a:lnTo>
                    <a:lnTo>
                      <a:pt x="0" y="8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27" name="Freeform 140">
                <a:extLst>
                  <a:ext uri="{FF2B5EF4-FFF2-40B4-BE49-F238E27FC236}">
                    <a16:creationId xmlns:a16="http://schemas.microsoft.com/office/drawing/2014/main" id="{A8DC9F05-68C6-49D6-9068-FFBE93E8CD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7" y="2520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0 h 4"/>
                  <a:gd name="T4" fmla="*/ 2 w 2"/>
                  <a:gd name="T5" fmla="*/ 0 h 4"/>
                  <a:gd name="T6" fmla="*/ 2 w 2"/>
                  <a:gd name="T7" fmla="*/ 0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28" name="Freeform 141">
                <a:extLst>
                  <a:ext uri="{FF2B5EF4-FFF2-40B4-BE49-F238E27FC236}">
                    <a16:creationId xmlns:a16="http://schemas.microsoft.com/office/drawing/2014/main" id="{167E51F8-CAC4-460A-8E43-ABCEF3D146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6" y="3381"/>
                <a:ext cx="8" cy="6"/>
              </a:xfrm>
              <a:custGeom>
                <a:avLst/>
                <a:gdLst>
                  <a:gd name="T0" fmla="*/ 4 w 8"/>
                  <a:gd name="T1" fmla="*/ 4 h 6"/>
                  <a:gd name="T2" fmla="*/ 0 w 8"/>
                  <a:gd name="T3" fmla="*/ 6 h 6"/>
                  <a:gd name="T4" fmla="*/ 0 w 8"/>
                  <a:gd name="T5" fmla="*/ 6 h 6"/>
                  <a:gd name="T6" fmla="*/ 0 w 8"/>
                  <a:gd name="T7" fmla="*/ 6 h 6"/>
                  <a:gd name="T8" fmla="*/ 4 w 8"/>
                  <a:gd name="T9" fmla="*/ 4 h 6"/>
                  <a:gd name="T10" fmla="*/ 6 w 8"/>
                  <a:gd name="T11" fmla="*/ 2 h 6"/>
                  <a:gd name="T12" fmla="*/ 8 w 8"/>
                  <a:gd name="T13" fmla="*/ 0 h 6"/>
                  <a:gd name="T14" fmla="*/ 6 w 8"/>
                  <a:gd name="T15" fmla="*/ 2 h 6"/>
                  <a:gd name="T16" fmla="*/ 4 w 8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6">
                    <a:moveTo>
                      <a:pt x="4" y="4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29" name="Freeform 142">
                <a:extLst>
                  <a:ext uri="{FF2B5EF4-FFF2-40B4-BE49-F238E27FC236}">
                    <a16:creationId xmlns:a16="http://schemas.microsoft.com/office/drawing/2014/main" id="{58F5CD4F-0077-4ADB-9480-507CFE8ED8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0" y="3170"/>
                <a:ext cx="5" cy="8"/>
              </a:xfrm>
              <a:custGeom>
                <a:avLst/>
                <a:gdLst>
                  <a:gd name="T0" fmla="*/ 4 w 5"/>
                  <a:gd name="T1" fmla="*/ 8 h 8"/>
                  <a:gd name="T2" fmla="*/ 4 w 5"/>
                  <a:gd name="T3" fmla="*/ 8 h 8"/>
                  <a:gd name="T4" fmla="*/ 5 w 5"/>
                  <a:gd name="T5" fmla="*/ 4 h 8"/>
                  <a:gd name="T6" fmla="*/ 0 w 5"/>
                  <a:gd name="T7" fmla="*/ 0 h 8"/>
                  <a:gd name="T8" fmla="*/ 5 w 5"/>
                  <a:gd name="T9" fmla="*/ 4 h 8"/>
                  <a:gd name="T10" fmla="*/ 4 w 5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8">
                    <a:moveTo>
                      <a:pt x="4" y="8"/>
                    </a:moveTo>
                    <a:lnTo>
                      <a:pt x="4" y="8"/>
                    </a:lnTo>
                    <a:lnTo>
                      <a:pt x="5" y="4"/>
                    </a:lnTo>
                    <a:lnTo>
                      <a:pt x="0" y="0"/>
                    </a:lnTo>
                    <a:lnTo>
                      <a:pt x="5" y="4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30" name="Rectangle 143">
                <a:extLst>
                  <a:ext uri="{FF2B5EF4-FFF2-40B4-BE49-F238E27FC236}">
                    <a16:creationId xmlns:a16="http://schemas.microsoft.com/office/drawing/2014/main" id="{CCCF30AD-84FE-4B91-BE0C-D8B51015FB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263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31" name="Freeform 144">
                <a:extLst>
                  <a:ext uri="{FF2B5EF4-FFF2-40B4-BE49-F238E27FC236}">
                    <a16:creationId xmlns:a16="http://schemas.microsoft.com/office/drawing/2014/main" id="{3BCA5CC7-DEA3-44B2-B32F-6B3802AF65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3" y="2625"/>
                <a:ext cx="4" cy="6"/>
              </a:xfrm>
              <a:custGeom>
                <a:avLst/>
                <a:gdLst>
                  <a:gd name="T0" fmla="*/ 4 w 4"/>
                  <a:gd name="T1" fmla="*/ 6 h 6"/>
                  <a:gd name="T2" fmla="*/ 4 w 4"/>
                  <a:gd name="T3" fmla="*/ 6 h 6"/>
                  <a:gd name="T4" fmla="*/ 0 w 4"/>
                  <a:gd name="T5" fmla="*/ 0 h 6"/>
                  <a:gd name="T6" fmla="*/ 0 w 4"/>
                  <a:gd name="T7" fmla="*/ 0 h 6"/>
                  <a:gd name="T8" fmla="*/ 0 w 4"/>
                  <a:gd name="T9" fmla="*/ 0 h 6"/>
                  <a:gd name="T10" fmla="*/ 4 w 4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4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32" name="Freeform 145">
                <a:extLst>
                  <a:ext uri="{FF2B5EF4-FFF2-40B4-BE49-F238E27FC236}">
                    <a16:creationId xmlns:a16="http://schemas.microsoft.com/office/drawing/2014/main" id="{6943909C-13BF-499E-80E2-3F99C25D2E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6" y="3228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0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33" name="Freeform 146">
                <a:extLst>
                  <a:ext uri="{FF2B5EF4-FFF2-40B4-BE49-F238E27FC236}">
                    <a16:creationId xmlns:a16="http://schemas.microsoft.com/office/drawing/2014/main" id="{356EB354-86E8-4AD8-90E9-7FDBDBA278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9" y="3148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2 h 4"/>
                  <a:gd name="T4" fmla="*/ 0 w 2"/>
                  <a:gd name="T5" fmla="*/ 0 h 4"/>
                  <a:gd name="T6" fmla="*/ 2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34" name="Freeform 147">
                <a:extLst>
                  <a:ext uri="{FF2B5EF4-FFF2-40B4-BE49-F238E27FC236}">
                    <a16:creationId xmlns:a16="http://schemas.microsoft.com/office/drawing/2014/main" id="{53714507-5BBD-4464-BBEB-AE1008EB10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7" y="3394"/>
                <a:ext cx="13" cy="14"/>
              </a:xfrm>
              <a:custGeom>
                <a:avLst/>
                <a:gdLst>
                  <a:gd name="T0" fmla="*/ 2 w 13"/>
                  <a:gd name="T1" fmla="*/ 10 h 14"/>
                  <a:gd name="T2" fmla="*/ 0 w 13"/>
                  <a:gd name="T3" fmla="*/ 14 h 14"/>
                  <a:gd name="T4" fmla="*/ 2 w 13"/>
                  <a:gd name="T5" fmla="*/ 10 h 14"/>
                  <a:gd name="T6" fmla="*/ 13 w 13"/>
                  <a:gd name="T7" fmla="*/ 0 h 14"/>
                  <a:gd name="T8" fmla="*/ 13 w 13"/>
                  <a:gd name="T9" fmla="*/ 0 h 14"/>
                  <a:gd name="T10" fmla="*/ 13 w 13"/>
                  <a:gd name="T11" fmla="*/ 0 h 14"/>
                  <a:gd name="T12" fmla="*/ 2 w 13"/>
                  <a:gd name="T13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4">
                    <a:moveTo>
                      <a:pt x="2" y="10"/>
                    </a:moveTo>
                    <a:lnTo>
                      <a:pt x="0" y="14"/>
                    </a:lnTo>
                    <a:lnTo>
                      <a:pt x="2" y="1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35" name="Freeform 148">
                <a:extLst>
                  <a:ext uri="{FF2B5EF4-FFF2-40B4-BE49-F238E27FC236}">
                    <a16:creationId xmlns:a16="http://schemas.microsoft.com/office/drawing/2014/main" id="{4ED16657-F8CC-4361-A78C-868F2022D1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0" y="2455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2 h 2"/>
                  <a:gd name="T4" fmla="*/ 0 w 4"/>
                  <a:gd name="T5" fmla="*/ 0 h 2"/>
                  <a:gd name="T6" fmla="*/ 4 w 4"/>
                  <a:gd name="T7" fmla="*/ 2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36" name="Freeform 149">
                <a:extLst>
                  <a:ext uri="{FF2B5EF4-FFF2-40B4-BE49-F238E27FC236}">
                    <a16:creationId xmlns:a16="http://schemas.microsoft.com/office/drawing/2014/main" id="{97481085-79DF-4CE9-8789-65A565E92B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9" y="3221"/>
                <a:ext cx="2" cy="3"/>
              </a:xfrm>
              <a:custGeom>
                <a:avLst/>
                <a:gdLst>
                  <a:gd name="T0" fmla="*/ 2 w 2"/>
                  <a:gd name="T1" fmla="*/ 0 h 3"/>
                  <a:gd name="T2" fmla="*/ 2 w 2"/>
                  <a:gd name="T3" fmla="*/ 0 h 3"/>
                  <a:gd name="T4" fmla="*/ 2 w 2"/>
                  <a:gd name="T5" fmla="*/ 0 h 3"/>
                  <a:gd name="T6" fmla="*/ 0 w 2"/>
                  <a:gd name="T7" fmla="*/ 3 h 3"/>
                  <a:gd name="T8" fmla="*/ 2 w 2"/>
                  <a:gd name="T9" fmla="*/ 0 h 3"/>
                  <a:gd name="T10" fmla="*/ 2 w 2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37" name="Freeform 150">
                <a:extLst>
                  <a:ext uri="{FF2B5EF4-FFF2-40B4-BE49-F238E27FC236}">
                    <a16:creationId xmlns:a16="http://schemas.microsoft.com/office/drawing/2014/main" id="{213811E3-2D91-4CD6-8819-2334DEB58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8" y="3018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  <a:gd name="T3" fmla="*/ 0 h 1"/>
                  <a:gd name="T4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38" name="Rectangle 151">
                <a:extLst>
                  <a:ext uri="{FF2B5EF4-FFF2-40B4-BE49-F238E27FC236}">
                    <a16:creationId xmlns:a16="http://schemas.microsoft.com/office/drawing/2014/main" id="{F94D404A-EDC5-40A2-9444-79723D62C9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8" y="302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39" name="Freeform 152">
                <a:extLst>
                  <a:ext uri="{FF2B5EF4-FFF2-40B4-BE49-F238E27FC236}">
                    <a16:creationId xmlns:a16="http://schemas.microsoft.com/office/drawing/2014/main" id="{2EDECCDE-88D6-4DE6-BBC8-17F6D4B528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" y="2336"/>
                <a:ext cx="39" cy="18"/>
              </a:xfrm>
              <a:custGeom>
                <a:avLst/>
                <a:gdLst>
                  <a:gd name="T0" fmla="*/ 0 w 39"/>
                  <a:gd name="T1" fmla="*/ 16 h 18"/>
                  <a:gd name="T2" fmla="*/ 0 w 39"/>
                  <a:gd name="T3" fmla="*/ 18 h 18"/>
                  <a:gd name="T4" fmla="*/ 0 w 39"/>
                  <a:gd name="T5" fmla="*/ 16 h 18"/>
                  <a:gd name="T6" fmla="*/ 29 w 39"/>
                  <a:gd name="T7" fmla="*/ 8 h 18"/>
                  <a:gd name="T8" fmla="*/ 39 w 39"/>
                  <a:gd name="T9" fmla="*/ 0 h 18"/>
                  <a:gd name="T10" fmla="*/ 29 w 39"/>
                  <a:gd name="T11" fmla="*/ 8 h 18"/>
                  <a:gd name="T12" fmla="*/ 0 w 39"/>
                  <a:gd name="T13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18">
                    <a:moveTo>
                      <a:pt x="0" y="16"/>
                    </a:moveTo>
                    <a:lnTo>
                      <a:pt x="0" y="18"/>
                    </a:lnTo>
                    <a:lnTo>
                      <a:pt x="0" y="16"/>
                    </a:lnTo>
                    <a:lnTo>
                      <a:pt x="29" y="8"/>
                    </a:lnTo>
                    <a:lnTo>
                      <a:pt x="39" y="0"/>
                    </a:lnTo>
                    <a:lnTo>
                      <a:pt x="29" y="8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40" name="Freeform 153">
                <a:extLst>
                  <a:ext uri="{FF2B5EF4-FFF2-40B4-BE49-F238E27FC236}">
                    <a16:creationId xmlns:a16="http://schemas.microsoft.com/office/drawing/2014/main" id="{863216CE-D89E-4485-A64A-4ABA26D74C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2" y="3207"/>
                <a:ext cx="6" cy="6"/>
              </a:xfrm>
              <a:custGeom>
                <a:avLst/>
                <a:gdLst>
                  <a:gd name="T0" fmla="*/ 4 w 6"/>
                  <a:gd name="T1" fmla="*/ 4 h 6"/>
                  <a:gd name="T2" fmla="*/ 6 w 6"/>
                  <a:gd name="T3" fmla="*/ 0 h 6"/>
                  <a:gd name="T4" fmla="*/ 6 w 6"/>
                  <a:gd name="T5" fmla="*/ 0 h 6"/>
                  <a:gd name="T6" fmla="*/ 6 w 6"/>
                  <a:gd name="T7" fmla="*/ 0 h 6"/>
                  <a:gd name="T8" fmla="*/ 4 w 6"/>
                  <a:gd name="T9" fmla="*/ 4 h 6"/>
                  <a:gd name="T10" fmla="*/ 4 w 6"/>
                  <a:gd name="T11" fmla="*/ 6 h 6"/>
                  <a:gd name="T12" fmla="*/ 0 w 6"/>
                  <a:gd name="T13" fmla="*/ 6 h 6"/>
                  <a:gd name="T14" fmla="*/ 4 w 6"/>
                  <a:gd name="T15" fmla="*/ 6 h 6"/>
                  <a:gd name="T16" fmla="*/ 4 w 6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4" y="4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41" name="Freeform 154">
                <a:extLst>
                  <a:ext uri="{FF2B5EF4-FFF2-40B4-BE49-F238E27FC236}">
                    <a16:creationId xmlns:a16="http://schemas.microsoft.com/office/drawing/2014/main" id="{82723677-21FB-4B54-838E-43E263BFE9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6" y="3761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2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42" name="Freeform 155">
                <a:extLst>
                  <a:ext uri="{FF2B5EF4-FFF2-40B4-BE49-F238E27FC236}">
                    <a16:creationId xmlns:a16="http://schemas.microsoft.com/office/drawing/2014/main" id="{9C467039-832B-4D67-8585-2C0F0F9313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8" y="3750"/>
                <a:ext cx="6" cy="9"/>
              </a:xfrm>
              <a:custGeom>
                <a:avLst/>
                <a:gdLst>
                  <a:gd name="T0" fmla="*/ 4 w 6"/>
                  <a:gd name="T1" fmla="*/ 6 h 9"/>
                  <a:gd name="T2" fmla="*/ 4 w 6"/>
                  <a:gd name="T3" fmla="*/ 8 h 9"/>
                  <a:gd name="T4" fmla="*/ 0 w 6"/>
                  <a:gd name="T5" fmla="*/ 9 h 9"/>
                  <a:gd name="T6" fmla="*/ 4 w 6"/>
                  <a:gd name="T7" fmla="*/ 8 h 9"/>
                  <a:gd name="T8" fmla="*/ 4 w 6"/>
                  <a:gd name="T9" fmla="*/ 6 h 9"/>
                  <a:gd name="T10" fmla="*/ 6 w 6"/>
                  <a:gd name="T11" fmla="*/ 2 h 9"/>
                  <a:gd name="T12" fmla="*/ 6 w 6"/>
                  <a:gd name="T13" fmla="*/ 0 h 9"/>
                  <a:gd name="T14" fmla="*/ 6 w 6"/>
                  <a:gd name="T15" fmla="*/ 2 h 9"/>
                  <a:gd name="T16" fmla="*/ 4 w 6"/>
                  <a:gd name="T17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9">
                    <a:moveTo>
                      <a:pt x="4" y="6"/>
                    </a:moveTo>
                    <a:lnTo>
                      <a:pt x="4" y="8"/>
                    </a:lnTo>
                    <a:lnTo>
                      <a:pt x="0" y="9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43" name="Freeform 156">
                <a:extLst>
                  <a:ext uri="{FF2B5EF4-FFF2-40B4-BE49-F238E27FC236}">
                    <a16:creationId xmlns:a16="http://schemas.microsoft.com/office/drawing/2014/main" id="{4C4DA884-22BB-4437-B755-35519C467D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8" y="3041"/>
                <a:ext cx="20" cy="10"/>
              </a:xfrm>
              <a:custGeom>
                <a:avLst/>
                <a:gdLst>
                  <a:gd name="T0" fmla="*/ 16 w 20"/>
                  <a:gd name="T1" fmla="*/ 10 h 10"/>
                  <a:gd name="T2" fmla="*/ 20 w 20"/>
                  <a:gd name="T3" fmla="*/ 8 h 10"/>
                  <a:gd name="T4" fmla="*/ 16 w 20"/>
                  <a:gd name="T5" fmla="*/ 10 h 10"/>
                  <a:gd name="T6" fmla="*/ 8 w 20"/>
                  <a:gd name="T7" fmla="*/ 8 h 10"/>
                  <a:gd name="T8" fmla="*/ 0 w 20"/>
                  <a:gd name="T9" fmla="*/ 0 h 10"/>
                  <a:gd name="T10" fmla="*/ 8 w 20"/>
                  <a:gd name="T11" fmla="*/ 8 h 10"/>
                  <a:gd name="T12" fmla="*/ 16 w 20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">
                    <a:moveTo>
                      <a:pt x="16" y="10"/>
                    </a:moveTo>
                    <a:lnTo>
                      <a:pt x="20" y="8"/>
                    </a:lnTo>
                    <a:lnTo>
                      <a:pt x="16" y="10"/>
                    </a:lnTo>
                    <a:lnTo>
                      <a:pt x="8" y="8"/>
                    </a:lnTo>
                    <a:lnTo>
                      <a:pt x="0" y="0"/>
                    </a:lnTo>
                    <a:lnTo>
                      <a:pt x="8" y="8"/>
                    </a:lnTo>
                    <a:lnTo>
                      <a:pt x="16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44" name="Freeform 157">
                <a:extLst>
                  <a:ext uri="{FF2B5EF4-FFF2-40B4-BE49-F238E27FC236}">
                    <a16:creationId xmlns:a16="http://schemas.microsoft.com/office/drawing/2014/main" id="{D66A57A8-B35A-4CE6-A6D0-DC9B83D33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1" y="3232"/>
                <a:ext cx="6" cy="14"/>
              </a:xfrm>
              <a:custGeom>
                <a:avLst/>
                <a:gdLst>
                  <a:gd name="T0" fmla="*/ 2 w 6"/>
                  <a:gd name="T1" fmla="*/ 4 h 14"/>
                  <a:gd name="T2" fmla="*/ 4 w 6"/>
                  <a:gd name="T3" fmla="*/ 2 h 14"/>
                  <a:gd name="T4" fmla="*/ 6 w 6"/>
                  <a:gd name="T5" fmla="*/ 0 h 14"/>
                  <a:gd name="T6" fmla="*/ 6 w 6"/>
                  <a:gd name="T7" fmla="*/ 0 h 14"/>
                  <a:gd name="T8" fmla="*/ 4 w 6"/>
                  <a:gd name="T9" fmla="*/ 2 h 14"/>
                  <a:gd name="T10" fmla="*/ 2 w 6"/>
                  <a:gd name="T11" fmla="*/ 4 h 14"/>
                  <a:gd name="T12" fmla="*/ 0 w 6"/>
                  <a:gd name="T13" fmla="*/ 14 h 14"/>
                  <a:gd name="T14" fmla="*/ 0 w 6"/>
                  <a:gd name="T15" fmla="*/ 14 h 14"/>
                  <a:gd name="T16" fmla="*/ 2 w 6"/>
                  <a:gd name="T17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4">
                    <a:moveTo>
                      <a:pt x="2" y="4"/>
                    </a:move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45" name="Freeform 158">
                <a:extLst>
                  <a:ext uri="{FF2B5EF4-FFF2-40B4-BE49-F238E27FC236}">
                    <a16:creationId xmlns:a16="http://schemas.microsoft.com/office/drawing/2014/main" id="{8FF503EC-7160-4248-A9B0-DF26163597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4" y="3033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46" name="Freeform 159">
                <a:extLst>
                  <a:ext uri="{FF2B5EF4-FFF2-40B4-BE49-F238E27FC236}">
                    <a16:creationId xmlns:a16="http://schemas.microsoft.com/office/drawing/2014/main" id="{0B76B00E-1E31-4882-BE1E-14D91E40DF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0" y="3711"/>
                <a:ext cx="10" cy="15"/>
              </a:xfrm>
              <a:custGeom>
                <a:avLst/>
                <a:gdLst>
                  <a:gd name="T0" fmla="*/ 6 w 10"/>
                  <a:gd name="T1" fmla="*/ 4 h 15"/>
                  <a:gd name="T2" fmla="*/ 0 w 10"/>
                  <a:gd name="T3" fmla="*/ 13 h 15"/>
                  <a:gd name="T4" fmla="*/ 0 w 10"/>
                  <a:gd name="T5" fmla="*/ 15 h 15"/>
                  <a:gd name="T6" fmla="*/ 0 w 10"/>
                  <a:gd name="T7" fmla="*/ 13 h 15"/>
                  <a:gd name="T8" fmla="*/ 6 w 10"/>
                  <a:gd name="T9" fmla="*/ 4 h 15"/>
                  <a:gd name="T10" fmla="*/ 10 w 10"/>
                  <a:gd name="T11" fmla="*/ 0 h 15"/>
                  <a:gd name="T12" fmla="*/ 10 w 10"/>
                  <a:gd name="T13" fmla="*/ 0 h 15"/>
                  <a:gd name="T14" fmla="*/ 6 w 10"/>
                  <a:gd name="T15" fmla="*/ 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5">
                    <a:moveTo>
                      <a:pt x="6" y="4"/>
                    </a:moveTo>
                    <a:lnTo>
                      <a:pt x="0" y="13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6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47" name="Freeform 160">
                <a:extLst>
                  <a:ext uri="{FF2B5EF4-FFF2-40B4-BE49-F238E27FC236}">
                    <a16:creationId xmlns:a16="http://schemas.microsoft.com/office/drawing/2014/main" id="{2189B14B-C012-4EFC-BB34-5A1E85FB26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4" y="3732"/>
                <a:ext cx="4" cy="12"/>
              </a:xfrm>
              <a:custGeom>
                <a:avLst/>
                <a:gdLst>
                  <a:gd name="T0" fmla="*/ 2 w 4"/>
                  <a:gd name="T1" fmla="*/ 6 h 12"/>
                  <a:gd name="T2" fmla="*/ 0 w 4"/>
                  <a:gd name="T3" fmla="*/ 10 h 12"/>
                  <a:gd name="T4" fmla="*/ 0 w 4"/>
                  <a:gd name="T5" fmla="*/ 12 h 12"/>
                  <a:gd name="T6" fmla="*/ 0 w 4"/>
                  <a:gd name="T7" fmla="*/ 12 h 12"/>
                  <a:gd name="T8" fmla="*/ 0 w 4"/>
                  <a:gd name="T9" fmla="*/ 12 h 12"/>
                  <a:gd name="T10" fmla="*/ 0 w 4"/>
                  <a:gd name="T11" fmla="*/ 10 h 12"/>
                  <a:gd name="T12" fmla="*/ 2 w 4"/>
                  <a:gd name="T13" fmla="*/ 6 h 12"/>
                  <a:gd name="T14" fmla="*/ 4 w 4"/>
                  <a:gd name="T15" fmla="*/ 4 h 12"/>
                  <a:gd name="T16" fmla="*/ 4 w 4"/>
                  <a:gd name="T17" fmla="*/ 0 h 12"/>
                  <a:gd name="T18" fmla="*/ 4 w 4"/>
                  <a:gd name="T19" fmla="*/ 4 h 12"/>
                  <a:gd name="T20" fmla="*/ 2 w 4"/>
                  <a:gd name="T21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12">
                    <a:moveTo>
                      <a:pt x="2" y="6"/>
                    </a:move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48" name="Rectangle 161">
                <a:extLst>
                  <a:ext uri="{FF2B5EF4-FFF2-40B4-BE49-F238E27FC236}">
                    <a16:creationId xmlns:a16="http://schemas.microsoft.com/office/drawing/2014/main" id="{E6E22194-A0B0-4741-A543-7B45DB5040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6" y="24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49" name="Freeform 162">
                <a:extLst>
                  <a:ext uri="{FF2B5EF4-FFF2-40B4-BE49-F238E27FC236}">
                    <a16:creationId xmlns:a16="http://schemas.microsoft.com/office/drawing/2014/main" id="{3024A04D-949B-4D79-8352-21C8515683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8" y="2461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50" name="Freeform 163">
                <a:extLst>
                  <a:ext uri="{FF2B5EF4-FFF2-40B4-BE49-F238E27FC236}">
                    <a16:creationId xmlns:a16="http://schemas.microsoft.com/office/drawing/2014/main" id="{7EB7CF82-E277-42E1-B897-3CAAC966D5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3" y="3197"/>
                <a:ext cx="6" cy="6"/>
              </a:xfrm>
              <a:custGeom>
                <a:avLst/>
                <a:gdLst>
                  <a:gd name="T0" fmla="*/ 6 w 6"/>
                  <a:gd name="T1" fmla="*/ 0 h 6"/>
                  <a:gd name="T2" fmla="*/ 6 w 6"/>
                  <a:gd name="T3" fmla="*/ 0 h 6"/>
                  <a:gd name="T4" fmla="*/ 6 w 6"/>
                  <a:gd name="T5" fmla="*/ 0 h 6"/>
                  <a:gd name="T6" fmla="*/ 6 w 6"/>
                  <a:gd name="T7" fmla="*/ 0 h 6"/>
                  <a:gd name="T8" fmla="*/ 2 w 6"/>
                  <a:gd name="T9" fmla="*/ 4 h 6"/>
                  <a:gd name="T10" fmla="*/ 0 w 6"/>
                  <a:gd name="T11" fmla="*/ 6 h 6"/>
                  <a:gd name="T12" fmla="*/ 2 w 6"/>
                  <a:gd name="T13" fmla="*/ 4 h 6"/>
                  <a:gd name="T14" fmla="*/ 6 w 6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51" name="Freeform 164">
                <a:extLst>
                  <a:ext uri="{FF2B5EF4-FFF2-40B4-BE49-F238E27FC236}">
                    <a16:creationId xmlns:a16="http://schemas.microsoft.com/office/drawing/2014/main" id="{648888D8-C286-48E4-A4BA-E5C94256FB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9" y="2416"/>
                <a:ext cx="8" cy="18"/>
              </a:xfrm>
              <a:custGeom>
                <a:avLst/>
                <a:gdLst>
                  <a:gd name="T0" fmla="*/ 0 w 8"/>
                  <a:gd name="T1" fmla="*/ 18 h 18"/>
                  <a:gd name="T2" fmla="*/ 0 w 8"/>
                  <a:gd name="T3" fmla="*/ 18 h 18"/>
                  <a:gd name="T4" fmla="*/ 8 w 8"/>
                  <a:gd name="T5" fmla="*/ 2 h 18"/>
                  <a:gd name="T6" fmla="*/ 8 w 8"/>
                  <a:gd name="T7" fmla="*/ 0 h 18"/>
                  <a:gd name="T8" fmla="*/ 8 w 8"/>
                  <a:gd name="T9" fmla="*/ 2 h 18"/>
                  <a:gd name="T10" fmla="*/ 0 w 8"/>
                  <a:gd name="T11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0" y="18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52" name="Freeform 165">
                <a:extLst>
                  <a:ext uri="{FF2B5EF4-FFF2-40B4-BE49-F238E27FC236}">
                    <a16:creationId xmlns:a16="http://schemas.microsoft.com/office/drawing/2014/main" id="{9371E5F5-6C5D-4A2B-A689-663967C3B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7" y="3014"/>
                <a:ext cx="11" cy="4"/>
              </a:xfrm>
              <a:custGeom>
                <a:avLst/>
                <a:gdLst>
                  <a:gd name="T0" fmla="*/ 2 w 11"/>
                  <a:gd name="T1" fmla="*/ 0 h 4"/>
                  <a:gd name="T2" fmla="*/ 4 w 11"/>
                  <a:gd name="T3" fmla="*/ 0 h 4"/>
                  <a:gd name="T4" fmla="*/ 6 w 11"/>
                  <a:gd name="T5" fmla="*/ 2 h 4"/>
                  <a:gd name="T6" fmla="*/ 9 w 11"/>
                  <a:gd name="T7" fmla="*/ 4 h 4"/>
                  <a:gd name="T8" fmla="*/ 11 w 11"/>
                  <a:gd name="T9" fmla="*/ 4 h 4"/>
                  <a:gd name="T10" fmla="*/ 11 w 11"/>
                  <a:gd name="T11" fmla="*/ 4 h 4"/>
                  <a:gd name="T12" fmla="*/ 11 w 11"/>
                  <a:gd name="T13" fmla="*/ 4 h 4"/>
                  <a:gd name="T14" fmla="*/ 9 w 11"/>
                  <a:gd name="T15" fmla="*/ 4 h 4"/>
                  <a:gd name="T16" fmla="*/ 6 w 11"/>
                  <a:gd name="T17" fmla="*/ 2 h 4"/>
                  <a:gd name="T18" fmla="*/ 4 w 11"/>
                  <a:gd name="T19" fmla="*/ 0 h 4"/>
                  <a:gd name="T20" fmla="*/ 2 w 11"/>
                  <a:gd name="T21" fmla="*/ 0 h 4"/>
                  <a:gd name="T22" fmla="*/ 0 w 11"/>
                  <a:gd name="T23" fmla="*/ 2 h 4"/>
                  <a:gd name="T24" fmla="*/ 0 w 11"/>
                  <a:gd name="T25" fmla="*/ 2 h 4"/>
                  <a:gd name="T26" fmla="*/ 0 w 11"/>
                  <a:gd name="T27" fmla="*/ 2 h 4"/>
                  <a:gd name="T28" fmla="*/ 2 w 11"/>
                  <a:gd name="T2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4">
                    <a:moveTo>
                      <a:pt x="2" y="0"/>
                    </a:moveTo>
                    <a:lnTo>
                      <a:pt x="4" y="0"/>
                    </a:lnTo>
                    <a:lnTo>
                      <a:pt x="6" y="2"/>
                    </a:lnTo>
                    <a:lnTo>
                      <a:pt x="9" y="4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9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53" name="Freeform 166">
                <a:extLst>
                  <a:ext uri="{FF2B5EF4-FFF2-40B4-BE49-F238E27FC236}">
                    <a16:creationId xmlns:a16="http://schemas.microsoft.com/office/drawing/2014/main" id="{98828295-55DC-423C-ABBA-7BF5A3F32C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6" y="2369"/>
                <a:ext cx="24" cy="35"/>
              </a:xfrm>
              <a:custGeom>
                <a:avLst/>
                <a:gdLst>
                  <a:gd name="T0" fmla="*/ 0 w 24"/>
                  <a:gd name="T1" fmla="*/ 35 h 35"/>
                  <a:gd name="T2" fmla="*/ 0 w 24"/>
                  <a:gd name="T3" fmla="*/ 35 h 35"/>
                  <a:gd name="T4" fmla="*/ 20 w 24"/>
                  <a:gd name="T5" fmla="*/ 4 h 35"/>
                  <a:gd name="T6" fmla="*/ 24 w 24"/>
                  <a:gd name="T7" fmla="*/ 0 h 35"/>
                  <a:gd name="T8" fmla="*/ 20 w 24"/>
                  <a:gd name="T9" fmla="*/ 4 h 35"/>
                  <a:gd name="T10" fmla="*/ 0 w 24"/>
                  <a:gd name="T11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35">
                    <a:moveTo>
                      <a:pt x="0" y="35"/>
                    </a:moveTo>
                    <a:lnTo>
                      <a:pt x="0" y="35"/>
                    </a:lnTo>
                    <a:lnTo>
                      <a:pt x="20" y="4"/>
                    </a:lnTo>
                    <a:lnTo>
                      <a:pt x="24" y="0"/>
                    </a:lnTo>
                    <a:lnTo>
                      <a:pt x="20" y="4"/>
                    </a:lnTo>
                    <a:lnTo>
                      <a:pt x="0" y="3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54" name="Freeform 167">
                <a:extLst>
                  <a:ext uri="{FF2B5EF4-FFF2-40B4-BE49-F238E27FC236}">
                    <a16:creationId xmlns:a16="http://schemas.microsoft.com/office/drawing/2014/main" id="{523241FF-E4C9-4853-8659-CF2E46AE5B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7" y="2994"/>
                <a:ext cx="17" cy="4"/>
              </a:xfrm>
              <a:custGeom>
                <a:avLst/>
                <a:gdLst>
                  <a:gd name="T0" fmla="*/ 8 w 17"/>
                  <a:gd name="T1" fmla="*/ 4 h 4"/>
                  <a:gd name="T2" fmla="*/ 0 w 17"/>
                  <a:gd name="T3" fmla="*/ 4 h 4"/>
                  <a:gd name="T4" fmla="*/ 8 w 17"/>
                  <a:gd name="T5" fmla="*/ 4 h 4"/>
                  <a:gd name="T6" fmla="*/ 12 w 17"/>
                  <a:gd name="T7" fmla="*/ 2 h 4"/>
                  <a:gd name="T8" fmla="*/ 17 w 17"/>
                  <a:gd name="T9" fmla="*/ 0 h 4"/>
                  <a:gd name="T10" fmla="*/ 12 w 17"/>
                  <a:gd name="T11" fmla="*/ 2 h 4"/>
                  <a:gd name="T12" fmla="*/ 8 w 17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4">
                    <a:moveTo>
                      <a:pt x="8" y="4"/>
                    </a:moveTo>
                    <a:lnTo>
                      <a:pt x="0" y="4"/>
                    </a:lnTo>
                    <a:lnTo>
                      <a:pt x="8" y="4"/>
                    </a:lnTo>
                    <a:lnTo>
                      <a:pt x="12" y="2"/>
                    </a:lnTo>
                    <a:lnTo>
                      <a:pt x="17" y="0"/>
                    </a:lnTo>
                    <a:lnTo>
                      <a:pt x="12" y="2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55" name="Freeform 168">
                <a:extLst>
                  <a:ext uri="{FF2B5EF4-FFF2-40B4-BE49-F238E27FC236}">
                    <a16:creationId xmlns:a16="http://schemas.microsoft.com/office/drawing/2014/main" id="{9A603BEE-E6D5-4708-AC89-C3E441685E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3" y="3195"/>
                <a:ext cx="10" cy="2"/>
              </a:xfrm>
              <a:custGeom>
                <a:avLst/>
                <a:gdLst>
                  <a:gd name="T0" fmla="*/ 8 w 10"/>
                  <a:gd name="T1" fmla="*/ 0 h 2"/>
                  <a:gd name="T2" fmla="*/ 10 w 10"/>
                  <a:gd name="T3" fmla="*/ 2 h 2"/>
                  <a:gd name="T4" fmla="*/ 8 w 10"/>
                  <a:gd name="T5" fmla="*/ 0 h 2"/>
                  <a:gd name="T6" fmla="*/ 2 w 10"/>
                  <a:gd name="T7" fmla="*/ 2 h 2"/>
                  <a:gd name="T8" fmla="*/ 0 w 10"/>
                  <a:gd name="T9" fmla="*/ 2 h 2"/>
                  <a:gd name="T10" fmla="*/ 2 w 10"/>
                  <a:gd name="T11" fmla="*/ 2 h 2"/>
                  <a:gd name="T12" fmla="*/ 8 w 10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2">
                    <a:moveTo>
                      <a:pt x="8" y="0"/>
                    </a:moveTo>
                    <a:lnTo>
                      <a:pt x="10" y="2"/>
                    </a:lnTo>
                    <a:lnTo>
                      <a:pt x="8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56" name="Freeform 169">
                <a:extLst>
                  <a:ext uri="{FF2B5EF4-FFF2-40B4-BE49-F238E27FC236}">
                    <a16:creationId xmlns:a16="http://schemas.microsoft.com/office/drawing/2014/main" id="{E6FC4563-33C5-4B20-A5F4-63E652EFD7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3" y="3793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57" name="Freeform 170">
                <a:extLst>
                  <a:ext uri="{FF2B5EF4-FFF2-40B4-BE49-F238E27FC236}">
                    <a16:creationId xmlns:a16="http://schemas.microsoft.com/office/drawing/2014/main" id="{94244DAC-A4F9-4447-B9AD-CDD378AC56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3" y="3000"/>
                <a:ext cx="10" cy="14"/>
              </a:xfrm>
              <a:custGeom>
                <a:avLst/>
                <a:gdLst>
                  <a:gd name="T0" fmla="*/ 2 w 10"/>
                  <a:gd name="T1" fmla="*/ 4 h 14"/>
                  <a:gd name="T2" fmla="*/ 10 w 10"/>
                  <a:gd name="T3" fmla="*/ 14 h 14"/>
                  <a:gd name="T4" fmla="*/ 10 w 10"/>
                  <a:gd name="T5" fmla="*/ 14 h 14"/>
                  <a:gd name="T6" fmla="*/ 10 w 10"/>
                  <a:gd name="T7" fmla="*/ 14 h 14"/>
                  <a:gd name="T8" fmla="*/ 2 w 10"/>
                  <a:gd name="T9" fmla="*/ 4 h 14"/>
                  <a:gd name="T10" fmla="*/ 0 w 10"/>
                  <a:gd name="T11" fmla="*/ 2 h 14"/>
                  <a:gd name="T12" fmla="*/ 2 w 10"/>
                  <a:gd name="T13" fmla="*/ 0 h 14"/>
                  <a:gd name="T14" fmla="*/ 0 w 10"/>
                  <a:gd name="T15" fmla="*/ 2 h 14"/>
                  <a:gd name="T16" fmla="*/ 2 w 10"/>
                  <a:gd name="T17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14">
                    <a:moveTo>
                      <a:pt x="2" y="4"/>
                    </a:move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58" name="Freeform 171">
                <a:extLst>
                  <a:ext uri="{FF2B5EF4-FFF2-40B4-BE49-F238E27FC236}">
                    <a16:creationId xmlns:a16="http://schemas.microsoft.com/office/drawing/2014/main" id="{48D0147C-57BD-4F12-9BB7-3A98F2B7E5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" y="3195"/>
                <a:ext cx="7" cy="4"/>
              </a:xfrm>
              <a:custGeom>
                <a:avLst/>
                <a:gdLst>
                  <a:gd name="T0" fmla="*/ 7 w 7"/>
                  <a:gd name="T1" fmla="*/ 4 h 4"/>
                  <a:gd name="T2" fmla="*/ 2 w 7"/>
                  <a:gd name="T3" fmla="*/ 0 h 4"/>
                  <a:gd name="T4" fmla="*/ 0 w 7"/>
                  <a:gd name="T5" fmla="*/ 2 h 4"/>
                  <a:gd name="T6" fmla="*/ 2 w 7"/>
                  <a:gd name="T7" fmla="*/ 0 h 4"/>
                  <a:gd name="T8" fmla="*/ 7 w 7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7" y="4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7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59" name="Freeform 172">
                <a:extLst>
                  <a:ext uri="{FF2B5EF4-FFF2-40B4-BE49-F238E27FC236}">
                    <a16:creationId xmlns:a16="http://schemas.microsoft.com/office/drawing/2014/main" id="{515EC0B0-DDA4-4733-AA0E-4A271AE66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" y="3775"/>
                <a:ext cx="17" cy="18"/>
              </a:xfrm>
              <a:custGeom>
                <a:avLst/>
                <a:gdLst>
                  <a:gd name="T0" fmla="*/ 8 w 17"/>
                  <a:gd name="T1" fmla="*/ 10 h 18"/>
                  <a:gd name="T2" fmla="*/ 0 w 17"/>
                  <a:gd name="T3" fmla="*/ 18 h 18"/>
                  <a:gd name="T4" fmla="*/ 0 w 17"/>
                  <a:gd name="T5" fmla="*/ 18 h 18"/>
                  <a:gd name="T6" fmla="*/ 0 w 17"/>
                  <a:gd name="T7" fmla="*/ 18 h 18"/>
                  <a:gd name="T8" fmla="*/ 8 w 17"/>
                  <a:gd name="T9" fmla="*/ 10 h 18"/>
                  <a:gd name="T10" fmla="*/ 12 w 17"/>
                  <a:gd name="T11" fmla="*/ 6 h 18"/>
                  <a:gd name="T12" fmla="*/ 17 w 17"/>
                  <a:gd name="T13" fmla="*/ 0 h 18"/>
                  <a:gd name="T14" fmla="*/ 12 w 17"/>
                  <a:gd name="T15" fmla="*/ 6 h 18"/>
                  <a:gd name="T16" fmla="*/ 8 w 17"/>
                  <a:gd name="T17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18">
                    <a:moveTo>
                      <a:pt x="8" y="10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8" y="10"/>
                    </a:lnTo>
                    <a:lnTo>
                      <a:pt x="12" y="6"/>
                    </a:lnTo>
                    <a:lnTo>
                      <a:pt x="17" y="0"/>
                    </a:lnTo>
                    <a:lnTo>
                      <a:pt x="12" y="6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60" name="Freeform 173">
                <a:extLst>
                  <a:ext uri="{FF2B5EF4-FFF2-40B4-BE49-F238E27FC236}">
                    <a16:creationId xmlns:a16="http://schemas.microsoft.com/office/drawing/2014/main" id="{A035A1BF-02F2-4378-8537-5CE076E616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0" y="2451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61" name="Freeform 174">
                <a:extLst>
                  <a:ext uri="{FF2B5EF4-FFF2-40B4-BE49-F238E27FC236}">
                    <a16:creationId xmlns:a16="http://schemas.microsoft.com/office/drawing/2014/main" id="{5C7556E5-B413-4458-BB94-74FC46C37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9" y="2434"/>
                <a:ext cx="17" cy="17"/>
              </a:xfrm>
              <a:custGeom>
                <a:avLst/>
                <a:gdLst>
                  <a:gd name="T0" fmla="*/ 2 w 17"/>
                  <a:gd name="T1" fmla="*/ 2 h 17"/>
                  <a:gd name="T2" fmla="*/ 4 w 17"/>
                  <a:gd name="T3" fmla="*/ 4 h 17"/>
                  <a:gd name="T4" fmla="*/ 4 w 17"/>
                  <a:gd name="T5" fmla="*/ 8 h 17"/>
                  <a:gd name="T6" fmla="*/ 4 w 17"/>
                  <a:gd name="T7" fmla="*/ 13 h 17"/>
                  <a:gd name="T8" fmla="*/ 8 w 17"/>
                  <a:gd name="T9" fmla="*/ 15 h 17"/>
                  <a:gd name="T10" fmla="*/ 17 w 17"/>
                  <a:gd name="T11" fmla="*/ 17 h 17"/>
                  <a:gd name="T12" fmla="*/ 8 w 17"/>
                  <a:gd name="T13" fmla="*/ 15 h 17"/>
                  <a:gd name="T14" fmla="*/ 4 w 17"/>
                  <a:gd name="T15" fmla="*/ 13 h 17"/>
                  <a:gd name="T16" fmla="*/ 4 w 17"/>
                  <a:gd name="T17" fmla="*/ 8 h 17"/>
                  <a:gd name="T18" fmla="*/ 4 w 17"/>
                  <a:gd name="T19" fmla="*/ 4 h 17"/>
                  <a:gd name="T20" fmla="*/ 2 w 17"/>
                  <a:gd name="T21" fmla="*/ 2 h 17"/>
                  <a:gd name="T22" fmla="*/ 2 w 17"/>
                  <a:gd name="T23" fmla="*/ 0 h 17"/>
                  <a:gd name="T24" fmla="*/ 0 w 17"/>
                  <a:gd name="T25" fmla="*/ 0 h 17"/>
                  <a:gd name="T26" fmla="*/ 2 w 17"/>
                  <a:gd name="T27" fmla="*/ 0 h 17"/>
                  <a:gd name="T28" fmla="*/ 2 w 17"/>
                  <a:gd name="T29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17">
                    <a:moveTo>
                      <a:pt x="2" y="2"/>
                    </a:moveTo>
                    <a:lnTo>
                      <a:pt x="4" y="4"/>
                    </a:lnTo>
                    <a:lnTo>
                      <a:pt x="4" y="8"/>
                    </a:lnTo>
                    <a:lnTo>
                      <a:pt x="4" y="13"/>
                    </a:lnTo>
                    <a:lnTo>
                      <a:pt x="8" y="15"/>
                    </a:lnTo>
                    <a:lnTo>
                      <a:pt x="17" y="17"/>
                    </a:lnTo>
                    <a:lnTo>
                      <a:pt x="8" y="15"/>
                    </a:lnTo>
                    <a:lnTo>
                      <a:pt x="4" y="13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62" name="Freeform 175">
                <a:extLst>
                  <a:ext uri="{FF2B5EF4-FFF2-40B4-BE49-F238E27FC236}">
                    <a16:creationId xmlns:a16="http://schemas.microsoft.com/office/drawing/2014/main" id="{7A3FCE68-31BB-422C-8EFA-818E7DB4B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8" y="3201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63" name="Freeform 176">
                <a:extLst>
                  <a:ext uri="{FF2B5EF4-FFF2-40B4-BE49-F238E27FC236}">
                    <a16:creationId xmlns:a16="http://schemas.microsoft.com/office/drawing/2014/main" id="{78111086-CC3E-486B-BA19-3C094DD649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5" y="3029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64" name="Freeform 177">
                <a:extLst>
                  <a:ext uri="{FF2B5EF4-FFF2-40B4-BE49-F238E27FC236}">
                    <a16:creationId xmlns:a16="http://schemas.microsoft.com/office/drawing/2014/main" id="{0E7B852D-4456-426E-8113-BD0402B7F0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246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2 h 2"/>
                  <a:gd name="T6" fmla="*/ 0 w 2"/>
                  <a:gd name="T7" fmla="*/ 0 h 2"/>
                  <a:gd name="T8" fmla="*/ 0 w 2"/>
                  <a:gd name="T9" fmla="*/ 2 h 2"/>
                  <a:gd name="T10" fmla="*/ 2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65" name="Rectangle 178">
                <a:extLst>
                  <a:ext uri="{FF2B5EF4-FFF2-40B4-BE49-F238E27FC236}">
                    <a16:creationId xmlns:a16="http://schemas.microsoft.com/office/drawing/2014/main" id="{1EBC966F-5733-4F81-AA58-DC269B71EF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9" y="363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66" name="Freeform 179">
                <a:extLst>
                  <a:ext uri="{FF2B5EF4-FFF2-40B4-BE49-F238E27FC236}">
                    <a16:creationId xmlns:a16="http://schemas.microsoft.com/office/drawing/2014/main" id="{07ACE300-76DD-4CF5-9373-3B4CE1C707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2" y="3242"/>
                <a:ext cx="29" cy="12"/>
              </a:xfrm>
              <a:custGeom>
                <a:avLst/>
                <a:gdLst>
                  <a:gd name="T0" fmla="*/ 6 w 29"/>
                  <a:gd name="T1" fmla="*/ 0 h 12"/>
                  <a:gd name="T2" fmla="*/ 11 w 29"/>
                  <a:gd name="T3" fmla="*/ 2 h 12"/>
                  <a:gd name="T4" fmla="*/ 19 w 29"/>
                  <a:gd name="T5" fmla="*/ 10 h 12"/>
                  <a:gd name="T6" fmla="*/ 25 w 29"/>
                  <a:gd name="T7" fmla="*/ 12 h 12"/>
                  <a:gd name="T8" fmla="*/ 29 w 29"/>
                  <a:gd name="T9" fmla="*/ 10 h 12"/>
                  <a:gd name="T10" fmla="*/ 29 w 29"/>
                  <a:gd name="T11" fmla="*/ 4 h 12"/>
                  <a:gd name="T12" fmla="*/ 29 w 29"/>
                  <a:gd name="T13" fmla="*/ 10 h 12"/>
                  <a:gd name="T14" fmla="*/ 25 w 29"/>
                  <a:gd name="T15" fmla="*/ 12 h 12"/>
                  <a:gd name="T16" fmla="*/ 19 w 29"/>
                  <a:gd name="T17" fmla="*/ 10 h 12"/>
                  <a:gd name="T18" fmla="*/ 11 w 29"/>
                  <a:gd name="T19" fmla="*/ 2 h 12"/>
                  <a:gd name="T20" fmla="*/ 6 w 29"/>
                  <a:gd name="T21" fmla="*/ 0 h 12"/>
                  <a:gd name="T22" fmla="*/ 0 w 29"/>
                  <a:gd name="T23" fmla="*/ 0 h 12"/>
                  <a:gd name="T24" fmla="*/ 0 w 29"/>
                  <a:gd name="T25" fmla="*/ 0 h 12"/>
                  <a:gd name="T26" fmla="*/ 0 w 29"/>
                  <a:gd name="T27" fmla="*/ 0 h 12"/>
                  <a:gd name="T28" fmla="*/ 6 w 29"/>
                  <a:gd name="T2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12">
                    <a:moveTo>
                      <a:pt x="6" y="0"/>
                    </a:moveTo>
                    <a:lnTo>
                      <a:pt x="11" y="2"/>
                    </a:lnTo>
                    <a:lnTo>
                      <a:pt x="19" y="10"/>
                    </a:lnTo>
                    <a:lnTo>
                      <a:pt x="25" y="12"/>
                    </a:lnTo>
                    <a:lnTo>
                      <a:pt x="29" y="10"/>
                    </a:lnTo>
                    <a:lnTo>
                      <a:pt x="29" y="4"/>
                    </a:lnTo>
                    <a:lnTo>
                      <a:pt x="29" y="10"/>
                    </a:lnTo>
                    <a:lnTo>
                      <a:pt x="25" y="12"/>
                    </a:lnTo>
                    <a:lnTo>
                      <a:pt x="19" y="10"/>
                    </a:lnTo>
                    <a:lnTo>
                      <a:pt x="11" y="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67" name="Freeform 180">
                <a:extLst>
                  <a:ext uri="{FF2B5EF4-FFF2-40B4-BE49-F238E27FC236}">
                    <a16:creationId xmlns:a16="http://schemas.microsoft.com/office/drawing/2014/main" id="{EC99A16A-F0EB-404F-88D1-6B8609F43F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5" y="3051"/>
                <a:ext cx="7" cy="4"/>
              </a:xfrm>
              <a:custGeom>
                <a:avLst/>
                <a:gdLst>
                  <a:gd name="T0" fmla="*/ 5 w 7"/>
                  <a:gd name="T1" fmla="*/ 4 h 4"/>
                  <a:gd name="T2" fmla="*/ 7 w 7"/>
                  <a:gd name="T3" fmla="*/ 4 h 4"/>
                  <a:gd name="T4" fmla="*/ 5 w 7"/>
                  <a:gd name="T5" fmla="*/ 4 h 4"/>
                  <a:gd name="T6" fmla="*/ 3 w 7"/>
                  <a:gd name="T7" fmla="*/ 2 h 4"/>
                  <a:gd name="T8" fmla="*/ 0 w 7"/>
                  <a:gd name="T9" fmla="*/ 0 h 4"/>
                  <a:gd name="T10" fmla="*/ 3 w 7"/>
                  <a:gd name="T11" fmla="*/ 2 h 4"/>
                  <a:gd name="T12" fmla="*/ 5 w 7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4">
                    <a:moveTo>
                      <a:pt x="5" y="4"/>
                    </a:moveTo>
                    <a:lnTo>
                      <a:pt x="7" y="4"/>
                    </a:lnTo>
                    <a:lnTo>
                      <a:pt x="5" y="4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5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68" name="Rectangle 181">
                <a:extLst>
                  <a:ext uri="{FF2B5EF4-FFF2-40B4-BE49-F238E27FC236}">
                    <a16:creationId xmlns:a16="http://schemas.microsoft.com/office/drawing/2014/main" id="{80EBFF68-AC48-4637-ADB6-60DC11DB65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7" y="3633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69" name="Freeform 182">
                <a:extLst>
                  <a:ext uri="{FF2B5EF4-FFF2-40B4-BE49-F238E27FC236}">
                    <a16:creationId xmlns:a16="http://schemas.microsoft.com/office/drawing/2014/main" id="{C58E9421-96A2-4D30-AAB0-45539EFF83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8" y="3062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2 w 4"/>
                  <a:gd name="T5" fmla="*/ 0 h 4"/>
                  <a:gd name="T6" fmla="*/ 0 w 4"/>
                  <a:gd name="T7" fmla="*/ 0 h 4"/>
                  <a:gd name="T8" fmla="*/ 2 w 4"/>
                  <a:gd name="T9" fmla="*/ 0 h 4"/>
                  <a:gd name="T10" fmla="*/ 4 w 4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70" name="Freeform 183">
                <a:extLst>
                  <a:ext uri="{FF2B5EF4-FFF2-40B4-BE49-F238E27FC236}">
                    <a16:creationId xmlns:a16="http://schemas.microsoft.com/office/drawing/2014/main" id="{FE2F7563-EC3C-4CA7-8E8E-E030F9E719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8" y="3060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2 w 2"/>
                  <a:gd name="T9" fmla="*/ 0 h 2"/>
                  <a:gd name="T10" fmla="*/ 2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71" name="Freeform 184">
                <a:extLst>
                  <a:ext uri="{FF2B5EF4-FFF2-40B4-BE49-F238E27FC236}">
                    <a16:creationId xmlns:a16="http://schemas.microsoft.com/office/drawing/2014/main" id="{96E1B7C7-8361-481E-B88E-D9BD0F0F69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" y="3627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2 w 2"/>
                  <a:gd name="T5" fmla="*/ 0 h 2"/>
                  <a:gd name="T6" fmla="*/ 2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72" name="Rectangle 185">
                <a:extLst>
                  <a:ext uri="{FF2B5EF4-FFF2-40B4-BE49-F238E27FC236}">
                    <a16:creationId xmlns:a16="http://schemas.microsoft.com/office/drawing/2014/main" id="{79074D73-6A74-4C38-81AD-A548E35F76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1" y="246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73" name="Freeform 186">
                <a:extLst>
                  <a:ext uri="{FF2B5EF4-FFF2-40B4-BE49-F238E27FC236}">
                    <a16:creationId xmlns:a16="http://schemas.microsoft.com/office/drawing/2014/main" id="{765A7F84-8EAE-4BA5-9EF1-543093014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8" y="3619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74" name="Rectangle 187">
                <a:extLst>
                  <a:ext uri="{FF2B5EF4-FFF2-40B4-BE49-F238E27FC236}">
                    <a16:creationId xmlns:a16="http://schemas.microsoft.com/office/drawing/2014/main" id="{FF2DD406-0183-48EE-965F-B27DD4E873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0" y="306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75" name="Rectangle 188">
                <a:extLst>
                  <a:ext uri="{FF2B5EF4-FFF2-40B4-BE49-F238E27FC236}">
                    <a16:creationId xmlns:a16="http://schemas.microsoft.com/office/drawing/2014/main" id="{20D31A84-6A93-4B35-94DD-B2E4697E89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4" y="323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76" name="Freeform 189">
                <a:extLst>
                  <a:ext uri="{FF2B5EF4-FFF2-40B4-BE49-F238E27FC236}">
                    <a16:creationId xmlns:a16="http://schemas.microsoft.com/office/drawing/2014/main" id="{EBCE0C97-9B50-4E55-BE10-031AB9892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9" y="304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77" name="Freeform 190">
                <a:extLst>
                  <a:ext uri="{FF2B5EF4-FFF2-40B4-BE49-F238E27FC236}">
                    <a16:creationId xmlns:a16="http://schemas.microsoft.com/office/drawing/2014/main" id="{35C80DC0-34A0-4504-B80E-38B879445A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6" y="3238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0 w 4"/>
                  <a:gd name="T3" fmla="*/ 4 h 6"/>
                  <a:gd name="T4" fmla="*/ 4 w 4"/>
                  <a:gd name="T5" fmla="*/ 0 h 6"/>
                  <a:gd name="T6" fmla="*/ 0 w 4"/>
                  <a:gd name="T7" fmla="*/ 4 h 6"/>
                  <a:gd name="T8" fmla="*/ 0 w 4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0" y="4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78" name="Freeform 191">
                <a:extLst>
                  <a:ext uri="{FF2B5EF4-FFF2-40B4-BE49-F238E27FC236}">
                    <a16:creationId xmlns:a16="http://schemas.microsoft.com/office/drawing/2014/main" id="{2DEAF034-AB19-4B3B-BBF7-1C191EEC0F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9" y="3037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79" name="Freeform 192">
                <a:extLst>
                  <a:ext uri="{FF2B5EF4-FFF2-40B4-BE49-F238E27FC236}">
                    <a16:creationId xmlns:a16="http://schemas.microsoft.com/office/drawing/2014/main" id="{153D0F30-3537-4EFE-BCCE-DD9176E2FC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1" y="3674"/>
                <a:ext cx="2" cy="25"/>
              </a:xfrm>
              <a:custGeom>
                <a:avLst/>
                <a:gdLst>
                  <a:gd name="T0" fmla="*/ 0 w 2"/>
                  <a:gd name="T1" fmla="*/ 9 h 25"/>
                  <a:gd name="T2" fmla="*/ 2 w 2"/>
                  <a:gd name="T3" fmla="*/ 19 h 25"/>
                  <a:gd name="T4" fmla="*/ 2 w 2"/>
                  <a:gd name="T5" fmla="*/ 25 h 25"/>
                  <a:gd name="T6" fmla="*/ 2 w 2"/>
                  <a:gd name="T7" fmla="*/ 19 h 25"/>
                  <a:gd name="T8" fmla="*/ 0 w 2"/>
                  <a:gd name="T9" fmla="*/ 9 h 25"/>
                  <a:gd name="T10" fmla="*/ 0 w 2"/>
                  <a:gd name="T11" fmla="*/ 2 h 25"/>
                  <a:gd name="T12" fmla="*/ 2 w 2"/>
                  <a:gd name="T13" fmla="*/ 0 h 25"/>
                  <a:gd name="T14" fmla="*/ 0 w 2"/>
                  <a:gd name="T15" fmla="*/ 2 h 25"/>
                  <a:gd name="T16" fmla="*/ 0 w 2"/>
                  <a:gd name="T17" fmla="*/ 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25">
                    <a:moveTo>
                      <a:pt x="0" y="9"/>
                    </a:moveTo>
                    <a:lnTo>
                      <a:pt x="2" y="19"/>
                    </a:lnTo>
                    <a:lnTo>
                      <a:pt x="2" y="25"/>
                    </a:lnTo>
                    <a:lnTo>
                      <a:pt x="2" y="19"/>
                    </a:lnTo>
                    <a:lnTo>
                      <a:pt x="0" y="9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80" name="Rectangle 193">
                <a:extLst>
                  <a:ext uri="{FF2B5EF4-FFF2-40B4-BE49-F238E27FC236}">
                    <a16:creationId xmlns:a16="http://schemas.microsoft.com/office/drawing/2014/main" id="{DE42D5BD-3461-4522-94BA-8B033789D9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5" y="367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81" name="Freeform 194">
                <a:extLst>
                  <a:ext uri="{FF2B5EF4-FFF2-40B4-BE49-F238E27FC236}">
                    <a16:creationId xmlns:a16="http://schemas.microsoft.com/office/drawing/2014/main" id="{941AAFB3-9F55-407B-905A-6AD23A0BCD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2" y="2463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2 h 2"/>
                  <a:gd name="T4" fmla="*/ 0 w 4"/>
                  <a:gd name="T5" fmla="*/ 2 h 2"/>
                  <a:gd name="T6" fmla="*/ 2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82" name="Freeform 195">
                <a:extLst>
                  <a:ext uri="{FF2B5EF4-FFF2-40B4-BE49-F238E27FC236}">
                    <a16:creationId xmlns:a16="http://schemas.microsoft.com/office/drawing/2014/main" id="{21DE4463-AE69-4158-9E93-7EA54025D5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5" y="303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83" name="Freeform 196">
                <a:extLst>
                  <a:ext uri="{FF2B5EF4-FFF2-40B4-BE49-F238E27FC236}">
                    <a16:creationId xmlns:a16="http://schemas.microsoft.com/office/drawing/2014/main" id="{E698C152-3C1E-4697-B128-AC22F4D7FE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6" y="3246"/>
                <a:ext cx="22" cy="6"/>
              </a:xfrm>
              <a:custGeom>
                <a:avLst/>
                <a:gdLst>
                  <a:gd name="T0" fmla="*/ 6 w 22"/>
                  <a:gd name="T1" fmla="*/ 6 h 6"/>
                  <a:gd name="T2" fmla="*/ 14 w 22"/>
                  <a:gd name="T3" fmla="*/ 6 h 6"/>
                  <a:gd name="T4" fmla="*/ 18 w 22"/>
                  <a:gd name="T5" fmla="*/ 4 h 6"/>
                  <a:gd name="T6" fmla="*/ 20 w 22"/>
                  <a:gd name="T7" fmla="*/ 2 h 6"/>
                  <a:gd name="T8" fmla="*/ 22 w 22"/>
                  <a:gd name="T9" fmla="*/ 0 h 6"/>
                  <a:gd name="T10" fmla="*/ 20 w 22"/>
                  <a:gd name="T11" fmla="*/ 2 h 6"/>
                  <a:gd name="T12" fmla="*/ 18 w 22"/>
                  <a:gd name="T13" fmla="*/ 4 h 6"/>
                  <a:gd name="T14" fmla="*/ 14 w 22"/>
                  <a:gd name="T15" fmla="*/ 6 h 6"/>
                  <a:gd name="T16" fmla="*/ 6 w 22"/>
                  <a:gd name="T17" fmla="*/ 6 h 6"/>
                  <a:gd name="T18" fmla="*/ 2 w 22"/>
                  <a:gd name="T19" fmla="*/ 4 h 6"/>
                  <a:gd name="T20" fmla="*/ 0 w 22"/>
                  <a:gd name="T21" fmla="*/ 2 h 6"/>
                  <a:gd name="T22" fmla="*/ 2 w 22"/>
                  <a:gd name="T23" fmla="*/ 4 h 6"/>
                  <a:gd name="T24" fmla="*/ 6 w 22"/>
                  <a:gd name="T2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6">
                    <a:moveTo>
                      <a:pt x="6" y="6"/>
                    </a:moveTo>
                    <a:lnTo>
                      <a:pt x="14" y="6"/>
                    </a:lnTo>
                    <a:lnTo>
                      <a:pt x="18" y="4"/>
                    </a:lnTo>
                    <a:lnTo>
                      <a:pt x="20" y="2"/>
                    </a:lnTo>
                    <a:lnTo>
                      <a:pt x="22" y="0"/>
                    </a:lnTo>
                    <a:lnTo>
                      <a:pt x="20" y="2"/>
                    </a:lnTo>
                    <a:lnTo>
                      <a:pt x="18" y="4"/>
                    </a:lnTo>
                    <a:lnTo>
                      <a:pt x="14" y="6"/>
                    </a:lnTo>
                    <a:lnTo>
                      <a:pt x="6" y="6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84" name="Rectangle 197">
                <a:extLst>
                  <a:ext uri="{FF2B5EF4-FFF2-40B4-BE49-F238E27FC236}">
                    <a16:creationId xmlns:a16="http://schemas.microsoft.com/office/drawing/2014/main" id="{EF243515-13F6-4413-8C78-B159780164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3" y="304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85" name="Freeform 198">
                <a:extLst>
                  <a:ext uri="{FF2B5EF4-FFF2-40B4-BE49-F238E27FC236}">
                    <a16:creationId xmlns:a16="http://schemas.microsoft.com/office/drawing/2014/main" id="{E912D662-DDE0-4EB1-A216-8CBA6B9AA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9" y="3037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0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86" name="Freeform 199">
                <a:extLst>
                  <a:ext uri="{FF2B5EF4-FFF2-40B4-BE49-F238E27FC236}">
                    <a16:creationId xmlns:a16="http://schemas.microsoft.com/office/drawing/2014/main" id="{B64E79F4-9A98-4267-948B-6BCE41AE57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5" y="3638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2 h 4"/>
                  <a:gd name="T4" fmla="*/ 2 w 2"/>
                  <a:gd name="T5" fmla="*/ 0 h 4"/>
                  <a:gd name="T6" fmla="*/ 2 w 2"/>
                  <a:gd name="T7" fmla="*/ 2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87" name="Freeform 200">
                <a:extLst>
                  <a:ext uri="{FF2B5EF4-FFF2-40B4-BE49-F238E27FC236}">
                    <a16:creationId xmlns:a16="http://schemas.microsoft.com/office/drawing/2014/main" id="{ECA8D9EE-5281-4421-A265-2A6B255BCC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0" y="3617"/>
                <a:ext cx="8" cy="0"/>
              </a:xfrm>
              <a:custGeom>
                <a:avLst/>
                <a:gdLst>
                  <a:gd name="T0" fmla="*/ 4 w 8"/>
                  <a:gd name="T1" fmla="*/ 0 w 8"/>
                  <a:gd name="T2" fmla="*/ 4 w 8"/>
                  <a:gd name="T3" fmla="*/ 8 w 8"/>
                  <a:gd name="T4" fmla="*/ 8 w 8"/>
                  <a:gd name="T5" fmla="*/ 8 w 8"/>
                  <a:gd name="T6" fmla="*/ 4 w 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8">
                    <a:moveTo>
                      <a:pt x="4" y="0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88" name="Freeform 201">
                <a:extLst>
                  <a:ext uri="{FF2B5EF4-FFF2-40B4-BE49-F238E27FC236}">
                    <a16:creationId xmlns:a16="http://schemas.microsoft.com/office/drawing/2014/main" id="{082947F7-FC21-47CF-9B95-6A7DD7C10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3" y="3654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0 w 6"/>
                  <a:gd name="T3" fmla="*/ 2 h 2"/>
                  <a:gd name="T4" fmla="*/ 6 w 6"/>
                  <a:gd name="T5" fmla="*/ 0 h 2"/>
                  <a:gd name="T6" fmla="*/ 6 w 6"/>
                  <a:gd name="T7" fmla="*/ 0 h 2"/>
                  <a:gd name="T8" fmla="*/ 6 w 6"/>
                  <a:gd name="T9" fmla="*/ 0 h 2"/>
                  <a:gd name="T10" fmla="*/ 6 w 6"/>
                  <a:gd name="T11" fmla="*/ 0 h 2"/>
                  <a:gd name="T12" fmla="*/ 6 w 6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89" name="Freeform 202">
                <a:extLst>
                  <a:ext uri="{FF2B5EF4-FFF2-40B4-BE49-F238E27FC236}">
                    <a16:creationId xmlns:a16="http://schemas.microsoft.com/office/drawing/2014/main" id="{BEC879F9-B524-4F9B-B89C-8CA481547B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9" y="3658"/>
                <a:ext cx="10" cy="6"/>
              </a:xfrm>
              <a:custGeom>
                <a:avLst/>
                <a:gdLst>
                  <a:gd name="T0" fmla="*/ 0 w 10"/>
                  <a:gd name="T1" fmla="*/ 6 h 6"/>
                  <a:gd name="T2" fmla="*/ 10 w 10"/>
                  <a:gd name="T3" fmla="*/ 0 h 6"/>
                  <a:gd name="T4" fmla="*/ 0 w 10"/>
                  <a:gd name="T5" fmla="*/ 6 h 6"/>
                  <a:gd name="T6" fmla="*/ 0 w 10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6">
                    <a:moveTo>
                      <a:pt x="0" y="6"/>
                    </a:moveTo>
                    <a:lnTo>
                      <a:pt x="10" y="0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90" name="Freeform 203">
                <a:extLst>
                  <a:ext uri="{FF2B5EF4-FFF2-40B4-BE49-F238E27FC236}">
                    <a16:creationId xmlns:a16="http://schemas.microsoft.com/office/drawing/2014/main" id="{BD4514DF-F2D2-4D37-81E3-FA2EB9D6E3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6" y="3465"/>
                <a:ext cx="16" cy="2"/>
              </a:xfrm>
              <a:custGeom>
                <a:avLst/>
                <a:gdLst>
                  <a:gd name="T0" fmla="*/ 6 w 16"/>
                  <a:gd name="T1" fmla="*/ 2 h 2"/>
                  <a:gd name="T2" fmla="*/ 12 w 16"/>
                  <a:gd name="T3" fmla="*/ 2 h 2"/>
                  <a:gd name="T4" fmla="*/ 16 w 16"/>
                  <a:gd name="T5" fmla="*/ 0 h 2"/>
                  <a:gd name="T6" fmla="*/ 12 w 16"/>
                  <a:gd name="T7" fmla="*/ 2 h 2"/>
                  <a:gd name="T8" fmla="*/ 6 w 16"/>
                  <a:gd name="T9" fmla="*/ 2 h 2"/>
                  <a:gd name="T10" fmla="*/ 2 w 16"/>
                  <a:gd name="T11" fmla="*/ 0 h 2"/>
                  <a:gd name="T12" fmla="*/ 0 w 16"/>
                  <a:gd name="T13" fmla="*/ 0 h 2"/>
                  <a:gd name="T14" fmla="*/ 2 w 16"/>
                  <a:gd name="T15" fmla="*/ 0 h 2"/>
                  <a:gd name="T16" fmla="*/ 6 w 16"/>
                  <a:gd name="T1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2">
                    <a:moveTo>
                      <a:pt x="6" y="2"/>
                    </a:moveTo>
                    <a:lnTo>
                      <a:pt x="12" y="2"/>
                    </a:lnTo>
                    <a:lnTo>
                      <a:pt x="16" y="0"/>
                    </a:lnTo>
                    <a:lnTo>
                      <a:pt x="12" y="2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891" name="Freeform 204">
                <a:extLst>
                  <a:ext uri="{FF2B5EF4-FFF2-40B4-BE49-F238E27FC236}">
                    <a16:creationId xmlns:a16="http://schemas.microsoft.com/office/drawing/2014/main" id="{F527ADC4-B6C6-4859-AA76-EA62E144C4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2" y="3385"/>
                <a:ext cx="0" cy="11"/>
              </a:xfrm>
              <a:custGeom>
                <a:avLst/>
                <a:gdLst>
                  <a:gd name="T0" fmla="*/ 11 h 11"/>
                  <a:gd name="T1" fmla="*/ 11 h 11"/>
                  <a:gd name="T2" fmla="*/ 4 h 11"/>
                  <a:gd name="T3" fmla="*/ 0 h 11"/>
                  <a:gd name="T4" fmla="*/ 4 h 11"/>
                  <a:gd name="T5" fmla="*/ 11 h 1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11">
                    <a:moveTo>
                      <a:pt x="0" y="11"/>
                    </a:moveTo>
                    <a:lnTo>
                      <a:pt x="0" y="11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</p:grpSp>
        <p:grpSp>
          <p:nvGrpSpPr>
            <p:cNvPr id="528" name="Group 406">
              <a:extLst>
                <a:ext uri="{FF2B5EF4-FFF2-40B4-BE49-F238E27FC236}">
                  <a16:creationId xmlns:a16="http://schemas.microsoft.com/office/drawing/2014/main" id="{B25FBDE4-F314-44BB-A9FE-8AC7D98CD5D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46669" y="4391348"/>
              <a:ext cx="2552704" cy="1189412"/>
              <a:chOff x="975" y="2770"/>
              <a:chExt cx="1608" cy="749"/>
            </a:xfrm>
            <a:grpFill/>
          </p:grpSpPr>
          <p:sp>
            <p:nvSpPr>
              <p:cNvPr id="1493" name="Freeform 206">
                <a:extLst>
                  <a:ext uri="{FF2B5EF4-FFF2-40B4-BE49-F238E27FC236}">
                    <a16:creationId xmlns:a16="http://schemas.microsoft.com/office/drawing/2014/main" id="{75B3B213-A375-4C4B-8974-8854ED2A62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7" y="2914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94" name="Rectangle 207">
                <a:extLst>
                  <a:ext uri="{FF2B5EF4-FFF2-40B4-BE49-F238E27FC236}">
                    <a16:creationId xmlns:a16="http://schemas.microsoft.com/office/drawing/2014/main" id="{3C152744-4C76-41BA-A4DA-E49D921E9A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5" y="291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95" name="Freeform 208">
                <a:extLst>
                  <a:ext uri="{FF2B5EF4-FFF2-40B4-BE49-F238E27FC236}">
                    <a16:creationId xmlns:a16="http://schemas.microsoft.com/office/drawing/2014/main" id="{7957946B-F916-4B3F-AE1E-9D4C6A787F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5" y="3406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96" name="Freeform 209">
                <a:extLst>
                  <a:ext uri="{FF2B5EF4-FFF2-40B4-BE49-F238E27FC236}">
                    <a16:creationId xmlns:a16="http://schemas.microsoft.com/office/drawing/2014/main" id="{09EB69CB-3E9A-413B-9F0C-6814CB8D74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6" y="337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97" name="Rectangle 210">
                <a:extLst>
                  <a:ext uri="{FF2B5EF4-FFF2-40B4-BE49-F238E27FC236}">
                    <a16:creationId xmlns:a16="http://schemas.microsoft.com/office/drawing/2014/main" id="{F506C289-7D37-4E99-ACBF-6324113749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1" y="340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98" name="Rectangle 211">
                <a:extLst>
                  <a:ext uri="{FF2B5EF4-FFF2-40B4-BE49-F238E27FC236}">
                    <a16:creationId xmlns:a16="http://schemas.microsoft.com/office/drawing/2014/main" id="{4F40BCEE-B765-48C1-AAE7-73FE28A845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" y="291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99" name="Freeform 212">
                <a:extLst>
                  <a:ext uri="{FF2B5EF4-FFF2-40B4-BE49-F238E27FC236}">
                    <a16:creationId xmlns:a16="http://schemas.microsoft.com/office/drawing/2014/main" id="{067C7398-31B1-4A3E-8FE4-290025C526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1" y="2912"/>
                <a:ext cx="10" cy="2"/>
              </a:xfrm>
              <a:custGeom>
                <a:avLst/>
                <a:gdLst>
                  <a:gd name="T0" fmla="*/ 10 w 10"/>
                  <a:gd name="T1" fmla="*/ 0 h 2"/>
                  <a:gd name="T2" fmla="*/ 4 w 10"/>
                  <a:gd name="T3" fmla="*/ 0 h 2"/>
                  <a:gd name="T4" fmla="*/ 0 w 10"/>
                  <a:gd name="T5" fmla="*/ 2 h 2"/>
                  <a:gd name="T6" fmla="*/ 4 w 10"/>
                  <a:gd name="T7" fmla="*/ 0 h 2"/>
                  <a:gd name="T8" fmla="*/ 10 w 10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">
                    <a:moveTo>
                      <a:pt x="10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00" name="Freeform 213">
                <a:extLst>
                  <a:ext uri="{FF2B5EF4-FFF2-40B4-BE49-F238E27FC236}">
                    <a16:creationId xmlns:a16="http://schemas.microsoft.com/office/drawing/2014/main" id="{A1B6D5CB-41AD-4908-8304-425D8D0C13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0" y="3355"/>
                <a:ext cx="4" cy="0"/>
              </a:xfrm>
              <a:custGeom>
                <a:avLst/>
                <a:gdLst>
                  <a:gd name="T0" fmla="*/ 0 w 4"/>
                  <a:gd name="T1" fmla="*/ 2 w 4"/>
                  <a:gd name="T2" fmla="*/ 4 w 4"/>
                  <a:gd name="T3" fmla="*/ 2 w 4"/>
                  <a:gd name="T4" fmla="*/ 0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01" name="Freeform 214">
                <a:extLst>
                  <a:ext uri="{FF2B5EF4-FFF2-40B4-BE49-F238E27FC236}">
                    <a16:creationId xmlns:a16="http://schemas.microsoft.com/office/drawing/2014/main" id="{95727ACF-CB8D-4C50-B504-4211E59548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4" y="288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  <a:gd name="T8" fmla="*/ 0 w 2"/>
                  <a:gd name="T9" fmla="*/ 0 h 2"/>
                  <a:gd name="T10" fmla="*/ 2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02" name="Freeform 215">
                <a:extLst>
                  <a:ext uri="{FF2B5EF4-FFF2-40B4-BE49-F238E27FC236}">
                    <a16:creationId xmlns:a16="http://schemas.microsoft.com/office/drawing/2014/main" id="{1E6582EE-59BD-4DFD-B698-E1C2D3034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8" y="2879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03" name="Freeform 216">
                <a:extLst>
                  <a:ext uri="{FF2B5EF4-FFF2-40B4-BE49-F238E27FC236}">
                    <a16:creationId xmlns:a16="http://schemas.microsoft.com/office/drawing/2014/main" id="{9EAA220A-FD37-49FF-B797-DED57303B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3355"/>
                <a:ext cx="3" cy="4"/>
              </a:xfrm>
              <a:custGeom>
                <a:avLst/>
                <a:gdLst>
                  <a:gd name="T0" fmla="*/ 1 w 3"/>
                  <a:gd name="T1" fmla="*/ 4 h 4"/>
                  <a:gd name="T2" fmla="*/ 0 w 3"/>
                  <a:gd name="T3" fmla="*/ 4 h 4"/>
                  <a:gd name="T4" fmla="*/ 1 w 3"/>
                  <a:gd name="T5" fmla="*/ 4 h 4"/>
                  <a:gd name="T6" fmla="*/ 3 w 3"/>
                  <a:gd name="T7" fmla="*/ 0 h 4"/>
                  <a:gd name="T8" fmla="*/ 3 w 3"/>
                  <a:gd name="T9" fmla="*/ 0 h 4"/>
                  <a:gd name="T10" fmla="*/ 3 w 3"/>
                  <a:gd name="T11" fmla="*/ 0 h 4"/>
                  <a:gd name="T12" fmla="*/ 1 w 3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04" name="Freeform 217">
                <a:extLst>
                  <a:ext uri="{FF2B5EF4-FFF2-40B4-BE49-F238E27FC236}">
                    <a16:creationId xmlns:a16="http://schemas.microsoft.com/office/drawing/2014/main" id="{295A101C-994B-488E-B44D-7FE3ABF627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6" y="3357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0 h 4"/>
                  <a:gd name="T4" fmla="*/ 2 w 2"/>
                  <a:gd name="T5" fmla="*/ 0 h 4"/>
                  <a:gd name="T6" fmla="*/ 2 w 2"/>
                  <a:gd name="T7" fmla="*/ 0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05" name="Freeform 218">
                <a:extLst>
                  <a:ext uri="{FF2B5EF4-FFF2-40B4-BE49-F238E27FC236}">
                    <a16:creationId xmlns:a16="http://schemas.microsoft.com/office/drawing/2014/main" id="{F49E3A79-D2D9-42C6-80B3-8F836C38DD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8" y="2883"/>
                <a:ext cx="8" cy="10"/>
              </a:xfrm>
              <a:custGeom>
                <a:avLst/>
                <a:gdLst>
                  <a:gd name="T0" fmla="*/ 2 w 8"/>
                  <a:gd name="T1" fmla="*/ 4 h 10"/>
                  <a:gd name="T2" fmla="*/ 4 w 8"/>
                  <a:gd name="T3" fmla="*/ 2 h 10"/>
                  <a:gd name="T4" fmla="*/ 8 w 8"/>
                  <a:gd name="T5" fmla="*/ 0 h 10"/>
                  <a:gd name="T6" fmla="*/ 4 w 8"/>
                  <a:gd name="T7" fmla="*/ 2 h 10"/>
                  <a:gd name="T8" fmla="*/ 2 w 8"/>
                  <a:gd name="T9" fmla="*/ 4 h 10"/>
                  <a:gd name="T10" fmla="*/ 0 w 8"/>
                  <a:gd name="T11" fmla="*/ 10 h 10"/>
                  <a:gd name="T12" fmla="*/ 0 w 8"/>
                  <a:gd name="T13" fmla="*/ 10 h 10"/>
                  <a:gd name="T14" fmla="*/ 2 w 8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0">
                    <a:moveTo>
                      <a:pt x="2" y="4"/>
                    </a:moveTo>
                    <a:lnTo>
                      <a:pt x="4" y="2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06" name="Freeform 219">
                <a:extLst>
                  <a:ext uri="{FF2B5EF4-FFF2-40B4-BE49-F238E27FC236}">
                    <a16:creationId xmlns:a16="http://schemas.microsoft.com/office/drawing/2014/main" id="{704D2C70-E906-4FD8-8045-8B447D5E39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4" y="3361"/>
                <a:ext cx="2" cy="8"/>
              </a:xfrm>
              <a:custGeom>
                <a:avLst/>
                <a:gdLst>
                  <a:gd name="T0" fmla="*/ 0 w 2"/>
                  <a:gd name="T1" fmla="*/ 8 h 8"/>
                  <a:gd name="T2" fmla="*/ 2 w 2"/>
                  <a:gd name="T3" fmla="*/ 2 h 8"/>
                  <a:gd name="T4" fmla="*/ 2 w 2"/>
                  <a:gd name="T5" fmla="*/ 0 h 8"/>
                  <a:gd name="T6" fmla="*/ 2 w 2"/>
                  <a:gd name="T7" fmla="*/ 0 h 8"/>
                  <a:gd name="T8" fmla="*/ 2 w 2"/>
                  <a:gd name="T9" fmla="*/ 2 h 8"/>
                  <a:gd name="T10" fmla="*/ 0 w 2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8">
                    <a:moveTo>
                      <a:pt x="0" y="8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07" name="Freeform 220">
                <a:extLst>
                  <a:ext uri="{FF2B5EF4-FFF2-40B4-BE49-F238E27FC236}">
                    <a16:creationId xmlns:a16="http://schemas.microsoft.com/office/drawing/2014/main" id="{91FCB5F7-90CA-433A-8E1B-1A12D61C09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7" y="3402"/>
                <a:ext cx="43" cy="8"/>
              </a:xfrm>
              <a:custGeom>
                <a:avLst/>
                <a:gdLst>
                  <a:gd name="T0" fmla="*/ 41 w 43"/>
                  <a:gd name="T1" fmla="*/ 8 h 8"/>
                  <a:gd name="T2" fmla="*/ 23 w 43"/>
                  <a:gd name="T3" fmla="*/ 2 h 8"/>
                  <a:gd name="T4" fmla="*/ 0 w 43"/>
                  <a:gd name="T5" fmla="*/ 0 h 8"/>
                  <a:gd name="T6" fmla="*/ 0 w 43"/>
                  <a:gd name="T7" fmla="*/ 0 h 8"/>
                  <a:gd name="T8" fmla="*/ 23 w 43"/>
                  <a:gd name="T9" fmla="*/ 2 h 8"/>
                  <a:gd name="T10" fmla="*/ 41 w 43"/>
                  <a:gd name="T11" fmla="*/ 8 h 8"/>
                  <a:gd name="T12" fmla="*/ 43 w 43"/>
                  <a:gd name="T13" fmla="*/ 8 h 8"/>
                  <a:gd name="T14" fmla="*/ 43 w 43"/>
                  <a:gd name="T15" fmla="*/ 8 h 8"/>
                  <a:gd name="T16" fmla="*/ 43 w 43"/>
                  <a:gd name="T17" fmla="*/ 8 h 8"/>
                  <a:gd name="T18" fmla="*/ 41 w 43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" h="8">
                    <a:moveTo>
                      <a:pt x="41" y="8"/>
                    </a:moveTo>
                    <a:lnTo>
                      <a:pt x="2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3" y="2"/>
                    </a:lnTo>
                    <a:lnTo>
                      <a:pt x="41" y="8"/>
                    </a:lnTo>
                    <a:lnTo>
                      <a:pt x="43" y="8"/>
                    </a:lnTo>
                    <a:lnTo>
                      <a:pt x="43" y="8"/>
                    </a:lnTo>
                    <a:lnTo>
                      <a:pt x="43" y="8"/>
                    </a:lnTo>
                    <a:lnTo>
                      <a:pt x="41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08" name="Freeform 221">
                <a:extLst>
                  <a:ext uri="{FF2B5EF4-FFF2-40B4-BE49-F238E27FC236}">
                    <a16:creationId xmlns:a16="http://schemas.microsoft.com/office/drawing/2014/main" id="{BFF56A2F-30D3-4B8F-869A-C4CA004F3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8" y="3348"/>
                <a:ext cx="11" cy="9"/>
              </a:xfrm>
              <a:custGeom>
                <a:avLst/>
                <a:gdLst>
                  <a:gd name="T0" fmla="*/ 0 w 11"/>
                  <a:gd name="T1" fmla="*/ 0 h 9"/>
                  <a:gd name="T2" fmla="*/ 0 w 11"/>
                  <a:gd name="T3" fmla="*/ 0 h 9"/>
                  <a:gd name="T4" fmla="*/ 11 w 11"/>
                  <a:gd name="T5" fmla="*/ 9 h 9"/>
                  <a:gd name="T6" fmla="*/ 0 w 11"/>
                  <a:gd name="T7" fmla="*/ 0 h 9"/>
                  <a:gd name="T8" fmla="*/ 0 w 1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0" y="0"/>
                    </a:moveTo>
                    <a:lnTo>
                      <a:pt x="0" y="0"/>
                    </a:lnTo>
                    <a:lnTo>
                      <a:pt x="11" y="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09" name="Freeform 222">
                <a:extLst>
                  <a:ext uri="{FF2B5EF4-FFF2-40B4-BE49-F238E27FC236}">
                    <a16:creationId xmlns:a16="http://schemas.microsoft.com/office/drawing/2014/main" id="{D2757220-6585-400C-AC71-FE5430DC62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7" y="3394"/>
                <a:ext cx="8" cy="8"/>
              </a:xfrm>
              <a:custGeom>
                <a:avLst/>
                <a:gdLst>
                  <a:gd name="T0" fmla="*/ 2 w 8"/>
                  <a:gd name="T1" fmla="*/ 4 h 8"/>
                  <a:gd name="T2" fmla="*/ 0 w 8"/>
                  <a:gd name="T3" fmla="*/ 0 h 8"/>
                  <a:gd name="T4" fmla="*/ 0 w 8"/>
                  <a:gd name="T5" fmla="*/ 0 h 8"/>
                  <a:gd name="T6" fmla="*/ 2 w 8"/>
                  <a:gd name="T7" fmla="*/ 4 h 8"/>
                  <a:gd name="T8" fmla="*/ 4 w 8"/>
                  <a:gd name="T9" fmla="*/ 6 h 8"/>
                  <a:gd name="T10" fmla="*/ 8 w 8"/>
                  <a:gd name="T11" fmla="*/ 8 h 8"/>
                  <a:gd name="T12" fmla="*/ 4 w 8"/>
                  <a:gd name="T13" fmla="*/ 6 h 8"/>
                  <a:gd name="T14" fmla="*/ 2 w 8"/>
                  <a:gd name="T15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8">
                    <a:moveTo>
                      <a:pt x="2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8" y="8"/>
                    </a:lnTo>
                    <a:lnTo>
                      <a:pt x="4" y="6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10" name="Freeform 223">
                <a:extLst>
                  <a:ext uri="{FF2B5EF4-FFF2-40B4-BE49-F238E27FC236}">
                    <a16:creationId xmlns:a16="http://schemas.microsoft.com/office/drawing/2014/main" id="{BAEF68D2-A1BA-4D86-8FC0-845623527C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5" y="3387"/>
                <a:ext cx="2" cy="3"/>
              </a:xfrm>
              <a:custGeom>
                <a:avLst/>
                <a:gdLst>
                  <a:gd name="T0" fmla="*/ 2 w 2"/>
                  <a:gd name="T1" fmla="*/ 2 h 3"/>
                  <a:gd name="T2" fmla="*/ 2 w 2"/>
                  <a:gd name="T3" fmla="*/ 0 h 3"/>
                  <a:gd name="T4" fmla="*/ 2 w 2"/>
                  <a:gd name="T5" fmla="*/ 2 h 3"/>
                  <a:gd name="T6" fmla="*/ 0 w 2"/>
                  <a:gd name="T7" fmla="*/ 2 h 3"/>
                  <a:gd name="T8" fmla="*/ 0 w 2"/>
                  <a:gd name="T9" fmla="*/ 3 h 3"/>
                  <a:gd name="T10" fmla="*/ 0 w 2"/>
                  <a:gd name="T11" fmla="*/ 2 h 3"/>
                  <a:gd name="T12" fmla="*/ 2 w 2"/>
                  <a:gd name="T1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3">
                    <a:moveTo>
                      <a:pt x="2" y="2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11" name="Freeform 224">
                <a:extLst>
                  <a:ext uri="{FF2B5EF4-FFF2-40B4-BE49-F238E27FC236}">
                    <a16:creationId xmlns:a16="http://schemas.microsoft.com/office/drawing/2014/main" id="{6E0C33B6-ADE6-4AEC-B3E0-4334F91A6E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7" y="2947"/>
                <a:ext cx="2" cy="4"/>
              </a:xfrm>
              <a:custGeom>
                <a:avLst/>
                <a:gdLst>
                  <a:gd name="T0" fmla="*/ 0 w 2"/>
                  <a:gd name="T1" fmla="*/ 2 h 4"/>
                  <a:gd name="T2" fmla="*/ 0 w 2"/>
                  <a:gd name="T3" fmla="*/ 2 h 4"/>
                  <a:gd name="T4" fmla="*/ 2 w 2"/>
                  <a:gd name="T5" fmla="*/ 2 h 4"/>
                  <a:gd name="T6" fmla="*/ 2 w 2"/>
                  <a:gd name="T7" fmla="*/ 0 h 4"/>
                  <a:gd name="T8" fmla="*/ 2 w 2"/>
                  <a:gd name="T9" fmla="*/ 2 h 4"/>
                  <a:gd name="T10" fmla="*/ 0 w 2"/>
                  <a:gd name="T11" fmla="*/ 2 h 4"/>
                  <a:gd name="T12" fmla="*/ 0 w 2"/>
                  <a:gd name="T13" fmla="*/ 2 h 4"/>
                  <a:gd name="T14" fmla="*/ 0 w 2"/>
                  <a:gd name="T15" fmla="*/ 4 h 4"/>
                  <a:gd name="T16" fmla="*/ 2 w 2"/>
                  <a:gd name="T17" fmla="*/ 4 h 4"/>
                  <a:gd name="T18" fmla="*/ 0 w 2"/>
                  <a:gd name="T19" fmla="*/ 4 h 4"/>
                  <a:gd name="T20" fmla="*/ 0 w 2"/>
                  <a:gd name="T2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12" name="Freeform 225">
                <a:extLst>
                  <a:ext uri="{FF2B5EF4-FFF2-40B4-BE49-F238E27FC236}">
                    <a16:creationId xmlns:a16="http://schemas.microsoft.com/office/drawing/2014/main" id="{3F05FF46-F5D0-47AC-AA9F-9927793ED9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5" y="3390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0 h 4"/>
                  <a:gd name="T4" fmla="*/ 2 w 2"/>
                  <a:gd name="T5" fmla="*/ 4 h 4"/>
                  <a:gd name="T6" fmla="*/ 2 w 2"/>
                  <a:gd name="T7" fmla="*/ 4 h 4"/>
                  <a:gd name="T8" fmla="*/ 2 w 2"/>
                  <a:gd name="T9" fmla="*/ 4 h 4"/>
                  <a:gd name="T10" fmla="*/ 0 w 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13" name="Freeform 226">
                <a:extLst>
                  <a:ext uri="{FF2B5EF4-FFF2-40B4-BE49-F238E27FC236}">
                    <a16:creationId xmlns:a16="http://schemas.microsoft.com/office/drawing/2014/main" id="{AA77175D-B873-4120-8FEF-37DCF3F7E8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8" y="2912"/>
                <a:ext cx="33" cy="25"/>
              </a:xfrm>
              <a:custGeom>
                <a:avLst/>
                <a:gdLst>
                  <a:gd name="T0" fmla="*/ 16 w 33"/>
                  <a:gd name="T1" fmla="*/ 24 h 25"/>
                  <a:gd name="T2" fmla="*/ 21 w 33"/>
                  <a:gd name="T3" fmla="*/ 25 h 25"/>
                  <a:gd name="T4" fmla="*/ 23 w 33"/>
                  <a:gd name="T5" fmla="*/ 24 h 25"/>
                  <a:gd name="T6" fmla="*/ 27 w 33"/>
                  <a:gd name="T7" fmla="*/ 20 h 25"/>
                  <a:gd name="T8" fmla="*/ 29 w 33"/>
                  <a:gd name="T9" fmla="*/ 18 h 25"/>
                  <a:gd name="T10" fmla="*/ 29 w 33"/>
                  <a:gd name="T11" fmla="*/ 12 h 25"/>
                  <a:gd name="T12" fmla="*/ 31 w 33"/>
                  <a:gd name="T13" fmla="*/ 2 h 25"/>
                  <a:gd name="T14" fmla="*/ 33 w 33"/>
                  <a:gd name="T15" fmla="*/ 0 h 25"/>
                  <a:gd name="T16" fmla="*/ 33 w 33"/>
                  <a:gd name="T17" fmla="*/ 0 h 25"/>
                  <a:gd name="T18" fmla="*/ 33 w 33"/>
                  <a:gd name="T19" fmla="*/ 0 h 25"/>
                  <a:gd name="T20" fmla="*/ 31 w 33"/>
                  <a:gd name="T21" fmla="*/ 2 h 25"/>
                  <a:gd name="T22" fmla="*/ 29 w 33"/>
                  <a:gd name="T23" fmla="*/ 12 h 25"/>
                  <a:gd name="T24" fmla="*/ 29 w 33"/>
                  <a:gd name="T25" fmla="*/ 18 h 25"/>
                  <a:gd name="T26" fmla="*/ 27 w 33"/>
                  <a:gd name="T27" fmla="*/ 20 h 25"/>
                  <a:gd name="T28" fmla="*/ 23 w 33"/>
                  <a:gd name="T29" fmla="*/ 24 h 25"/>
                  <a:gd name="T30" fmla="*/ 21 w 33"/>
                  <a:gd name="T31" fmla="*/ 25 h 25"/>
                  <a:gd name="T32" fmla="*/ 16 w 33"/>
                  <a:gd name="T33" fmla="*/ 24 h 25"/>
                  <a:gd name="T34" fmla="*/ 0 w 33"/>
                  <a:gd name="T35" fmla="*/ 16 h 25"/>
                  <a:gd name="T36" fmla="*/ 0 w 33"/>
                  <a:gd name="T37" fmla="*/ 14 h 25"/>
                  <a:gd name="T38" fmla="*/ 0 w 33"/>
                  <a:gd name="T39" fmla="*/ 16 h 25"/>
                  <a:gd name="T40" fmla="*/ 16 w 33"/>
                  <a:gd name="T41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" h="25">
                    <a:moveTo>
                      <a:pt x="16" y="24"/>
                    </a:moveTo>
                    <a:lnTo>
                      <a:pt x="21" y="25"/>
                    </a:lnTo>
                    <a:lnTo>
                      <a:pt x="23" y="24"/>
                    </a:lnTo>
                    <a:lnTo>
                      <a:pt x="27" y="20"/>
                    </a:lnTo>
                    <a:lnTo>
                      <a:pt x="29" y="18"/>
                    </a:lnTo>
                    <a:lnTo>
                      <a:pt x="29" y="12"/>
                    </a:lnTo>
                    <a:lnTo>
                      <a:pt x="31" y="2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31" y="2"/>
                    </a:lnTo>
                    <a:lnTo>
                      <a:pt x="29" y="12"/>
                    </a:lnTo>
                    <a:lnTo>
                      <a:pt x="29" y="18"/>
                    </a:lnTo>
                    <a:lnTo>
                      <a:pt x="27" y="20"/>
                    </a:lnTo>
                    <a:lnTo>
                      <a:pt x="23" y="24"/>
                    </a:lnTo>
                    <a:lnTo>
                      <a:pt x="21" y="25"/>
                    </a:lnTo>
                    <a:lnTo>
                      <a:pt x="16" y="24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16" y="2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14" name="Freeform 227">
                <a:extLst>
                  <a:ext uri="{FF2B5EF4-FFF2-40B4-BE49-F238E27FC236}">
                    <a16:creationId xmlns:a16="http://schemas.microsoft.com/office/drawing/2014/main" id="{F29A4DDA-8D89-432E-973F-C0C6392A0C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4" y="3390"/>
                <a:ext cx="7" cy="12"/>
              </a:xfrm>
              <a:custGeom>
                <a:avLst/>
                <a:gdLst>
                  <a:gd name="T0" fmla="*/ 2 w 7"/>
                  <a:gd name="T1" fmla="*/ 10 h 12"/>
                  <a:gd name="T2" fmla="*/ 0 w 7"/>
                  <a:gd name="T3" fmla="*/ 12 h 12"/>
                  <a:gd name="T4" fmla="*/ 2 w 7"/>
                  <a:gd name="T5" fmla="*/ 10 h 12"/>
                  <a:gd name="T6" fmla="*/ 5 w 7"/>
                  <a:gd name="T7" fmla="*/ 0 h 12"/>
                  <a:gd name="T8" fmla="*/ 7 w 7"/>
                  <a:gd name="T9" fmla="*/ 0 h 12"/>
                  <a:gd name="T10" fmla="*/ 5 w 7"/>
                  <a:gd name="T11" fmla="*/ 0 h 12"/>
                  <a:gd name="T12" fmla="*/ 2 w 7"/>
                  <a:gd name="T13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12">
                    <a:moveTo>
                      <a:pt x="2" y="10"/>
                    </a:moveTo>
                    <a:lnTo>
                      <a:pt x="0" y="12"/>
                    </a:lnTo>
                    <a:lnTo>
                      <a:pt x="2" y="1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15" name="Freeform 228">
                <a:extLst>
                  <a:ext uri="{FF2B5EF4-FFF2-40B4-BE49-F238E27FC236}">
                    <a16:creationId xmlns:a16="http://schemas.microsoft.com/office/drawing/2014/main" id="{E40C5A83-B7FC-413D-87C7-5E0256C4CB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2" y="2928"/>
                <a:ext cx="4" cy="0"/>
              </a:xfrm>
              <a:custGeom>
                <a:avLst/>
                <a:gdLst>
                  <a:gd name="T0" fmla="*/ 4 w 4"/>
                  <a:gd name="T1" fmla="*/ 4 w 4"/>
                  <a:gd name="T2" fmla="*/ 4 w 4"/>
                  <a:gd name="T3" fmla="*/ 0 w 4"/>
                  <a:gd name="T4" fmla="*/ 0 w 4"/>
                  <a:gd name="T5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16" name="Freeform 229">
                <a:extLst>
                  <a:ext uri="{FF2B5EF4-FFF2-40B4-BE49-F238E27FC236}">
                    <a16:creationId xmlns:a16="http://schemas.microsoft.com/office/drawing/2014/main" id="{55400037-305D-4BB0-A742-B4E392D8E8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5" y="3396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2 w 2"/>
                  <a:gd name="T5" fmla="*/ 0 h 2"/>
                  <a:gd name="T6" fmla="*/ 2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17" name="Freeform 230">
                <a:extLst>
                  <a:ext uri="{FF2B5EF4-FFF2-40B4-BE49-F238E27FC236}">
                    <a16:creationId xmlns:a16="http://schemas.microsoft.com/office/drawing/2014/main" id="{1113EAC6-624A-4756-AC56-421B7B8E2A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5" y="2937"/>
                <a:ext cx="16" cy="4"/>
              </a:xfrm>
              <a:custGeom>
                <a:avLst/>
                <a:gdLst>
                  <a:gd name="T0" fmla="*/ 16 w 16"/>
                  <a:gd name="T1" fmla="*/ 0 h 4"/>
                  <a:gd name="T2" fmla="*/ 6 w 16"/>
                  <a:gd name="T3" fmla="*/ 2 h 4"/>
                  <a:gd name="T4" fmla="*/ 0 w 16"/>
                  <a:gd name="T5" fmla="*/ 4 h 4"/>
                  <a:gd name="T6" fmla="*/ 0 w 16"/>
                  <a:gd name="T7" fmla="*/ 4 h 4"/>
                  <a:gd name="T8" fmla="*/ 6 w 16"/>
                  <a:gd name="T9" fmla="*/ 2 h 4"/>
                  <a:gd name="T10" fmla="*/ 16 w 1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4">
                    <a:moveTo>
                      <a:pt x="16" y="0"/>
                    </a:moveTo>
                    <a:lnTo>
                      <a:pt x="6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6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18" name="Rectangle 231">
                <a:extLst>
                  <a:ext uri="{FF2B5EF4-FFF2-40B4-BE49-F238E27FC236}">
                    <a16:creationId xmlns:a16="http://schemas.microsoft.com/office/drawing/2014/main" id="{824E0B62-7F04-4F5E-8E55-ADC2FEC275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3" y="3394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19" name="Freeform 232">
                <a:extLst>
                  <a:ext uri="{FF2B5EF4-FFF2-40B4-BE49-F238E27FC236}">
                    <a16:creationId xmlns:a16="http://schemas.microsoft.com/office/drawing/2014/main" id="{5B08F015-2242-4CCC-93C4-A9DA52DF1A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3" y="3392"/>
                <a:ext cx="10" cy="6"/>
              </a:xfrm>
              <a:custGeom>
                <a:avLst/>
                <a:gdLst>
                  <a:gd name="T0" fmla="*/ 2 w 10"/>
                  <a:gd name="T1" fmla="*/ 2 h 6"/>
                  <a:gd name="T2" fmla="*/ 0 w 10"/>
                  <a:gd name="T3" fmla="*/ 0 h 6"/>
                  <a:gd name="T4" fmla="*/ 2 w 10"/>
                  <a:gd name="T5" fmla="*/ 2 h 6"/>
                  <a:gd name="T6" fmla="*/ 8 w 10"/>
                  <a:gd name="T7" fmla="*/ 6 h 6"/>
                  <a:gd name="T8" fmla="*/ 10 w 10"/>
                  <a:gd name="T9" fmla="*/ 6 h 6"/>
                  <a:gd name="T10" fmla="*/ 8 w 10"/>
                  <a:gd name="T11" fmla="*/ 6 h 6"/>
                  <a:gd name="T12" fmla="*/ 2 w 10"/>
                  <a:gd name="T1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6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20" name="Freeform 233">
                <a:extLst>
                  <a:ext uri="{FF2B5EF4-FFF2-40B4-BE49-F238E27FC236}">
                    <a16:creationId xmlns:a16="http://schemas.microsoft.com/office/drawing/2014/main" id="{A583739B-3DC6-4639-9FB1-B083A12924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1" y="2930"/>
                <a:ext cx="15" cy="9"/>
              </a:xfrm>
              <a:custGeom>
                <a:avLst/>
                <a:gdLst>
                  <a:gd name="T0" fmla="*/ 5 w 15"/>
                  <a:gd name="T1" fmla="*/ 9 h 9"/>
                  <a:gd name="T2" fmla="*/ 7 w 15"/>
                  <a:gd name="T3" fmla="*/ 7 h 9"/>
                  <a:gd name="T4" fmla="*/ 9 w 15"/>
                  <a:gd name="T5" fmla="*/ 2 h 9"/>
                  <a:gd name="T6" fmla="*/ 13 w 15"/>
                  <a:gd name="T7" fmla="*/ 0 h 9"/>
                  <a:gd name="T8" fmla="*/ 15 w 15"/>
                  <a:gd name="T9" fmla="*/ 0 h 9"/>
                  <a:gd name="T10" fmla="*/ 13 w 15"/>
                  <a:gd name="T11" fmla="*/ 0 h 9"/>
                  <a:gd name="T12" fmla="*/ 9 w 15"/>
                  <a:gd name="T13" fmla="*/ 2 h 9"/>
                  <a:gd name="T14" fmla="*/ 7 w 15"/>
                  <a:gd name="T15" fmla="*/ 7 h 9"/>
                  <a:gd name="T16" fmla="*/ 5 w 15"/>
                  <a:gd name="T17" fmla="*/ 9 h 9"/>
                  <a:gd name="T18" fmla="*/ 3 w 15"/>
                  <a:gd name="T19" fmla="*/ 9 h 9"/>
                  <a:gd name="T20" fmla="*/ 0 w 15"/>
                  <a:gd name="T21" fmla="*/ 9 h 9"/>
                  <a:gd name="T22" fmla="*/ 3 w 15"/>
                  <a:gd name="T23" fmla="*/ 9 h 9"/>
                  <a:gd name="T24" fmla="*/ 5 w 15"/>
                  <a:gd name="T2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" h="9">
                    <a:moveTo>
                      <a:pt x="5" y="9"/>
                    </a:moveTo>
                    <a:lnTo>
                      <a:pt x="7" y="7"/>
                    </a:lnTo>
                    <a:lnTo>
                      <a:pt x="9" y="2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9" y="2"/>
                    </a:lnTo>
                    <a:lnTo>
                      <a:pt x="7" y="7"/>
                    </a:lnTo>
                    <a:lnTo>
                      <a:pt x="5" y="9"/>
                    </a:lnTo>
                    <a:lnTo>
                      <a:pt x="3" y="9"/>
                    </a:lnTo>
                    <a:lnTo>
                      <a:pt x="0" y="9"/>
                    </a:lnTo>
                    <a:lnTo>
                      <a:pt x="3" y="9"/>
                    </a:lnTo>
                    <a:lnTo>
                      <a:pt x="5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21" name="Freeform 234">
                <a:extLst>
                  <a:ext uri="{FF2B5EF4-FFF2-40B4-BE49-F238E27FC236}">
                    <a16:creationId xmlns:a16="http://schemas.microsoft.com/office/drawing/2014/main" id="{7ECC2CE7-47DD-4324-A75F-A9102A71CF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2" y="2797"/>
                <a:ext cx="16" cy="16"/>
              </a:xfrm>
              <a:custGeom>
                <a:avLst/>
                <a:gdLst>
                  <a:gd name="T0" fmla="*/ 16 w 16"/>
                  <a:gd name="T1" fmla="*/ 10 h 16"/>
                  <a:gd name="T2" fmla="*/ 16 w 16"/>
                  <a:gd name="T3" fmla="*/ 4 h 16"/>
                  <a:gd name="T4" fmla="*/ 12 w 16"/>
                  <a:gd name="T5" fmla="*/ 2 h 16"/>
                  <a:gd name="T6" fmla="*/ 6 w 16"/>
                  <a:gd name="T7" fmla="*/ 0 h 16"/>
                  <a:gd name="T8" fmla="*/ 6 w 16"/>
                  <a:gd name="T9" fmla="*/ 0 h 16"/>
                  <a:gd name="T10" fmla="*/ 12 w 16"/>
                  <a:gd name="T11" fmla="*/ 2 h 16"/>
                  <a:gd name="T12" fmla="*/ 16 w 16"/>
                  <a:gd name="T13" fmla="*/ 4 h 16"/>
                  <a:gd name="T14" fmla="*/ 16 w 16"/>
                  <a:gd name="T15" fmla="*/ 10 h 16"/>
                  <a:gd name="T16" fmla="*/ 10 w 16"/>
                  <a:gd name="T17" fmla="*/ 16 h 16"/>
                  <a:gd name="T18" fmla="*/ 0 w 16"/>
                  <a:gd name="T19" fmla="*/ 14 h 16"/>
                  <a:gd name="T20" fmla="*/ 10 w 16"/>
                  <a:gd name="T21" fmla="*/ 16 h 16"/>
                  <a:gd name="T22" fmla="*/ 16 w 16"/>
                  <a:gd name="T23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6">
                    <a:moveTo>
                      <a:pt x="16" y="10"/>
                    </a:moveTo>
                    <a:lnTo>
                      <a:pt x="16" y="4"/>
                    </a:lnTo>
                    <a:lnTo>
                      <a:pt x="1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2" y="2"/>
                    </a:lnTo>
                    <a:lnTo>
                      <a:pt x="16" y="4"/>
                    </a:lnTo>
                    <a:lnTo>
                      <a:pt x="16" y="10"/>
                    </a:lnTo>
                    <a:lnTo>
                      <a:pt x="10" y="16"/>
                    </a:lnTo>
                    <a:lnTo>
                      <a:pt x="0" y="14"/>
                    </a:lnTo>
                    <a:lnTo>
                      <a:pt x="10" y="16"/>
                    </a:lnTo>
                    <a:lnTo>
                      <a:pt x="16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22" name="Freeform 235">
                <a:extLst>
                  <a:ext uri="{FF2B5EF4-FFF2-40B4-BE49-F238E27FC236}">
                    <a16:creationId xmlns:a16="http://schemas.microsoft.com/office/drawing/2014/main" id="{70FFA3B2-8EFC-433E-BB1A-124DC3B437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6" y="3332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0 w 4"/>
                  <a:gd name="T3" fmla="*/ 0 h 2"/>
                  <a:gd name="T4" fmla="*/ 2 w 4"/>
                  <a:gd name="T5" fmla="*/ 0 h 2"/>
                  <a:gd name="T6" fmla="*/ 4 w 4"/>
                  <a:gd name="T7" fmla="*/ 0 h 2"/>
                  <a:gd name="T8" fmla="*/ 4 w 4"/>
                  <a:gd name="T9" fmla="*/ 2 h 2"/>
                  <a:gd name="T10" fmla="*/ 4 w 4"/>
                  <a:gd name="T11" fmla="*/ 0 h 2"/>
                  <a:gd name="T12" fmla="*/ 2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23" name="Freeform 236">
                <a:extLst>
                  <a:ext uri="{FF2B5EF4-FFF2-40B4-BE49-F238E27FC236}">
                    <a16:creationId xmlns:a16="http://schemas.microsoft.com/office/drawing/2014/main" id="{5E8E9E52-2C2F-4DF8-AC82-E04598DFB5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6" y="3338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2 w 4"/>
                  <a:gd name="T3" fmla="*/ 0 h 2"/>
                  <a:gd name="T4" fmla="*/ 0 w 4"/>
                  <a:gd name="T5" fmla="*/ 0 h 2"/>
                  <a:gd name="T6" fmla="*/ 2 w 4"/>
                  <a:gd name="T7" fmla="*/ 0 h 2"/>
                  <a:gd name="T8" fmla="*/ 2 w 4"/>
                  <a:gd name="T9" fmla="*/ 2 h 2"/>
                  <a:gd name="T10" fmla="*/ 4 w 4"/>
                  <a:gd name="T11" fmla="*/ 2 h 2"/>
                  <a:gd name="T12" fmla="*/ 4 w 4"/>
                  <a:gd name="T13" fmla="*/ 2 h 2"/>
                  <a:gd name="T14" fmla="*/ 2 w 4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24" name="Freeform 237">
                <a:extLst>
                  <a:ext uri="{FF2B5EF4-FFF2-40B4-BE49-F238E27FC236}">
                    <a16:creationId xmlns:a16="http://schemas.microsoft.com/office/drawing/2014/main" id="{07F91540-DE1B-4C2A-AD6F-37E449C919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838"/>
                <a:ext cx="2" cy="10"/>
              </a:xfrm>
              <a:custGeom>
                <a:avLst/>
                <a:gdLst>
                  <a:gd name="T0" fmla="*/ 0 w 2"/>
                  <a:gd name="T1" fmla="*/ 6 h 10"/>
                  <a:gd name="T2" fmla="*/ 0 w 2"/>
                  <a:gd name="T3" fmla="*/ 4 h 10"/>
                  <a:gd name="T4" fmla="*/ 2 w 2"/>
                  <a:gd name="T5" fmla="*/ 2 h 10"/>
                  <a:gd name="T6" fmla="*/ 2 w 2"/>
                  <a:gd name="T7" fmla="*/ 0 h 10"/>
                  <a:gd name="T8" fmla="*/ 2 w 2"/>
                  <a:gd name="T9" fmla="*/ 2 h 10"/>
                  <a:gd name="T10" fmla="*/ 0 w 2"/>
                  <a:gd name="T11" fmla="*/ 4 h 10"/>
                  <a:gd name="T12" fmla="*/ 0 w 2"/>
                  <a:gd name="T13" fmla="*/ 6 h 10"/>
                  <a:gd name="T14" fmla="*/ 2 w 2"/>
                  <a:gd name="T15" fmla="*/ 8 h 10"/>
                  <a:gd name="T16" fmla="*/ 2 w 2"/>
                  <a:gd name="T17" fmla="*/ 10 h 10"/>
                  <a:gd name="T18" fmla="*/ 2 w 2"/>
                  <a:gd name="T19" fmla="*/ 8 h 10"/>
                  <a:gd name="T20" fmla="*/ 0 w 2"/>
                  <a:gd name="T2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10">
                    <a:moveTo>
                      <a:pt x="0" y="6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25" name="Rectangle 238">
                <a:extLst>
                  <a:ext uri="{FF2B5EF4-FFF2-40B4-BE49-F238E27FC236}">
                    <a16:creationId xmlns:a16="http://schemas.microsoft.com/office/drawing/2014/main" id="{9291198B-3E3C-4752-94B1-292F7720DA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0" y="283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26" name="Freeform 239">
                <a:extLst>
                  <a:ext uri="{FF2B5EF4-FFF2-40B4-BE49-F238E27FC236}">
                    <a16:creationId xmlns:a16="http://schemas.microsoft.com/office/drawing/2014/main" id="{864B96C7-8005-437F-A587-129DB30B6D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1" y="3322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2 w 6"/>
                  <a:gd name="T3" fmla="*/ 2 h 4"/>
                  <a:gd name="T4" fmla="*/ 6 w 6"/>
                  <a:gd name="T5" fmla="*/ 4 h 4"/>
                  <a:gd name="T6" fmla="*/ 2 w 6"/>
                  <a:gd name="T7" fmla="*/ 2 h 4"/>
                  <a:gd name="T8" fmla="*/ 0 w 6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2" y="2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27" name="Freeform 240">
                <a:extLst>
                  <a:ext uri="{FF2B5EF4-FFF2-40B4-BE49-F238E27FC236}">
                    <a16:creationId xmlns:a16="http://schemas.microsoft.com/office/drawing/2014/main" id="{ED56AD88-22CA-4968-8476-24EED1D38B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4" y="2850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2 w 8"/>
                  <a:gd name="T5" fmla="*/ 4 h 4"/>
                  <a:gd name="T6" fmla="*/ 0 w 8"/>
                  <a:gd name="T7" fmla="*/ 4 h 4"/>
                  <a:gd name="T8" fmla="*/ 2 w 8"/>
                  <a:gd name="T9" fmla="*/ 4 h 4"/>
                  <a:gd name="T10" fmla="*/ 8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28" name="Freeform 241">
                <a:extLst>
                  <a:ext uri="{FF2B5EF4-FFF2-40B4-BE49-F238E27FC236}">
                    <a16:creationId xmlns:a16="http://schemas.microsoft.com/office/drawing/2014/main" id="{61FAB828-BC15-4AE5-B676-67F86DE864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1" y="3332"/>
                <a:ext cx="23" cy="4"/>
              </a:xfrm>
              <a:custGeom>
                <a:avLst/>
                <a:gdLst>
                  <a:gd name="T0" fmla="*/ 15 w 23"/>
                  <a:gd name="T1" fmla="*/ 2 h 4"/>
                  <a:gd name="T2" fmla="*/ 13 w 23"/>
                  <a:gd name="T3" fmla="*/ 4 h 4"/>
                  <a:gd name="T4" fmla="*/ 9 w 23"/>
                  <a:gd name="T5" fmla="*/ 4 h 4"/>
                  <a:gd name="T6" fmla="*/ 6 w 23"/>
                  <a:gd name="T7" fmla="*/ 2 h 4"/>
                  <a:gd name="T8" fmla="*/ 0 w 23"/>
                  <a:gd name="T9" fmla="*/ 0 h 4"/>
                  <a:gd name="T10" fmla="*/ 6 w 23"/>
                  <a:gd name="T11" fmla="*/ 2 h 4"/>
                  <a:gd name="T12" fmla="*/ 9 w 23"/>
                  <a:gd name="T13" fmla="*/ 4 h 4"/>
                  <a:gd name="T14" fmla="*/ 13 w 23"/>
                  <a:gd name="T15" fmla="*/ 4 h 4"/>
                  <a:gd name="T16" fmla="*/ 15 w 23"/>
                  <a:gd name="T17" fmla="*/ 2 h 4"/>
                  <a:gd name="T18" fmla="*/ 21 w 23"/>
                  <a:gd name="T19" fmla="*/ 0 h 4"/>
                  <a:gd name="T20" fmla="*/ 23 w 23"/>
                  <a:gd name="T21" fmla="*/ 0 h 4"/>
                  <a:gd name="T22" fmla="*/ 21 w 23"/>
                  <a:gd name="T23" fmla="*/ 0 h 4"/>
                  <a:gd name="T24" fmla="*/ 15 w 23"/>
                  <a:gd name="T2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" h="4">
                    <a:moveTo>
                      <a:pt x="15" y="2"/>
                    </a:moveTo>
                    <a:lnTo>
                      <a:pt x="13" y="4"/>
                    </a:lnTo>
                    <a:lnTo>
                      <a:pt x="9" y="4"/>
                    </a:lnTo>
                    <a:lnTo>
                      <a:pt x="6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9" y="4"/>
                    </a:lnTo>
                    <a:lnTo>
                      <a:pt x="13" y="4"/>
                    </a:lnTo>
                    <a:lnTo>
                      <a:pt x="15" y="2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15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29" name="Freeform 242">
                <a:extLst>
                  <a:ext uri="{FF2B5EF4-FFF2-40B4-BE49-F238E27FC236}">
                    <a16:creationId xmlns:a16="http://schemas.microsoft.com/office/drawing/2014/main" id="{783A6E9C-2263-495A-89F9-67C7D1882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" y="2789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0 h 4"/>
                  <a:gd name="T4" fmla="*/ 2 w 2"/>
                  <a:gd name="T5" fmla="*/ 0 h 4"/>
                  <a:gd name="T6" fmla="*/ 2 w 2"/>
                  <a:gd name="T7" fmla="*/ 0 h 4"/>
                  <a:gd name="T8" fmla="*/ 0 w 2"/>
                  <a:gd name="T9" fmla="*/ 0 h 4"/>
                  <a:gd name="T10" fmla="*/ 0 w 2"/>
                  <a:gd name="T11" fmla="*/ 4 h 4"/>
                  <a:gd name="T12" fmla="*/ 0 w 2"/>
                  <a:gd name="T13" fmla="*/ 4 h 4"/>
                  <a:gd name="T14" fmla="*/ 0 w 2"/>
                  <a:gd name="T15" fmla="*/ 4 h 4"/>
                  <a:gd name="T16" fmla="*/ 0 w 2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30" name="Freeform 243">
                <a:extLst>
                  <a:ext uri="{FF2B5EF4-FFF2-40B4-BE49-F238E27FC236}">
                    <a16:creationId xmlns:a16="http://schemas.microsoft.com/office/drawing/2014/main" id="{BEF234E6-D7B5-4E53-9D91-450928B9F4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4" y="3342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31" name="Rectangle 244">
                <a:extLst>
                  <a:ext uri="{FF2B5EF4-FFF2-40B4-BE49-F238E27FC236}">
                    <a16:creationId xmlns:a16="http://schemas.microsoft.com/office/drawing/2014/main" id="{A2B8D0DF-8672-485B-BDE3-F6AC3E9828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9" y="338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32" name="Freeform 245">
                <a:extLst>
                  <a:ext uri="{FF2B5EF4-FFF2-40B4-BE49-F238E27FC236}">
                    <a16:creationId xmlns:a16="http://schemas.microsoft.com/office/drawing/2014/main" id="{C9E8CF1D-3F06-4E6A-ADEE-514791BFEC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3" y="2855"/>
                <a:ext cx="11" cy="0"/>
              </a:xfrm>
              <a:custGeom>
                <a:avLst/>
                <a:gdLst>
                  <a:gd name="T0" fmla="*/ 11 w 11"/>
                  <a:gd name="T1" fmla="*/ 9 w 11"/>
                  <a:gd name="T2" fmla="*/ 0 w 11"/>
                  <a:gd name="T3" fmla="*/ 9 w 11"/>
                  <a:gd name="T4" fmla="*/ 11 w 1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1">
                    <a:moveTo>
                      <a:pt x="11" y="0"/>
                    </a:moveTo>
                    <a:lnTo>
                      <a:pt x="9" y="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33" name="Freeform 246">
                <a:extLst>
                  <a:ext uri="{FF2B5EF4-FFF2-40B4-BE49-F238E27FC236}">
                    <a16:creationId xmlns:a16="http://schemas.microsoft.com/office/drawing/2014/main" id="{41A6B533-B85C-4E41-A139-AD656A5E81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9" y="2814"/>
                <a:ext cx="23" cy="14"/>
              </a:xfrm>
              <a:custGeom>
                <a:avLst/>
                <a:gdLst>
                  <a:gd name="T0" fmla="*/ 19 w 23"/>
                  <a:gd name="T1" fmla="*/ 4 h 14"/>
                  <a:gd name="T2" fmla="*/ 23 w 23"/>
                  <a:gd name="T3" fmla="*/ 0 h 14"/>
                  <a:gd name="T4" fmla="*/ 23 w 23"/>
                  <a:gd name="T5" fmla="*/ 0 h 14"/>
                  <a:gd name="T6" fmla="*/ 19 w 23"/>
                  <a:gd name="T7" fmla="*/ 4 h 14"/>
                  <a:gd name="T8" fmla="*/ 17 w 23"/>
                  <a:gd name="T9" fmla="*/ 6 h 14"/>
                  <a:gd name="T10" fmla="*/ 0 w 23"/>
                  <a:gd name="T11" fmla="*/ 14 h 14"/>
                  <a:gd name="T12" fmla="*/ 17 w 23"/>
                  <a:gd name="T13" fmla="*/ 6 h 14"/>
                  <a:gd name="T14" fmla="*/ 19 w 23"/>
                  <a:gd name="T15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4">
                    <a:moveTo>
                      <a:pt x="19" y="4"/>
                    </a:moveTo>
                    <a:lnTo>
                      <a:pt x="23" y="0"/>
                    </a:lnTo>
                    <a:lnTo>
                      <a:pt x="23" y="0"/>
                    </a:lnTo>
                    <a:lnTo>
                      <a:pt x="19" y="4"/>
                    </a:lnTo>
                    <a:lnTo>
                      <a:pt x="17" y="6"/>
                    </a:lnTo>
                    <a:lnTo>
                      <a:pt x="0" y="14"/>
                    </a:lnTo>
                    <a:lnTo>
                      <a:pt x="17" y="6"/>
                    </a:lnTo>
                    <a:lnTo>
                      <a:pt x="19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34" name="Freeform 247">
                <a:extLst>
                  <a:ext uri="{FF2B5EF4-FFF2-40B4-BE49-F238E27FC236}">
                    <a16:creationId xmlns:a16="http://schemas.microsoft.com/office/drawing/2014/main" id="{ED0848C4-2BBC-434E-91B9-F79A93ED2F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2" y="2832"/>
                <a:ext cx="9" cy="6"/>
              </a:xfrm>
              <a:custGeom>
                <a:avLst/>
                <a:gdLst>
                  <a:gd name="T0" fmla="*/ 1 w 9"/>
                  <a:gd name="T1" fmla="*/ 4 h 6"/>
                  <a:gd name="T2" fmla="*/ 3 w 9"/>
                  <a:gd name="T3" fmla="*/ 2 h 6"/>
                  <a:gd name="T4" fmla="*/ 5 w 9"/>
                  <a:gd name="T5" fmla="*/ 0 h 6"/>
                  <a:gd name="T6" fmla="*/ 9 w 9"/>
                  <a:gd name="T7" fmla="*/ 0 h 6"/>
                  <a:gd name="T8" fmla="*/ 5 w 9"/>
                  <a:gd name="T9" fmla="*/ 0 h 6"/>
                  <a:gd name="T10" fmla="*/ 3 w 9"/>
                  <a:gd name="T11" fmla="*/ 2 h 6"/>
                  <a:gd name="T12" fmla="*/ 1 w 9"/>
                  <a:gd name="T13" fmla="*/ 4 h 6"/>
                  <a:gd name="T14" fmla="*/ 0 w 9"/>
                  <a:gd name="T15" fmla="*/ 6 h 6"/>
                  <a:gd name="T16" fmla="*/ 0 w 9"/>
                  <a:gd name="T17" fmla="*/ 6 h 6"/>
                  <a:gd name="T18" fmla="*/ 0 w 9"/>
                  <a:gd name="T19" fmla="*/ 6 h 6"/>
                  <a:gd name="T20" fmla="*/ 1 w 9"/>
                  <a:gd name="T2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6">
                    <a:moveTo>
                      <a:pt x="1" y="4"/>
                    </a:moveTo>
                    <a:lnTo>
                      <a:pt x="3" y="2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35" name="Rectangle 248">
                <a:extLst>
                  <a:ext uri="{FF2B5EF4-FFF2-40B4-BE49-F238E27FC236}">
                    <a16:creationId xmlns:a16="http://schemas.microsoft.com/office/drawing/2014/main" id="{3521F768-92D9-4CDE-AFE2-F90ED506AD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10" y="3342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36" name="Freeform 249">
                <a:extLst>
                  <a:ext uri="{FF2B5EF4-FFF2-40B4-BE49-F238E27FC236}">
                    <a16:creationId xmlns:a16="http://schemas.microsoft.com/office/drawing/2014/main" id="{B9C8E747-1AEF-4ADB-8C42-E4F518DD64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3" y="2861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0 h 4"/>
                  <a:gd name="T4" fmla="*/ 2 w 2"/>
                  <a:gd name="T5" fmla="*/ 4 h 4"/>
                  <a:gd name="T6" fmla="*/ 2 w 2"/>
                  <a:gd name="T7" fmla="*/ 4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37" name="Freeform 250">
                <a:extLst>
                  <a:ext uri="{FF2B5EF4-FFF2-40B4-BE49-F238E27FC236}">
                    <a16:creationId xmlns:a16="http://schemas.microsoft.com/office/drawing/2014/main" id="{593F5FEA-9E17-427C-95D3-D8CCFE917B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" y="3303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0 h 4"/>
                  <a:gd name="T4" fmla="*/ 0 w 2"/>
                  <a:gd name="T5" fmla="*/ 4 h 4"/>
                  <a:gd name="T6" fmla="*/ 0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38" name="Freeform 251">
                <a:extLst>
                  <a:ext uri="{FF2B5EF4-FFF2-40B4-BE49-F238E27FC236}">
                    <a16:creationId xmlns:a16="http://schemas.microsoft.com/office/drawing/2014/main" id="{7373D573-AB2E-4099-A721-68F787484C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1" y="2869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2 w 4"/>
                  <a:gd name="T3" fmla="*/ 2 h 4"/>
                  <a:gd name="T4" fmla="*/ 0 w 4"/>
                  <a:gd name="T5" fmla="*/ 4 h 4"/>
                  <a:gd name="T6" fmla="*/ 2 w 4"/>
                  <a:gd name="T7" fmla="*/ 2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39" name="Freeform 252">
                <a:extLst>
                  <a:ext uri="{FF2B5EF4-FFF2-40B4-BE49-F238E27FC236}">
                    <a16:creationId xmlns:a16="http://schemas.microsoft.com/office/drawing/2014/main" id="{A33C2579-4BB8-458C-A2B6-20D4E8DDB2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3297"/>
                <a:ext cx="12" cy="2"/>
              </a:xfrm>
              <a:custGeom>
                <a:avLst/>
                <a:gdLst>
                  <a:gd name="T0" fmla="*/ 0 w 12"/>
                  <a:gd name="T1" fmla="*/ 0 h 2"/>
                  <a:gd name="T2" fmla="*/ 0 w 12"/>
                  <a:gd name="T3" fmla="*/ 0 h 2"/>
                  <a:gd name="T4" fmla="*/ 0 w 12"/>
                  <a:gd name="T5" fmla="*/ 0 h 2"/>
                  <a:gd name="T6" fmla="*/ 4 w 12"/>
                  <a:gd name="T7" fmla="*/ 0 h 2"/>
                  <a:gd name="T8" fmla="*/ 12 w 12"/>
                  <a:gd name="T9" fmla="*/ 2 h 2"/>
                  <a:gd name="T10" fmla="*/ 4 w 12"/>
                  <a:gd name="T11" fmla="*/ 0 h 2"/>
                  <a:gd name="T12" fmla="*/ 0 w 1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12" y="2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40" name="Freeform 253">
                <a:extLst>
                  <a:ext uri="{FF2B5EF4-FFF2-40B4-BE49-F238E27FC236}">
                    <a16:creationId xmlns:a16="http://schemas.microsoft.com/office/drawing/2014/main" id="{C165B33C-7F94-4026-B660-E432377C33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9" y="2873"/>
                <a:ext cx="2" cy="6"/>
              </a:xfrm>
              <a:custGeom>
                <a:avLst/>
                <a:gdLst>
                  <a:gd name="T0" fmla="*/ 2 w 2"/>
                  <a:gd name="T1" fmla="*/ 4 h 6"/>
                  <a:gd name="T2" fmla="*/ 0 w 2"/>
                  <a:gd name="T3" fmla="*/ 0 h 6"/>
                  <a:gd name="T4" fmla="*/ 0 w 2"/>
                  <a:gd name="T5" fmla="*/ 2 h 6"/>
                  <a:gd name="T6" fmla="*/ 2 w 2"/>
                  <a:gd name="T7" fmla="*/ 4 h 6"/>
                  <a:gd name="T8" fmla="*/ 2 w 2"/>
                  <a:gd name="T9" fmla="*/ 4 h 6"/>
                  <a:gd name="T10" fmla="*/ 2 w 2"/>
                  <a:gd name="T11" fmla="*/ 6 h 6"/>
                  <a:gd name="T12" fmla="*/ 2 w 2"/>
                  <a:gd name="T13" fmla="*/ 4 h 6"/>
                  <a:gd name="T14" fmla="*/ 2 w 2"/>
                  <a:gd name="T1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6">
                    <a:moveTo>
                      <a:pt x="2" y="4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41" name="Freeform 254">
                <a:extLst>
                  <a:ext uri="{FF2B5EF4-FFF2-40B4-BE49-F238E27FC236}">
                    <a16:creationId xmlns:a16="http://schemas.microsoft.com/office/drawing/2014/main" id="{6062C68B-AD47-4144-8F6E-8A80704D4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1" y="3318"/>
                <a:ext cx="6" cy="30"/>
              </a:xfrm>
              <a:custGeom>
                <a:avLst/>
                <a:gdLst>
                  <a:gd name="T0" fmla="*/ 6 w 6"/>
                  <a:gd name="T1" fmla="*/ 10 h 30"/>
                  <a:gd name="T2" fmla="*/ 2 w 6"/>
                  <a:gd name="T3" fmla="*/ 26 h 30"/>
                  <a:gd name="T4" fmla="*/ 0 w 6"/>
                  <a:gd name="T5" fmla="*/ 30 h 30"/>
                  <a:gd name="T6" fmla="*/ 2 w 6"/>
                  <a:gd name="T7" fmla="*/ 26 h 30"/>
                  <a:gd name="T8" fmla="*/ 6 w 6"/>
                  <a:gd name="T9" fmla="*/ 10 h 30"/>
                  <a:gd name="T10" fmla="*/ 6 w 6"/>
                  <a:gd name="T11" fmla="*/ 2 h 30"/>
                  <a:gd name="T12" fmla="*/ 4 w 6"/>
                  <a:gd name="T13" fmla="*/ 0 h 30"/>
                  <a:gd name="T14" fmla="*/ 6 w 6"/>
                  <a:gd name="T15" fmla="*/ 2 h 30"/>
                  <a:gd name="T16" fmla="*/ 6 w 6"/>
                  <a:gd name="T17" fmla="*/ 1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30">
                    <a:moveTo>
                      <a:pt x="6" y="10"/>
                    </a:moveTo>
                    <a:lnTo>
                      <a:pt x="2" y="26"/>
                    </a:lnTo>
                    <a:lnTo>
                      <a:pt x="0" y="30"/>
                    </a:lnTo>
                    <a:lnTo>
                      <a:pt x="2" y="26"/>
                    </a:lnTo>
                    <a:lnTo>
                      <a:pt x="6" y="10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42" name="Freeform 255">
                <a:extLst>
                  <a:ext uri="{FF2B5EF4-FFF2-40B4-BE49-F238E27FC236}">
                    <a16:creationId xmlns:a16="http://schemas.microsoft.com/office/drawing/2014/main" id="{3FDC34A4-D99B-43DB-B00C-38AB2D22A7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5" y="2879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43" name="Freeform 256">
                <a:extLst>
                  <a:ext uri="{FF2B5EF4-FFF2-40B4-BE49-F238E27FC236}">
                    <a16:creationId xmlns:a16="http://schemas.microsoft.com/office/drawing/2014/main" id="{57932CF4-C14F-47F4-8995-443277914D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7" y="2855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4 w 8"/>
                  <a:gd name="T3" fmla="*/ 2 h 4"/>
                  <a:gd name="T4" fmla="*/ 0 w 8"/>
                  <a:gd name="T5" fmla="*/ 4 h 4"/>
                  <a:gd name="T6" fmla="*/ 4 w 8"/>
                  <a:gd name="T7" fmla="*/ 2 h 4"/>
                  <a:gd name="T8" fmla="*/ 8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4" y="2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44" name="Freeform 257">
                <a:extLst>
                  <a:ext uri="{FF2B5EF4-FFF2-40B4-BE49-F238E27FC236}">
                    <a16:creationId xmlns:a16="http://schemas.microsoft.com/office/drawing/2014/main" id="{F889AEA8-493A-4CC3-88A6-AA28353B89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6" y="3303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0 w 2"/>
                  <a:gd name="T3" fmla="*/ 2 w 2"/>
                  <a:gd name="T4" fmla="*/ 2 w 2"/>
                  <a:gd name="T5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45" name="Freeform 258">
                <a:extLst>
                  <a:ext uri="{FF2B5EF4-FFF2-40B4-BE49-F238E27FC236}">
                    <a16:creationId xmlns:a16="http://schemas.microsoft.com/office/drawing/2014/main" id="{245995B6-6505-47F5-B7E5-3CF6B5605F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" y="2885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2 h 2"/>
                  <a:gd name="T4" fmla="*/ 0 w 4"/>
                  <a:gd name="T5" fmla="*/ 2 h 2"/>
                  <a:gd name="T6" fmla="*/ 2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46" name="Freeform 259">
                <a:extLst>
                  <a:ext uri="{FF2B5EF4-FFF2-40B4-BE49-F238E27FC236}">
                    <a16:creationId xmlns:a16="http://schemas.microsoft.com/office/drawing/2014/main" id="{4A249146-8C2C-425F-BDC8-A42DAD784A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8" y="3303"/>
                <a:ext cx="22" cy="7"/>
              </a:xfrm>
              <a:custGeom>
                <a:avLst/>
                <a:gdLst>
                  <a:gd name="T0" fmla="*/ 10 w 22"/>
                  <a:gd name="T1" fmla="*/ 2 h 7"/>
                  <a:gd name="T2" fmla="*/ 2 w 22"/>
                  <a:gd name="T3" fmla="*/ 2 h 7"/>
                  <a:gd name="T4" fmla="*/ 2 w 22"/>
                  <a:gd name="T5" fmla="*/ 2 h 7"/>
                  <a:gd name="T6" fmla="*/ 0 w 22"/>
                  <a:gd name="T7" fmla="*/ 0 h 7"/>
                  <a:gd name="T8" fmla="*/ 0 w 22"/>
                  <a:gd name="T9" fmla="*/ 0 h 7"/>
                  <a:gd name="T10" fmla="*/ 0 w 22"/>
                  <a:gd name="T11" fmla="*/ 0 h 7"/>
                  <a:gd name="T12" fmla="*/ 2 w 22"/>
                  <a:gd name="T13" fmla="*/ 2 h 7"/>
                  <a:gd name="T14" fmla="*/ 2 w 22"/>
                  <a:gd name="T15" fmla="*/ 2 h 7"/>
                  <a:gd name="T16" fmla="*/ 10 w 22"/>
                  <a:gd name="T17" fmla="*/ 2 h 7"/>
                  <a:gd name="T18" fmla="*/ 14 w 22"/>
                  <a:gd name="T19" fmla="*/ 4 h 7"/>
                  <a:gd name="T20" fmla="*/ 22 w 22"/>
                  <a:gd name="T21" fmla="*/ 7 h 7"/>
                  <a:gd name="T22" fmla="*/ 14 w 22"/>
                  <a:gd name="T23" fmla="*/ 4 h 7"/>
                  <a:gd name="T24" fmla="*/ 10 w 22"/>
                  <a:gd name="T25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7">
                    <a:moveTo>
                      <a:pt x="10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0" y="2"/>
                    </a:lnTo>
                    <a:lnTo>
                      <a:pt x="14" y="4"/>
                    </a:lnTo>
                    <a:lnTo>
                      <a:pt x="22" y="7"/>
                    </a:lnTo>
                    <a:lnTo>
                      <a:pt x="14" y="4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47" name="Rectangle 260">
                <a:extLst>
                  <a:ext uri="{FF2B5EF4-FFF2-40B4-BE49-F238E27FC236}">
                    <a16:creationId xmlns:a16="http://schemas.microsoft.com/office/drawing/2014/main" id="{4D5F9CAD-5C37-4FB7-976E-08929688DF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5" y="2867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48" name="Freeform 261">
                <a:extLst>
                  <a:ext uri="{FF2B5EF4-FFF2-40B4-BE49-F238E27FC236}">
                    <a16:creationId xmlns:a16="http://schemas.microsoft.com/office/drawing/2014/main" id="{D16F1010-4EFE-414D-ADE3-02E4856563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5" y="3303"/>
                <a:ext cx="2" cy="5"/>
              </a:xfrm>
              <a:custGeom>
                <a:avLst/>
                <a:gdLst>
                  <a:gd name="T0" fmla="*/ 2 w 2"/>
                  <a:gd name="T1" fmla="*/ 2 h 5"/>
                  <a:gd name="T2" fmla="*/ 0 w 2"/>
                  <a:gd name="T3" fmla="*/ 0 h 5"/>
                  <a:gd name="T4" fmla="*/ 2 w 2"/>
                  <a:gd name="T5" fmla="*/ 2 h 5"/>
                  <a:gd name="T6" fmla="*/ 2 w 2"/>
                  <a:gd name="T7" fmla="*/ 5 h 5"/>
                  <a:gd name="T8" fmla="*/ 2 w 2"/>
                  <a:gd name="T9" fmla="*/ 5 h 5"/>
                  <a:gd name="T10" fmla="*/ 2 w 2"/>
                  <a:gd name="T11" fmla="*/ 5 h 5"/>
                  <a:gd name="T12" fmla="*/ 2 w 2"/>
                  <a:gd name="T13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5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49" name="Freeform 262">
                <a:extLst>
                  <a:ext uri="{FF2B5EF4-FFF2-40B4-BE49-F238E27FC236}">
                    <a16:creationId xmlns:a16="http://schemas.microsoft.com/office/drawing/2014/main" id="{0CA62B8D-9AF8-428E-9B8C-E7D6A55466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5" y="3310"/>
                <a:ext cx="17" cy="4"/>
              </a:xfrm>
              <a:custGeom>
                <a:avLst/>
                <a:gdLst>
                  <a:gd name="T0" fmla="*/ 4 w 17"/>
                  <a:gd name="T1" fmla="*/ 4 h 4"/>
                  <a:gd name="T2" fmla="*/ 0 w 17"/>
                  <a:gd name="T3" fmla="*/ 4 h 4"/>
                  <a:gd name="T4" fmla="*/ 2 w 17"/>
                  <a:gd name="T5" fmla="*/ 2 h 4"/>
                  <a:gd name="T6" fmla="*/ 0 w 17"/>
                  <a:gd name="T7" fmla="*/ 4 h 4"/>
                  <a:gd name="T8" fmla="*/ 4 w 17"/>
                  <a:gd name="T9" fmla="*/ 4 h 4"/>
                  <a:gd name="T10" fmla="*/ 17 w 17"/>
                  <a:gd name="T11" fmla="*/ 0 h 4"/>
                  <a:gd name="T12" fmla="*/ 17 w 17"/>
                  <a:gd name="T13" fmla="*/ 0 h 4"/>
                  <a:gd name="T14" fmla="*/ 17 w 17"/>
                  <a:gd name="T15" fmla="*/ 0 h 4"/>
                  <a:gd name="T16" fmla="*/ 4 w 17"/>
                  <a:gd name="T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4">
                    <a:moveTo>
                      <a:pt x="4" y="4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50" name="Freeform 263">
                <a:extLst>
                  <a:ext uri="{FF2B5EF4-FFF2-40B4-BE49-F238E27FC236}">
                    <a16:creationId xmlns:a16="http://schemas.microsoft.com/office/drawing/2014/main" id="{D1E4C7DD-15A6-4B5E-AAD4-8BA9303F56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9" y="2945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51" name="Freeform 264">
                <a:extLst>
                  <a:ext uri="{FF2B5EF4-FFF2-40B4-BE49-F238E27FC236}">
                    <a16:creationId xmlns:a16="http://schemas.microsoft.com/office/drawing/2014/main" id="{4E00580E-D768-4617-B432-FB664444AD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7" y="3250"/>
                <a:ext cx="8" cy="14"/>
              </a:xfrm>
              <a:custGeom>
                <a:avLst/>
                <a:gdLst>
                  <a:gd name="T0" fmla="*/ 0 w 8"/>
                  <a:gd name="T1" fmla="*/ 0 h 14"/>
                  <a:gd name="T2" fmla="*/ 6 w 8"/>
                  <a:gd name="T3" fmla="*/ 10 h 14"/>
                  <a:gd name="T4" fmla="*/ 8 w 8"/>
                  <a:gd name="T5" fmla="*/ 14 h 14"/>
                  <a:gd name="T6" fmla="*/ 8 w 8"/>
                  <a:gd name="T7" fmla="*/ 14 h 14"/>
                  <a:gd name="T8" fmla="*/ 6 w 8"/>
                  <a:gd name="T9" fmla="*/ 10 h 14"/>
                  <a:gd name="T10" fmla="*/ 0 w 8"/>
                  <a:gd name="T1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4">
                    <a:moveTo>
                      <a:pt x="0" y="0"/>
                    </a:moveTo>
                    <a:lnTo>
                      <a:pt x="6" y="10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6" y="1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52" name="Freeform 265">
                <a:extLst>
                  <a:ext uri="{FF2B5EF4-FFF2-40B4-BE49-F238E27FC236}">
                    <a16:creationId xmlns:a16="http://schemas.microsoft.com/office/drawing/2014/main" id="{A31CC709-E581-4FA8-B39F-0FA0DD0F15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7" y="3064"/>
                <a:ext cx="0" cy="4"/>
              </a:xfrm>
              <a:custGeom>
                <a:avLst/>
                <a:gdLst>
                  <a:gd name="T0" fmla="*/ 0 h 4"/>
                  <a:gd name="T1" fmla="*/ 0 h 4"/>
                  <a:gd name="T2" fmla="*/ 2 h 4"/>
                  <a:gd name="T3" fmla="*/ 4 h 4"/>
                  <a:gd name="T4" fmla="*/ 2 h 4"/>
                  <a:gd name="T5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53" name="Freeform 266">
                <a:extLst>
                  <a:ext uri="{FF2B5EF4-FFF2-40B4-BE49-F238E27FC236}">
                    <a16:creationId xmlns:a16="http://schemas.microsoft.com/office/drawing/2014/main" id="{21AD7AF6-1A86-4450-9525-72082F6196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" y="3023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54" name="Freeform 267">
                <a:extLst>
                  <a:ext uri="{FF2B5EF4-FFF2-40B4-BE49-F238E27FC236}">
                    <a16:creationId xmlns:a16="http://schemas.microsoft.com/office/drawing/2014/main" id="{BD8E39BD-F0C2-43F8-B5D5-78B9FA0068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5" y="3265"/>
                <a:ext cx="7" cy="6"/>
              </a:xfrm>
              <a:custGeom>
                <a:avLst/>
                <a:gdLst>
                  <a:gd name="T0" fmla="*/ 0 w 7"/>
                  <a:gd name="T1" fmla="*/ 0 h 6"/>
                  <a:gd name="T2" fmla="*/ 2 w 7"/>
                  <a:gd name="T3" fmla="*/ 4 h 6"/>
                  <a:gd name="T4" fmla="*/ 7 w 7"/>
                  <a:gd name="T5" fmla="*/ 6 h 6"/>
                  <a:gd name="T6" fmla="*/ 2 w 7"/>
                  <a:gd name="T7" fmla="*/ 4 h 6"/>
                  <a:gd name="T8" fmla="*/ 0 w 7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lnTo>
                      <a:pt x="2" y="4"/>
                    </a:lnTo>
                    <a:lnTo>
                      <a:pt x="7" y="6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55" name="Freeform 268">
                <a:extLst>
                  <a:ext uri="{FF2B5EF4-FFF2-40B4-BE49-F238E27FC236}">
                    <a16:creationId xmlns:a16="http://schemas.microsoft.com/office/drawing/2014/main" id="{B82C5503-8E04-44F6-AEF7-86E5F7C9D1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9" y="3226"/>
                <a:ext cx="2" cy="6"/>
              </a:xfrm>
              <a:custGeom>
                <a:avLst/>
                <a:gdLst>
                  <a:gd name="T0" fmla="*/ 0 w 2"/>
                  <a:gd name="T1" fmla="*/ 2 h 6"/>
                  <a:gd name="T2" fmla="*/ 0 w 2"/>
                  <a:gd name="T3" fmla="*/ 0 h 6"/>
                  <a:gd name="T4" fmla="*/ 0 w 2"/>
                  <a:gd name="T5" fmla="*/ 2 h 6"/>
                  <a:gd name="T6" fmla="*/ 0 w 2"/>
                  <a:gd name="T7" fmla="*/ 4 h 6"/>
                  <a:gd name="T8" fmla="*/ 2 w 2"/>
                  <a:gd name="T9" fmla="*/ 6 h 6"/>
                  <a:gd name="T10" fmla="*/ 0 w 2"/>
                  <a:gd name="T11" fmla="*/ 4 h 6"/>
                  <a:gd name="T12" fmla="*/ 0 w 2"/>
                  <a:gd name="T1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56" name="Freeform 269">
                <a:extLst>
                  <a:ext uri="{FF2B5EF4-FFF2-40B4-BE49-F238E27FC236}">
                    <a16:creationId xmlns:a16="http://schemas.microsoft.com/office/drawing/2014/main" id="{6816B84B-2C1C-4DEB-A357-99DE5E60DB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5" y="3086"/>
                <a:ext cx="2" cy="10"/>
              </a:xfrm>
              <a:custGeom>
                <a:avLst/>
                <a:gdLst>
                  <a:gd name="T0" fmla="*/ 0 w 2"/>
                  <a:gd name="T1" fmla="*/ 4 h 10"/>
                  <a:gd name="T2" fmla="*/ 2 w 2"/>
                  <a:gd name="T3" fmla="*/ 0 h 10"/>
                  <a:gd name="T4" fmla="*/ 2 w 2"/>
                  <a:gd name="T5" fmla="*/ 0 h 10"/>
                  <a:gd name="T6" fmla="*/ 0 w 2"/>
                  <a:gd name="T7" fmla="*/ 4 h 10"/>
                  <a:gd name="T8" fmla="*/ 0 w 2"/>
                  <a:gd name="T9" fmla="*/ 10 h 10"/>
                  <a:gd name="T10" fmla="*/ 0 w 2"/>
                  <a:gd name="T11" fmla="*/ 10 h 10"/>
                  <a:gd name="T12" fmla="*/ 0 w 2"/>
                  <a:gd name="T13" fmla="*/ 10 h 10"/>
                  <a:gd name="T14" fmla="*/ 0 w 2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0">
                    <a:moveTo>
                      <a:pt x="0" y="4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57" name="Freeform 270">
                <a:extLst>
                  <a:ext uri="{FF2B5EF4-FFF2-40B4-BE49-F238E27FC236}">
                    <a16:creationId xmlns:a16="http://schemas.microsoft.com/office/drawing/2014/main" id="{F2146297-B253-4989-BEDA-9BE4C55B62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9" y="3084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2 h 2"/>
                  <a:gd name="T4" fmla="*/ 0 w 2"/>
                  <a:gd name="T5" fmla="*/ 2 h 2"/>
                  <a:gd name="T6" fmla="*/ 2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58" name="Rectangle 271">
                <a:extLst>
                  <a:ext uri="{FF2B5EF4-FFF2-40B4-BE49-F238E27FC236}">
                    <a16:creationId xmlns:a16="http://schemas.microsoft.com/office/drawing/2014/main" id="{AE50B478-A220-4041-B8FB-8BB1D31033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35" y="3238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59" name="Freeform 272">
                <a:extLst>
                  <a:ext uri="{FF2B5EF4-FFF2-40B4-BE49-F238E27FC236}">
                    <a16:creationId xmlns:a16="http://schemas.microsoft.com/office/drawing/2014/main" id="{9021015B-1953-45E4-B0A3-2AC13A377B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5" y="3047"/>
                <a:ext cx="4" cy="13"/>
              </a:xfrm>
              <a:custGeom>
                <a:avLst/>
                <a:gdLst>
                  <a:gd name="T0" fmla="*/ 4 w 4"/>
                  <a:gd name="T1" fmla="*/ 6 h 13"/>
                  <a:gd name="T2" fmla="*/ 2 w 4"/>
                  <a:gd name="T3" fmla="*/ 4 h 13"/>
                  <a:gd name="T4" fmla="*/ 0 w 4"/>
                  <a:gd name="T5" fmla="*/ 0 h 13"/>
                  <a:gd name="T6" fmla="*/ 2 w 4"/>
                  <a:gd name="T7" fmla="*/ 4 h 13"/>
                  <a:gd name="T8" fmla="*/ 4 w 4"/>
                  <a:gd name="T9" fmla="*/ 6 h 13"/>
                  <a:gd name="T10" fmla="*/ 2 w 4"/>
                  <a:gd name="T11" fmla="*/ 10 h 13"/>
                  <a:gd name="T12" fmla="*/ 2 w 4"/>
                  <a:gd name="T13" fmla="*/ 13 h 13"/>
                  <a:gd name="T14" fmla="*/ 2 w 4"/>
                  <a:gd name="T15" fmla="*/ 13 h 13"/>
                  <a:gd name="T16" fmla="*/ 2 w 4"/>
                  <a:gd name="T17" fmla="*/ 10 h 13"/>
                  <a:gd name="T18" fmla="*/ 4 w 4"/>
                  <a:gd name="T19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13">
                    <a:moveTo>
                      <a:pt x="4" y="6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2" y="10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60" name="Freeform 273">
                <a:extLst>
                  <a:ext uri="{FF2B5EF4-FFF2-40B4-BE49-F238E27FC236}">
                    <a16:creationId xmlns:a16="http://schemas.microsoft.com/office/drawing/2014/main" id="{F63ADE72-7481-4D39-B02C-49FDF01F36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" y="3029"/>
                <a:ext cx="28" cy="16"/>
              </a:xfrm>
              <a:custGeom>
                <a:avLst/>
                <a:gdLst>
                  <a:gd name="T0" fmla="*/ 26 w 28"/>
                  <a:gd name="T1" fmla="*/ 16 h 16"/>
                  <a:gd name="T2" fmla="*/ 0 w 28"/>
                  <a:gd name="T3" fmla="*/ 2 h 16"/>
                  <a:gd name="T4" fmla="*/ 0 w 28"/>
                  <a:gd name="T5" fmla="*/ 0 h 16"/>
                  <a:gd name="T6" fmla="*/ 0 w 28"/>
                  <a:gd name="T7" fmla="*/ 2 h 16"/>
                  <a:gd name="T8" fmla="*/ 26 w 28"/>
                  <a:gd name="T9" fmla="*/ 16 h 16"/>
                  <a:gd name="T10" fmla="*/ 28 w 28"/>
                  <a:gd name="T11" fmla="*/ 16 h 16"/>
                  <a:gd name="T12" fmla="*/ 28 w 28"/>
                  <a:gd name="T13" fmla="*/ 16 h 16"/>
                  <a:gd name="T14" fmla="*/ 28 w 28"/>
                  <a:gd name="T15" fmla="*/ 16 h 16"/>
                  <a:gd name="T16" fmla="*/ 26 w 28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16">
                    <a:moveTo>
                      <a:pt x="26" y="16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6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6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61" name="Freeform 274">
                <a:extLst>
                  <a:ext uri="{FF2B5EF4-FFF2-40B4-BE49-F238E27FC236}">
                    <a16:creationId xmlns:a16="http://schemas.microsoft.com/office/drawing/2014/main" id="{89B8178C-98B1-411A-AD9F-1A02D74E0E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0" y="3289"/>
                <a:ext cx="6" cy="18"/>
              </a:xfrm>
              <a:custGeom>
                <a:avLst/>
                <a:gdLst>
                  <a:gd name="T0" fmla="*/ 2 w 6"/>
                  <a:gd name="T1" fmla="*/ 12 h 18"/>
                  <a:gd name="T2" fmla="*/ 2 w 6"/>
                  <a:gd name="T3" fmla="*/ 4 h 18"/>
                  <a:gd name="T4" fmla="*/ 0 w 6"/>
                  <a:gd name="T5" fmla="*/ 0 h 18"/>
                  <a:gd name="T6" fmla="*/ 2 w 6"/>
                  <a:gd name="T7" fmla="*/ 4 h 18"/>
                  <a:gd name="T8" fmla="*/ 2 w 6"/>
                  <a:gd name="T9" fmla="*/ 12 h 18"/>
                  <a:gd name="T10" fmla="*/ 4 w 6"/>
                  <a:gd name="T11" fmla="*/ 16 h 18"/>
                  <a:gd name="T12" fmla="*/ 6 w 6"/>
                  <a:gd name="T13" fmla="*/ 18 h 18"/>
                  <a:gd name="T14" fmla="*/ 4 w 6"/>
                  <a:gd name="T15" fmla="*/ 16 h 18"/>
                  <a:gd name="T16" fmla="*/ 2 w 6"/>
                  <a:gd name="T17" fmla="*/ 1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8">
                    <a:moveTo>
                      <a:pt x="2" y="12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4" y="16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62" name="Freeform 275">
                <a:extLst>
                  <a:ext uri="{FF2B5EF4-FFF2-40B4-BE49-F238E27FC236}">
                    <a16:creationId xmlns:a16="http://schemas.microsoft.com/office/drawing/2014/main" id="{865B56FF-6720-4F02-9403-9FC3BE9D44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6" y="3273"/>
                <a:ext cx="10" cy="12"/>
              </a:xfrm>
              <a:custGeom>
                <a:avLst/>
                <a:gdLst>
                  <a:gd name="T0" fmla="*/ 2 w 10"/>
                  <a:gd name="T1" fmla="*/ 2 h 12"/>
                  <a:gd name="T2" fmla="*/ 0 w 10"/>
                  <a:gd name="T3" fmla="*/ 0 h 12"/>
                  <a:gd name="T4" fmla="*/ 2 w 10"/>
                  <a:gd name="T5" fmla="*/ 2 h 12"/>
                  <a:gd name="T6" fmla="*/ 6 w 10"/>
                  <a:gd name="T7" fmla="*/ 8 h 12"/>
                  <a:gd name="T8" fmla="*/ 10 w 10"/>
                  <a:gd name="T9" fmla="*/ 12 h 12"/>
                  <a:gd name="T10" fmla="*/ 6 w 10"/>
                  <a:gd name="T11" fmla="*/ 8 h 12"/>
                  <a:gd name="T12" fmla="*/ 2 w 10"/>
                  <a:gd name="T13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6" y="8"/>
                    </a:lnTo>
                    <a:lnTo>
                      <a:pt x="10" y="12"/>
                    </a:lnTo>
                    <a:lnTo>
                      <a:pt x="6" y="8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63" name="Rectangle 276">
                <a:extLst>
                  <a:ext uri="{FF2B5EF4-FFF2-40B4-BE49-F238E27FC236}">
                    <a16:creationId xmlns:a16="http://schemas.microsoft.com/office/drawing/2014/main" id="{EC131856-D0F5-4374-A4B7-B53105EE12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" y="3273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64" name="Rectangle 277">
                <a:extLst>
                  <a:ext uri="{FF2B5EF4-FFF2-40B4-BE49-F238E27FC236}">
                    <a16:creationId xmlns:a16="http://schemas.microsoft.com/office/drawing/2014/main" id="{E5BFC8E1-340D-4E3D-BCE1-C18F6D2606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3" y="3047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65" name="Rectangle 278">
                <a:extLst>
                  <a:ext uri="{FF2B5EF4-FFF2-40B4-BE49-F238E27FC236}">
                    <a16:creationId xmlns:a16="http://schemas.microsoft.com/office/drawing/2014/main" id="{0390AA3E-FFEF-4660-BE90-F38115F464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2" y="3271"/>
                <a:ext cx="10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66" name="Freeform 279">
                <a:extLst>
                  <a:ext uri="{FF2B5EF4-FFF2-40B4-BE49-F238E27FC236}">
                    <a16:creationId xmlns:a16="http://schemas.microsoft.com/office/drawing/2014/main" id="{6703A7D9-F3A1-410B-8338-9F5C341041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5" y="3183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2 h 4"/>
                  <a:gd name="T4" fmla="*/ 2 w 2"/>
                  <a:gd name="T5" fmla="*/ 4 h 4"/>
                  <a:gd name="T6" fmla="*/ 0 w 2"/>
                  <a:gd name="T7" fmla="*/ 2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67" name="Freeform 280">
                <a:extLst>
                  <a:ext uri="{FF2B5EF4-FFF2-40B4-BE49-F238E27FC236}">
                    <a16:creationId xmlns:a16="http://schemas.microsoft.com/office/drawing/2014/main" id="{B2954026-1ADD-416F-91EB-8925A2AAF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3139"/>
                <a:ext cx="2" cy="3"/>
              </a:xfrm>
              <a:custGeom>
                <a:avLst/>
                <a:gdLst>
                  <a:gd name="T0" fmla="*/ 0 w 2"/>
                  <a:gd name="T1" fmla="*/ 2 h 3"/>
                  <a:gd name="T2" fmla="*/ 2 w 2"/>
                  <a:gd name="T3" fmla="*/ 0 h 3"/>
                  <a:gd name="T4" fmla="*/ 0 w 2"/>
                  <a:gd name="T5" fmla="*/ 2 h 3"/>
                  <a:gd name="T6" fmla="*/ 0 w 2"/>
                  <a:gd name="T7" fmla="*/ 2 h 3"/>
                  <a:gd name="T8" fmla="*/ 2 w 2"/>
                  <a:gd name="T9" fmla="*/ 3 h 3"/>
                  <a:gd name="T10" fmla="*/ 2 w 2"/>
                  <a:gd name="T11" fmla="*/ 3 h 3"/>
                  <a:gd name="T12" fmla="*/ 0 w 2"/>
                  <a:gd name="T13" fmla="*/ 2 h 3"/>
                  <a:gd name="T14" fmla="*/ 0 w 2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3">
                    <a:moveTo>
                      <a:pt x="0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68" name="Freeform 281">
                <a:extLst>
                  <a:ext uri="{FF2B5EF4-FFF2-40B4-BE49-F238E27FC236}">
                    <a16:creationId xmlns:a16="http://schemas.microsoft.com/office/drawing/2014/main" id="{D4AD5715-83D5-4060-B4F1-0FB5F0D5F8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3127"/>
                <a:ext cx="2" cy="10"/>
              </a:xfrm>
              <a:custGeom>
                <a:avLst/>
                <a:gdLst>
                  <a:gd name="T0" fmla="*/ 2 w 2"/>
                  <a:gd name="T1" fmla="*/ 4 h 10"/>
                  <a:gd name="T2" fmla="*/ 0 w 2"/>
                  <a:gd name="T3" fmla="*/ 0 h 10"/>
                  <a:gd name="T4" fmla="*/ 0 w 2"/>
                  <a:gd name="T5" fmla="*/ 0 h 10"/>
                  <a:gd name="T6" fmla="*/ 2 w 2"/>
                  <a:gd name="T7" fmla="*/ 4 h 10"/>
                  <a:gd name="T8" fmla="*/ 2 w 2"/>
                  <a:gd name="T9" fmla="*/ 6 h 10"/>
                  <a:gd name="T10" fmla="*/ 0 w 2"/>
                  <a:gd name="T11" fmla="*/ 10 h 10"/>
                  <a:gd name="T12" fmla="*/ 0 w 2"/>
                  <a:gd name="T13" fmla="*/ 10 h 10"/>
                  <a:gd name="T14" fmla="*/ 2 w 2"/>
                  <a:gd name="T15" fmla="*/ 6 h 10"/>
                  <a:gd name="T16" fmla="*/ 2 w 2"/>
                  <a:gd name="T17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10">
                    <a:moveTo>
                      <a:pt x="2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69" name="Freeform 282">
                <a:extLst>
                  <a:ext uri="{FF2B5EF4-FFF2-40B4-BE49-F238E27FC236}">
                    <a16:creationId xmlns:a16="http://schemas.microsoft.com/office/drawing/2014/main" id="{63B2B36B-2DC0-42C4-9780-EC2488406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6" y="3195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2 w 4"/>
                  <a:gd name="T3" fmla="*/ 0 h 2"/>
                  <a:gd name="T4" fmla="*/ 4 w 4"/>
                  <a:gd name="T5" fmla="*/ 2 h 2"/>
                  <a:gd name="T6" fmla="*/ 2 w 4"/>
                  <a:gd name="T7" fmla="*/ 0 h 2"/>
                  <a:gd name="T8" fmla="*/ 0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70" name="Freeform 283">
                <a:extLst>
                  <a:ext uri="{FF2B5EF4-FFF2-40B4-BE49-F238E27FC236}">
                    <a16:creationId xmlns:a16="http://schemas.microsoft.com/office/drawing/2014/main" id="{6C0719EC-C772-46BB-AEB6-DCAF0CB4A1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3" y="3148"/>
                <a:ext cx="0" cy="8"/>
              </a:xfrm>
              <a:custGeom>
                <a:avLst/>
                <a:gdLst>
                  <a:gd name="T0" fmla="*/ 2 h 8"/>
                  <a:gd name="T1" fmla="*/ 0 h 8"/>
                  <a:gd name="T2" fmla="*/ 2 h 8"/>
                  <a:gd name="T3" fmla="*/ 6 h 8"/>
                  <a:gd name="T4" fmla="*/ 8 h 8"/>
                  <a:gd name="T5" fmla="*/ 6 h 8"/>
                  <a:gd name="T6" fmla="*/ 2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8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71" name="Rectangle 284">
                <a:extLst>
                  <a:ext uri="{FF2B5EF4-FFF2-40B4-BE49-F238E27FC236}">
                    <a16:creationId xmlns:a16="http://schemas.microsoft.com/office/drawing/2014/main" id="{32C65B69-B706-4384-8E2B-7FDA118DD6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7" y="3144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72" name="Rectangle 285">
                <a:extLst>
                  <a:ext uri="{FF2B5EF4-FFF2-40B4-BE49-F238E27FC236}">
                    <a16:creationId xmlns:a16="http://schemas.microsoft.com/office/drawing/2014/main" id="{3482CB74-4F26-4F40-BFA1-B11112B616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3" y="316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73" name="Freeform 286">
                <a:extLst>
                  <a:ext uri="{FF2B5EF4-FFF2-40B4-BE49-F238E27FC236}">
                    <a16:creationId xmlns:a16="http://schemas.microsoft.com/office/drawing/2014/main" id="{62CA2B73-F5BC-4E5A-8203-334BDF4487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8" y="3213"/>
                <a:ext cx="11" cy="4"/>
              </a:xfrm>
              <a:custGeom>
                <a:avLst/>
                <a:gdLst>
                  <a:gd name="T0" fmla="*/ 6 w 11"/>
                  <a:gd name="T1" fmla="*/ 2 h 4"/>
                  <a:gd name="T2" fmla="*/ 0 w 11"/>
                  <a:gd name="T3" fmla="*/ 0 h 4"/>
                  <a:gd name="T4" fmla="*/ 0 w 11"/>
                  <a:gd name="T5" fmla="*/ 0 h 4"/>
                  <a:gd name="T6" fmla="*/ 0 w 11"/>
                  <a:gd name="T7" fmla="*/ 0 h 4"/>
                  <a:gd name="T8" fmla="*/ 6 w 11"/>
                  <a:gd name="T9" fmla="*/ 2 h 4"/>
                  <a:gd name="T10" fmla="*/ 9 w 11"/>
                  <a:gd name="T11" fmla="*/ 2 h 4"/>
                  <a:gd name="T12" fmla="*/ 11 w 11"/>
                  <a:gd name="T13" fmla="*/ 4 h 4"/>
                  <a:gd name="T14" fmla="*/ 9 w 11"/>
                  <a:gd name="T15" fmla="*/ 2 h 4"/>
                  <a:gd name="T16" fmla="*/ 6 w 11"/>
                  <a:gd name="T1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4">
                    <a:moveTo>
                      <a:pt x="6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9" y="2"/>
                    </a:lnTo>
                    <a:lnTo>
                      <a:pt x="11" y="4"/>
                    </a:lnTo>
                    <a:lnTo>
                      <a:pt x="9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74" name="Freeform 287">
                <a:extLst>
                  <a:ext uri="{FF2B5EF4-FFF2-40B4-BE49-F238E27FC236}">
                    <a16:creationId xmlns:a16="http://schemas.microsoft.com/office/drawing/2014/main" id="{7823175B-5954-48AC-8461-62AF0E435E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9" y="3219"/>
                <a:ext cx="8" cy="4"/>
              </a:xfrm>
              <a:custGeom>
                <a:avLst/>
                <a:gdLst>
                  <a:gd name="T0" fmla="*/ 0 w 8"/>
                  <a:gd name="T1" fmla="*/ 0 h 4"/>
                  <a:gd name="T2" fmla="*/ 6 w 8"/>
                  <a:gd name="T3" fmla="*/ 4 h 4"/>
                  <a:gd name="T4" fmla="*/ 8 w 8"/>
                  <a:gd name="T5" fmla="*/ 4 h 4"/>
                  <a:gd name="T6" fmla="*/ 6 w 8"/>
                  <a:gd name="T7" fmla="*/ 4 h 4"/>
                  <a:gd name="T8" fmla="*/ 0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0" y="0"/>
                    </a:moveTo>
                    <a:lnTo>
                      <a:pt x="6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75" name="Freeform 288">
                <a:extLst>
                  <a:ext uri="{FF2B5EF4-FFF2-40B4-BE49-F238E27FC236}">
                    <a16:creationId xmlns:a16="http://schemas.microsoft.com/office/drawing/2014/main" id="{7EA22B4B-6518-4E20-AE5E-A6F6F7D9E5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4" y="3103"/>
                <a:ext cx="7" cy="10"/>
              </a:xfrm>
              <a:custGeom>
                <a:avLst/>
                <a:gdLst>
                  <a:gd name="T0" fmla="*/ 0 w 7"/>
                  <a:gd name="T1" fmla="*/ 6 h 10"/>
                  <a:gd name="T2" fmla="*/ 2 w 7"/>
                  <a:gd name="T3" fmla="*/ 2 h 10"/>
                  <a:gd name="T4" fmla="*/ 7 w 7"/>
                  <a:gd name="T5" fmla="*/ 0 h 10"/>
                  <a:gd name="T6" fmla="*/ 2 w 7"/>
                  <a:gd name="T7" fmla="*/ 2 h 10"/>
                  <a:gd name="T8" fmla="*/ 0 w 7"/>
                  <a:gd name="T9" fmla="*/ 6 h 10"/>
                  <a:gd name="T10" fmla="*/ 2 w 7"/>
                  <a:gd name="T11" fmla="*/ 8 h 10"/>
                  <a:gd name="T12" fmla="*/ 2 w 7"/>
                  <a:gd name="T13" fmla="*/ 10 h 10"/>
                  <a:gd name="T14" fmla="*/ 2 w 7"/>
                  <a:gd name="T15" fmla="*/ 8 h 10"/>
                  <a:gd name="T16" fmla="*/ 0 w 7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10">
                    <a:moveTo>
                      <a:pt x="0" y="6"/>
                    </a:moveTo>
                    <a:lnTo>
                      <a:pt x="2" y="2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76" name="Freeform 289">
                <a:extLst>
                  <a:ext uri="{FF2B5EF4-FFF2-40B4-BE49-F238E27FC236}">
                    <a16:creationId xmlns:a16="http://schemas.microsoft.com/office/drawing/2014/main" id="{69740C4E-C9EF-4E84-8186-4C7DF55F56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8" y="3117"/>
                <a:ext cx="3" cy="4"/>
              </a:xfrm>
              <a:custGeom>
                <a:avLst/>
                <a:gdLst>
                  <a:gd name="T0" fmla="*/ 0 w 3"/>
                  <a:gd name="T1" fmla="*/ 0 h 4"/>
                  <a:gd name="T2" fmla="*/ 2 w 3"/>
                  <a:gd name="T3" fmla="*/ 2 h 4"/>
                  <a:gd name="T4" fmla="*/ 3 w 3"/>
                  <a:gd name="T5" fmla="*/ 4 h 4"/>
                  <a:gd name="T6" fmla="*/ 2 w 3"/>
                  <a:gd name="T7" fmla="*/ 2 h 4"/>
                  <a:gd name="T8" fmla="*/ 0 w 3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2" y="2"/>
                    </a:lnTo>
                    <a:lnTo>
                      <a:pt x="3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77" name="Freeform 290">
                <a:extLst>
                  <a:ext uri="{FF2B5EF4-FFF2-40B4-BE49-F238E27FC236}">
                    <a16:creationId xmlns:a16="http://schemas.microsoft.com/office/drawing/2014/main" id="{20B7681C-6D05-460D-AFCC-730406876E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" y="3123"/>
                <a:ext cx="10" cy="4"/>
              </a:xfrm>
              <a:custGeom>
                <a:avLst/>
                <a:gdLst>
                  <a:gd name="T0" fmla="*/ 2 w 10"/>
                  <a:gd name="T1" fmla="*/ 0 h 4"/>
                  <a:gd name="T2" fmla="*/ 0 w 10"/>
                  <a:gd name="T3" fmla="*/ 0 h 4"/>
                  <a:gd name="T4" fmla="*/ 2 w 10"/>
                  <a:gd name="T5" fmla="*/ 0 h 4"/>
                  <a:gd name="T6" fmla="*/ 8 w 10"/>
                  <a:gd name="T7" fmla="*/ 4 h 4"/>
                  <a:gd name="T8" fmla="*/ 10 w 10"/>
                  <a:gd name="T9" fmla="*/ 4 h 4"/>
                  <a:gd name="T10" fmla="*/ 8 w 10"/>
                  <a:gd name="T11" fmla="*/ 4 h 4"/>
                  <a:gd name="T12" fmla="*/ 2 w 10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4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8" y="4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78" name="Freeform 291">
                <a:extLst>
                  <a:ext uri="{FF2B5EF4-FFF2-40B4-BE49-F238E27FC236}">
                    <a16:creationId xmlns:a16="http://schemas.microsoft.com/office/drawing/2014/main" id="{874ED660-5390-45D2-AB96-F6B0F54283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3215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0 w 4"/>
                  <a:gd name="T3" fmla="*/ 2 h 2"/>
                  <a:gd name="T4" fmla="*/ 2 w 4"/>
                  <a:gd name="T5" fmla="*/ 2 h 2"/>
                  <a:gd name="T6" fmla="*/ 4 w 4"/>
                  <a:gd name="T7" fmla="*/ 2 h 2"/>
                  <a:gd name="T8" fmla="*/ 4 w 4"/>
                  <a:gd name="T9" fmla="*/ 0 h 2"/>
                  <a:gd name="T10" fmla="*/ 4 w 4"/>
                  <a:gd name="T11" fmla="*/ 2 h 2"/>
                  <a:gd name="T12" fmla="*/ 2 w 4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79" name="Freeform 292">
                <a:extLst>
                  <a:ext uri="{FF2B5EF4-FFF2-40B4-BE49-F238E27FC236}">
                    <a16:creationId xmlns:a16="http://schemas.microsoft.com/office/drawing/2014/main" id="{D412D63D-3D71-41EB-8166-AD76D8C42F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4" y="3205"/>
                <a:ext cx="4" cy="8"/>
              </a:xfrm>
              <a:custGeom>
                <a:avLst/>
                <a:gdLst>
                  <a:gd name="T0" fmla="*/ 0 w 4"/>
                  <a:gd name="T1" fmla="*/ 0 h 8"/>
                  <a:gd name="T2" fmla="*/ 4 w 4"/>
                  <a:gd name="T3" fmla="*/ 6 h 8"/>
                  <a:gd name="T4" fmla="*/ 4 w 4"/>
                  <a:gd name="T5" fmla="*/ 8 h 8"/>
                  <a:gd name="T6" fmla="*/ 4 w 4"/>
                  <a:gd name="T7" fmla="*/ 6 h 8"/>
                  <a:gd name="T8" fmla="*/ 0 w 4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4" y="6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80" name="Freeform 293">
                <a:extLst>
                  <a:ext uri="{FF2B5EF4-FFF2-40B4-BE49-F238E27FC236}">
                    <a16:creationId xmlns:a16="http://schemas.microsoft.com/office/drawing/2014/main" id="{8D1A5E79-99A5-4C4E-A3DE-182BB64F98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9" y="3383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  <a:gd name="T10" fmla="*/ 2 w 2"/>
                  <a:gd name="T11" fmla="*/ 2 h 2"/>
                  <a:gd name="T12" fmla="*/ 0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81" name="Freeform 294">
                <a:extLst>
                  <a:ext uri="{FF2B5EF4-FFF2-40B4-BE49-F238E27FC236}">
                    <a16:creationId xmlns:a16="http://schemas.microsoft.com/office/drawing/2014/main" id="{6972ECDF-794B-4A2E-B117-2EC02A27DB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6" y="3359"/>
                <a:ext cx="8" cy="2"/>
              </a:xfrm>
              <a:custGeom>
                <a:avLst/>
                <a:gdLst>
                  <a:gd name="T0" fmla="*/ 0 w 8"/>
                  <a:gd name="T1" fmla="*/ 0 h 2"/>
                  <a:gd name="T2" fmla="*/ 4 w 8"/>
                  <a:gd name="T3" fmla="*/ 0 h 2"/>
                  <a:gd name="T4" fmla="*/ 8 w 8"/>
                  <a:gd name="T5" fmla="*/ 2 h 2"/>
                  <a:gd name="T6" fmla="*/ 4 w 8"/>
                  <a:gd name="T7" fmla="*/ 0 h 2"/>
                  <a:gd name="T8" fmla="*/ 0 w 8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4" y="0"/>
                    </a:lnTo>
                    <a:lnTo>
                      <a:pt x="8" y="2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82" name="Freeform 295">
                <a:extLst>
                  <a:ext uri="{FF2B5EF4-FFF2-40B4-BE49-F238E27FC236}">
                    <a16:creationId xmlns:a16="http://schemas.microsoft.com/office/drawing/2014/main" id="{08ABD142-DBB9-4A92-A7DA-FDE7597A8D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2980"/>
                <a:ext cx="6" cy="8"/>
              </a:xfrm>
              <a:custGeom>
                <a:avLst/>
                <a:gdLst>
                  <a:gd name="T0" fmla="*/ 0 w 6"/>
                  <a:gd name="T1" fmla="*/ 2 h 8"/>
                  <a:gd name="T2" fmla="*/ 4 w 6"/>
                  <a:gd name="T3" fmla="*/ 4 h 8"/>
                  <a:gd name="T4" fmla="*/ 4 w 6"/>
                  <a:gd name="T5" fmla="*/ 6 h 8"/>
                  <a:gd name="T6" fmla="*/ 4 w 6"/>
                  <a:gd name="T7" fmla="*/ 6 h 8"/>
                  <a:gd name="T8" fmla="*/ 6 w 6"/>
                  <a:gd name="T9" fmla="*/ 8 h 8"/>
                  <a:gd name="T10" fmla="*/ 4 w 6"/>
                  <a:gd name="T11" fmla="*/ 6 h 8"/>
                  <a:gd name="T12" fmla="*/ 4 w 6"/>
                  <a:gd name="T13" fmla="*/ 6 h 8"/>
                  <a:gd name="T14" fmla="*/ 4 w 6"/>
                  <a:gd name="T15" fmla="*/ 4 h 8"/>
                  <a:gd name="T16" fmla="*/ 0 w 6"/>
                  <a:gd name="T17" fmla="*/ 2 h 8"/>
                  <a:gd name="T18" fmla="*/ 0 w 6"/>
                  <a:gd name="T19" fmla="*/ 0 h 8"/>
                  <a:gd name="T20" fmla="*/ 0 w 6"/>
                  <a:gd name="T21" fmla="*/ 0 h 8"/>
                  <a:gd name="T22" fmla="*/ 0 w 6"/>
                  <a:gd name="T23" fmla="*/ 0 h 8"/>
                  <a:gd name="T24" fmla="*/ 0 w 6"/>
                  <a:gd name="T2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8">
                    <a:moveTo>
                      <a:pt x="0" y="2"/>
                    </a:moveTo>
                    <a:lnTo>
                      <a:pt x="4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8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83" name="Freeform 296">
                <a:extLst>
                  <a:ext uri="{FF2B5EF4-FFF2-40B4-BE49-F238E27FC236}">
                    <a16:creationId xmlns:a16="http://schemas.microsoft.com/office/drawing/2014/main" id="{211E4412-4F22-4AAE-9E6F-01A262C4E3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6" y="2998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2 h 2"/>
                  <a:gd name="T4" fmla="*/ 0 w 4"/>
                  <a:gd name="T5" fmla="*/ 0 h 2"/>
                  <a:gd name="T6" fmla="*/ 2 w 4"/>
                  <a:gd name="T7" fmla="*/ 2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84" name="Freeform 297">
                <a:extLst>
                  <a:ext uri="{FF2B5EF4-FFF2-40B4-BE49-F238E27FC236}">
                    <a16:creationId xmlns:a16="http://schemas.microsoft.com/office/drawing/2014/main" id="{E2B53A6B-F186-4603-9D89-2091547B1E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2978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2 h 2"/>
                  <a:gd name="T3" fmla="*/ 0 h 2"/>
                  <a:gd name="T4" fmla="*/ 0 h 2"/>
                  <a:gd name="T5" fmla="*/ 0 h 2"/>
                  <a:gd name="T6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85" name="Rectangle 298">
                <a:extLst>
                  <a:ext uri="{FF2B5EF4-FFF2-40B4-BE49-F238E27FC236}">
                    <a16:creationId xmlns:a16="http://schemas.microsoft.com/office/drawing/2014/main" id="{4058CCFA-F8D3-43B7-9FE4-24A14DCBC6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8" y="333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86" name="Freeform 299">
                <a:extLst>
                  <a:ext uri="{FF2B5EF4-FFF2-40B4-BE49-F238E27FC236}">
                    <a16:creationId xmlns:a16="http://schemas.microsoft.com/office/drawing/2014/main" id="{4EB787C6-4D35-46ED-B973-E7785B315D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3361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4 w 6"/>
                  <a:gd name="T3" fmla="*/ 2 h 4"/>
                  <a:gd name="T4" fmla="*/ 6 w 6"/>
                  <a:gd name="T5" fmla="*/ 4 h 4"/>
                  <a:gd name="T6" fmla="*/ 4 w 6"/>
                  <a:gd name="T7" fmla="*/ 2 h 4"/>
                  <a:gd name="T8" fmla="*/ 0 w 6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4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87" name="Freeform 300">
                <a:extLst>
                  <a:ext uri="{FF2B5EF4-FFF2-40B4-BE49-F238E27FC236}">
                    <a16:creationId xmlns:a16="http://schemas.microsoft.com/office/drawing/2014/main" id="{358E1F92-2D98-49CF-8030-10DCE18E8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0" y="3336"/>
                <a:ext cx="6" cy="8"/>
              </a:xfrm>
              <a:custGeom>
                <a:avLst/>
                <a:gdLst>
                  <a:gd name="T0" fmla="*/ 0 w 6"/>
                  <a:gd name="T1" fmla="*/ 0 h 8"/>
                  <a:gd name="T2" fmla="*/ 2 w 6"/>
                  <a:gd name="T3" fmla="*/ 2 h 8"/>
                  <a:gd name="T4" fmla="*/ 6 w 6"/>
                  <a:gd name="T5" fmla="*/ 8 h 8"/>
                  <a:gd name="T6" fmla="*/ 2 w 6"/>
                  <a:gd name="T7" fmla="*/ 2 h 8"/>
                  <a:gd name="T8" fmla="*/ 0 w 6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8">
                    <a:moveTo>
                      <a:pt x="0" y="0"/>
                    </a:moveTo>
                    <a:lnTo>
                      <a:pt x="2" y="2"/>
                    </a:lnTo>
                    <a:lnTo>
                      <a:pt x="6" y="8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88" name="Freeform 301">
                <a:extLst>
                  <a:ext uri="{FF2B5EF4-FFF2-40B4-BE49-F238E27FC236}">
                    <a16:creationId xmlns:a16="http://schemas.microsoft.com/office/drawing/2014/main" id="{904C6A25-95C0-4AA8-A101-961E70B23B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297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  <a:gd name="T10" fmla="*/ 0 w 2"/>
                  <a:gd name="T11" fmla="*/ 0 h 2"/>
                  <a:gd name="T12" fmla="*/ 2 w 2"/>
                  <a:gd name="T13" fmla="*/ 0 h 2"/>
                  <a:gd name="T14" fmla="*/ 2 w 2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89" name="Freeform 302">
                <a:extLst>
                  <a:ext uri="{FF2B5EF4-FFF2-40B4-BE49-F238E27FC236}">
                    <a16:creationId xmlns:a16="http://schemas.microsoft.com/office/drawing/2014/main" id="{D7FFB282-E8ED-4374-B7C3-0A8883B5E3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5" y="2953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0 w 2"/>
                  <a:gd name="T4" fmla="*/ 2 w 2"/>
                  <a:gd name="T5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90" name="Freeform 303">
                <a:extLst>
                  <a:ext uri="{FF2B5EF4-FFF2-40B4-BE49-F238E27FC236}">
                    <a16:creationId xmlns:a16="http://schemas.microsoft.com/office/drawing/2014/main" id="{0C56C321-AAD5-4FA7-BF8B-C87E7C0816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2" y="2975"/>
                <a:ext cx="4" cy="23"/>
              </a:xfrm>
              <a:custGeom>
                <a:avLst/>
                <a:gdLst>
                  <a:gd name="T0" fmla="*/ 0 w 4"/>
                  <a:gd name="T1" fmla="*/ 21 h 23"/>
                  <a:gd name="T2" fmla="*/ 0 w 4"/>
                  <a:gd name="T3" fmla="*/ 19 h 23"/>
                  <a:gd name="T4" fmla="*/ 0 w 4"/>
                  <a:gd name="T5" fmla="*/ 15 h 23"/>
                  <a:gd name="T6" fmla="*/ 0 w 4"/>
                  <a:gd name="T7" fmla="*/ 11 h 23"/>
                  <a:gd name="T8" fmla="*/ 0 w 4"/>
                  <a:gd name="T9" fmla="*/ 7 h 23"/>
                  <a:gd name="T10" fmla="*/ 4 w 4"/>
                  <a:gd name="T11" fmla="*/ 3 h 23"/>
                  <a:gd name="T12" fmla="*/ 4 w 4"/>
                  <a:gd name="T13" fmla="*/ 0 h 23"/>
                  <a:gd name="T14" fmla="*/ 4 w 4"/>
                  <a:gd name="T15" fmla="*/ 0 h 23"/>
                  <a:gd name="T16" fmla="*/ 4 w 4"/>
                  <a:gd name="T17" fmla="*/ 3 h 23"/>
                  <a:gd name="T18" fmla="*/ 0 w 4"/>
                  <a:gd name="T19" fmla="*/ 7 h 23"/>
                  <a:gd name="T20" fmla="*/ 0 w 4"/>
                  <a:gd name="T21" fmla="*/ 11 h 23"/>
                  <a:gd name="T22" fmla="*/ 0 w 4"/>
                  <a:gd name="T23" fmla="*/ 15 h 23"/>
                  <a:gd name="T24" fmla="*/ 0 w 4"/>
                  <a:gd name="T25" fmla="*/ 19 h 23"/>
                  <a:gd name="T26" fmla="*/ 0 w 4"/>
                  <a:gd name="T27" fmla="*/ 21 h 23"/>
                  <a:gd name="T28" fmla="*/ 0 w 4"/>
                  <a:gd name="T29" fmla="*/ 23 h 23"/>
                  <a:gd name="T30" fmla="*/ 0 w 4"/>
                  <a:gd name="T31" fmla="*/ 23 h 23"/>
                  <a:gd name="T32" fmla="*/ 0 w 4"/>
                  <a:gd name="T33" fmla="*/ 2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" h="23">
                    <a:moveTo>
                      <a:pt x="0" y="21"/>
                    </a:moveTo>
                    <a:lnTo>
                      <a:pt x="0" y="19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3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0" y="21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91" name="Freeform 304">
                <a:extLst>
                  <a:ext uri="{FF2B5EF4-FFF2-40B4-BE49-F238E27FC236}">
                    <a16:creationId xmlns:a16="http://schemas.microsoft.com/office/drawing/2014/main" id="{D9D8C592-E433-4F7F-B4C0-7B864B4AA7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7" y="3381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92" name="Rectangle 305">
                <a:extLst>
                  <a:ext uri="{FF2B5EF4-FFF2-40B4-BE49-F238E27FC236}">
                    <a16:creationId xmlns:a16="http://schemas.microsoft.com/office/drawing/2014/main" id="{3912BB54-4D3A-4293-A684-9166D29063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7" y="295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93" name="Freeform 306">
                <a:extLst>
                  <a:ext uri="{FF2B5EF4-FFF2-40B4-BE49-F238E27FC236}">
                    <a16:creationId xmlns:a16="http://schemas.microsoft.com/office/drawing/2014/main" id="{4B2C71EC-2D4E-4B7B-888D-570CC08D00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7" y="3371"/>
                <a:ext cx="6" cy="4"/>
              </a:xfrm>
              <a:custGeom>
                <a:avLst/>
                <a:gdLst>
                  <a:gd name="T0" fmla="*/ 4 w 6"/>
                  <a:gd name="T1" fmla="*/ 2 h 4"/>
                  <a:gd name="T2" fmla="*/ 0 w 6"/>
                  <a:gd name="T3" fmla="*/ 0 h 4"/>
                  <a:gd name="T4" fmla="*/ 4 w 6"/>
                  <a:gd name="T5" fmla="*/ 2 h 4"/>
                  <a:gd name="T6" fmla="*/ 6 w 6"/>
                  <a:gd name="T7" fmla="*/ 4 h 4"/>
                  <a:gd name="T8" fmla="*/ 6 w 6"/>
                  <a:gd name="T9" fmla="*/ 4 h 4"/>
                  <a:gd name="T10" fmla="*/ 4 w 6"/>
                  <a:gd name="T1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4" y="2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94" name="Freeform 307">
                <a:extLst>
                  <a:ext uri="{FF2B5EF4-FFF2-40B4-BE49-F238E27FC236}">
                    <a16:creationId xmlns:a16="http://schemas.microsoft.com/office/drawing/2014/main" id="{1BF58904-6639-4AB9-8E84-B8892B347B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8" y="2967"/>
                <a:ext cx="4" cy="6"/>
              </a:xfrm>
              <a:custGeom>
                <a:avLst/>
                <a:gdLst>
                  <a:gd name="T0" fmla="*/ 4 w 4"/>
                  <a:gd name="T1" fmla="*/ 2 h 6"/>
                  <a:gd name="T2" fmla="*/ 4 w 4"/>
                  <a:gd name="T3" fmla="*/ 0 h 6"/>
                  <a:gd name="T4" fmla="*/ 4 w 4"/>
                  <a:gd name="T5" fmla="*/ 2 h 6"/>
                  <a:gd name="T6" fmla="*/ 2 w 4"/>
                  <a:gd name="T7" fmla="*/ 4 h 6"/>
                  <a:gd name="T8" fmla="*/ 0 w 4"/>
                  <a:gd name="T9" fmla="*/ 6 h 6"/>
                  <a:gd name="T10" fmla="*/ 0 w 4"/>
                  <a:gd name="T11" fmla="*/ 6 h 6"/>
                  <a:gd name="T12" fmla="*/ 2 w 4"/>
                  <a:gd name="T13" fmla="*/ 4 h 6"/>
                  <a:gd name="T14" fmla="*/ 4 w 4"/>
                  <a:gd name="T1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6">
                    <a:moveTo>
                      <a:pt x="4" y="2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95" name="Freeform 308">
                <a:extLst>
                  <a:ext uri="{FF2B5EF4-FFF2-40B4-BE49-F238E27FC236}">
                    <a16:creationId xmlns:a16="http://schemas.microsoft.com/office/drawing/2014/main" id="{527739FF-2657-40C4-A1B3-E99D2848B1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9" y="3314"/>
                <a:ext cx="4" cy="10"/>
              </a:xfrm>
              <a:custGeom>
                <a:avLst/>
                <a:gdLst>
                  <a:gd name="T0" fmla="*/ 0 w 4"/>
                  <a:gd name="T1" fmla="*/ 4 h 10"/>
                  <a:gd name="T2" fmla="*/ 0 w 4"/>
                  <a:gd name="T3" fmla="*/ 0 h 10"/>
                  <a:gd name="T4" fmla="*/ 0 w 4"/>
                  <a:gd name="T5" fmla="*/ 4 h 10"/>
                  <a:gd name="T6" fmla="*/ 2 w 4"/>
                  <a:gd name="T7" fmla="*/ 8 h 10"/>
                  <a:gd name="T8" fmla="*/ 4 w 4"/>
                  <a:gd name="T9" fmla="*/ 10 h 10"/>
                  <a:gd name="T10" fmla="*/ 2 w 4"/>
                  <a:gd name="T11" fmla="*/ 8 h 10"/>
                  <a:gd name="T12" fmla="*/ 0 w 4"/>
                  <a:gd name="T13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0">
                    <a:moveTo>
                      <a:pt x="0" y="4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2" y="8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96" name="Freeform 309">
                <a:extLst>
                  <a:ext uri="{FF2B5EF4-FFF2-40B4-BE49-F238E27FC236}">
                    <a16:creationId xmlns:a16="http://schemas.microsoft.com/office/drawing/2014/main" id="{7B19A590-3C4C-496D-987E-5A2B4E1351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1" y="3310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97" name="Rectangle 310">
                <a:extLst>
                  <a:ext uri="{FF2B5EF4-FFF2-40B4-BE49-F238E27FC236}">
                    <a16:creationId xmlns:a16="http://schemas.microsoft.com/office/drawing/2014/main" id="{466C918D-AB86-4351-91FE-A94B0497FE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9" y="331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98" name="Freeform 311">
                <a:extLst>
                  <a:ext uri="{FF2B5EF4-FFF2-40B4-BE49-F238E27FC236}">
                    <a16:creationId xmlns:a16="http://schemas.microsoft.com/office/drawing/2014/main" id="{69A50E1B-0E2F-4B75-93AD-2C013105A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" y="2992"/>
                <a:ext cx="3" cy="10"/>
              </a:xfrm>
              <a:custGeom>
                <a:avLst/>
                <a:gdLst>
                  <a:gd name="T0" fmla="*/ 3 w 3"/>
                  <a:gd name="T1" fmla="*/ 6 h 10"/>
                  <a:gd name="T2" fmla="*/ 1 w 3"/>
                  <a:gd name="T3" fmla="*/ 2 h 10"/>
                  <a:gd name="T4" fmla="*/ 0 w 3"/>
                  <a:gd name="T5" fmla="*/ 0 h 10"/>
                  <a:gd name="T6" fmla="*/ 0 w 3"/>
                  <a:gd name="T7" fmla="*/ 0 h 10"/>
                  <a:gd name="T8" fmla="*/ 1 w 3"/>
                  <a:gd name="T9" fmla="*/ 2 h 10"/>
                  <a:gd name="T10" fmla="*/ 3 w 3"/>
                  <a:gd name="T11" fmla="*/ 6 h 10"/>
                  <a:gd name="T12" fmla="*/ 3 w 3"/>
                  <a:gd name="T13" fmla="*/ 10 h 10"/>
                  <a:gd name="T14" fmla="*/ 3 w 3"/>
                  <a:gd name="T15" fmla="*/ 10 h 10"/>
                  <a:gd name="T16" fmla="*/ 3 w 3"/>
                  <a:gd name="T17" fmla="*/ 10 h 10"/>
                  <a:gd name="T18" fmla="*/ 3 w 3"/>
                  <a:gd name="T1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10">
                    <a:moveTo>
                      <a:pt x="3" y="6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2"/>
                    </a:lnTo>
                    <a:lnTo>
                      <a:pt x="3" y="6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3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99" name="Freeform 312">
                <a:extLst>
                  <a:ext uri="{FF2B5EF4-FFF2-40B4-BE49-F238E27FC236}">
                    <a16:creationId xmlns:a16="http://schemas.microsoft.com/office/drawing/2014/main" id="{90F01EA0-2EFB-4E61-80F9-56FB13ED63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" y="3010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00" name="Freeform 313">
                <a:extLst>
                  <a:ext uri="{FF2B5EF4-FFF2-40B4-BE49-F238E27FC236}">
                    <a16:creationId xmlns:a16="http://schemas.microsoft.com/office/drawing/2014/main" id="{0928886B-0CFF-4C4D-9E39-F17A633FF7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2" y="2975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2 w 4"/>
                  <a:gd name="T4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01" name="Freeform 314">
                <a:extLst>
                  <a:ext uri="{FF2B5EF4-FFF2-40B4-BE49-F238E27FC236}">
                    <a16:creationId xmlns:a16="http://schemas.microsoft.com/office/drawing/2014/main" id="{F3C7D847-15FC-4383-84ED-FDDBA3C7BE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3" y="3307"/>
                <a:ext cx="4" cy="0"/>
              </a:xfrm>
              <a:custGeom>
                <a:avLst/>
                <a:gdLst>
                  <a:gd name="T0" fmla="*/ 0 w 4"/>
                  <a:gd name="T1" fmla="*/ 2 w 4"/>
                  <a:gd name="T2" fmla="*/ 4 w 4"/>
                  <a:gd name="T3" fmla="*/ 2 w 4"/>
                  <a:gd name="T4" fmla="*/ 0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02" name="Freeform 315">
                <a:extLst>
                  <a:ext uri="{FF2B5EF4-FFF2-40B4-BE49-F238E27FC236}">
                    <a16:creationId xmlns:a16="http://schemas.microsoft.com/office/drawing/2014/main" id="{E2F10A50-02F6-4EAA-BAF8-737A5A1C6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2" y="3016"/>
                <a:ext cx="6" cy="3"/>
              </a:xfrm>
              <a:custGeom>
                <a:avLst/>
                <a:gdLst>
                  <a:gd name="T0" fmla="*/ 2 w 6"/>
                  <a:gd name="T1" fmla="*/ 2 h 3"/>
                  <a:gd name="T2" fmla="*/ 0 w 6"/>
                  <a:gd name="T3" fmla="*/ 0 h 3"/>
                  <a:gd name="T4" fmla="*/ 2 w 6"/>
                  <a:gd name="T5" fmla="*/ 2 h 3"/>
                  <a:gd name="T6" fmla="*/ 4 w 6"/>
                  <a:gd name="T7" fmla="*/ 3 h 3"/>
                  <a:gd name="T8" fmla="*/ 6 w 6"/>
                  <a:gd name="T9" fmla="*/ 3 h 3"/>
                  <a:gd name="T10" fmla="*/ 4 w 6"/>
                  <a:gd name="T11" fmla="*/ 3 h 3"/>
                  <a:gd name="T12" fmla="*/ 2 w 6"/>
                  <a:gd name="T1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4" y="3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03" name="Rectangle 316">
                <a:extLst>
                  <a:ext uri="{FF2B5EF4-FFF2-40B4-BE49-F238E27FC236}">
                    <a16:creationId xmlns:a16="http://schemas.microsoft.com/office/drawing/2014/main" id="{72C0557F-49D6-469A-AA77-C52AEB4C36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7" y="332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04" name="Freeform 317">
                <a:extLst>
                  <a:ext uri="{FF2B5EF4-FFF2-40B4-BE49-F238E27FC236}">
                    <a16:creationId xmlns:a16="http://schemas.microsoft.com/office/drawing/2014/main" id="{2DA71B25-778A-4D1F-B75A-85A244EE1E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" y="297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05" name="Rectangle 318">
                <a:extLst>
                  <a:ext uri="{FF2B5EF4-FFF2-40B4-BE49-F238E27FC236}">
                    <a16:creationId xmlns:a16="http://schemas.microsoft.com/office/drawing/2014/main" id="{0C634E4F-FECB-4333-A456-9BCBD23388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4" y="3332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06" name="Freeform 319">
                <a:extLst>
                  <a:ext uri="{FF2B5EF4-FFF2-40B4-BE49-F238E27FC236}">
                    <a16:creationId xmlns:a16="http://schemas.microsoft.com/office/drawing/2014/main" id="{89CCB412-987E-4C81-B634-2BD675AC2E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7" y="2982"/>
                <a:ext cx="10" cy="10"/>
              </a:xfrm>
              <a:custGeom>
                <a:avLst/>
                <a:gdLst>
                  <a:gd name="T0" fmla="*/ 0 w 10"/>
                  <a:gd name="T1" fmla="*/ 0 h 10"/>
                  <a:gd name="T2" fmla="*/ 6 w 10"/>
                  <a:gd name="T3" fmla="*/ 4 h 10"/>
                  <a:gd name="T4" fmla="*/ 10 w 10"/>
                  <a:gd name="T5" fmla="*/ 10 h 10"/>
                  <a:gd name="T6" fmla="*/ 6 w 10"/>
                  <a:gd name="T7" fmla="*/ 4 h 10"/>
                  <a:gd name="T8" fmla="*/ 0 w 10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0" y="0"/>
                    </a:moveTo>
                    <a:lnTo>
                      <a:pt x="6" y="4"/>
                    </a:lnTo>
                    <a:lnTo>
                      <a:pt x="10" y="10"/>
                    </a:lnTo>
                    <a:lnTo>
                      <a:pt x="6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07" name="Freeform 320">
                <a:extLst>
                  <a:ext uri="{FF2B5EF4-FFF2-40B4-BE49-F238E27FC236}">
                    <a16:creationId xmlns:a16="http://schemas.microsoft.com/office/drawing/2014/main" id="{281EB880-6AD7-4E16-91ED-F438D063BE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5" y="2961"/>
                <a:ext cx="4" cy="12"/>
              </a:xfrm>
              <a:custGeom>
                <a:avLst/>
                <a:gdLst>
                  <a:gd name="T0" fmla="*/ 4 w 4"/>
                  <a:gd name="T1" fmla="*/ 6 h 12"/>
                  <a:gd name="T2" fmla="*/ 2 w 4"/>
                  <a:gd name="T3" fmla="*/ 4 h 12"/>
                  <a:gd name="T4" fmla="*/ 0 w 4"/>
                  <a:gd name="T5" fmla="*/ 0 h 12"/>
                  <a:gd name="T6" fmla="*/ 2 w 4"/>
                  <a:gd name="T7" fmla="*/ 4 h 12"/>
                  <a:gd name="T8" fmla="*/ 4 w 4"/>
                  <a:gd name="T9" fmla="*/ 6 h 12"/>
                  <a:gd name="T10" fmla="*/ 4 w 4"/>
                  <a:gd name="T11" fmla="*/ 10 h 12"/>
                  <a:gd name="T12" fmla="*/ 4 w 4"/>
                  <a:gd name="T13" fmla="*/ 12 h 12"/>
                  <a:gd name="T14" fmla="*/ 4 w 4"/>
                  <a:gd name="T15" fmla="*/ 10 h 12"/>
                  <a:gd name="T16" fmla="*/ 4 w 4"/>
                  <a:gd name="T1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2">
                    <a:moveTo>
                      <a:pt x="4" y="6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0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08" name="Freeform 321">
                <a:extLst>
                  <a:ext uri="{FF2B5EF4-FFF2-40B4-BE49-F238E27FC236}">
                    <a16:creationId xmlns:a16="http://schemas.microsoft.com/office/drawing/2014/main" id="{3F5C96BE-A4ED-4748-AC13-FCAFD4D112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" y="3310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2 w 6"/>
                  <a:gd name="T3" fmla="*/ 2 h 4"/>
                  <a:gd name="T4" fmla="*/ 6 w 6"/>
                  <a:gd name="T5" fmla="*/ 4 h 4"/>
                  <a:gd name="T6" fmla="*/ 6 w 6"/>
                  <a:gd name="T7" fmla="*/ 4 h 4"/>
                  <a:gd name="T8" fmla="*/ 2 w 6"/>
                  <a:gd name="T9" fmla="*/ 2 h 4"/>
                  <a:gd name="T10" fmla="*/ 0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09" name="Freeform 322">
                <a:extLst>
                  <a:ext uri="{FF2B5EF4-FFF2-40B4-BE49-F238E27FC236}">
                    <a16:creationId xmlns:a16="http://schemas.microsoft.com/office/drawing/2014/main" id="{6D2BF8A4-9E20-46B5-B6E7-AEC90FF15E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3" y="3500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0 h 2"/>
                  <a:gd name="T4" fmla="*/ 4 w 4"/>
                  <a:gd name="T5" fmla="*/ 0 h 2"/>
                  <a:gd name="T6" fmla="*/ 2 w 4"/>
                  <a:gd name="T7" fmla="*/ 2 h 2"/>
                  <a:gd name="T8" fmla="*/ 0 w 4"/>
                  <a:gd name="T9" fmla="*/ 2 h 2"/>
                  <a:gd name="T10" fmla="*/ 2 w 4"/>
                  <a:gd name="T11" fmla="*/ 2 h 2"/>
                  <a:gd name="T12" fmla="*/ 4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10" name="Freeform 323">
                <a:extLst>
                  <a:ext uri="{FF2B5EF4-FFF2-40B4-BE49-F238E27FC236}">
                    <a16:creationId xmlns:a16="http://schemas.microsoft.com/office/drawing/2014/main" id="{12A7EBD0-82DA-4466-ADD6-B6DB5D7F8B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4" y="2926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2 h 2"/>
                  <a:gd name="T4" fmla="*/ 0 w 2"/>
                  <a:gd name="T5" fmla="*/ 0 h 2"/>
                  <a:gd name="T6" fmla="*/ 0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11" name="Freeform 324">
                <a:extLst>
                  <a:ext uri="{FF2B5EF4-FFF2-40B4-BE49-F238E27FC236}">
                    <a16:creationId xmlns:a16="http://schemas.microsoft.com/office/drawing/2014/main" id="{22296067-E05E-4AFC-A457-F9053E0EA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9" y="3424"/>
                <a:ext cx="0" cy="4"/>
              </a:xfrm>
              <a:custGeom>
                <a:avLst/>
                <a:gdLst>
                  <a:gd name="T0" fmla="*/ 0 h 4"/>
                  <a:gd name="T1" fmla="*/ 4 h 4"/>
                  <a:gd name="T2" fmla="*/ 4 h 4"/>
                  <a:gd name="T3" fmla="*/ 4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12" name="Freeform 325">
                <a:extLst>
                  <a:ext uri="{FF2B5EF4-FFF2-40B4-BE49-F238E27FC236}">
                    <a16:creationId xmlns:a16="http://schemas.microsoft.com/office/drawing/2014/main" id="{007E7470-3F90-4963-8D04-E45CF8F603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5" y="3412"/>
                <a:ext cx="24" cy="4"/>
              </a:xfrm>
              <a:custGeom>
                <a:avLst/>
                <a:gdLst>
                  <a:gd name="T0" fmla="*/ 24 w 24"/>
                  <a:gd name="T1" fmla="*/ 0 h 4"/>
                  <a:gd name="T2" fmla="*/ 10 w 24"/>
                  <a:gd name="T3" fmla="*/ 4 h 4"/>
                  <a:gd name="T4" fmla="*/ 0 w 24"/>
                  <a:gd name="T5" fmla="*/ 4 h 4"/>
                  <a:gd name="T6" fmla="*/ 10 w 24"/>
                  <a:gd name="T7" fmla="*/ 4 h 4"/>
                  <a:gd name="T8" fmla="*/ 24 w 2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4">
                    <a:moveTo>
                      <a:pt x="24" y="0"/>
                    </a:moveTo>
                    <a:lnTo>
                      <a:pt x="10" y="4"/>
                    </a:lnTo>
                    <a:lnTo>
                      <a:pt x="0" y="4"/>
                    </a:lnTo>
                    <a:lnTo>
                      <a:pt x="10" y="4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13" name="Freeform 326">
                <a:extLst>
                  <a:ext uri="{FF2B5EF4-FFF2-40B4-BE49-F238E27FC236}">
                    <a16:creationId xmlns:a16="http://schemas.microsoft.com/office/drawing/2014/main" id="{DBCBA678-5C6A-4D4E-B9F7-5338C8A4D5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1" y="2928"/>
                <a:ext cx="1" cy="6"/>
              </a:xfrm>
              <a:custGeom>
                <a:avLst/>
                <a:gdLst>
                  <a:gd name="T0" fmla="*/ 0 w 1"/>
                  <a:gd name="T1" fmla="*/ 4 h 6"/>
                  <a:gd name="T2" fmla="*/ 1 w 1"/>
                  <a:gd name="T3" fmla="*/ 6 h 6"/>
                  <a:gd name="T4" fmla="*/ 0 w 1"/>
                  <a:gd name="T5" fmla="*/ 4 h 6"/>
                  <a:gd name="T6" fmla="*/ 1 w 1"/>
                  <a:gd name="T7" fmla="*/ 0 h 6"/>
                  <a:gd name="T8" fmla="*/ 1 w 1"/>
                  <a:gd name="T9" fmla="*/ 0 h 6"/>
                  <a:gd name="T10" fmla="*/ 0 w 1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6">
                    <a:moveTo>
                      <a:pt x="0" y="4"/>
                    </a:moveTo>
                    <a:lnTo>
                      <a:pt x="1" y="6"/>
                    </a:lnTo>
                    <a:lnTo>
                      <a:pt x="0" y="4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14" name="Freeform 327">
                <a:extLst>
                  <a:ext uri="{FF2B5EF4-FFF2-40B4-BE49-F238E27FC236}">
                    <a16:creationId xmlns:a16="http://schemas.microsoft.com/office/drawing/2014/main" id="{848A577C-2626-453D-A0AC-8AAEDB278F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7" y="3424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2 w 4"/>
                  <a:gd name="T3" fmla="*/ 4 h 4"/>
                  <a:gd name="T4" fmla="*/ 0 w 4"/>
                  <a:gd name="T5" fmla="*/ 0 h 4"/>
                  <a:gd name="T6" fmla="*/ 2 w 4"/>
                  <a:gd name="T7" fmla="*/ 4 h 4"/>
                  <a:gd name="T8" fmla="*/ 4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15" name="Freeform 328">
                <a:extLst>
                  <a:ext uri="{FF2B5EF4-FFF2-40B4-BE49-F238E27FC236}">
                    <a16:creationId xmlns:a16="http://schemas.microsoft.com/office/drawing/2014/main" id="{D630B094-C564-4A71-A6D2-E65A25484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4" y="2922"/>
                <a:ext cx="6" cy="2"/>
              </a:xfrm>
              <a:custGeom>
                <a:avLst/>
                <a:gdLst>
                  <a:gd name="T0" fmla="*/ 2 w 6"/>
                  <a:gd name="T1" fmla="*/ 2 h 2"/>
                  <a:gd name="T2" fmla="*/ 2 w 6"/>
                  <a:gd name="T3" fmla="*/ 2 h 2"/>
                  <a:gd name="T4" fmla="*/ 0 w 6"/>
                  <a:gd name="T5" fmla="*/ 2 h 2"/>
                  <a:gd name="T6" fmla="*/ 0 w 6"/>
                  <a:gd name="T7" fmla="*/ 2 h 2"/>
                  <a:gd name="T8" fmla="*/ 2 w 6"/>
                  <a:gd name="T9" fmla="*/ 2 h 2"/>
                  <a:gd name="T10" fmla="*/ 2 w 6"/>
                  <a:gd name="T11" fmla="*/ 2 h 2"/>
                  <a:gd name="T12" fmla="*/ 4 w 6"/>
                  <a:gd name="T13" fmla="*/ 2 h 2"/>
                  <a:gd name="T14" fmla="*/ 6 w 6"/>
                  <a:gd name="T15" fmla="*/ 0 h 2"/>
                  <a:gd name="T16" fmla="*/ 4 w 6"/>
                  <a:gd name="T17" fmla="*/ 2 h 2"/>
                  <a:gd name="T18" fmla="*/ 2 w 6"/>
                  <a:gd name="T1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16" name="Freeform 329">
                <a:extLst>
                  <a:ext uri="{FF2B5EF4-FFF2-40B4-BE49-F238E27FC236}">
                    <a16:creationId xmlns:a16="http://schemas.microsoft.com/office/drawing/2014/main" id="{8A3A6F00-D04A-493B-BD0E-1397254413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6" y="2912"/>
                <a:ext cx="6" cy="2"/>
              </a:xfrm>
              <a:custGeom>
                <a:avLst/>
                <a:gdLst>
                  <a:gd name="T0" fmla="*/ 2 w 6"/>
                  <a:gd name="T1" fmla="*/ 2 h 2"/>
                  <a:gd name="T2" fmla="*/ 0 w 6"/>
                  <a:gd name="T3" fmla="*/ 2 h 2"/>
                  <a:gd name="T4" fmla="*/ 2 w 6"/>
                  <a:gd name="T5" fmla="*/ 2 h 2"/>
                  <a:gd name="T6" fmla="*/ 4 w 6"/>
                  <a:gd name="T7" fmla="*/ 0 h 2"/>
                  <a:gd name="T8" fmla="*/ 6 w 6"/>
                  <a:gd name="T9" fmla="*/ 2 h 2"/>
                  <a:gd name="T10" fmla="*/ 4 w 6"/>
                  <a:gd name="T11" fmla="*/ 0 h 2"/>
                  <a:gd name="T12" fmla="*/ 2 w 6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2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17" name="Freeform 330">
                <a:extLst>
                  <a:ext uri="{FF2B5EF4-FFF2-40B4-BE49-F238E27FC236}">
                    <a16:creationId xmlns:a16="http://schemas.microsoft.com/office/drawing/2014/main" id="{968EB425-4DBE-4516-BE9B-D2442A716A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6" y="3412"/>
                <a:ext cx="41" cy="12"/>
              </a:xfrm>
              <a:custGeom>
                <a:avLst/>
                <a:gdLst>
                  <a:gd name="T0" fmla="*/ 6 w 41"/>
                  <a:gd name="T1" fmla="*/ 2 h 12"/>
                  <a:gd name="T2" fmla="*/ 12 w 41"/>
                  <a:gd name="T3" fmla="*/ 4 h 12"/>
                  <a:gd name="T4" fmla="*/ 22 w 41"/>
                  <a:gd name="T5" fmla="*/ 8 h 12"/>
                  <a:gd name="T6" fmla="*/ 27 w 41"/>
                  <a:gd name="T7" fmla="*/ 10 h 12"/>
                  <a:gd name="T8" fmla="*/ 31 w 41"/>
                  <a:gd name="T9" fmla="*/ 8 h 12"/>
                  <a:gd name="T10" fmla="*/ 35 w 41"/>
                  <a:gd name="T11" fmla="*/ 10 h 12"/>
                  <a:gd name="T12" fmla="*/ 41 w 41"/>
                  <a:gd name="T13" fmla="*/ 12 h 12"/>
                  <a:gd name="T14" fmla="*/ 41 w 41"/>
                  <a:gd name="T15" fmla="*/ 12 h 12"/>
                  <a:gd name="T16" fmla="*/ 35 w 41"/>
                  <a:gd name="T17" fmla="*/ 10 h 12"/>
                  <a:gd name="T18" fmla="*/ 31 w 41"/>
                  <a:gd name="T19" fmla="*/ 8 h 12"/>
                  <a:gd name="T20" fmla="*/ 27 w 41"/>
                  <a:gd name="T21" fmla="*/ 10 h 12"/>
                  <a:gd name="T22" fmla="*/ 22 w 41"/>
                  <a:gd name="T23" fmla="*/ 8 h 12"/>
                  <a:gd name="T24" fmla="*/ 12 w 41"/>
                  <a:gd name="T25" fmla="*/ 4 h 12"/>
                  <a:gd name="T26" fmla="*/ 6 w 41"/>
                  <a:gd name="T27" fmla="*/ 2 h 12"/>
                  <a:gd name="T28" fmla="*/ 4 w 41"/>
                  <a:gd name="T29" fmla="*/ 2 h 12"/>
                  <a:gd name="T30" fmla="*/ 0 w 41"/>
                  <a:gd name="T31" fmla="*/ 0 h 12"/>
                  <a:gd name="T32" fmla="*/ 4 w 41"/>
                  <a:gd name="T33" fmla="*/ 2 h 12"/>
                  <a:gd name="T34" fmla="*/ 6 w 41"/>
                  <a:gd name="T3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1" h="12">
                    <a:moveTo>
                      <a:pt x="6" y="2"/>
                    </a:moveTo>
                    <a:lnTo>
                      <a:pt x="12" y="4"/>
                    </a:lnTo>
                    <a:lnTo>
                      <a:pt x="22" y="8"/>
                    </a:lnTo>
                    <a:lnTo>
                      <a:pt x="27" y="10"/>
                    </a:lnTo>
                    <a:lnTo>
                      <a:pt x="31" y="8"/>
                    </a:lnTo>
                    <a:lnTo>
                      <a:pt x="35" y="10"/>
                    </a:lnTo>
                    <a:lnTo>
                      <a:pt x="41" y="12"/>
                    </a:lnTo>
                    <a:lnTo>
                      <a:pt x="41" y="12"/>
                    </a:lnTo>
                    <a:lnTo>
                      <a:pt x="35" y="10"/>
                    </a:lnTo>
                    <a:lnTo>
                      <a:pt x="31" y="8"/>
                    </a:lnTo>
                    <a:lnTo>
                      <a:pt x="27" y="10"/>
                    </a:lnTo>
                    <a:lnTo>
                      <a:pt x="22" y="8"/>
                    </a:lnTo>
                    <a:lnTo>
                      <a:pt x="12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18" name="Freeform 331">
                <a:extLst>
                  <a:ext uri="{FF2B5EF4-FFF2-40B4-BE49-F238E27FC236}">
                    <a16:creationId xmlns:a16="http://schemas.microsoft.com/office/drawing/2014/main" id="{4EF9B022-5BAD-42CB-A820-D5D246BC2A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6" y="294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  <a:gd name="T8" fmla="*/ 0 w 2"/>
                  <a:gd name="T9" fmla="*/ 0 h 2"/>
                  <a:gd name="T10" fmla="*/ 2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19" name="Freeform 332">
                <a:extLst>
                  <a:ext uri="{FF2B5EF4-FFF2-40B4-BE49-F238E27FC236}">
                    <a16:creationId xmlns:a16="http://schemas.microsoft.com/office/drawing/2014/main" id="{FADCA00D-26D5-497F-8EC0-65D6BA769C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2" y="3445"/>
                <a:ext cx="6" cy="16"/>
              </a:xfrm>
              <a:custGeom>
                <a:avLst/>
                <a:gdLst>
                  <a:gd name="T0" fmla="*/ 6 w 6"/>
                  <a:gd name="T1" fmla="*/ 0 h 16"/>
                  <a:gd name="T2" fmla="*/ 6 w 6"/>
                  <a:gd name="T3" fmla="*/ 2 h 16"/>
                  <a:gd name="T4" fmla="*/ 0 w 6"/>
                  <a:gd name="T5" fmla="*/ 16 h 16"/>
                  <a:gd name="T6" fmla="*/ 6 w 6"/>
                  <a:gd name="T7" fmla="*/ 2 h 16"/>
                  <a:gd name="T8" fmla="*/ 6 w 6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16">
                    <a:moveTo>
                      <a:pt x="6" y="0"/>
                    </a:moveTo>
                    <a:lnTo>
                      <a:pt x="6" y="2"/>
                    </a:lnTo>
                    <a:lnTo>
                      <a:pt x="0" y="16"/>
                    </a:lnTo>
                    <a:lnTo>
                      <a:pt x="6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20" name="Freeform 333">
                <a:extLst>
                  <a:ext uri="{FF2B5EF4-FFF2-40B4-BE49-F238E27FC236}">
                    <a16:creationId xmlns:a16="http://schemas.microsoft.com/office/drawing/2014/main" id="{2A3158DB-A50A-481C-BADD-6D77C06807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8" y="2949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21" name="Freeform 334">
                <a:extLst>
                  <a:ext uri="{FF2B5EF4-FFF2-40B4-BE49-F238E27FC236}">
                    <a16:creationId xmlns:a16="http://schemas.microsoft.com/office/drawing/2014/main" id="{696B2298-04EF-4420-A490-C869E0E6A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7" y="3431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  <a:gd name="T8" fmla="*/ 0 w 2"/>
                  <a:gd name="T9" fmla="*/ 2 h 2"/>
                  <a:gd name="T10" fmla="*/ 2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22" name="Freeform 335">
                <a:extLst>
                  <a:ext uri="{FF2B5EF4-FFF2-40B4-BE49-F238E27FC236}">
                    <a16:creationId xmlns:a16="http://schemas.microsoft.com/office/drawing/2014/main" id="{DF1DFF9A-A469-42C2-8689-14EE7CE907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" y="3439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23" name="Freeform 336">
                <a:extLst>
                  <a:ext uri="{FF2B5EF4-FFF2-40B4-BE49-F238E27FC236}">
                    <a16:creationId xmlns:a16="http://schemas.microsoft.com/office/drawing/2014/main" id="{09C72BB1-3D25-4F68-8277-8359C4843E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0" y="2945"/>
                <a:ext cx="6" cy="2"/>
              </a:xfrm>
              <a:custGeom>
                <a:avLst/>
                <a:gdLst>
                  <a:gd name="T0" fmla="*/ 2 w 6"/>
                  <a:gd name="T1" fmla="*/ 2 h 2"/>
                  <a:gd name="T2" fmla="*/ 4 w 6"/>
                  <a:gd name="T3" fmla="*/ 2 h 2"/>
                  <a:gd name="T4" fmla="*/ 6 w 6"/>
                  <a:gd name="T5" fmla="*/ 0 h 2"/>
                  <a:gd name="T6" fmla="*/ 6 w 6"/>
                  <a:gd name="T7" fmla="*/ 0 h 2"/>
                  <a:gd name="T8" fmla="*/ 6 w 6"/>
                  <a:gd name="T9" fmla="*/ 0 h 2"/>
                  <a:gd name="T10" fmla="*/ 4 w 6"/>
                  <a:gd name="T11" fmla="*/ 2 h 2"/>
                  <a:gd name="T12" fmla="*/ 2 w 6"/>
                  <a:gd name="T13" fmla="*/ 2 h 2"/>
                  <a:gd name="T14" fmla="*/ 0 w 6"/>
                  <a:gd name="T15" fmla="*/ 0 h 2"/>
                  <a:gd name="T16" fmla="*/ 0 w 6"/>
                  <a:gd name="T17" fmla="*/ 0 h 2"/>
                  <a:gd name="T18" fmla="*/ 0 w 6"/>
                  <a:gd name="T19" fmla="*/ 0 h 2"/>
                  <a:gd name="T20" fmla="*/ 2 w 6"/>
                  <a:gd name="T2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2">
                    <a:moveTo>
                      <a:pt x="2" y="2"/>
                    </a:move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24" name="Freeform 337">
                <a:extLst>
                  <a:ext uri="{FF2B5EF4-FFF2-40B4-BE49-F238E27FC236}">
                    <a16:creationId xmlns:a16="http://schemas.microsoft.com/office/drawing/2014/main" id="{53D39C9E-84CA-401B-8111-00A2C8B5FE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6" y="3410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25" name="Freeform 338">
                <a:extLst>
                  <a:ext uri="{FF2B5EF4-FFF2-40B4-BE49-F238E27FC236}">
                    <a16:creationId xmlns:a16="http://schemas.microsoft.com/office/drawing/2014/main" id="{0EAC5BE9-1281-4AF8-8C38-E97FA52048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7" y="2873"/>
                <a:ext cx="22" cy="12"/>
              </a:xfrm>
              <a:custGeom>
                <a:avLst/>
                <a:gdLst>
                  <a:gd name="T0" fmla="*/ 16 w 22"/>
                  <a:gd name="T1" fmla="*/ 0 h 12"/>
                  <a:gd name="T2" fmla="*/ 22 w 22"/>
                  <a:gd name="T3" fmla="*/ 0 h 12"/>
                  <a:gd name="T4" fmla="*/ 16 w 22"/>
                  <a:gd name="T5" fmla="*/ 0 h 12"/>
                  <a:gd name="T6" fmla="*/ 6 w 22"/>
                  <a:gd name="T7" fmla="*/ 10 h 12"/>
                  <a:gd name="T8" fmla="*/ 0 w 22"/>
                  <a:gd name="T9" fmla="*/ 12 h 12"/>
                  <a:gd name="T10" fmla="*/ 6 w 22"/>
                  <a:gd name="T11" fmla="*/ 10 h 12"/>
                  <a:gd name="T12" fmla="*/ 16 w 22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12">
                    <a:moveTo>
                      <a:pt x="16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6" y="10"/>
                    </a:lnTo>
                    <a:lnTo>
                      <a:pt x="0" y="12"/>
                    </a:lnTo>
                    <a:lnTo>
                      <a:pt x="6" y="1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26" name="Freeform 339">
                <a:extLst>
                  <a:ext uri="{FF2B5EF4-FFF2-40B4-BE49-F238E27FC236}">
                    <a16:creationId xmlns:a16="http://schemas.microsoft.com/office/drawing/2014/main" id="{52D02453-F996-4BDD-86C6-D3EF2F9F67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1" y="2873"/>
                <a:ext cx="8" cy="6"/>
              </a:xfrm>
              <a:custGeom>
                <a:avLst/>
                <a:gdLst>
                  <a:gd name="T0" fmla="*/ 8 w 8"/>
                  <a:gd name="T1" fmla="*/ 6 h 6"/>
                  <a:gd name="T2" fmla="*/ 8 w 8"/>
                  <a:gd name="T3" fmla="*/ 6 h 6"/>
                  <a:gd name="T4" fmla="*/ 6 w 8"/>
                  <a:gd name="T5" fmla="*/ 4 h 6"/>
                  <a:gd name="T6" fmla="*/ 0 w 8"/>
                  <a:gd name="T7" fmla="*/ 0 h 6"/>
                  <a:gd name="T8" fmla="*/ 0 w 8"/>
                  <a:gd name="T9" fmla="*/ 0 h 6"/>
                  <a:gd name="T10" fmla="*/ 6 w 8"/>
                  <a:gd name="T11" fmla="*/ 4 h 6"/>
                  <a:gd name="T12" fmla="*/ 8 w 8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8" y="6"/>
                    </a:moveTo>
                    <a:lnTo>
                      <a:pt x="8" y="6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4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27" name="Freeform 340">
                <a:extLst>
                  <a:ext uri="{FF2B5EF4-FFF2-40B4-BE49-F238E27FC236}">
                    <a16:creationId xmlns:a16="http://schemas.microsoft.com/office/drawing/2014/main" id="{A98247E4-5CD8-4A8B-8C2D-DBE820CD4C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2" y="3412"/>
                <a:ext cx="9" cy="8"/>
              </a:xfrm>
              <a:custGeom>
                <a:avLst/>
                <a:gdLst>
                  <a:gd name="T0" fmla="*/ 5 w 9"/>
                  <a:gd name="T1" fmla="*/ 4 h 8"/>
                  <a:gd name="T2" fmla="*/ 7 w 9"/>
                  <a:gd name="T3" fmla="*/ 4 h 8"/>
                  <a:gd name="T4" fmla="*/ 9 w 9"/>
                  <a:gd name="T5" fmla="*/ 6 h 8"/>
                  <a:gd name="T6" fmla="*/ 9 w 9"/>
                  <a:gd name="T7" fmla="*/ 8 h 8"/>
                  <a:gd name="T8" fmla="*/ 9 w 9"/>
                  <a:gd name="T9" fmla="*/ 6 h 8"/>
                  <a:gd name="T10" fmla="*/ 7 w 9"/>
                  <a:gd name="T11" fmla="*/ 4 h 8"/>
                  <a:gd name="T12" fmla="*/ 5 w 9"/>
                  <a:gd name="T13" fmla="*/ 4 h 8"/>
                  <a:gd name="T14" fmla="*/ 3 w 9"/>
                  <a:gd name="T15" fmla="*/ 2 h 8"/>
                  <a:gd name="T16" fmla="*/ 0 w 9"/>
                  <a:gd name="T17" fmla="*/ 0 h 8"/>
                  <a:gd name="T18" fmla="*/ 3 w 9"/>
                  <a:gd name="T19" fmla="*/ 2 h 8"/>
                  <a:gd name="T20" fmla="*/ 5 w 9"/>
                  <a:gd name="T2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8">
                    <a:moveTo>
                      <a:pt x="5" y="4"/>
                    </a:moveTo>
                    <a:lnTo>
                      <a:pt x="7" y="4"/>
                    </a:lnTo>
                    <a:lnTo>
                      <a:pt x="9" y="6"/>
                    </a:lnTo>
                    <a:lnTo>
                      <a:pt x="9" y="8"/>
                    </a:lnTo>
                    <a:lnTo>
                      <a:pt x="9" y="6"/>
                    </a:lnTo>
                    <a:lnTo>
                      <a:pt x="7" y="4"/>
                    </a:lnTo>
                    <a:lnTo>
                      <a:pt x="5" y="4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5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28" name="Freeform 341">
                <a:extLst>
                  <a:ext uri="{FF2B5EF4-FFF2-40B4-BE49-F238E27FC236}">
                    <a16:creationId xmlns:a16="http://schemas.microsoft.com/office/drawing/2014/main" id="{ECC61811-B76D-44A2-80BB-9B3C7DEEB4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" y="3420"/>
                <a:ext cx="7" cy="4"/>
              </a:xfrm>
              <a:custGeom>
                <a:avLst/>
                <a:gdLst>
                  <a:gd name="T0" fmla="*/ 5 w 7"/>
                  <a:gd name="T1" fmla="*/ 2 h 4"/>
                  <a:gd name="T2" fmla="*/ 7 w 7"/>
                  <a:gd name="T3" fmla="*/ 4 h 4"/>
                  <a:gd name="T4" fmla="*/ 5 w 7"/>
                  <a:gd name="T5" fmla="*/ 2 h 4"/>
                  <a:gd name="T6" fmla="*/ 1 w 7"/>
                  <a:gd name="T7" fmla="*/ 0 h 4"/>
                  <a:gd name="T8" fmla="*/ 0 w 7"/>
                  <a:gd name="T9" fmla="*/ 2 h 4"/>
                  <a:gd name="T10" fmla="*/ 1 w 7"/>
                  <a:gd name="T11" fmla="*/ 0 h 4"/>
                  <a:gd name="T12" fmla="*/ 5 w 7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4">
                    <a:moveTo>
                      <a:pt x="5" y="2"/>
                    </a:moveTo>
                    <a:lnTo>
                      <a:pt x="7" y="4"/>
                    </a:lnTo>
                    <a:lnTo>
                      <a:pt x="5" y="2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29" name="Freeform 342">
                <a:extLst>
                  <a:ext uri="{FF2B5EF4-FFF2-40B4-BE49-F238E27FC236}">
                    <a16:creationId xmlns:a16="http://schemas.microsoft.com/office/drawing/2014/main" id="{1F24CFB5-D9A4-4CD9-AF0E-2B76434842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3" y="2863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30" name="Freeform 343">
                <a:extLst>
                  <a:ext uri="{FF2B5EF4-FFF2-40B4-BE49-F238E27FC236}">
                    <a16:creationId xmlns:a16="http://schemas.microsoft.com/office/drawing/2014/main" id="{E38E3F6E-EE5B-4760-B632-F21D09B915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6" y="2861"/>
                <a:ext cx="13" cy="4"/>
              </a:xfrm>
              <a:custGeom>
                <a:avLst/>
                <a:gdLst>
                  <a:gd name="T0" fmla="*/ 13 w 13"/>
                  <a:gd name="T1" fmla="*/ 0 h 4"/>
                  <a:gd name="T2" fmla="*/ 13 w 13"/>
                  <a:gd name="T3" fmla="*/ 0 h 4"/>
                  <a:gd name="T4" fmla="*/ 13 w 13"/>
                  <a:gd name="T5" fmla="*/ 0 h 4"/>
                  <a:gd name="T6" fmla="*/ 4 w 13"/>
                  <a:gd name="T7" fmla="*/ 4 h 4"/>
                  <a:gd name="T8" fmla="*/ 0 w 13"/>
                  <a:gd name="T9" fmla="*/ 4 h 4"/>
                  <a:gd name="T10" fmla="*/ 4 w 13"/>
                  <a:gd name="T11" fmla="*/ 4 h 4"/>
                  <a:gd name="T12" fmla="*/ 13 w 13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4">
                    <a:moveTo>
                      <a:pt x="13" y="0"/>
                    </a:moveTo>
                    <a:lnTo>
                      <a:pt x="13" y="0"/>
                    </a:lnTo>
                    <a:lnTo>
                      <a:pt x="13" y="0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31" name="Freeform 344">
                <a:extLst>
                  <a:ext uri="{FF2B5EF4-FFF2-40B4-BE49-F238E27FC236}">
                    <a16:creationId xmlns:a16="http://schemas.microsoft.com/office/drawing/2014/main" id="{63358DD9-AEF6-4062-AB34-9BAE907E68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9" y="3426"/>
                <a:ext cx="8" cy="11"/>
              </a:xfrm>
              <a:custGeom>
                <a:avLst/>
                <a:gdLst>
                  <a:gd name="T0" fmla="*/ 6 w 8"/>
                  <a:gd name="T1" fmla="*/ 2 h 11"/>
                  <a:gd name="T2" fmla="*/ 8 w 8"/>
                  <a:gd name="T3" fmla="*/ 4 h 11"/>
                  <a:gd name="T4" fmla="*/ 8 w 8"/>
                  <a:gd name="T5" fmla="*/ 11 h 11"/>
                  <a:gd name="T6" fmla="*/ 8 w 8"/>
                  <a:gd name="T7" fmla="*/ 4 h 11"/>
                  <a:gd name="T8" fmla="*/ 6 w 8"/>
                  <a:gd name="T9" fmla="*/ 2 h 11"/>
                  <a:gd name="T10" fmla="*/ 2 w 8"/>
                  <a:gd name="T11" fmla="*/ 0 h 11"/>
                  <a:gd name="T12" fmla="*/ 0 w 8"/>
                  <a:gd name="T13" fmla="*/ 0 h 11"/>
                  <a:gd name="T14" fmla="*/ 2 w 8"/>
                  <a:gd name="T15" fmla="*/ 0 h 11"/>
                  <a:gd name="T16" fmla="*/ 6 w 8"/>
                  <a:gd name="T17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1">
                    <a:moveTo>
                      <a:pt x="6" y="2"/>
                    </a:moveTo>
                    <a:lnTo>
                      <a:pt x="8" y="4"/>
                    </a:lnTo>
                    <a:lnTo>
                      <a:pt x="8" y="11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32" name="Freeform 345">
                <a:extLst>
                  <a:ext uri="{FF2B5EF4-FFF2-40B4-BE49-F238E27FC236}">
                    <a16:creationId xmlns:a16="http://schemas.microsoft.com/office/drawing/2014/main" id="{29656070-D7C7-4C84-BA11-700153C1BB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8" y="3469"/>
                <a:ext cx="12" cy="15"/>
              </a:xfrm>
              <a:custGeom>
                <a:avLst/>
                <a:gdLst>
                  <a:gd name="T0" fmla="*/ 8 w 12"/>
                  <a:gd name="T1" fmla="*/ 5 h 15"/>
                  <a:gd name="T2" fmla="*/ 12 w 12"/>
                  <a:gd name="T3" fmla="*/ 0 h 15"/>
                  <a:gd name="T4" fmla="*/ 8 w 12"/>
                  <a:gd name="T5" fmla="*/ 5 h 15"/>
                  <a:gd name="T6" fmla="*/ 4 w 12"/>
                  <a:gd name="T7" fmla="*/ 11 h 15"/>
                  <a:gd name="T8" fmla="*/ 0 w 12"/>
                  <a:gd name="T9" fmla="*/ 15 h 15"/>
                  <a:gd name="T10" fmla="*/ 4 w 12"/>
                  <a:gd name="T11" fmla="*/ 11 h 15"/>
                  <a:gd name="T12" fmla="*/ 8 w 12"/>
                  <a:gd name="T13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5">
                    <a:moveTo>
                      <a:pt x="8" y="5"/>
                    </a:moveTo>
                    <a:lnTo>
                      <a:pt x="12" y="0"/>
                    </a:lnTo>
                    <a:lnTo>
                      <a:pt x="8" y="5"/>
                    </a:lnTo>
                    <a:lnTo>
                      <a:pt x="4" y="11"/>
                    </a:lnTo>
                    <a:lnTo>
                      <a:pt x="0" y="15"/>
                    </a:lnTo>
                    <a:lnTo>
                      <a:pt x="4" y="11"/>
                    </a:lnTo>
                    <a:lnTo>
                      <a:pt x="8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33" name="Rectangle 346">
                <a:extLst>
                  <a:ext uri="{FF2B5EF4-FFF2-40B4-BE49-F238E27FC236}">
                    <a16:creationId xmlns:a16="http://schemas.microsoft.com/office/drawing/2014/main" id="{8C848631-187F-46E3-87BB-816B34D5E7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8" y="342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34" name="Freeform 347">
                <a:extLst>
                  <a:ext uri="{FF2B5EF4-FFF2-40B4-BE49-F238E27FC236}">
                    <a16:creationId xmlns:a16="http://schemas.microsoft.com/office/drawing/2014/main" id="{799B31E4-18A8-41F8-8555-2A8A620FD3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2895"/>
                <a:ext cx="2" cy="5"/>
              </a:xfrm>
              <a:custGeom>
                <a:avLst/>
                <a:gdLst>
                  <a:gd name="T0" fmla="*/ 0 w 2"/>
                  <a:gd name="T1" fmla="*/ 3 h 5"/>
                  <a:gd name="T2" fmla="*/ 0 w 2"/>
                  <a:gd name="T3" fmla="*/ 3 h 5"/>
                  <a:gd name="T4" fmla="*/ 0 w 2"/>
                  <a:gd name="T5" fmla="*/ 5 h 5"/>
                  <a:gd name="T6" fmla="*/ 0 w 2"/>
                  <a:gd name="T7" fmla="*/ 3 h 5"/>
                  <a:gd name="T8" fmla="*/ 0 w 2"/>
                  <a:gd name="T9" fmla="*/ 3 h 5"/>
                  <a:gd name="T10" fmla="*/ 0 w 2"/>
                  <a:gd name="T11" fmla="*/ 1 h 5"/>
                  <a:gd name="T12" fmla="*/ 2 w 2"/>
                  <a:gd name="T13" fmla="*/ 0 h 5"/>
                  <a:gd name="T14" fmla="*/ 0 w 2"/>
                  <a:gd name="T15" fmla="*/ 1 h 5"/>
                  <a:gd name="T16" fmla="*/ 0 w 2"/>
                  <a:gd name="T17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5">
                    <a:moveTo>
                      <a:pt x="0" y="3"/>
                    </a:moveTo>
                    <a:lnTo>
                      <a:pt x="0" y="3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35" name="Freeform 348">
                <a:extLst>
                  <a:ext uri="{FF2B5EF4-FFF2-40B4-BE49-F238E27FC236}">
                    <a16:creationId xmlns:a16="http://schemas.microsoft.com/office/drawing/2014/main" id="{01E75C38-37DC-41EC-B007-C35F6B20F7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8" y="3412"/>
                <a:ext cx="6" cy="2"/>
              </a:xfrm>
              <a:custGeom>
                <a:avLst/>
                <a:gdLst>
                  <a:gd name="T0" fmla="*/ 4 w 6"/>
                  <a:gd name="T1" fmla="*/ 0 h 2"/>
                  <a:gd name="T2" fmla="*/ 6 w 6"/>
                  <a:gd name="T3" fmla="*/ 0 h 2"/>
                  <a:gd name="T4" fmla="*/ 4 w 6"/>
                  <a:gd name="T5" fmla="*/ 0 h 2"/>
                  <a:gd name="T6" fmla="*/ 2 w 6"/>
                  <a:gd name="T7" fmla="*/ 2 h 2"/>
                  <a:gd name="T8" fmla="*/ 0 w 6"/>
                  <a:gd name="T9" fmla="*/ 2 h 2"/>
                  <a:gd name="T10" fmla="*/ 2 w 6"/>
                  <a:gd name="T11" fmla="*/ 2 h 2"/>
                  <a:gd name="T12" fmla="*/ 4 w 6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4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36" name="Freeform 349">
                <a:extLst>
                  <a:ext uri="{FF2B5EF4-FFF2-40B4-BE49-F238E27FC236}">
                    <a16:creationId xmlns:a16="http://schemas.microsoft.com/office/drawing/2014/main" id="{E7DD8CA2-0BA2-41DC-93D9-27458A0E67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8" y="2908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2 w 6"/>
                  <a:gd name="T3" fmla="*/ 4 h 6"/>
                  <a:gd name="T4" fmla="*/ 6 w 6"/>
                  <a:gd name="T5" fmla="*/ 0 h 6"/>
                  <a:gd name="T6" fmla="*/ 6 w 6"/>
                  <a:gd name="T7" fmla="*/ 0 h 6"/>
                  <a:gd name="T8" fmla="*/ 2 w 6"/>
                  <a:gd name="T9" fmla="*/ 4 h 6"/>
                  <a:gd name="T10" fmla="*/ 0 w 6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2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37" name="Freeform 350">
                <a:extLst>
                  <a:ext uri="{FF2B5EF4-FFF2-40B4-BE49-F238E27FC236}">
                    <a16:creationId xmlns:a16="http://schemas.microsoft.com/office/drawing/2014/main" id="{B8C8010E-9194-48D3-81EF-8389D8605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1" y="2869"/>
                <a:ext cx="17" cy="10"/>
              </a:xfrm>
              <a:custGeom>
                <a:avLst/>
                <a:gdLst>
                  <a:gd name="T0" fmla="*/ 1 w 17"/>
                  <a:gd name="T1" fmla="*/ 6 h 10"/>
                  <a:gd name="T2" fmla="*/ 3 w 17"/>
                  <a:gd name="T3" fmla="*/ 4 h 10"/>
                  <a:gd name="T4" fmla="*/ 5 w 17"/>
                  <a:gd name="T5" fmla="*/ 0 h 10"/>
                  <a:gd name="T6" fmla="*/ 7 w 17"/>
                  <a:gd name="T7" fmla="*/ 0 h 10"/>
                  <a:gd name="T8" fmla="*/ 13 w 17"/>
                  <a:gd name="T9" fmla="*/ 0 h 10"/>
                  <a:gd name="T10" fmla="*/ 17 w 17"/>
                  <a:gd name="T11" fmla="*/ 2 h 10"/>
                  <a:gd name="T12" fmla="*/ 13 w 17"/>
                  <a:gd name="T13" fmla="*/ 0 h 10"/>
                  <a:gd name="T14" fmla="*/ 7 w 17"/>
                  <a:gd name="T15" fmla="*/ 0 h 10"/>
                  <a:gd name="T16" fmla="*/ 5 w 17"/>
                  <a:gd name="T17" fmla="*/ 0 h 10"/>
                  <a:gd name="T18" fmla="*/ 3 w 17"/>
                  <a:gd name="T19" fmla="*/ 4 h 10"/>
                  <a:gd name="T20" fmla="*/ 1 w 17"/>
                  <a:gd name="T21" fmla="*/ 6 h 10"/>
                  <a:gd name="T22" fmla="*/ 0 w 17"/>
                  <a:gd name="T23" fmla="*/ 10 h 10"/>
                  <a:gd name="T24" fmla="*/ 0 w 17"/>
                  <a:gd name="T25" fmla="*/ 10 h 10"/>
                  <a:gd name="T26" fmla="*/ 0 w 17"/>
                  <a:gd name="T27" fmla="*/ 10 h 10"/>
                  <a:gd name="T28" fmla="*/ 1 w 17"/>
                  <a:gd name="T2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10">
                    <a:moveTo>
                      <a:pt x="1" y="6"/>
                    </a:moveTo>
                    <a:lnTo>
                      <a:pt x="3" y="4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7" y="2"/>
                    </a:lnTo>
                    <a:lnTo>
                      <a:pt x="13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3" y="4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1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38" name="Freeform 351">
                <a:extLst>
                  <a:ext uri="{FF2B5EF4-FFF2-40B4-BE49-F238E27FC236}">
                    <a16:creationId xmlns:a16="http://schemas.microsoft.com/office/drawing/2014/main" id="{F72A037F-63DD-431D-9A50-6FB7E83550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2" y="3416"/>
                <a:ext cx="4" cy="8"/>
              </a:xfrm>
              <a:custGeom>
                <a:avLst/>
                <a:gdLst>
                  <a:gd name="T0" fmla="*/ 2 w 4"/>
                  <a:gd name="T1" fmla="*/ 2 h 8"/>
                  <a:gd name="T2" fmla="*/ 4 w 4"/>
                  <a:gd name="T3" fmla="*/ 0 h 8"/>
                  <a:gd name="T4" fmla="*/ 2 w 4"/>
                  <a:gd name="T5" fmla="*/ 2 h 8"/>
                  <a:gd name="T6" fmla="*/ 2 w 4"/>
                  <a:gd name="T7" fmla="*/ 4 h 8"/>
                  <a:gd name="T8" fmla="*/ 0 w 4"/>
                  <a:gd name="T9" fmla="*/ 8 h 8"/>
                  <a:gd name="T10" fmla="*/ 2 w 4"/>
                  <a:gd name="T11" fmla="*/ 4 h 8"/>
                  <a:gd name="T12" fmla="*/ 2 w 4"/>
                  <a:gd name="T1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2" y="2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39" name="Rectangle 352">
                <a:extLst>
                  <a:ext uri="{FF2B5EF4-FFF2-40B4-BE49-F238E27FC236}">
                    <a16:creationId xmlns:a16="http://schemas.microsoft.com/office/drawing/2014/main" id="{D6A91699-3660-482D-920E-6EA94E0295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05" y="350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40" name="Freeform 353">
                <a:extLst>
                  <a:ext uri="{FF2B5EF4-FFF2-40B4-BE49-F238E27FC236}">
                    <a16:creationId xmlns:a16="http://schemas.microsoft.com/office/drawing/2014/main" id="{1097B5AD-B42A-4A45-A4C2-C5113E92B7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9" y="2982"/>
                <a:ext cx="8" cy="4"/>
              </a:xfrm>
              <a:custGeom>
                <a:avLst/>
                <a:gdLst>
                  <a:gd name="T0" fmla="*/ 2 w 8"/>
                  <a:gd name="T1" fmla="*/ 0 h 4"/>
                  <a:gd name="T2" fmla="*/ 4 w 8"/>
                  <a:gd name="T3" fmla="*/ 0 h 4"/>
                  <a:gd name="T4" fmla="*/ 4 w 8"/>
                  <a:gd name="T5" fmla="*/ 2 h 4"/>
                  <a:gd name="T6" fmla="*/ 6 w 8"/>
                  <a:gd name="T7" fmla="*/ 4 h 4"/>
                  <a:gd name="T8" fmla="*/ 8 w 8"/>
                  <a:gd name="T9" fmla="*/ 4 h 4"/>
                  <a:gd name="T10" fmla="*/ 6 w 8"/>
                  <a:gd name="T11" fmla="*/ 4 h 4"/>
                  <a:gd name="T12" fmla="*/ 4 w 8"/>
                  <a:gd name="T13" fmla="*/ 2 h 4"/>
                  <a:gd name="T14" fmla="*/ 4 w 8"/>
                  <a:gd name="T15" fmla="*/ 0 h 4"/>
                  <a:gd name="T16" fmla="*/ 2 w 8"/>
                  <a:gd name="T17" fmla="*/ 0 h 4"/>
                  <a:gd name="T18" fmla="*/ 0 w 8"/>
                  <a:gd name="T19" fmla="*/ 0 h 4"/>
                  <a:gd name="T20" fmla="*/ 0 w 8"/>
                  <a:gd name="T21" fmla="*/ 0 h 4"/>
                  <a:gd name="T22" fmla="*/ 0 w 8"/>
                  <a:gd name="T23" fmla="*/ 0 h 4"/>
                  <a:gd name="T24" fmla="*/ 2 w 8"/>
                  <a:gd name="T2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4">
                    <a:moveTo>
                      <a:pt x="2" y="0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41" name="Freeform 354">
                <a:extLst>
                  <a:ext uri="{FF2B5EF4-FFF2-40B4-BE49-F238E27FC236}">
                    <a16:creationId xmlns:a16="http://schemas.microsoft.com/office/drawing/2014/main" id="{8AADFB99-2D86-4A25-B51B-FF666D7E3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8" y="3502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2 h 4"/>
                  <a:gd name="T4" fmla="*/ 0 w 2"/>
                  <a:gd name="T5" fmla="*/ 0 h 4"/>
                  <a:gd name="T6" fmla="*/ 2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42" name="Rectangle 355">
                <a:extLst>
                  <a:ext uri="{FF2B5EF4-FFF2-40B4-BE49-F238E27FC236}">
                    <a16:creationId xmlns:a16="http://schemas.microsoft.com/office/drawing/2014/main" id="{62504AAB-1693-4D5D-9F10-DD879DD546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7" y="298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43" name="Freeform 356">
                <a:extLst>
                  <a:ext uri="{FF2B5EF4-FFF2-40B4-BE49-F238E27FC236}">
                    <a16:creationId xmlns:a16="http://schemas.microsoft.com/office/drawing/2014/main" id="{C67B1BF7-DFF2-423D-96DA-D8A545D1F4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0" y="3512"/>
                <a:ext cx="20" cy="7"/>
              </a:xfrm>
              <a:custGeom>
                <a:avLst/>
                <a:gdLst>
                  <a:gd name="T0" fmla="*/ 10 w 20"/>
                  <a:gd name="T1" fmla="*/ 5 h 7"/>
                  <a:gd name="T2" fmla="*/ 12 w 20"/>
                  <a:gd name="T3" fmla="*/ 7 h 7"/>
                  <a:gd name="T4" fmla="*/ 16 w 20"/>
                  <a:gd name="T5" fmla="*/ 5 h 7"/>
                  <a:gd name="T6" fmla="*/ 20 w 20"/>
                  <a:gd name="T7" fmla="*/ 3 h 7"/>
                  <a:gd name="T8" fmla="*/ 16 w 20"/>
                  <a:gd name="T9" fmla="*/ 5 h 7"/>
                  <a:gd name="T10" fmla="*/ 12 w 20"/>
                  <a:gd name="T11" fmla="*/ 7 h 7"/>
                  <a:gd name="T12" fmla="*/ 10 w 20"/>
                  <a:gd name="T13" fmla="*/ 5 h 7"/>
                  <a:gd name="T14" fmla="*/ 2 w 20"/>
                  <a:gd name="T15" fmla="*/ 0 h 7"/>
                  <a:gd name="T16" fmla="*/ 0 w 20"/>
                  <a:gd name="T17" fmla="*/ 0 h 7"/>
                  <a:gd name="T18" fmla="*/ 2 w 20"/>
                  <a:gd name="T19" fmla="*/ 0 h 7"/>
                  <a:gd name="T20" fmla="*/ 10 w 20"/>
                  <a:gd name="T21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7">
                    <a:moveTo>
                      <a:pt x="10" y="5"/>
                    </a:moveTo>
                    <a:lnTo>
                      <a:pt x="12" y="7"/>
                    </a:lnTo>
                    <a:lnTo>
                      <a:pt x="16" y="5"/>
                    </a:lnTo>
                    <a:lnTo>
                      <a:pt x="20" y="3"/>
                    </a:lnTo>
                    <a:lnTo>
                      <a:pt x="16" y="5"/>
                    </a:lnTo>
                    <a:lnTo>
                      <a:pt x="12" y="7"/>
                    </a:lnTo>
                    <a:lnTo>
                      <a:pt x="10" y="5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10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44" name="Freeform 357">
                <a:extLst>
                  <a:ext uri="{FF2B5EF4-FFF2-40B4-BE49-F238E27FC236}">
                    <a16:creationId xmlns:a16="http://schemas.microsoft.com/office/drawing/2014/main" id="{20F9D772-2EBA-44D9-9F5A-BC38BB7B2A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4" y="2992"/>
                <a:ext cx="4" cy="0"/>
              </a:xfrm>
              <a:custGeom>
                <a:avLst/>
                <a:gdLst>
                  <a:gd name="T0" fmla="*/ 2 w 4"/>
                  <a:gd name="T1" fmla="*/ 4 w 4"/>
                  <a:gd name="T2" fmla="*/ 2 w 4"/>
                  <a:gd name="T3" fmla="*/ 0 w 4"/>
                  <a:gd name="T4" fmla="*/ 0 w 4"/>
                  <a:gd name="T5" fmla="*/ 0 w 4"/>
                  <a:gd name="T6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45" name="Freeform 358">
                <a:extLst>
                  <a:ext uri="{FF2B5EF4-FFF2-40B4-BE49-F238E27FC236}">
                    <a16:creationId xmlns:a16="http://schemas.microsoft.com/office/drawing/2014/main" id="{883A17C0-4C60-46BF-9559-6BD5DC0F13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4" y="2986"/>
                <a:ext cx="5" cy="0"/>
              </a:xfrm>
              <a:custGeom>
                <a:avLst/>
                <a:gdLst>
                  <a:gd name="T0" fmla="*/ 3 w 5"/>
                  <a:gd name="T1" fmla="*/ 5 w 5"/>
                  <a:gd name="T2" fmla="*/ 3 w 5"/>
                  <a:gd name="T3" fmla="*/ 0 w 5"/>
                  <a:gd name="T4" fmla="*/ 0 w 5"/>
                  <a:gd name="T5" fmla="*/ 0 w 5"/>
                  <a:gd name="T6" fmla="*/ 3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5">
                    <a:moveTo>
                      <a:pt x="3" y="0"/>
                    </a:moveTo>
                    <a:lnTo>
                      <a:pt x="5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46" name="Freeform 359">
                <a:extLst>
                  <a:ext uri="{FF2B5EF4-FFF2-40B4-BE49-F238E27FC236}">
                    <a16:creationId xmlns:a16="http://schemas.microsoft.com/office/drawing/2014/main" id="{B32FC4B7-F08E-4914-AA96-ABD74D3CA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0" y="3512"/>
                <a:ext cx="2" cy="1"/>
              </a:xfrm>
              <a:custGeom>
                <a:avLst/>
                <a:gdLst>
                  <a:gd name="T0" fmla="*/ 2 w 2"/>
                  <a:gd name="T1" fmla="*/ 1 h 1"/>
                  <a:gd name="T2" fmla="*/ 0 w 2"/>
                  <a:gd name="T3" fmla="*/ 1 h 1"/>
                  <a:gd name="T4" fmla="*/ 0 w 2"/>
                  <a:gd name="T5" fmla="*/ 0 h 1"/>
                  <a:gd name="T6" fmla="*/ 0 w 2"/>
                  <a:gd name="T7" fmla="*/ 1 h 1"/>
                  <a:gd name="T8" fmla="*/ 2 w 2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47" name="Freeform 360">
                <a:extLst>
                  <a:ext uri="{FF2B5EF4-FFF2-40B4-BE49-F238E27FC236}">
                    <a16:creationId xmlns:a16="http://schemas.microsoft.com/office/drawing/2014/main" id="{C02F81AD-6096-45F1-B479-3CF9345F40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0" y="3508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48" name="Freeform 361">
                <a:extLst>
                  <a:ext uri="{FF2B5EF4-FFF2-40B4-BE49-F238E27FC236}">
                    <a16:creationId xmlns:a16="http://schemas.microsoft.com/office/drawing/2014/main" id="{10BDF154-FB7C-436B-B694-9680E83DFD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7" y="2978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4 h 4"/>
                  <a:gd name="T4" fmla="*/ 2 w 2"/>
                  <a:gd name="T5" fmla="*/ 4 h 4"/>
                  <a:gd name="T6" fmla="*/ 2 w 2"/>
                  <a:gd name="T7" fmla="*/ 4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49" name="Freeform 362">
                <a:extLst>
                  <a:ext uri="{FF2B5EF4-FFF2-40B4-BE49-F238E27FC236}">
                    <a16:creationId xmlns:a16="http://schemas.microsoft.com/office/drawing/2014/main" id="{BF293E3C-3883-43B5-BD06-F477220442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" y="2930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0 h 2"/>
                  <a:gd name="T4" fmla="*/ 0 w 4"/>
                  <a:gd name="T5" fmla="*/ 2 h 2"/>
                  <a:gd name="T6" fmla="*/ 2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50" name="Freeform 363">
                <a:extLst>
                  <a:ext uri="{FF2B5EF4-FFF2-40B4-BE49-F238E27FC236}">
                    <a16:creationId xmlns:a16="http://schemas.microsoft.com/office/drawing/2014/main" id="{638442BA-DC74-4256-91BC-0644CB30CF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7" y="3496"/>
                <a:ext cx="12" cy="4"/>
              </a:xfrm>
              <a:custGeom>
                <a:avLst/>
                <a:gdLst>
                  <a:gd name="T0" fmla="*/ 12 w 12"/>
                  <a:gd name="T1" fmla="*/ 0 h 4"/>
                  <a:gd name="T2" fmla="*/ 2 w 12"/>
                  <a:gd name="T3" fmla="*/ 2 h 4"/>
                  <a:gd name="T4" fmla="*/ 0 w 12"/>
                  <a:gd name="T5" fmla="*/ 4 h 4"/>
                  <a:gd name="T6" fmla="*/ 0 w 12"/>
                  <a:gd name="T7" fmla="*/ 4 h 4"/>
                  <a:gd name="T8" fmla="*/ 2 w 12"/>
                  <a:gd name="T9" fmla="*/ 2 h 4"/>
                  <a:gd name="T10" fmla="*/ 12 w 1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4">
                    <a:moveTo>
                      <a:pt x="1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51" name="Freeform 364">
                <a:extLst>
                  <a:ext uri="{FF2B5EF4-FFF2-40B4-BE49-F238E27FC236}">
                    <a16:creationId xmlns:a16="http://schemas.microsoft.com/office/drawing/2014/main" id="{E7FE5E7F-58FE-4028-87CC-748E9C629D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" y="2939"/>
                <a:ext cx="10" cy="20"/>
              </a:xfrm>
              <a:custGeom>
                <a:avLst/>
                <a:gdLst>
                  <a:gd name="T0" fmla="*/ 6 w 10"/>
                  <a:gd name="T1" fmla="*/ 14 h 20"/>
                  <a:gd name="T2" fmla="*/ 6 w 10"/>
                  <a:gd name="T3" fmla="*/ 10 h 20"/>
                  <a:gd name="T4" fmla="*/ 4 w 10"/>
                  <a:gd name="T5" fmla="*/ 4 h 20"/>
                  <a:gd name="T6" fmla="*/ 0 w 10"/>
                  <a:gd name="T7" fmla="*/ 0 h 20"/>
                  <a:gd name="T8" fmla="*/ 4 w 10"/>
                  <a:gd name="T9" fmla="*/ 4 h 20"/>
                  <a:gd name="T10" fmla="*/ 6 w 10"/>
                  <a:gd name="T11" fmla="*/ 10 h 20"/>
                  <a:gd name="T12" fmla="*/ 6 w 10"/>
                  <a:gd name="T13" fmla="*/ 14 h 20"/>
                  <a:gd name="T14" fmla="*/ 8 w 10"/>
                  <a:gd name="T15" fmla="*/ 20 h 20"/>
                  <a:gd name="T16" fmla="*/ 10 w 10"/>
                  <a:gd name="T17" fmla="*/ 20 h 20"/>
                  <a:gd name="T18" fmla="*/ 8 w 10"/>
                  <a:gd name="T19" fmla="*/ 20 h 20"/>
                  <a:gd name="T20" fmla="*/ 6 w 10"/>
                  <a:gd name="T21" fmla="*/ 1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20">
                    <a:moveTo>
                      <a:pt x="6" y="14"/>
                    </a:moveTo>
                    <a:lnTo>
                      <a:pt x="6" y="10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6" y="10"/>
                    </a:lnTo>
                    <a:lnTo>
                      <a:pt x="6" y="14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8" y="20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52" name="Freeform 365">
                <a:extLst>
                  <a:ext uri="{FF2B5EF4-FFF2-40B4-BE49-F238E27FC236}">
                    <a16:creationId xmlns:a16="http://schemas.microsoft.com/office/drawing/2014/main" id="{4753C190-9C88-4291-B532-D7E38205FA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8" y="295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53" name="Freeform 366">
                <a:extLst>
                  <a:ext uri="{FF2B5EF4-FFF2-40B4-BE49-F238E27FC236}">
                    <a16:creationId xmlns:a16="http://schemas.microsoft.com/office/drawing/2014/main" id="{2F13978F-1EEC-4B1B-8F92-70976D410E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" y="3494"/>
                <a:ext cx="6" cy="4"/>
              </a:xfrm>
              <a:custGeom>
                <a:avLst/>
                <a:gdLst>
                  <a:gd name="T0" fmla="*/ 2 w 6"/>
                  <a:gd name="T1" fmla="*/ 0 h 4"/>
                  <a:gd name="T2" fmla="*/ 4 w 6"/>
                  <a:gd name="T3" fmla="*/ 2 h 4"/>
                  <a:gd name="T4" fmla="*/ 6 w 6"/>
                  <a:gd name="T5" fmla="*/ 4 h 4"/>
                  <a:gd name="T6" fmla="*/ 4 w 6"/>
                  <a:gd name="T7" fmla="*/ 2 h 4"/>
                  <a:gd name="T8" fmla="*/ 2 w 6"/>
                  <a:gd name="T9" fmla="*/ 0 h 4"/>
                  <a:gd name="T10" fmla="*/ 0 w 6"/>
                  <a:gd name="T11" fmla="*/ 0 h 4"/>
                  <a:gd name="T12" fmla="*/ 0 w 6"/>
                  <a:gd name="T13" fmla="*/ 0 h 4"/>
                  <a:gd name="T14" fmla="*/ 0 w 6"/>
                  <a:gd name="T15" fmla="*/ 0 h 4"/>
                  <a:gd name="T16" fmla="*/ 2 w 6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4">
                    <a:moveTo>
                      <a:pt x="2" y="0"/>
                    </a:moveTo>
                    <a:lnTo>
                      <a:pt x="4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54" name="Freeform 367">
                <a:extLst>
                  <a:ext uri="{FF2B5EF4-FFF2-40B4-BE49-F238E27FC236}">
                    <a16:creationId xmlns:a16="http://schemas.microsoft.com/office/drawing/2014/main" id="{8F4678BB-183C-439F-9450-5153DE6F90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5" y="3160"/>
                <a:ext cx="2" cy="4"/>
              </a:xfrm>
              <a:custGeom>
                <a:avLst/>
                <a:gdLst>
                  <a:gd name="T0" fmla="*/ 0 w 2"/>
                  <a:gd name="T1" fmla="*/ 2 h 4"/>
                  <a:gd name="T2" fmla="*/ 0 w 2"/>
                  <a:gd name="T3" fmla="*/ 0 h 4"/>
                  <a:gd name="T4" fmla="*/ 0 w 2"/>
                  <a:gd name="T5" fmla="*/ 2 h 4"/>
                  <a:gd name="T6" fmla="*/ 2 w 2"/>
                  <a:gd name="T7" fmla="*/ 4 h 4"/>
                  <a:gd name="T8" fmla="*/ 2 w 2"/>
                  <a:gd name="T9" fmla="*/ 4 h 4"/>
                  <a:gd name="T10" fmla="*/ 2 w 2"/>
                  <a:gd name="T11" fmla="*/ 4 h 4"/>
                  <a:gd name="T12" fmla="*/ 0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55" name="Freeform 368">
                <a:extLst>
                  <a:ext uri="{FF2B5EF4-FFF2-40B4-BE49-F238E27FC236}">
                    <a16:creationId xmlns:a16="http://schemas.microsoft.com/office/drawing/2014/main" id="{89C75A4B-7B19-4AD1-8801-0D47E12BF5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7" y="2988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0 h 2"/>
                  <a:gd name="T4" fmla="*/ 0 w 2"/>
                  <a:gd name="T5" fmla="*/ 0 h 2"/>
                  <a:gd name="T6" fmla="*/ 2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56" name="Freeform 369">
                <a:extLst>
                  <a:ext uri="{FF2B5EF4-FFF2-40B4-BE49-F238E27FC236}">
                    <a16:creationId xmlns:a16="http://schemas.microsoft.com/office/drawing/2014/main" id="{35761479-C0EA-47DD-890A-1288A721DC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3" y="3002"/>
                <a:ext cx="2" cy="6"/>
              </a:xfrm>
              <a:custGeom>
                <a:avLst/>
                <a:gdLst>
                  <a:gd name="T0" fmla="*/ 2 w 2"/>
                  <a:gd name="T1" fmla="*/ 6 h 6"/>
                  <a:gd name="T2" fmla="*/ 0 w 2"/>
                  <a:gd name="T3" fmla="*/ 4 h 6"/>
                  <a:gd name="T4" fmla="*/ 0 w 2"/>
                  <a:gd name="T5" fmla="*/ 0 h 6"/>
                  <a:gd name="T6" fmla="*/ 0 w 2"/>
                  <a:gd name="T7" fmla="*/ 4 h 6"/>
                  <a:gd name="T8" fmla="*/ 2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57" name="Freeform 370">
                <a:extLst>
                  <a:ext uri="{FF2B5EF4-FFF2-40B4-BE49-F238E27FC236}">
                    <a16:creationId xmlns:a16="http://schemas.microsoft.com/office/drawing/2014/main" id="{57975F62-A76F-45A0-875A-B12DE8C762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3" y="3488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2 h 2"/>
                  <a:gd name="T4" fmla="*/ 0 w 4"/>
                  <a:gd name="T5" fmla="*/ 0 h 2"/>
                  <a:gd name="T6" fmla="*/ 2 w 4"/>
                  <a:gd name="T7" fmla="*/ 2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58" name="Freeform 371">
                <a:extLst>
                  <a:ext uri="{FF2B5EF4-FFF2-40B4-BE49-F238E27FC236}">
                    <a16:creationId xmlns:a16="http://schemas.microsoft.com/office/drawing/2014/main" id="{427E84FD-125B-4A85-BEA5-CCF4E33723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3" y="3484"/>
                <a:ext cx="3" cy="2"/>
              </a:xfrm>
              <a:custGeom>
                <a:avLst/>
                <a:gdLst>
                  <a:gd name="T0" fmla="*/ 3 w 3"/>
                  <a:gd name="T1" fmla="*/ 0 h 2"/>
                  <a:gd name="T2" fmla="*/ 1 w 3"/>
                  <a:gd name="T3" fmla="*/ 0 h 2"/>
                  <a:gd name="T4" fmla="*/ 0 w 3"/>
                  <a:gd name="T5" fmla="*/ 2 h 2"/>
                  <a:gd name="T6" fmla="*/ 1 w 3"/>
                  <a:gd name="T7" fmla="*/ 0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59" name="Freeform 372">
                <a:extLst>
                  <a:ext uri="{FF2B5EF4-FFF2-40B4-BE49-F238E27FC236}">
                    <a16:creationId xmlns:a16="http://schemas.microsoft.com/office/drawing/2014/main" id="{8BB6899A-D21B-429C-A913-10E8F5D31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8" y="3484"/>
                <a:ext cx="10" cy="4"/>
              </a:xfrm>
              <a:custGeom>
                <a:avLst/>
                <a:gdLst>
                  <a:gd name="T0" fmla="*/ 4 w 10"/>
                  <a:gd name="T1" fmla="*/ 2 h 4"/>
                  <a:gd name="T2" fmla="*/ 6 w 10"/>
                  <a:gd name="T3" fmla="*/ 4 h 4"/>
                  <a:gd name="T4" fmla="*/ 10 w 10"/>
                  <a:gd name="T5" fmla="*/ 2 h 4"/>
                  <a:gd name="T6" fmla="*/ 10 w 10"/>
                  <a:gd name="T7" fmla="*/ 2 h 4"/>
                  <a:gd name="T8" fmla="*/ 6 w 10"/>
                  <a:gd name="T9" fmla="*/ 4 h 4"/>
                  <a:gd name="T10" fmla="*/ 4 w 10"/>
                  <a:gd name="T11" fmla="*/ 2 h 4"/>
                  <a:gd name="T12" fmla="*/ 2 w 10"/>
                  <a:gd name="T13" fmla="*/ 0 h 4"/>
                  <a:gd name="T14" fmla="*/ 0 w 10"/>
                  <a:gd name="T15" fmla="*/ 0 h 4"/>
                  <a:gd name="T16" fmla="*/ 2 w 10"/>
                  <a:gd name="T17" fmla="*/ 0 h 4"/>
                  <a:gd name="T18" fmla="*/ 4 w 10"/>
                  <a:gd name="T1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4">
                    <a:moveTo>
                      <a:pt x="4" y="2"/>
                    </a:moveTo>
                    <a:lnTo>
                      <a:pt x="6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60" name="Freeform 373">
                <a:extLst>
                  <a:ext uri="{FF2B5EF4-FFF2-40B4-BE49-F238E27FC236}">
                    <a16:creationId xmlns:a16="http://schemas.microsoft.com/office/drawing/2014/main" id="{B9271990-3D43-4B69-B8F8-88B55267AE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7" y="2973"/>
                <a:ext cx="4" cy="5"/>
              </a:xfrm>
              <a:custGeom>
                <a:avLst/>
                <a:gdLst>
                  <a:gd name="T0" fmla="*/ 4 w 4"/>
                  <a:gd name="T1" fmla="*/ 5 h 5"/>
                  <a:gd name="T2" fmla="*/ 2 w 4"/>
                  <a:gd name="T3" fmla="*/ 4 h 5"/>
                  <a:gd name="T4" fmla="*/ 0 w 4"/>
                  <a:gd name="T5" fmla="*/ 0 h 5"/>
                  <a:gd name="T6" fmla="*/ 2 w 4"/>
                  <a:gd name="T7" fmla="*/ 4 h 5"/>
                  <a:gd name="T8" fmla="*/ 4 w 4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61" name="Freeform 374">
                <a:extLst>
                  <a:ext uri="{FF2B5EF4-FFF2-40B4-BE49-F238E27FC236}">
                    <a16:creationId xmlns:a16="http://schemas.microsoft.com/office/drawing/2014/main" id="{E3DF53E7-E4A3-4DE4-B0AB-CEC2B465B6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9" y="3490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62" name="Freeform 375">
                <a:extLst>
                  <a:ext uri="{FF2B5EF4-FFF2-40B4-BE49-F238E27FC236}">
                    <a16:creationId xmlns:a16="http://schemas.microsoft.com/office/drawing/2014/main" id="{48D01C94-D9BE-4A6F-AB96-30FBC0658F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3" y="3447"/>
                <a:ext cx="10" cy="16"/>
              </a:xfrm>
              <a:custGeom>
                <a:avLst/>
                <a:gdLst>
                  <a:gd name="T0" fmla="*/ 10 w 10"/>
                  <a:gd name="T1" fmla="*/ 16 h 16"/>
                  <a:gd name="T2" fmla="*/ 6 w 10"/>
                  <a:gd name="T3" fmla="*/ 10 h 16"/>
                  <a:gd name="T4" fmla="*/ 0 w 10"/>
                  <a:gd name="T5" fmla="*/ 0 h 16"/>
                  <a:gd name="T6" fmla="*/ 6 w 10"/>
                  <a:gd name="T7" fmla="*/ 10 h 16"/>
                  <a:gd name="T8" fmla="*/ 10 w 10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6">
                    <a:moveTo>
                      <a:pt x="10" y="16"/>
                    </a:moveTo>
                    <a:lnTo>
                      <a:pt x="6" y="10"/>
                    </a:lnTo>
                    <a:lnTo>
                      <a:pt x="0" y="0"/>
                    </a:lnTo>
                    <a:lnTo>
                      <a:pt x="6" y="10"/>
                    </a:lnTo>
                    <a:lnTo>
                      <a:pt x="10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63" name="Freeform 376">
                <a:extLst>
                  <a:ext uri="{FF2B5EF4-FFF2-40B4-BE49-F238E27FC236}">
                    <a16:creationId xmlns:a16="http://schemas.microsoft.com/office/drawing/2014/main" id="{8AFC38A4-74DA-4ED9-9BCB-C1C3391AA7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3004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64" name="Freeform 377">
                <a:extLst>
                  <a:ext uri="{FF2B5EF4-FFF2-40B4-BE49-F238E27FC236}">
                    <a16:creationId xmlns:a16="http://schemas.microsoft.com/office/drawing/2014/main" id="{29325B38-6BFF-4150-89DD-964A90DCCD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6" y="3010"/>
                <a:ext cx="8" cy="8"/>
              </a:xfrm>
              <a:custGeom>
                <a:avLst/>
                <a:gdLst>
                  <a:gd name="T0" fmla="*/ 6 w 8"/>
                  <a:gd name="T1" fmla="*/ 0 h 8"/>
                  <a:gd name="T2" fmla="*/ 8 w 8"/>
                  <a:gd name="T3" fmla="*/ 0 h 8"/>
                  <a:gd name="T4" fmla="*/ 6 w 8"/>
                  <a:gd name="T5" fmla="*/ 0 h 8"/>
                  <a:gd name="T6" fmla="*/ 0 w 8"/>
                  <a:gd name="T7" fmla="*/ 8 h 8"/>
                  <a:gd name="T8" fmla="*/ 0 w 8"/>
                  <a:gd name="T9" fmla="*/ 8 h 8"/>
                  <a:gd name="T10" fmla="*/ 0 w 8"/>
                  <a:gd name="T11" fmla="*/ 8 h 8"/>
                  <a:gd name="T12" fmla="*/ 6 w 8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6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65" name="Freeform 378">
                <a:extLst>
                  <a:ext uri="{FF2B5EF4-FFF2-40B4-BE49-F238E27FC236}">
                    <a16:creationId xmlns:a16="http://schemas.microsoft.com/office/drawing/2014/main" id="{63CB6C0E-A595-425B-BF53-4F8979091A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9" y="3012"/>
                <a:ext cx="10" cy="6"/>
              </a:xfrm>
              <a:custGeom>
                <a:avLst/>
                <a:gdLst>
                  <a:gd name="T0" fmla="*/ 10 w 10"/>
                  <a:gd name="T1" fmla="*/ 6 h 6"/>
                  <a:gd name="T2" fmla="*/ 4 w 10"/>
                  <a:gd name="T3" fmla="*/ 2 h 6"/>
                  <a:gd name="T4" fmla="*/ 0 w 10"/>
                  <a:gd name="T5" fmla="*/ 0 h 6"/>
                  <a:gd name="T6" fmla="*/ 4 w 10"/>
                  <a:gd name="T7" fmla="*/ 2 h 6"/>
                  <a:gd name="T8" fmla="*/ 10 w 10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6">
                    <a:moveTo>
                      <a:pt x="10" y="6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66" name="Freeform 379">
                <a:extLst>
                  <a:ext uri="{FF2B5EF4-FFF2-40B4-BE49-F238E27FC236}">
                    <a16:creationId xmlns:a16="http://schemas.microsoft.com/office/drawing/2014/main" id="{FB8AF25F-552F-4C4F-A902-BB2ED8B9EC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0" y="2994"/>
                <a:ext cx="6" cy="6"/>
              </a:xfrm>
              <a:custGeom>
                <a:avLst/>
                <a:gdLst>
                  <a:gd name="T0" fmla="*/ 6 w 6"/>
                  <a:gd name="T1" fmla="*/ 0 h 6"/>
                  <a:gd name="T2" fmla="*/ 2 w 6"/>
                  <a:gd name="T3" fmla="*/ 2 h 6"/>
                  <a:gd name="T4" fmla="*/ 0 w 6"/>
                  <a:gd name="T5" fmla="*/ 6 h 6"/>
                  <a:gd name="T6" fmla="*/ 2 w 6"/>
                  <a:gd name="T7" fmla="*/ 2 h 6"/>
                  <a:gd name="T8" fmla="*/ 6 w 6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lnTo>
                      <a:pt x="2" y="2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67" name="Freeform 380">
                <a:extLst>
                  <a:ext uri="{FF2B5EF4-FFF2-40B4-BE49-F238E27FC236}">
                    <a16:creationId xmlns:a16="http://schemas.microsoft.com/office/drawing/2014/main" id="{CE009527-B2B4-42B1-803C-E943DBE264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1" y="351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68" name="Freeform 381">
                <a:extLst>
                  <a:ext uri="{FF2B5EF4-FFF2-40B4-BE49-F238E27FC236}">
                    <a16:creationId xmlns:a16="http://schemas.microsoft.com/office/drawing/2014/main" id="{EA3370F1-47AF-47F6-AF3A-618ED7732F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7" y="2814"/>
                <a:ext cx="15" cy="14"/>
              </a:xfrm>
              <a:custGeom>
                <a:avLst/>
                <a:gdLst>
                  <a:gd name="T0" fmla="*/ 0 w 15"/>
                  <a:gd name="T1" fmla="*/ 4 h 14"/>
                  <a:gd name="T2" fmla="*/ 0 w 15"/>
                  <a:gd name="T3" fmla="*/ 6 h 14"/>
                  <a:gd name="T4" fmla="*/ 6 w 15"/>
                  <a:gd name="T5" fmla="*/ 8 h 14"/>
                  <a:gd name="T6" fmla="*/ 8 w 15"/>
                  <a:gd name="T7" fmla="*/ 10 h 14"/>
                  <a:gd name="T8" fmla="*/ 15 w 15"/>
                  <a:gd name="T9" fmla="*/ 14 h 14"/>
                  <a:gd name="T10" fmla="*/ 8 w 15"/>
                  <a:gd name="T11" fmla="*/ 10 h 14"/>
                  <a:gd name="T12" fmla="*/ 6 w 15"/>
                  <a:gd name="T13" fmla="*/ 8 h 14"/>
                  <a:gd name="T14" fmla="*/ 0 w 15"/>
                  <a:gd name="T15" fmla="*/ 6 h 14"/>
                  <a:gd name="T16" fmla="*/ 0 w 15"/>
                  <a:gd name="T17" fmla="*/ 4 h 14"/>
                  <a:gd name="T18" fmla="*/ 0 w 15"/>
                  <a:gd name="T19" fmla="*/ 0 h 14"/>
                  <a:gd name="T20" fmla="*/ 0 w 15"/>
                  <a:gd name="T21" fmla="*/ 0 h 14"/>
                  <a:gd name="T22" fmla="*/ 0 w 15"/>
                  <a:gd name="T23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4">
                    <a:moveTo>
                      <a:pt x="0" y="4"/>
                    </a:moveTo>
                    <a:lnTo>
                      <a:pt x="0" y="6"/>
                    </a:lnTo>
                    <a:lnTo>
                      <a:pt x="6" y="8"/>
                    </a:lnTo>
                    <a:lnTo>
                      <a:pt x="8" y="10"/>
                    </a:lnTo>
                    <a:lnTo>
                      <a:pt x="15" y="14"/>
                    </a:lnTo>
                    <a:lnTo>
                      <a:pt x="8" y="10"/>
                    </a:lnTo>
                    <a:lnTo>
                      <a:pt x="6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69" name="Freeform 382">
                <a:extLst>
                  <a:ext uri="{FF2B5EF4-FFF2-40B4-BE49-F238E27FC236}">
                    <a16:creationId xmlns:a16="http://schemas.microsoft.com/office/drawing/2014/main" id="{DEF64525-098B-441F-AE80-0FAB1CA749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4" y="2865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70" name="Freeform 383">
                <a:extLst>
                  <a:ext uri="{FF2B5EF4-FFF2-40B4-BE49-F238E27FC236}">
                    <a16:creationId xmlns:a16="http://schemas.microsoft.com/office/drawing/2014/main" id="{45EEBBCD-FB42-4179-A1A0-91FE57608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805"/>
                <a:ext cx="0" cy="4"/>
              </a:xfrm>
              <a:custGeom>
                <a:avLst/>
                <a:gdLst>
                  <a:gd name="T0" fmla="*/ 0 h 4"/>
                  <a:gd name="T1" fmla="*/ 0 h 4"/>
                  <a:gd name="T2" fmla="*/ 4 h 4"/>
                  <a:gd name="T3" fmla="*/ 0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71" name="Freeform 384">
                <a:extLst>
                  <a:ext uri="{FF2B5EF4-FFF2-40B4-BE49-F238E27FC236}">
                    <a16:creationId xmlns:a16="http://schemas.microsoft.com/office/drawing/2014/main" id="{B7BC1451-F711-487D-9DE4-C07EAF44D0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8" y="3418"/>
                <a:ext cx="8" cy="12"/>
              </a:xfrm>
              <a:custGeom>
                <a:avLst/>
                <a:gdLst>
                  <a:gd name="T0" fmla="*/ 4 w 8"/>
                  <a:gd name="T1" fmla="*/ 6 h 12"/>
                  <a:gd name="T2" fmla="*/ 4 w 8"/>
                  <a:gd name="T3" fmla="*/ 2 h 12"/>
                  <a:gd name="T4" fmla="*/ 8 w 8"/>
                  <a:gd name="T5" fmla="*/ 0 h 12"/>
                  <a:gd name="T6" fmla="*/ 8 w 8"/>
                  <a:gd name="T7" fmla="*/ 0 h 12"/>
                  <a:gd name="T8" fmla="*/ 4 w 8"/>
                  <a:gd name="T9" fmla="*/ 2 h 12"/>
                  <a:gd name="T10" fmla="*/ 4 w 8"/>
                  <a:gd name="T11" fmla="*/ 6 h 12"/>
                  <a:gd name="T12" fmla="*/ 2 w 8"/>
                  <a:gd name="T13" fmla="*/ 8 h 12"/>
                  <a:gd name="T14" fmla="*/ 0 w 8"/>
                  <a:gd name="T15" fmla="*/ 12 h 12"/>
                  <a:gd name="T16" fmla="*/ 2 w 8"/>
                  <a:gd name="T17" fmla="*/ 8 h 12"/>
                  <a:gd name="T18" fmla="*/ 4 w 8"/>
                  <a:gd name="T1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12">
                    <a:moveTo>
                      <a:pt x="4" y="6"/>
                    </a:moveTo>
                    <a:lnTo>
                      <a:pt x="4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72" name="Freeform 385">
                <a:extLst>
                  <a:ext uri="{FF2B5EF4-FFF2-40B4-BE49-F238E27FC236}">
                    <a16:creationId xmlns:a16="http://schemas.microsoft.com/office/drawing/2014/main" id="{11253321-B63D-45C8-9DB4-835BD2461D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4" y="2816"/>
                <a:ext cx="15" cy="0"/>
              </a:xfrm>
              <a:custGeom>
                <a:avLst/>
                <a:gdLst>
                  <a:gd name="T0" fmla="*/ 15 w 15"/>
                  <a:gd name="T1" fmla="*/ 15 w 15"/>
                  <a:gd name="T2" fmla="*/ 0 w 15"/>
                  <a:gd name="T3" fmla="*/ 15 w 15"/>
                  <a:gd name="T4" fmla="*/ 15 w 1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5">
                    <a:moveTo>
                      <a:pt x="15" y="0"/>
                    </a:moveTo>
                    <a:lnTo>
                      <a:pt x="15" y="0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73" name="Freeform 386">
                <a:extLst>
                  <a:ext uri="{FF2B5EF4-FFF2-40B4-BE49-F238E27FC236}">
                    <a16:creationId xmlns:a16="http://schemas.microsoft.com/office/drawing/2014/main" id="{97026CFE-E0B5-4E42-B501-FC3BDE8709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" y="3369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0 w 6"/>
                  <a:gd name="T3" fmla="*/ 2 h 4"/>
                  <a:gd name="T4" fmla="*/ 0 w 6"/>
                  <a:gd name="T5" fmla="*/ 0 h 4"/>
                  <a:gd name="T6" fmla="*/ 4 w 6"/>
                  <a:gd name="T7" fmla="*/ 2 h 4"/>
                  <a:gd name="T8" fmla="*/ 6 w 6"/>
                  <a:gd name="T9" fmla="*/ 4 h 4"/>
                  <a:gd name="T10" fmla="*/ 4 w 6"/>
                  <a:gd name="T11" fmla="*/ 2 h 4"/>
                  <a:gd name="T12" fmla="*/ 0 w 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74" name="Freeform 387">
                <a:extLst>
                  <a:ext uri="{FF2B5EF4-FFF2-40B4-BE49-F238E27FC236}">
                    <a16:creationId xmlns:a16="http://schemas.microsoft.com/office/drawing/2014/main" id="{1791A50E-2028-478D-9CA0-94327C69FC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4" y="3367"/>
                <a:ext cx="10" cy="6"/>
              </a:xfrm>
              <a:custGeom>
                <a:avLst/>
                <a:gdLst>
                  <a:gd name="T0" fmla="*/ 6 w 10"/>
                  <a:gd name="T1" fmla="*/ 4 h 6"/>
                  <a:gd name="T2" fmla="*/ 0 w 10"/>
                  <a:gd name="T3" fmla="*/ 0 h 6"/>
                  <a:gd name="T4" fmla="*/ 0 w 10"/>
                  <a:gd name="T5" fmla="*/ 0 h 6"/>
                  <a:gd name="T6" fmla="*/ 6 w 10"/>
                  <a:gd name="T7" fmla="*/ 4 h 6"/>
                  <a:gd name="T8" fmla="*/ 8 w 10"/>
                  <a:gd name="T9" fmla="*/ 6 h 6"/>
                  <a:gd name="T10" fmla="*/ 10 w 10"/>
                  <a:gd name="T11" fmla="*/ 6 h 6"/>
                  <a:gd name="T12" fmla="*/ 8 w 10"/>
                  <a:gd name="T13" fmla="*/ 6 h 6"/>
                  <a:gd name="T14" fmla="*/ 6 w 10"/>
                  <a:gd name="T1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6">
                    <a:moveTo>
                      <a:pt x="6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75" name="Freeform 388">
                <a:extLst>
                  <a:ext uri="{FF2B5EF4-FFF2-40B4-BE49-F238E27FC236}">
                    <a16:creationId xmlns:a16="http://schemas.microsoft.com/office/drawing/2014/main" id="{720DCF80-A3F4-49C6-8BBC-7DF7BE6422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0" y="2816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76" name="Freeform 389">
                <a:extLst>
                  <a:ext uri="{FF2B5EF4-FFF2-40B4-BE49-F238E27FC236}">
                    <a16:creationId xmlns:a16="http://schemas.microsoft.com/office/drawing/2014/main" id="{0C8D5621-6AC7-4E63-B5D0-E28AAA4716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2" y="3392"/>
                <a:ext cx="7" cy="24"/>
              </a:xfrm>
              <a:custGeom>
                <a:avLst/>
                <a:gdLst>
                  <a:gd name="T0" fmla="*/ 5 w 7"/>
                  <a:gd name="T1" fmla="*/ 22 h 24"/>
                  <a:gd name="T2" fmla="*/ 7 w 7"/>
                  <a:gd name="T3" fmla="*/ 18 h 24"/>
                  <a:gd name="T4" fmla="*/ 5 w 7"/>
                  <a:gd name="T5" fmla="*/ 6 h 24"/>
                  <a:gd name="T6" fmla="*/ 0 w 7"/>
                  <a:gd name="T7" fmla="*/ 0 h 24"/>
                  <a:gd name="T8" fmla="*/ 0 w 7"/>
                  <a:gd name="T9" fmla="*/ 0 h 24"/>
                  <a:gd name="T10" fmla="*/ 0 w 7"/>
                  <a:gd name="T11" fmla="*/ 0 h 24"/>
                  <a:gd name="T12" fmla="*/ 5 w 7"/>
                  <a:gd name="T13" fmla="*/ 6 h 24"/>
                  <a:gd name="T14" fmla="*/ 7 w 7"/>
                  <a:gd name="T15" fmla="*/ 18 h 24"/>
                  <a:gd name="T16" fmla="*/ 5 w 7"/>
                  <a:gd name="T17" fmla="*/ 22 h 24"/>
                  <a:gd name="T18" fmla="*/ 5 w 7"/>
                  <a:gd name="T19" fmla="*/ 24 h 24"/>
                  <a:gd name="T20" fmla="*/ 5 w 7"/>
                  <a:gd name="T21" fmla="*/ 24 h 24"/>
                  <a:gd name="T22" fmla="*/ 5 w 7"/>
                  <a:gd name="T23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" h="24">
                    <a:moveTo>
                      <a:pt x="5" y="22"/>
                    </a:moveTo>
                    <a:lnTo>
                      <a:pt x="7" y="18"/>
                    </a:lnTo>
                    <a:lnTo>
                      <a:pt x="5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6"/>
                    </a:lnTo>
                    <a:lnTo>
                      <a:pt x="7" y="18"/>
                    </a:lnTo>
                    <a:lnTo>
                      <a:pt x="5" y="22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5" y="2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77" name="Freeform 390">
                <a:extLst>
                  <a:ext uri="{FF2B5EF4-FFF2-40B4-BE49-F238E27FC236}">
                    <a16:creationId xmlns:a16="http://schemas.microsoft.com/office/drawing/2014/main" id="{728C4407-A505-425B-8383-BC63741E45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0" y="3455"/>
                <a:ext cx="2" cy="6"/>
              </a:xfrm>
              <a:custGeom>
                <a:avLst/>
                <a:gdLst>
                  <a:gd name="T0" fmla="*/ 0 w 2"/>
                  <a:gd name="T1" fmla="*/ 4 h 6"/>
                  <a:gd name="T2" fmla="*/ 0 w 2"/>
                  <a:gd name="T3" fmla="*/ 2 h 6"/>
                  <a:gd name="T4" fmla="*/ 0 w 2"/>
                  <a:gd name="T5" fmla="*/ 0 h 6"/>
                  <a:gd name="T6" fmla="*/ 2 w 2"/>
                  <a:gd name="T7" fmla="*/ 0 h 6"/>
                  <a:gd name="T8" fmla="*/ 2 w 2"/>
                  <a:gd name="T9" fmla="*/ 0 h 6"/>
                  <a:gd name="T10" fmla="*/ 2 w 2"/>
                  <a:gd name="T11" fmla="*/ 0 h 6"/>
                  <a:gd name="T12" fmla="*/ 0 w 2"/>
                  <a:gd name="T13" fmla="*/ 0 h 6"/>
                  <a:gd name="T14" fmla="*/ 0 w 2"/>
                  <a:gd name="T15" fmla="*/ 2 h 6"/>
                  <a:gd name="T16" fmla="*/ 0 w 2"/>
                  <a:gd name="T17" fmla="*/ 4 h 6"/>
                  <a:gd name="T18" fmla="*/ 2 w 2"/>
                  <a:gd name="T19" fmla="*/ 6 h 6"/>
                  <a:gd name="T20" fmla="*/ 2 w 2"/>
                  <a:gd name="T21" fmla="*/ 6 h 6"/>
                  <a:gd name="T22" fmla="*/ 2 w 2"/>
                  <a:gd name="T23" fmla="*/ 6 h 6"/>
                  <a:gd name="T24" fmla="*/ 0 w 2"/>
                  <a:gd name="T2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6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78" name="Freeform 391">
                <a:extLst>
                  <a:ext uri="{FF2B5EF4-FFF2-40B4-BE49-F238E27FC236}">
                    <a16:creationId xmlns:a16="http://schemas.microsoft.com/office/drawing/2014/main" id="{DE58C64C-B1BE-49F2-BE8A-4E15D1723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803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79" name="Freeform 392">
                <a:extLst>
                  <a:ext uri="{FF2B5EF4-FFF2-40B4-BE49-F238E27FC236}">
                    <a16:creationId xmlns:a16="http://schemas.microsoft.com/office/drawing/2014/main" id="{587A15EC-7111-4ED2-B75B-DB117296A2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8" y="3463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0 w 2"/>
                  <a:gd name="T5" fmla="*/ 2 h 2"/>
                  <a:gd name="T6" fmla="*/ 2 w 2"/>
                  <a:gd name="T7" fmla="*/ 2 h 2"/>
                  <a:gd name="T8" fmla="*/ 2 w 2"/>
                  <a:gd name="T9" fmla="*/ 2 h 2"/>
                  <a:gd name="T10" fmla="*/ 0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80" name="Freeform 393">
                <a:extLst>
                  <a:ext uri="{FF2B5EF4-FFF2-40B4-BE49-F238E27FC236}">
                    <a16:creationId xmlns:a16="http://schemas.microsoft.com/office/drawing/2014/main" id="{55640AC5-3E5F-4B0C-AA58-3548EFD2B2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" y="2785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2 h 4"/>
                  <a:gd name="T4" fmla="*/ 4 w 4"/>
                  <a:gd name="T5" fmla="*/ 4 h 4"/>
                  <a:gd name="T6" fmla="*/ 4 w 4"/>
                  <a:gd name="T7" fmla="*/ 2 h 4"/>
                  <a:gd name="T8" fmla="*/ 0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4" y="2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81" name="Freeform 394">
                <a:extLst>
                  <a:ext uri="{FF2B5EF4-FFF2-40B4-BE49-F238E27FC236}">
                    <a16:creationId xmlns:a16="http://schemas.microsoft.com/office/drawing/2014/main" id="{E9B7AD5B-CA93-4497-A6CA-1E4639C8AB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" y="3435"/>
                <a:ext cx="2" cy="10"/>
              </a:xfrm>
              <a:custGeom>
                <a:avLst/>
                <a:gdLst>
                  <a:gd name="T0" fmla="*/ 2 w 2"/>
                  <a:gd name="T1" fmla="*/ 0 h 10"/>
                  <a:gd name="T2" fmla="*/ 2 w 2"/>
                  <a:gd name="T3" fmla="*/ 0 h 10"/>
                  <a:gd name="T4" fmla="*/ 2 w 2"/>
                  <a:gd name="T5" fmla="*/ 4 h 10"/>
                  <a:gd name="T6" fmla="*/ 0 w 2"/>
                  <a:gd name="T7" fmla="*/ 10 h 10"/>
                  <a:gd name="T8" fmla="*/ 2 w 2"/>
                  <a:gd name="T9" fmla="*/ 4 h 10"/>
                  <a:gd name="T10" fmla="*/ 2 w 2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10">
                    <a:moveTo>
                      <a:pt x="2" y="0"/>
                    </a:moveTo>
                    <a:lnTo>
                      <a:pt x="2" y="0"/>
                    </a:lnTo>
                    <a:lnTo>
                      <a:pt x="2" y="4"/>
                    </a:lnTo>
                    <a:lnTo>
                      <a:pt x="0" y="10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82" name="Freeform 395">
                <a:extLst>
                  <a:ext uri="{FF2B5EF4-FFF2-40B4-BE49-F238E27FC236}">
                    <a16:creationId xmlns:a16="http://schemas.microsoft.com/office/drawing/2014/main" id="{13BAB9A7-A7FF-496A-B0B1-66DDF59B92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1" y="2795"/>
                <a:ext cx="0" cy="4"/>
              </a:xfrm>
              <a:custGeom>
                <a:avLst/>
                <a:gdLst>
                  <a:gd name="T0" fmla="*/ 4 h 4"/>
                  <a:gd name="T1" fmla="*/ 0 h 4"/>
                  <a:gd name="T2" fmla="*/ 4 h 4"/>
                  <a:gd name="T3" fmla="*/ 4 h 4"/>
                  <a:gd name="T4" fmla="*/ 4 h 4"/>
                  <a:gd name="T5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83" name="Rectangle 396">
                <a:extLst>
                  <a:ext uri="{FF2B5EF4-FFF2-40B4-BE49-F238E27FC236}">
                    <a16:creationId xmlns:a16="http://schemas.microsoft.com/office/drawing/2014/main" id="{2F059093-C9E4-4285-B207-318A9D0922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7" y="280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84" name="Freeform 397">
                <a:extLst>
                  <a:ext uri="{FF2B5EF4-FFF2-40B4-BE49-F238E27FC236}">
                    <a16:creationId xmlns:a16="http://schemas.microsoft.com/office/drawing/2014/main" id="{ADBB1476-4FD1-45CB-B1B1-6E099E61C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8" y="3367"/>
                <a:ext cx="4" cy="0"/>
              </a:xfrm>
              <a:custGeom>
                <a:avLst/>
                <a:gdLst>
                  <a:gd name="T0" fmla="*/ 0 w 4"/>
                  <a:gd name="T1" fmla="*/ 2 w 4"/>
                  <a:gd name="T2" fmla="*/ 4 w 4"/>
                  <a:gd name="T3" fmla="*/ 2 w 4"/>
                  <a:gd name="T4" fmla="*/ 0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85" name="Freeform 398">
                <a:extLst>
                  <a:ext uri="{FF2B5EF4-FFF2-40B4-BE49-F238E27FC236}">
                    <a16:creationId xmlns:a16="http://schemas.microsoft.com/office/drawing/2014/main" id="{E75C746B-6C2F-4638-8463-A7A88FF47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2" y="3349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3 w 3"/>
                  <a:gd name="T3" fmla="*/ 0 h 2"/>
                  <a:gd name="T4" fmla="*/ 0 w 3"/>
                  <a:gd name="T5" fmla="*/ 2 h 2"/>
                  <a:gd name="T6" fmla="*/ 0 w 3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86" name="Freeform 399">
                <a:extLst>
                  <a:ext uri="{FF2B5EF4-FFF2-40B4-BE49-F238E27FC236}">
                    <a16:creationId xmlns:a16="http://schemas.microsoft.com/office/drawing/2014/main" id="{1998F2DC-029F-430F-84A6-386F65DF49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5" y="2772"/>
                <a:ext cx="2" cy="3"/>
              </a:xfrm>
              <a:custGeom>
                <a:avLst/>
                <a:gdLst>
                  <a:gd name="T0" fmla="*/ 2 w 2"/>
                  <a:gd name="T1" fmla="*/ 1 h 3"/>
                  <a:gd name="T2" fmla="*/ 2 w 2"/>
                  <a:gd name="T3" fmla="*/ 3 h 3"/>
                  <a:gd name="T4" fmla="*/ 2 w 2"/>
                  <a:gd name="T5" fmla="*/ 1 h 3"/>
                  <a:gd name="T6" fmla="*/ 0 w 2"/>
                  <a:gd name="T7" fmla="*/ 0 h 3"/>
                  <a:gd name="T8" fmla="*/ 0 w 2"/>
                  <a:gd name="T9" fmla="*/ 0 h 3"/>
                  <a:gd name="T10" fmla="*/ 0 w 2"/>
                  <a:gd name="T11" fmla="*/ 0 h 3"/>
                  <a:gd name="T12" fmla="*/ 2 w 2"/>
                  <a:gd name="T13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3">
                    <a:moveTo>
                      <a:pt x="2" y="1"/>
                    </a:moveTo>
                    <a:lnTo>
                      <a:pt x="2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87" name="Freeform 400">
                <a:extLst>
                  <a:ext uri="{FF2B5EF4-FFF2-40B4-BE49-F238E27FC236}">
                    <a16:creationId xmlns:a16="http://schemas.microsoft.com/office/drawing/2014/main" id="{CDFBF060-2D6F-4466-A712-8694E968F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2" y="2773"/>
                <a:ext cx="11" cy="2"/>
              </a:xfrm>
              <a:custGeom>
                <a:avLst/>
                <a:gdLst>
                  <a:gd name="T0" fmla="*/ 4 w 11"/>
                  <a:gd name="T1" fmla="*/ 0 h 2"/>
                  <a:gd name="T2" fmla="*/ 9 w 11"/>
                  <a:gd name="T3" fmla="*/ 2 h 2"/>
                  <a:gd name="T4" fmla="*/ 11 w 11"/>
                  <a:gd name="T5" fmla="*/ 0 h 2"/>
                  <a:gd name="T6" fmla="*/ 9 w 11"/>
                  <a:gd name="T7" fmla="*/ 2 h 2"/>
                  <a:gd name="T8" fmla="*/ 4 w 11"/>
                  <a:gd name="T9" fmla="*/ 0 h 2"/>
                  <a:gd name="T10" fmla="*/ 0 w 11"/>
                  <a:gd name="T11" fmla="*/ 2 h 2"/>
                  <a:gd name="T12" fmla="*/ 0 w 11"/>
                  <a:gd name="T13" fmla="*/ 2 h 2"/>
                  <a:gd name="T14" fmla="*/ 4 w 11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">
                    <a:moveTo>
                      <a:pt x="4" y="0"/>
                    </a:moveTo>
                    <a:lnTo>
                      <a:pt x="9" y="2"/>
                    </a:lnTo>
                    <a:lnTo>
                      <a:pt x="11" y="0"/>
                    </a:lnTo>
                    <a:lnTo>
                      <a:pt x="9" y="2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88" name="Freeform 401">
                <a:extLst>
                  <a:ext uri="{FF2B5EF4-FFF2-40B4-BE49-F238E27FC236}">
                    <a16:creationId xmlns:a16="http://schemas.microsoft.com/office/drawing/2014/main" id="{D992417C-06D1-49C2-945E-1860FD02A5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7" y="3361"/>
                <a:ext cx="35" cy="4"/>
              </a:xfrm>
              <a:custGeom>
                <a:avLst/>
                <a:gdLst>
                  <a:gd name="T0" fmla="*/ 6 w 35"/>
                  <a:gd name="T1" fmla="*/ 2 h 4"/>
                  <a:gd name="T2" fmla="*/ 0 w 35"/>
                  <a:gd name="T3" fmla="*/ 0 h 4"/>
                  <a:gd name="T4" fmla="*/ 6 w 35"/>
                  <a:gd name="T5" fmla="*/ 2 h 4"/>
                  <a:gd name="T6" fmla="*/ 22 w 35"/>
                  <a:gd name="T7" fmla="*/ 2 h 4"/>
                  <a:gd name="T8" fmla="*/ 35 w 35"/>
                  <a:gd name="T9" fmla="*/ 4 h 4"/>
                  <a:gd name="T10" fmla="*/ 22 w 35"/>
                  <a:gd name="T11" fmla="*/ 2 h 4"/>
                  <a:gd name="T12" fmla="*/ 6 w 35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" h="4">
                    <a:moveTo>
                      <a:pt x="6" y="2"/>
                    </a:moveTo>
                    <a:lnTo>
                      <a:pt x="0" y="0"/>
                    </a:lnTo>
                    <a:lnTo>
                      <a:pt x="6" y="2"/>
                    </a:lnTo>
                    <a:lnTo>
                      <a:pt x="22" y="2"/>
                    </a:lnTo>
                    <a:lnTo>
                      <a:pt x="35" y="4"/>
                    </a:lnTo>
                    <a:lnTo>
                      <a:pt x="22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89" name="Freeform 402">
                <a:extLst>
                  <a:ext uri="{FF2B5EF4-FFF2-40B4-BE49-F238E27FC236}">
                    <a16:creationId xmlns:a16="http://schemas.microsoft.com/office/drawing/2014/main" id="{15294EE8-B418-44FC-8965-AE20A0349F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2" y="3367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90" name="Freeform 403">
                <a:extLst>
                  <a:ext uri="{FF2B5EF4-FFF2-40B4-BE49-F238E27FC236}">
                    <a16:creationId xmlns:a16="http://schemas.microsoft.com/office/drawing/2014/main" id="{51C1A70C-2DBD-4A06-B948-9464BEEAF7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" y="2770"/>
                <a:ext cx="14" cy="5"/>
              </a:xfrm>
              <a:custGeom>
                <a:avLst/>
                <a:gdLst>
                  <a:gd name="T0" fmla="*/ 10 w 14"/>
                  <a:gd name="T1" fmla="*/ 2 h 5"/>
                  <a:gd name="T2" fmla="*/ 12 w 14"/>
                  <a:gd name="T3" fmla="*/ 2 h 5"/>
                  <a:gd name="T4" fmla="*/ 12 w 14"/>
                  <a:gd name="T5" fmla="*/ 3 h 5"/>
                  <a:gd name="T6" fmla="*/ 14 w 14"/>
                  <a:gd name="T7" fmla="*/ 5 h 5"/>
                  <a:gd name="T8" fmla="*/ 14 w 14"/>
                  <a:gd name="T9" fmla="*/ 5 h 5"/>
                  <a:gd name="T10" fmla="*/ 14 w 14"/>
                  <a:gd name="T11" fmla="*/ 5 h 5"/>
                  <a:gd name="T12" fmla="*/ 12 w 14"/>
                  <a:gd name="T13" fmla="*/ 3 h 5"/>
                  <a:gd name="T14" fmla="*/ 12 w 14"/>
                  <a:gd name="T15" fmla="*/ 2 h 5"/>
                  <a:gd name="T16" fmla="*/ 10 w 14"/>
                  <a:gd name="T17" fmla="*/ 2 h 5"/>
                  <a:gd name="T18" fmla="*/ 4 w 14"/>
                  <a:gd name="T19" fmla="*/ 0 h 5"/>
                  <a:gd name="T20" fmla="*/ 0 w 14"/>
                  <a:gd name="T21" fmla="*/ 0 h 5"/>
                  <a:gd name="T22" fmla="*/ 4 w 14"/>
                  <a:gd name="T23" fmla="*/ 0 h 5"/>
                  <a:gd name="T24" fmla="*/ 10 w 14"/>
                  <a:gd name="T2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5">
                    <a:moveTo>
                      <a:pt x="10" y="2"/>
                    </a:moveTo>
                    <a:lnTo>
                      <a:pt x="12" y="2"/>
                    </a:lnTo>
                    <a:lnTo>
                      <a:pt x="12" y="3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2" y="3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91" name="Freeform 404">
                <a:extLst>
                  <a:ext uri="{FF2B5EF4-FFF2-40B4-BE49-F238E27FC236}">
                    <a16:creationId xmlns:a16="http://schemas.microsoft.com/office/drawing/2014/main" id="{2C5F1642-5084-48B7-86CC-9C33046CC5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7" y="3349"/>
                <a:ext cx="20" cy="8"/>
              </a:xfrm>
              <a:custGeom>
                <a:avLst/>
                <a:gdLst>
                  <a:gd name="T0" fmla="*/ 16 w 20"/>
                  <a:gd name="T1" fmla="*/ 4 h 8"/>
                  <a:gd name="T2" fmla="*/ 14 w 20"/>
                  <a:gd name="T3" fmla="*/ 4 h 8"/>
                  <a:gd name="T4" fmla="*/ 4 w 20"/>
                  <a:gd name="T5" fmla="*/ 2 h 8"/>
                  <a:gd name="T6" fmla="*/ 0 w 20"/>
                  <a:gd name="T7" fmla="*/ 0 h 8"/>
                  <a:gd name="T8" fmla="*/ 0 w 20"/>
                  <a:gd name="T9" fmla="*/ 0 h 8"/>
                  <a:gd name="T10" fmla="*/ 0 w 20"/>
                  <a:gd name="T11" fmla="*/ 0 h 8"/>
                  <a:gd name="T12" fmla="*/ 4 w 20"/>
                  <a:gd name="T13" fmla="*/ 2 h 8"/>
                  <a:gd name="T14" fmla="*/ 14 w 20"/>
                  <a:gd name="T15" fmla="*/ 4 h 8"/>
                  <a:gd name="T16" fmla="*/ 16 w 20"/>
                  <a:gd name="T17" fmla="*/ 4 h 8"/>
                  <a:gd name="T18" fmla="*/ 20 w 20"/>
                  <a:gd name="T19" fmla="*/ 6 h 8"/>
                  <a:gd name="T20" fmla="*/ 20 w 20"/>
                  <a:gd name="T21" fmla="*/ 8 h 8"/>
                  <a:gd name="T22" fmla="*/ 20 w 20"/>
                  <a:gd name="T23" fmla="*/ 6 h 8"/>
                  <a:gd name="T24" fmla="*/ 16 w 20"/>
                  <a:gd name="T25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8">
                    <a:moveTo>
                      <a:pt x="16" y="4"/>
                    </a:moveTo>
                    <a:lnTo>
                      <a:pt x="14" y="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20" y="6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1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92" name="Freeform 405">
                <a:extLst>
                  <a:ext uri="{FF2B5EF4-FFF2-40B4-BE49-F238E27FC236}">
                    <a16:creationId xmlns:a16="http://schemas.microsoft.com/office/drawing/2014/main" id="{D9C84D37-7C0F-4D52-BC41-229E63B430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" y="2781"/>
                <a:ext cx="0" cy="4"/>
              </a:xfrm>
              <a:custGeom>
                <a:avLst/>
                <a:gdLst>
                  <a:gd name="T0" fmla="*/ 0 h 4"/>
                  <a:gd name="T1" fmla="*/ 0 h 4"/>
                  <a:gd name="T2" fmla="*/ 4 h 4"/>
                  <a:gd name="T3" fmla="*/ 4 h 4"/>
                  <a:gd name="T4" fmla="*/ 0 h 4"/>
                  <a:gd name="T5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</p:grpSp>
        <p:grpSp>
          <p:nvGrpSpPr>
            <p:cNvPr id="529" name="Group 607">
              <a:extLst>
                <a:ext uri="{FF2B5EF4-FFF2-40B4-BE49-F238E27FC236}">
                  <a16:creationId xmlns:a16="http://schemas.microsoft.com/office/drawing/2014/main" id="{BEB96652-811A-4800-8CC2-8E65750BA1A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729" y="1108952"/>
              <a:ext cx="6026158" cy="4918036"/>
              <a:chOff x="10" y="702"/>
              <a:chExt cx="3796" cy="3098"/>
            </a:xfrm>
            <a:grpFill/>
          </p:grpSpPr>
          <p:sp>
            <p:nvSpPr>
              <p:cNvPr id="1293" name="Freeform 407">
                <a:extLst>
                  <a:ext uri="{FF2B5EF4-FFF2-40B4-BE49-F238E27FC236}">
                    <a16:creationId xmlns:a16="http://schemas.microsoft.com/office/drawing/2014/main" id="{E7120E56-7961-4B27-B794-A583BA0B96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2" y="2828"/>
                <a:ext cx="8" cy="2"/>
              </a:xfrm>
              <a:custGeom>
                <a:avLst/>
                <a:gdLst>
                  <a:gd name="T0" fmla="*/ 8 w 8"/>
                  <a:gd name="T1" fmla="*/ 2 h 2"/>
                  <a:gd name="T2" fmla="*/ 6 w 8"/>
                  <a:gd name="T3" fmla="*/ 2 h 2"/>
                  <a:gd name="T4" fmla="*/ 0 w 8"/>
                  <a:gd name="T5" fmla="*/ 0 h 2"/>
                  <a:gd name="T6" fmla="*/ 6 w 8"/>
                  <a:gd name="T7" fmla="*/ 2 h 2"/>
                  <a:gd name="T8" fmla="*/ 8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8" y="2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94" name="Freeform 408">
                <a:extLst>
                  <a:ext uri="{FF2B5EF4-FFF2-40B4-BE49-F238E27FC236}">
                    <a16:creationId xmlns:a16="http://schemas.microsoft.com/office/drawing/2014/main" id="{8224BD59-A0D8-4A95-A385-272B85EFD8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5" y="3367"/>
                <a:ext cx="3" cy="0"/>
              </a:xfrm>
              <a:custGeom>
                <a:avLst/>
                <a:gdLst>
                  <a:gd name="T0" fmla="*/ 0 w 3"/>
                  <a:gd name="T1" fmla="*/ 0 w 3"/>
                  <a:gd name="T2" fmla="*/ 3 w 3"/>
                  <a:gd name="T3" fmla="*/ 0 w 3"/>
                  <a:gd name="T4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95" name="Freeform 409">
                <a:extLst>
                  <a:ext uri="{FF2B5EF4-FFF2-40B4-BE49-F238E27FC236}">
                    <a16:creationId xmlns:a16="http://schemas.microsoft.com/office/drawing/2014/main" id="{B083269C-4FC0-491C-A6AA-B26CE3BF24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2785"/>
                <a:ext cx="10" cy="2"/>
              </a:xfrm>
              <a:custGeom>
                <a:avLst/>
                <a:gdLst>
                  <a:gd name="T0" fmla="*/ 2 w 10"/>
                  <a:gd name="T1" fmla="*/ 0 h 2"/>
                  <a:gd name="T2" fmla="*/ 0 w 10"/>
                  <a:gd name="T3" fmla="*/ 0 h 2"/>
                  <a:gd name="T4" fmla="*/ 2 w 10"/>
                  <a:gd name="T5" fmla="*/ 0 h 2"/>
                  <a:gd name="T6" fmla="*/ 8 w 10"/>
                  <a:gd name="T7" fmla="*/ 2 h 2"/>
                  <a:gd name="T8" fmla="*/ 10 w 10"/>
                  <a:gd name="T9" fmla="*/ 2 h 2"/>
                  <a:gd name="T10" fmla="*/ 8 w 10"/>
                  <a:gd name="T11" fmla="*/ 2 h 2"/>
                  <a:gd name="T12" fmla="*/ 2 w 10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96" name="Freeform 410">
                <a:extLst>
                  <a:ext uri="{FF2B5EF4-FFF2-40B4-BE49-F238E27FC236}">
                    <a16:creationId xmlns:a16="http://schemas.microsoft.com/office/drawing/2014/main" id="{65460F77-C176-44D1-821C-79479019AB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1" y="3348"/>
                <a:ext cx="4" cy="1"/>
              </a:xfrm>
              <a:custGeom>
                <a:avLst/>
                <a:gdLst>
                  <a:gd name="T0" fmla="*/ 0 w 4"/>
                  <a:gd name="T1" fmla="*/ 1 h 1"/>
                  <a:gd name="T2" fmla="*/ 4 w 4"/>
                  <a:gd name="T3" fmla="*/ 0 h 1"/>
                  <a:gd name="T4" fmla="*/ 4 w 4"/>
                  <a:gd name="T5" fmla="*/ 0 h 1"/>
                  <a:gd name="T6" fmla="*/ 4 w 4"/>
                  <a:gd name="T7" fmla="*/ 0 h 1"/>
                  <a:gd name="T8" fmla="*/ 0 w 4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">
                    <a:moveTo>
                      <a:pt x="0" y="1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97" name="Freeform 411">
                <a:extLst>
                  <a:ext uri="{FF2B5EF4-FFF2-40B4-BE49-F238E27FC236}">
                    <a16:creationId xmlns:a16="http://schemas.microsoft.com/office/drawing/2014/main" id="{DFA8BE18-0037-4A2F-B1ED-6A4311CCB1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7" y="2803"/>
                <a:ext cx="4" cy="10"/>
              </a:xfrm>
              <a:custGeom>
                <a:avLst/>
                <a:gdLst>
                  <a:gd name="T0" fmla="*/ 4 w 4"/>
                  <a:gd name="T1" fmla="*/ 4 h 10"/>
                  <a:gd name="T2" fmla="*/ 0 w 4"/>
                  <a:gd name="T3" fmla="*/ 10 h 10"/>
                  <a:gd name="T4" fmla="*/ 4 w 4"/>
                  <a:gd name="T5" fmla="*/ 4 h 10"/>
                  <a:gd name="T6" fmla="*/ 4 w 4"/>
                  <a:gd name="T7" fmla="*/ 2 h 10"/>
                  <a:gd name="T8" fmla="*/ 4 w 4"/>
                  <a:gd name="T9" fmla="*/ 0 h 10"/>
                  <a:gd name="T10" fmla="*/ 4 w 4"/>
                  <a:gd name="T11" fmla="*/ 2 h 10"/>
                  <a:gd name="T12" fmla="*/ 4 w 4"/>
                  <a:gd name="T13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0">
                    <a:moveTo>
                      <a:pt x="4" y="4"/>
                    </a:moveTo>
                    <a:lnTo>
                      <a:pt x="0" y="10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98" name="Freeform 412">
                <a:extLst>
                  <a:ext uri="{FF2B5EF4-FFF2-40B4-BE49-F238E27FC236}">
                    <a16:creationId xmlns:a16="http://schemas.microsoft.com/office/drawing/2014/main" id="{FA6ED2E9-9B33-431F-9945-BD2AAC489E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4" y="282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2 h 2"/>
                  <a:gd name="T4" fmla="*/ 0 w 2"/>
                  <a:gd name="T5" fmla="*/ 2 h 2"/>
                  <a:gd name="T6" fmla="*/ 2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99" name="Freeform 413">
                <a:extLst>
                  <a:ext uri="{FF2B5EF4-FFF2-40B4-BE49-F238E27FC236}">
                    <a16:creationId xmlns:a16="http://schemas.microsoft.com/office/drawing/2014/main" id="{9F3CD8E6-2976-4A1D-82C1-A69DF01638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9" y="3416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0 w 4"/>
                  <a:gd name="T3" fmla="*/ 2 h 2"/>
                  <a:gd name="T4" fmla="*/ 0 w 4"/>
                  <a:gd name="T5" fmla="*/ 2 h 2"/>
                  <a:gd name="T6" fmla="*/ 4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00" name="Freeform 414">
                <a:extLst>
                  <a:ext uri="{FF2B5EF4-FFF2-40B4-BE49-F238E27FC236}">
                    <a16:creationId xmlns:a16="http://schemas.microsoft.com/office/drawing/2014/main" id="{2938F48D-432D-4895-B37C-2C0E199D85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0" y="3467"/>
                <a:ext cx="2" cy="5"/>
              </a:xfrm>
              <a:custGeom>
                <a:avLst/>
                <a:gdLst>
                  <a:gd name="T0" fmla="*/ 0 w 2"/>
                  <a:gd name="T1" fmla="*/ 4 h 5"/>
                  <a:gd name="T2" fmla="*/ 0 w 2"/>
                  <a:gd name="T3" fmla="*/ 4 h 5"/>
                  <a:gd name="T4" fmla="*/ 0 w 2"/>
                  <a:gd name="T5" fmla="*/ 2 h 5"/>
                  <a:gd name="T6" fmla="*/ 2 w 2"/>
                  <a:gd name="T7" fmla="*/ 2 h 5"/>
                  <a:gd name="T8" fmla="*/ 0 w 2"/>
                  <a:gd name="T9" fmla="*/ 0 h 5"/>
                  <a:gd name="T10" fmla="*/ 2 w 2"/>
                  <a:gd name="T11" fmla="*/ 2 h 5"/>
                  <a:gd name="T12" fmla="*/ 0 w 2"/>
                  <a:gd name="T13" fmla="*/ 2 h 5"/>
                  <a:gd name="T14" fmla="*/ 0 w 2"/>
                  <a:gd name="T15" fmla="*/ 4 h 5"/>
                  <a:gd name="T16" fmla="*/ 0 w 2"/>
                  <a:gd name="T17" fmla="*/ 4 h 5"/>
                  <a:gd name="T18" fmla="*/ 0 w 2"/>
                  <a:gd name="T19" fmla="*/ 5 h 5"/>
                  <a:gd name="T20" fmla="*/ 0 w 2"/>
                  <a:gd name="T21" fmla="*/ 5 h 5"/>
                  <a:gd name="T22" fmla="*/ 0 w 2"/>
                  <a:gd name="T23" fmla="*/ 5 h 5"/>
                  <a:gd name="T24" fmla="*/ 0 w 2"/>
                  <a:gd name="T2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5">
                    <a:moveTo>
                      <a:pt x="0" y="4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01" name="Rectangle 415">
                <a:extLst>
                  <a:ext uri="{FF2B5EF4-FFF2-40B4-BE49-F238E27FC236}">
                    <a16:creationId xmlns:a16="http://schemas.microsoft.com/office/drawing/2014/main" id="{6BAF3DA3-64C7-45C7-8FD5-341668E2E3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24" y="284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02" name="Freeform 416">
                <a:extLst>
                  <a:ext uri="{FF2B5EF4-FFF2-40B4-BE49-F238E27FC236}">
                    <a16:creationId xmlns:a16="http://schemas.microsoft.com/office/drawing/2014/main" id="{EF293AAD-3C77-461E-883D-74720435E0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2" y="2820"/>
                <a:ext cx="6" cy="4"/>
              </a:xfrm>
              <a:custGeom>
                <a:avLst/>
                <a:gdLst>
                  <a:gd name="T0" fmla="*/ 4 w 6"/>
                  <a:gd name="T1" fmla="*/ 2 h 4"/>
                  <a:gd name="T2" fmla="*/ 6 w 6"/>
                  <a:gd name="T3" fmla="*/ 4 h 4"/>
                  <a:gd name="T4" fmla="*/ 4 w 6"/>
                  <a:gd name="T5" fmla="*/ 2 h 4"/>
                  <a:gd name="T6" fmla="*/ 2 w 6"/>
                  <a:gd name="T7" fmla="*/ 0 h 4"/>
                  <a:gd name="T8" fmla="*/ 0 w 6"/>
                  <a:gd name="T9" fmla="*/ 0 h 4"/>
                  <a:gd name="T10" fmla="*/ 2 w 6"/>
                  <a:gd name="T11" fmla="*/ 0 h 4"/>
                  <a:gd name="T12" fmla="*/ 4 w 6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4" y="2"/>
                    </a:move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03" name="Rectangle 417">
                <a:extLst>
                  <a:ext uri="{FF2B5EF4-FFF2-40B4-BE49-F238E27FC236}">
                    <a16:creationId xmlns:a16="http://schemas.microsoft.com/office/drawing/2014/main" id="{9657FCAF-D648-471F-8D7E-58F4A49D16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3" y="348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04" name="Freeform 418">
                <a:extLst>
                  <a:ext uri="{FF2B5EF4-FFF2-40B4-BE49-F238E27FC236}">
                    <a16:creationId xmlns:a16="http://schemas.microsoft.com/office/drawing/2014/main" id="{D0AF4E65-E224-4AA7-AF56-EEF269196E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4" y="2797"/>
                <a:ext cx="2" cy="12"/>
              </a:xfrm>
              <a:custGeom>
                <a:avLst/>
                <a:gdLst>
                  <a:gd name="T0" fmla="*/ 0 w 2"/>
                  <a:gd name="T1" fmla="*/ 6 h 12"/>
                  <a:gd name="T2" fmla="*/ 0 w 2"/>
                  <a:gd name="T3" fmla="*/ 10 h 12"/>
                  <a:gd name="T4" fmla="*/ 2 w 2"/>
                  <a:gd name="T5" fmla="*/ 12 h 12"/>
                  <a:gd name="T6" fmla="*/ 0 w 2"/>
                  <a:gd name="T7" fmla="*/ 10 h 12"/>
                  <a:gd name="T8" fmla="*/ 0 w 2"/>
                  <a:gd name="T9" fmla="*/ 6 h 12"/>
                  <a:gd name="T10" fmla="*/ 2 w 2"/>
                  <a:gd name="T11" fmla="*/ 0 h 12"/>
                  <a:gd name="T12" fmla="*/ 2 w 2"/>
                  <a:gd name="T13" fmla="*/ 0 h 12"/>
                  <a:gd name="T14" fmla="*/ 2 w 2"/>
                  <a:gd name="T15" fmla="*/ 0 h 12"/>
                  <a:gd name="T16" fmla="*/ 0 w 2"/>
                  <a:gd name="T1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12">
                    <a:moveTo>
                      <a:pt x="0" y="6"/>
                    </a:moveTo>
                    <a:lnTo>
                      <a:pt x="0" y="10"/>
                    </a:lnTo>
                    <a:lnTo>
                      <a:pt x="2" y="12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05" name="Freeform 419">
                <a:extLst>
                  <a:ext uri="{FF2B5EF4-FFF2-40B4-BE49-F238E27FC236}">
                    <a16:creationId xmlns:a16="http://schemas.microsoft.com/office/drawing/2014/main" id="{D9044D44-12DB-45DA-A597-972CB34731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7" y="3508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0 w 4"/>
                  <a:gd name="T3" fmla="*/ 2 h 2"/>
                  <a:gd name="T4" fmla="*/ 4 w 4"/>
                  <a:gd name="T5" fmla="*/ 0 h 2"/>
                  <a:gd name="T6" fmla="*/ 0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0" y="2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06" name="Freeform 420">
                <a:extLst>
                  <a:ext uri="{FF2B5EF4-FFF2-40B4-BE49-F238E27FC236}">
                    <a16:creationId xmlns:a16="http://schemas.microsoft.com/office/drawing/2014/main" id="{5754B16F-AD19-4B0A-BFA2-5589F8BE46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6" y="3512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07" name="Freeform 421">
                <a:extLst>
                  <a:ext uri="{FF2B5EF4-FFF2-40B4-BE49-F238E27FC236}">
                    <a16:creationId xmlns:a16="http://schemas.microsoft.com/office/drawing/2014/main" id="{D6B6A8C9-3FDD-4037-80C4-77158D917F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8" y="3459"/>
                <a:ext cx="10" cy="4"/>
              </a:xfrm>
              <a:custGeom>
                <a:avLst/>
                <a:gdLst>
                  <a:gd name="T0" fmla="*/ 10 w 10"/>
                  <a:gd name="T1" fmla="*/ 0 h 4"/>
                  <a:gd name="T2" fmla="*/ 6 w 10"/>
                  <a:gd name="T3" fmla="*/ 2 h 4"/>
                  <a:gd name="T4" fmla="*/ 0 w 10"/>
                  <a:gd name="T5" fmla="*/ 4 h 4"/>
                  <a:gd name="T6" fmla="*/ 6 w 10"/>
                  <a:gd name="T7" fmla="*/ 2 h 4"/>
                  <a:gd name="T8" fmla="*/ 10 w 10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4">
                    <a:moveTo>
                      <a:pt x="10" y="0"/>
                    </a:moveTo>
                    <a:lnTo>
                      <a:pt x="6" y="2"/>
                    </a:lnTo>
                    <a:lnTo>
                      <a:pt x="0" y="4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08" name="Freeform 422">
                <a:extLst>
                  <a:ext uri="{FF2B5EF4-FFF2-40B4-BE49-F238E27FC236}">
                    <a16:creationId xmlns:a16="http://schemas.microsoft.com/office/drawing/2014/main" id="{5F5DC608-236A-4890-A114-147F0DBB98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4" y="2848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09" name="Freeform 423">
                <a:extLst>
                  <a:ext uri="{FF2B5EF4-FFF2-40B4-BE49-F238E27FC236}">
                    <a16:creationId xmlns:a16="http://schemas.microsoft.com/office/drawing/2014/main" id="{49C20251-F82C-454C-AF03-5B0471A155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1" y="2846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4 h 4"/>
                  <a:gd name="T4" fmla="*/ 2 w 2"/>
                  <a:gd name="T5" fmla="*/ 4 h 4"/>
                  <a:gd name="T6" fmla="*/ 0 w 2"/>
                  <a:gd name="T7" fmla="*/ 0 h 4"/>
                  <a:gd name="T8" fmla="*/ 0 w 2"/>
                  <a:gd name="T9" fmla="*/ 0 h 4"/>
                  <a:gd name="T10" fmla="*/ 0 w 2"/>
                  <a:gd name="T11" fmla="*/ 0 h 4"/>
                  <a:gd name="T12" fmla="*/ 2 w 2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10" name="Freeform 424">
                <a:extLst>
                  <a:ext uri="{FF2B5EF4-FFF2-40B4-BE49-F238E27FC236}">
                    <a16:creationId xmlns:a16="http://schemas.microsoft.com/office/drawing/2014/main" id="{8D8CC1BD-3780-460E-9736-369F7E7D4C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0" y="3277"/>
                <a:ext cx="11" cy="2"/>
              </a:xfrm>
              <a:custGeom>
                <a:avLst/>
                <a:gdLst>
                  <a:gd name="T0" fmla="*/ 11 w 11"/>
                  <a:gd name="T1" fmla="*/ 2 h 2"/>
                  <a:gd name="T2" fmla="*/ 7 w 11"/>
                  <a:gd name="T3" fmla="*/ 0 h 2"/>
                  <a:gd name="T4" fmla="*/ 0 w 11"/>
                  <a:gd name="T5" fmla="*/ 0 h 2"/>
                  <a:gd name="T6" fmla="*/ 7 w 11"/>
                  <a:gd name="T7" fmla="*/ 0 h 2"/>
                  <a:gd name="T8" fmla="*/ 11 w 11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lnTo>
                      <a:pt x="7" y="0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11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11" name="Freeform 425">
                <a:extLst>
                  <a:ext uri="{FF2B5EF4-FFF2-40B4-BE49-F238E27FC236}">
                    <a16:creationId xmlns:a16="http://schemas.microsoft.com/office/drawing/2014/main" id="{B12D3016-1698-4B7E-BCD9-490E3FAAC9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1" y="3451"/>
                <a:ext cx="12" cy="6"/>
              </a:xfrm>
              <a:custGeom>
                <a:avLst/>
                <a:gdLst>
                  <a:gd name="T0" fmla="*/ 8 w 12"/>
                  <a:gd name="T1" fmla="*/ 4 h 6"/>
                  <a:gd name="T2" fmla="*/ 12 w 12"/>
                  <a:gd name="T3" fmla="*/ 2 h 6"/>
                  <a:gd name="T4" fmla="*/ 12 w 12"/>
                  <a:gd name="T5" fmla="*/ 0 h 6"/>
                  <a:gd name="T6" fmla="*/ 12 w 12"/>
                  <a:gd name="T7" fmla="*/ 2 h 6"/>
                  <a:gd name="T8" fmla="*/ 8 w 12"/>
                  <a:gd name="T9" fmla="*/ 4 h 6"/>
                  <a:gd name="T10" fmla="*/ 6 w 12"/>
                  <a:gd name="T11" fmla="*/ 6 h 6"/>
                  <a:gd name="T12" fmla="*/ 0 w 12"/>
                  <a:gd name="T13" fmla="*/ 6 h 6"/>
                  <a:gd name="T14" fmla="*/ 6 w 12"/>
                  <a:gd name="T15" fmla="*/ 6 h 6"/>
                  <a:gd name="T16" fmla="*/ 8 w 12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6">
                    <a:moveTo>
                      <a:pt x="8" y="4"/>
                    </a:moveTo>
                    <a:lnTo>
                      <a:pt x="12" y="2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12" name="Freeform 426">
                <a:extLst>
                  <a:ext uri="{FF2B5EF4-FFF2-40B4-BE49-F238E27FC236}">
                    <a16:creationId xmlns:a16="http://schemas.microsoft.com/office/drawing/2014/main" id="{661A1A23-E373-4F2F-BDC6-36F76BF803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5" y="2848"/>
                <a:ext cx="19" cy="4"/>
              </a:xfrm>
              <a:custGeom>
                <a:avLst/>
                <a:gdLst>
                  <a:gd name="T0" fmla="*/ 15 w 19"/>
                  <a:gd name="T1" fmla="*/ 0 h 4"/>
                  <a:gd name="T2" fmla="*/ 19 w 19"/>
                  <a:gd name="T3" fmla="*/ 0 h 4"/>
                  <a:gd name="T4" fmla="*/ 15 w 19"/>
                  <a:gd name="T5" fmla="*/ 0 h 4"/>
                  <a:gd name="T6" fmla="*/ 2 w 19"/>
                  <a:gd name="T7" fmla="*/ 4 h 4"/>
                  <a:gd name="T8" fmla="*/ 0 w 19"/>
                  <a:gd name="T9" fmla="*/ 2 h 4"/>
                  <a:gd name="T10" fmla="*/ 2 w 19"/>
                  <a:gd name="T11" fmla="*/ 4 h 4"/>
                  <a:gd name="T12" fmla="*/ 15 w 19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4">
                    <a:moveTo>
                      <a:pt x="15" y="0"/>
                    </a:moveTo>
                    <a:lnTo>
                      <a:pt x="19" y="0"/>
                    </a:lnTo>
                    <a:lnTo>
                      <a:pt x="15" y="0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13" name="Freeform 427">
                <a:extLst>
                  <a:ext uri="{FF2B5EF4-FFF2-40B4-BE49-F238E27FC236}">
                    <a16:creationId xmlns:a16="http://schemas.microsoft.com/office/drawing/2014/main" id="{62515B40-922A-4131-BA85-E5A828DA5E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834"/>
                <a:ext cx="4" cy="4"/>
              </a:xfrm>
              <a:custGeom>
                <a:avLst/>
                <a:gdLst>
                  <a:gd name="T0" fmla="*/ 2 w 4"/>
                  <a:gd name="T1" fmla="*/ 2 h 4"/>
                  <a:gd name="T2" fmla="*/ 4 w 4"/>
                  <a:gd name="T3" fmla="*/ 0 h 4"/>
                  <a:gd name="T4" fmla="*/ 4 w 4"/>
                  <a:gd name="T5" fmla="*/ 0 h 4"/>
                  <a:gd name="T6" fmla="*/ 2 w 4"/>
                  <a:gd name="T7" fmla="*/ 2 h 4"/>
                  <a:gd name="T8" fmla="*/ 0 w 4"/>
                  <a:gd name="T9" fmla="*/ 4 h 4"/>
                  <a:gd name="T10" fmla="*/ 0 w 4"/>
                  <a:gd name="T11" fmla="*/ 4 h 4"/>
                  <a:gd name="T12" fmla="*/ 0 w 4"/>
                  <a:gd name="T13" fmla="*/ 4 h 4"/>
                  <a:gd name="T14" fmla="*/ 2 w 4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4">
                    <a:moveTo>
                      <a:pt x="2" y="2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14" name="Freeform 428">
                <a:extLst>
                  <a:ext uri="{FF2B5EF4-FFF2-40B4-BE49-F238E27FC236}">
                    <a16:creationId xmlns:a16="http://schemas.microsoft.com/office/drawing/2014/main" id="{32321904-B5E8-48DB-89D4-C466D7304E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7" y="3480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0 w 2"/>
                  <a:gd name="T5" fmla="*/ 2 h 2"/>
                  <a:gd name="T6" fmla="*/ 2 w 2"/>
                  <a:gd name="T7" fmla="*/ 2 h 2"/>
                  <a:gd name="T8" fmla="*/ 2 w 2"/>
                  <a:gd name="T9" fmla="*/ 2 h 2"/>
                  <a:gd name="T10" fmla="*/ 2 w 2"/>
                  <a:gd name="T11" fmla="*/ 2 h 2"/>
                  <a:gd name="T12" fmla="*/ 0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15" name="Freeform 429">
                <a:extLst>
                  <a:ext uri="{FF2B5EF4-FFF2-40B4-BE49-F238E27FC236}">
                    <a16:creationId xmlns:a16="http://schemas.microsoft.com/office/drawing/2014/main" id="{4F708F8A-3E6D-4318-90B2-74E8874DE9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" y="278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16" name="Freeform 430">
                <a:extLst>
                  <a:ext uri="{FF2B5EF4-FFF2-40B4-BE49-F238E27FC236}">
                    <a16:creationId xmlns:a16="http://schemas.microsoft.com/office/drawing/2014/main" id="{1A819320-495B-44B4-99FC-16FFDA8D78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9" y="2777"/>
                <a:ext cx="6" cy="2"/>
              </a:xfrm>
              <a:custGeom>
                <a:avLst/>
                <a:gdLst>
                  <a:gd name="T0" fmla="*/ 6 w 6"/>
                  <a:gd name="T1" fmla="*/ 2 h 2"/>
                  <a:gd name="T2" fmla="*/ 6 w 6"/>
                  <a:gd name="T3" fmla="*/ 2 h 2"/>
                  <a:gd name="T4" fmla="*/ 0 w 6"/>
                  <a:gd name="T5" fmla="*/ 0 h 2"/>
                  <a:gd name="T6" fmla="*/ 6 w 6"/>
                  <a:gd name="T7" fmla="*/ 2 h 2"/>
                  <a:gd name="T8" fmla="*/ 6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2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17" name="Rectangle 431">
                <a:extLst>
                  <a:ext uri="{FF2B5EF4-FFF2-40B4-BE49-F238E27FC236}">
                    <a16:creationId xmlns:a16="http://schemas.microsoft.com/office/drawing/2014/main" id="{53CACE79-543C-40DB-8262-5BFB6D0252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54" y="350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18" name="Freeform 432">
                <a:extLst>
                  <a:ext uri="{FF2B5EF4-FFF2-40B4-BE49-F238E27FC236}">
                    <a16:creationId xmlns:a16="http://schemas.microsoft.com/office/drawing/2014/main" id="{3D138A8E-E1C3-489B-8730-B770EAB8CB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2" y="3472"/>
                <a:ext cx="5" cy="8"/>
              </a:xfrm>
              <a:custGeom>
                <a:avLst/>
                <a:gdLst>
                  <a:gd name="T0" fmla="*/ 2 w 5"/>
                  <a:gd name="T1" fmla="*/ 6 h 8"/>
                  <a:gd name="T2" fmla="*/ 0 w 5"/>
                  <a:gd name="T3" fmla="*/ 6 h 8"/>
                  <a:gd name="T4" fmla="*/ 0 w 5"/>
                  <a:gd name="T5" fmla="*/ 4 h 8"/>
                  <a:gd name="T6" fmla="*/ 0 w 5"/>
                  <a:gd name="T7" fmla="*/ 2 h 8"/>
                  <a:gd name="T8" fmla="*/ 0 w 5"/>
                  <a:gd name="T9" fmla="*/ 2 h 8"/>
                  <a:gd name="T10" fmla="*/ 0 w 5"/>
                  <a:gd name="T11" fmla="*/ 0 h 8"/>
                  <a:gd name="T12" fmla="*/ 0 w 5"/>
                  <a:gd name="T13" fmla="*/ 2 h 8"/>
                  <a:gd name="T14" fmla="*/ 0 w 5"/>
                  <a:gd name="T15" fmla="*/ 2 h 8"/>
                  <a:gd name="T16" fmla="*/ 0 w 5"/>
                  <a:gd name="T17" fmla="*/ 4 h 8"/>
                  <a:gd name="T18" fmla="*/ 0 w 5"/>
                  <a:gd name="T19" fmla="*/ 6 h 8"/>
                  <a:gd name="T20" fmla="*/ 2 w 5"/>
                  <a:gd name="T21" fmla="*/ 6 h 8"/>
                  <a:gd name="T22" fmla="*/ 4 w 5"/>
                  <a:gd name="T23" fmla="*/ 8 h 8"/>
                  <a:gd name="T24" fmla="*/ 5 w 5"/>
                  <a:gd name="T25" fmla="*/ 8 h 8"/>
                  <a:gd name="T26" fmla="*/ 4 w 5"/>
                  <a:gd name="T27" fmla="*/ 8 h 8"/>
                  <a:gd name="T28" fmla="*/ 2 w 5"/>
                  <a:gd name="T2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" h="8">
                    <a:moveTo>
                      <a:pt x="2" y="6"/>
                    </a:move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5" y="8"/>
                    </a:lnTo>
                    <a:lnTo>
                      <a:pt x="4" y="8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19" name="Freeform 433">
                <a:extLst>
                  <a:ext uri="{FF2B5EF4-FFF2-40B4-BE49-F238E27FC236}">
                    <a16:creationId xmlns:a16="http://schemas.microsoft.com/office/drawing/2014/main" id="{0D8358EC-F48E-46D9-9283-BACEFFDCB7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777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20" name="Freeform 434">
                <a:extLst>
                  <a:ext uri="{FF2B5EF4-FFF2-40B4-BE49-F238E27FC236}">
                    <a16:creationId xmlns:a16="http://schemas.microsoft.com/office/drawing/2014/main" id="{12B1D156-6BDA-4235-95C0-293E259E49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9" y="3484"/>
                <a:ext cx="10" cy="31"/>
              </a:xfrm>
              <a:custGeom>
                <a:avLst/>
                <a:gdLst>
                  <a:gd name="T0" fmla="*/ 4 w 10"/>
                  <a:gd name="T1" fmla="*/ 26 h 31"/>
                  <a:gd name="T2" fmla="*/ 2 w 10"/>
                  <a:gd name="T3" fmla="*/ 22 h 31"/>
                  <a:gd name="T4" fmla="*/ 2 w 10"/>
                  <a:gd name="T5" fmla="*/ 18 h 31"/>
                  <a:gd name="T6" fmla="*/ 2 w 10"/>
                  <a:gd name="T7" fmla="*/ 12 h 31"/>
                  <a:gd name="T8" fmla="*/ 0 w 10"/>
                  <a:gd name="T9" fmla="*/ 4 h 31"/>
                  <a:gd name="T10" fmla="*/ 0 w 10"/>
                  <a:gd name="T11" fmla="*/ 2 h 31"/>
                  <a:gd name="T12" fmla="*/ 0 w 10"/>
                  <a:gd name="T13" fmla="*/ 0 h 31"/>
                  <a:gd name="T14" fmla="*/ 0 w 10"/>
                  <a:gd name="T15" fmla="*/ 2 h 31"/>
                  <a:gd name="T16" fmla="*/ 0 w 10"/>
                  <a:gd name="T17" fmla="*/ 4 h 31"/>
                  <a:gd name="T18" fmla="*/ 2 w 10"/>
                  <a:gd name="T19" fmla="*/ 12 h 31"/>
                  <a:gd name="T20" fmla="*/ 2 w 10"/>
                  <a:gd name="T21" fmla="*/ 18 h 31"/>
                  <a:gd name="T22" fmla="*/ 2 w 10"/>
                  <a:gd name="T23" fmla="*/ 22 h 31"/>
                  <a:gd name="T24" fmla="*/ 4 w 10"/>
                  <a:gd name="T25" fmla="*/ 26 h 31"/>
                  <a:gd name="T26" fmla="*/ 8 w 10"/>
                  <a:gd name="T27" fmla="*/ 31 h 31"/>
                  <a:gd name="T28" fmla="*/ 10 w 10"/>
                  <a:gd name="T29" fmla="*/ 31 h 31"/>
                  <a:gd name="T30" fmla="*/ 8 w 10"/>
                  <a:gd name="T31" fmla="*/ 31 h 31"/>
                  <a:gd name="T32" fmla="*/ 4 w 10"/>
                  <a:gd name="T33" fmla="*/ 2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31">
                    <a:moveTo>
                      <a:pt x="4" y="26"/>
                    </a:moveTo>
                    <a:lnTo>
                      <a:pt x="2" y="22"/>
                    </a:lnTo>
                    <a:lnTo>
                      <a:pt x="2" y="18"/>
                    </a:lnTo>
                    <a:lnTo>
                      <a:pt x="2" y="1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12"/>
                    </a:lnTo>
                    <a:lnTo>
                      <a:pt x="2" y="18"/>
                    </a:lnTo>
                    <a:lnTo>
                      <a:pt x="2" y="22"/>
                    </a:lnTo>
                    <a:lnTo>
                      <a:pt x="4" y="26"/>
                    </a:lnTo>
                    <a:lnTo>
                      <a:pt x="8" y="31"/>
                    </a:lnTo>
                    <a:lnTo>
                      <a:pt x="10" y="31"/>
                    </a:lnTo>
                    <a:lnTo>
                      <a:pt x="8" y="31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21" name="Freeform 435">
                <a:extLst>
                  <a:ext uri="{FF2B5EF4-FFF2-40B4-BE49-F238E27FC236}">
                    <a16:creationId xmlns:a16="http://schemas.microsoft.com/office/drawing/2014/main" id="{A85A7A3B-8722-4625-8F8E-260A45FAA3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3" y="2777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0 h 6"/>
                  <a:gd name="T4" fmla="*/ 2 w 2"/>
                  <a:gd name="T5" fmla="*/ 0 h 6"/>
                  <a:gd name="T6" fmla="*/ 0 w 2"/>
                  <a:gd name="T7" fmla="*/ 4 h 6"/>
                  <a:gd name="T8" fmla="*/ 0 w 2"/>
                  <a:gd name="T9" fmla="*/ 6 h 6"/>
                  <a:gd name="T10" fmla="*/ 0 w 2"/>
                  <a:gd name="T11" fmla="*/ 4 h 6"/>
                  <a:gd name="T12" fmla="*/ 2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22" name="Freeform 436">
                <a:extLst>
                  <a:ext uri="{FF2B5EF4-FFF2-40B4-BE49-F238E27FC236}">
                    <a16:creationId xmlns:a16="http://schemas.microsoft.com/office/drawing/2014/main" id="{9CF8B7B5-33B1-409E-9F60-B124C889E3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7" y="3529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0 h 6"/>
                  <a:gd name="T4" fmla="*/ 0 w 2"/>
                  <a:gd name="T5" fmla="*/ 2 h 6"/>
                  <a:gd name="T6" fmla="*/ 0 w 2"/>
                  <a:gd name="T7" fmla="*/ 6 h 6"/>
                  <a:gd name="T8" fmla="*/ 0 w 2"/>
                  <a:gd name="T9" fmla="*/ 6 h 6"/>
                  <a:gd name="T10" fmla="*/ 0 w 2"/>
                  <a:gd name="T11" fmla="*/ 2 h 6"/>
                  <a:gd name="T12" fmla="*/ 2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23" name="Freeform 437">
                <a:extLst>
                  <a:ext uri="{FF2B5EF4-FFF2-40B4-BE49-F238E27FC236}">
                    <a16:creationId xmlns:a16="http://schemas.microsoft.com/office/drawing/2014/main" id="{9C755FD6-2E97-4C93-AA01-05C3E158EE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9" y="2779"/>
                <a:ext cx="9" cy="6"/>
              </a:xfrm>
              <a:custGeom>
                <a:avLst/>
                <a:gdLst>
                  <a:gd name="T0" fmla="*/ 2 w 9"/>
                  <a:gd name="T1" fmla="*/ 6 h 6"/>
                  <a:gd name="T2" fmla="*/ 9 w 9"/>
                  <a:gd name="T3" fmla="*/ 6 h 6"/>
                  <a:gd name="T4" fmla="*/ 2 w 9"/>
                  <a:gd name="T5" fmla="*/ 6 h 6"/>
                  <a:gd name="T6" fmla="*/ 0 w 9"/>
                  <a:gd name="T7" fmla="*/ 2 h 6"/>
                  <a:gd name="T8" fmla="*/ 0 w 9"/>
                  <a:gd name="T9" fmla="*/ 0 h 6"/>
                  <a:gd name="T10" fmla="*/ 0 w 9"/>
                  <a:gd name="T11" fmla="*/ 2 h 6"/>
                  <a:gd name="T12" fmla="*/ 2 w 9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6">
                    <a:moveTo>
                      <a:pt x="2" y="6"/>
                    </a:moveTo>
                    <a:lnTo>
                      <a:pt x="9" y="6"/>
                    </a:lnTo>
                    <a:lnTo>
                      <a:pt x="2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24" name="Freeform 438">
                <a:extLst>
                  <a:ext uri="{FF2B5EF4-FFF2-40B4-BE49-F238E27FC236}">
                    <a16:creationId xmlns:a16="http://schemas.microsoft.com/office/drawing/2014/main" id="{88CCE9A9-A370-49AE-B505-D8BAF093A3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3" y="3517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25" name="Freeform 439">
                <a:extLst>
                  <a:ext uri="{FF2B5EF4-FFF2-40B4-BE49-F238E27FC236}">
                    <a16:creationId xmlns:a16="http://schemas.microsoft.com/office/drawing/2014/main" id="{F5CB7149-BA8D-4BB7-A927-3CEB93E75F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5" y="3517"/>
                <a:ext cx="4" cy="10"/>
              </a:xfrm>
              <a:custGeom>
                <a:avLst/>
                <a:gdLst>
                  <a:gd name="T0" fmla="*/ 2 w 4"/>
                  <a:gd name="T1" fmla="*/ 6 h 10"/>
                  <a:gd name="T2" fmla="*/ 2 w 4"/>
                  <a:gd name="T3" fmla="*/ 6 h 10"/>
                  <a:gd name="T4" fmla="*/ 0 w 4"/>
                  <a:gd name="T5" fmla="*/ 0 h 10"/>
                  <a:gd name="T6" fmla="*/ 2 w 4"/>
                  <a:gd name="T7" fmla="*/ 6 h 10"/>
                  <a:gd name="T8" fmla="*/ 2 w 4"/>
                  <a:gd name="T9" fmla="*/ 6 h 10"/>
                  <a:gd name="T10" fmla="*/ 4 w 4"/>
                  <a:gd name="T11" fmla="*/ 8 h 10"/>
                  <a:gd name="T12" fmla="*/ 4 w 4"/>
                  <a:gd name="T13" fmla="*/ 10 h 10"/>
                  <a:gd name="T14" fmla="*/ 4 w 4"/>
                  <a:gd name="T15" fmla="*/ 8 h 10"/>
                  <a:gd name="T16" fmla="*/ 2 w 4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0">
                    <a:moveTo>
                      <a:pt x="2" y="6"/>
                    </a:moveTo>
                    <a:lnTo>
                      <a:pt x="2" y="6"/>
                    </a:lnTo>
                    <a:lnTo>
                      <a:pt x="0" y="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26" name="Freeform 440">
                <a:extLst>
                  <a:ext uri="{FF2B5EF4-FFF2-40B4-BE49-F238E27FC236}">
                    <a16:creationId xmlns:a16="http://schemas.microsoft.com/office/drawing/2014/main" id="{1C618EA1-7099-4392-9725-BCB609D1A6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1" y="2785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27" name="Freeform 441">
                <a:extLst>
                  <a:ext uri="{FF2B5EF4-FFF2-40B4-BE49-F238E27FC236}">
                    <a16:creationId xmlns:a16="http://schemas.microsoft.com/office/drawing/2014/main" id="{97D6CC2F-F886-410B-9538-800C00F57C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9" y="2963"/>
                <a:ext cx="6" cy="6"/>
              </a:xfrm>
              <a:custGeom>
                <a:avLst/>
                <a:gdLst>
                  <a:gd name="T0" fmla="*/ 2 w 6"/>
                  <a:gd name="T1" fmla="*/ 2 h 6"/>
                  <a:gd name="T2" fmla="*/ 0 w 6"/>
                  <a:gd name="T3" fmla="*/ 0 h 6"/>
                  <a:gd name="T4" fmla="*/ 2 w 6"/>
                  <a:gd name="T5" fmla="*/ 2 h 6"/>
                  <a:gd name="T6" fmla="*/ 6 w 6"/>
                  <a:gd name="T7" fmla="*/ 6 h 6"/>
                  <a:gd name="T8" fmla="*/ 6 w 6"/>
                  <a:gd name="T9" fmla="*/ 6 h 6"/>
                  <a:gd name="T10" fmla="*/ 6 w 6"/>
                  <a:gd name="T11" fmla="*/ 6 h 6"/>
                  <a:gd name="T12" fmla="*/ 2 w 6"/>
                  <a:gd name="T1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28" name="Freeform 442">
                <a:extLst>
                  <a:ext uri="{FF2B5EF4-FFF2-40B4-BE49-F238E27FC236}">
                    <a16:creationId xmlns:a16="http://schemas.microsoft.com/office/drawing/2014/main" id="{7B19C327-CC91-49E1-9DBC-E24CA8ED83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3" y="3453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29" name="Freeform 443">
                <a:extLst>
                  <a:ext uri="{FF2B5EF4-FFF2-40B4-BE49-F238E27FC236}">
                    <a16:creationId xmlns:a16="http://schemas.microsoft.com/office/drawing/2014/main" id="{4B8296FE-BBA0-49B6-928A-332D2B2FC4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5" y="3457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30" name="Rectangle 444">
                <a:extLst>
                  <a:ext uri="{FF2B5EF4-FFF2-40B4-BE49-F238E27FC236}">
                    <a16:creationId xmlns:a16="http://schemas.microsoft.com/office/drawing/2014/main" id="{06B8F24F-38EF-493A-8121-34E4451499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75" y="34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31" name="Freeform 445">
                <a:extLst>
                  <a:ext uri="{FF2B5EF4-FFF2-40B4-BE49-F238E27FC236}">
                    <a16:creationId xmlns:a16="http://schemas.microsoft.com/office/drawing/2014/main" id="{5C43080B-89D4-4E9F-B52C-159F947610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0" y="3453"/>
                <a:ext cx="2" cy="4"/>
              </a:xfrm>
              <a:custGeom>
                <a:avLst/>
                <a:gdLst>
                  <a:gd name="T0" fmla="*/ 0 w 2"/>
                  <a:gd name="T1" fmla="*/ 2 h 4"/>
                  <a:gd name="T2" fmla="*/ 2 w 2"/>
                  <a:gd name="T3" fmla="*/ 0 h 4"/>
                  <a:gd name="T4" fmla="*/ 0 w 2"/>
                  <a:gd name="T5" fmla="*/ 2 h 4"/>
                  <a:gd name="T6" fmla="*/ 0 w 2"/>
                  <a:gd name="T7" fmla="*/ 4 h 4"/>
                  <a:gd name="T8" fmla="*/ 0 w 2"/>
                  <a:gd name="T9" fmla="*/ 4 h 4"/>
                  <a:gd name="T10" fmla="*/ 0 w 2"/>
                  <a:gd name="T1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32" name="Freeform 446">
                <a:extLst>
                  <a:ext uri="{FF2B5EF4-FFF2-40B4-BE49-F238E27FC236}">
                    <a16:creationId xmlns:a16="http://schemas.microsoft.com/office/drawing/2014/main" id="{2F2EBFDB-51C1-4E92-B890-53D0880562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8" y="3461"/>
                <a:ext cx="6" cy="2"/>
              </a:xfrm>
              <a:custGeom>
                <a:avLst/>
                <a:gdLst>
                  <a:gd name="T0" fmla="*/ 6 w 6"/>
                  <a:gd name="T1" fmla="*/ 2 h 2"/>
                  <a:gd name="T2" fmla="*/ 2 w 6"/>
                  <a:gd name="T3" fmla="*/ 2 h 2"/>
                  <a:gd name="T4" fmla="*/ 0 w 6"/>
                  <a:gd name="T5" fmla="*/ 0 h 2"/>
                  <a:gd name="T6" fmla="*/ 2 w 6"/>
                  <a:gd name="T7" fmla="*/ 2 h 2"/>
                  <a:gd name="T8" fmla="*/ 6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33" name="Freeform 447">
                <a:extLst>
                  <a:ext uri="{FF2B5EF4-FFF2-40B4-BE49-F238E27FC236}">
                    <a16:creationId xmlns:a16="http://schemas.microsoft.com/office/drawing/2014/main" id="{98F0523B-E08A-45F1-8429-4D9FCCA6ED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1" y="3461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2 w 2"/>
                  <a:gd name="T3" fmla="*/ 0 w 2"/>
                  <a:gd name="T4" fmla="*/ 0 w 2"/>
                  <a:gd name="T5" fmla="*/ 0 w 2"/>
                  <a:gd name="T6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34" name="Freeform 448">
                <a:extLst>
                  <a:ext uri="{FF2B5EF4-FFF2-40B4-BE49-F238E27FC236}">
                    <a16:creationId xmlns:a16="http://schemas.microsoft.com/office/drawing/2014/main" id="{4F157319-22EA-4949-A2ED-28D19EDFE3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" y="3443"/>
                <a:ext cx="10" cy="8"/>
              </a:xfrm>
              <a:custGeom>
                <a:avLst/>
                <a:gdLst>
                  <a:gd name="T0" fmla="*/ 10 w 10"/>
                  <a:gd name="T1" fmla="*/ 0 h 8"/>
                  <a:gd name="T2" fmla="*/ 6 w 10"/>
                  <a:gd name="T3" fmla="*/ 2 h 8"/>
                  <a:gd name="T4" fmla="*/ 0 w 10"/>
                  <a:gd name="T5" fmla="*/ 8 h 8"/>
                  <a:gd name="T6" fmla="*/ 6 w 10"/>
                  <a:gd name="T7" fmla="*/ 2 h 8"/>
                  <a:gd name="T8" fmla="*/ 10 w 10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">
                    <a:moveTo>
                      <a:pt x="10" y="0"/>
                    </a:moveTo>
                    <a:lnTo>
                      <a:pt x="6" y="2"/>
                    </a:lnTo>
                    <a:lnTo>
                      <a:pt x="0" y="8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35" name="Freeform 449">
                <a:extLst>
                  <a:ext uri="{FF2B5EF4-FFF2-40B4-BE49-F238E27FC236}">
                    <a16:creationId xmlns:a16="http://schemas.microsoft.com/office/drawing/2014/main" id="{359E9A5D-5A32-4DFE-BD63-ECC497A710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4" y="344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36" name="Freeform 450">
                <a:extLst>
                  <a:ext uri="{FF2B5EF4-FFF2-40B4-BE49-F238E27FC236}">
                    <a16:creationId xmlns:a16="http://schemas.microsoft.com/office/drawing/2014/main" id="{B0A9E345-71EA-4F7C-9510-8F1F3C3517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3" y="3451"/>
                <a:ext cx="30" cy="10"/>
              </a:xfrm>
              <a:custGeom>
                <a:avLst/>
                <a:gdLst>
                  <a:gd name="T0" fmla="*/ 2 w 30"/>
                  <a:gd name="T1" fmla="*/ 0 h 10"/>
                  <a:gd name="T2" fmla="*/ 4 w 30"/>
                  <a:gd name="T3" fmla="*/ 0 h 10"/>
                  <a:gd name="T4" fmla="*/ 8 w 30"/>
                  <a:gd name="T5" fmla="*/ 2 h 10"/>
                  <a:gd name="T6" fmla="*/ 26 w 30"/>
                  <a:gd name="T7" fmla="*/ 10 h 10"/>
                  <a:gd name="T8" fmla="*/ 30 w 30"/>
                  <a:gd name="T9" fmla="*/ 10 h 10"/>
                  <a:gd name="T10" fmla="*/ 26 w 30"/>
                  <a:gd name="T11" fmla="*/ 10 h 10"/>
                  <a:gd name="T12" fmla="*/ 8 w 30"/>
                  <a:gd name="T13" fmla="*/ 2 h 10"/>
                  <a:gd name="T14" fmla="*/ 4 w 30"/>
                  <a:gd name="T15" fmla="*/ 0 h 10"/>
                  <a:gd name="T16" fmla="*/ 2 w 30"/>
                  <a:gd name="T17" fmla="*/ 0 h 10"/>
                  <a:gd name="T18" fmla="*/ 0 w 30"/>
                  <a:gd name="T19" fmla="*/ 0 h 10"/>
                  <a:gd name="T20" fmla="*/ 0 w 30"/>
                  <a:gd name="T21" fmla="*/ 2 h 10"/>
                  <a:gd name="T22" fmla="*/ 0 w 30"/>
                  <a:gd name="T23" fmla="*/ 0 h 10"/>
                  <a:gd name="T24" fmla="*/ 2 w 30"/>
                  <a:gd name="T2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10">
                    <a:moveTo>
                      <a:pt x="2" y="0"/>
                    </a:moveTo>
                    <a:lnTo>
                      <a:pt x="4" y="0"/>
                    </a:lnTo>
                    <a:lnTo>
                      <a:pt x="8" y="2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8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37" name="Freeform 451">
                <a:extLst>
                  <a:ext uri="{FF2B5EF4-FFF2-40B4-BE49-F238E27FC236}">
                    <a16:creationId xmlns:a16="http://schemas.microsoft.com/office/drawing/2014/main" id="{D3E4A432-1C85-40EB-AEEB-888530AF01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5" y="3457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6 w 6"/>
                  <a:gd name="T3" fmla="*/ 0 h 4"/>
                  <a:gd name="T4" fmla="*/ 6 w 6"/>
                  <a:gd name="T5" fmla="*/ 0 h 4"/>
                  <a:gd name="T6" fmla="*/ 0 w 6"/>
                  <a:gd name="T7" fmla="*/ 4 h 4"/>
                  <a:gd name="T8" fmla="*/ 0 w 6"/>
                  <a:gd name="T9" fmla="*/ 4 h 4"/>
                  <a:gd name="T10" fmla="*/ 6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38" name="Freeform 452">
                <a:extLst>
                  <a:ext uri="{FF2B5EF4-FFF2-40B4-BE49-F238E27FC236}">
                    <a16:creationId xmlns:a16="http://schemas.microsoft.com/office/drawing/2014/main" id="{C4580EDF-A8E3-43F2-B01C-A3402DA194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2" y="3457"/>
                <a:ext cx="2" cy="14"/>
              </a:xfrm>
              <a:custGeom>
                <a:avLst/>
                <a:gdLst>
                  <a:gd name="T0" fmla="*/ 2 w 2"/>
                  <a:gd name="T1" fmla="*/ 8 h 14"/>
                  <a:gd name="T2" fmla="*/ 0 w 2"/>
                  <a:gd name="T3" fmla="*/ 4 h 14"/>
                  <a:gd name="T4" fmla="*/ 0 w 2"/>
                  <a:gd name="T5" fmla="*/ 2 h 14"/>
                  <a:gd name="T6" fmla="*/ 2 w 2"/>
                  <a:gd name="T7" fmla="*/ 0 h 14"/>
                  <a:gd name="T8" fmla="*/ 2 w 2"/>
                  <a:gd name="T9" fmla="*/ 0 h 14"/>
                  <a:gd name="T10" fmla="*/ 0 w 2"/>
                  <a:gd name="T11" fmla="*/ 2 h 14"/>
                  <a:gd name="T12" fmla="*/ 0 w 2"/>
                  <a:gd name="T13" fmla="*/ 4 h 14"/>
                  <a:gd name="T14" fmla="*/ 2 w 2"/>
                  <a:gd name="T15" fmla="*/ 8 h 14"/>
                  <a:gd name="T16" fmla="*/ 2 w 2"/>
                  <a:gd name="T17" fmla="*/ 12 h 14"/>
                  <a:gd name="T18" fmla="*/ 2 w 2"/>
                  <a:gd name="T19" fmla="*/ 14 h 14"/>
                  <a:gd name="T20" fmla="*/ 2 w 2"/>
                  <a:gd name="T21" fmla="*/ 12 h 14"/>
                  <a:gd name="T22" fmla="*/ 2 w 2"/>
                  <a:gd name="T23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" h="14">
                    <a:moveTo>
                      <a:pt x="2" y="8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2" y="12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39" name="Freeform 453">
                <a:extLst>
                  <a:ext uri="{FF2B5EF4-FFF2-40B4-BE49-F238E27FC236}">
                    <a16:creationId xmlns:a16="http://schemas.microsoft.com/office/drawing/2014/main" id="{3B1C19D0-60A1-4C24-854F-BADD1A172A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9" y="3529"/>
                <a:ext cx="7" cy="10"/>
              </a:xfrm>
              <a:custGeom>
                <a:avLst/>
                <a:gdLst>
                  <a:gd name="T0" fmla="*/ 4 w 7"/>
                  <a:gd name="T1" fmla="*/ 6 h 10"/>
                  <a:gd name="T2" fmla="*/ 5 w 7"/>
                  <a:gd name="T3" fmla="*/ 4 h 10"/>
                  <a:gd name="T4" fmla="*/ 7 w 7"/>
                  <a:gd name="T5" fmla="*/ 0 h 10"/>
                  <a:gd name="T6" fmla="*/ 5 w 7"/>
                  <a:gd name="T7" fmla="*/ 4 h 10"/>
                  <a:gd name="T8" fmla="*/ 4 w 7"/>
                  <a:gd name="T9" fmla="*/ 6 h 10"/>
                  <a:gd name="T10" fmla="*/ 0 w 7"/>
                  <a:gd name="T11" fmla="*/ 10 h 10"/>
                  <a:gd name="T12" fmla="*/ 0 w 7"/>
                  <a:gd name="T13" fmla="*/ 10 h 10"/>
                  <a:gd name="T14" fmla="*/ 0 w 7"/>
                  <a:gd name="T15" fmla="*/ 10 h 10"/>
                  <a:gd name="T16" fmla="*/ 4 w 7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10">
                    <a:moveTo>
                      <a:pt x="4" y="6"/>
                    </a:moveTo>
                    <a:lnTo>
                      <a:pt x="5" y="4"/>
                    </a:lnTo>
                    <a:lnTo>
                      <a:pt x="7" y="0"/>
                    </a:lnTo>
                    <a:lnTo>
                      <a:pt x="5" y="4"/>
                    </a:lnTo>
                    <a:lnTo>
                      <a:pt x="4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40" name="Freeform 454">
                <a:extLst>
                  <a:ext uri="{FF2B5EF4-FFF2-40B4-BE49-F238E27FC236}">
                    <a16:creationId xmlns:a16="http://schemas.microsoft.com/office/drawing/2014/main" id="{674D5844-003C-44A0-BE24-F113D61B48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4" y="3498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41" name="Freeform 455">
                <a:extLst>
                  <a:ext uri="{FF2B5EF4-FFF2-40B4-BE49-F238E27FC236}">
                    <a16:creationId xmlns:a16="http://schemas.microsoft.com/office/drawing/2014/main" id="{448CBB4B-8EB6-4780-8B78-61E1DAFB00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8" y="3494"/>
                <a:ext cx="10" cy="0"/>
              </a:xfrm>
              <a:custGeom>
                <a:avLst/>
                <a:gdLst>
                  <a:gd name="T0" fmla="*/ 10 w 10"/>
                  <a:gd name="T1" fmla="*/ 10 w 10"/>
                  <a:gd name="T2" fmla="*/ 10 w 10"/>
                  <a:gd name="T3" fmla="*/ 2 w 10"/>
                  <a:gd name="T4" fmla="*/ 0 w 10"/>
                  <a:gd name="T5" fmla="*/ 2 w 10"/>
                  <a:gd name="T6" fmla="*/ 10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10">
                    <a:moveTo>
                      <a:pt x="10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42" name="Freeform 456">
                <a:extLst>
                  <a:ext uri="{FF2B5EF4-FFF2-40B4-BE49-F238E27FC236}">
                    <a16:creationId xmlns:a16="http://schemas.microsoft.com/office/drawing/2014/main" id="{84CA39BF-7259-43FD-9B5E-A512A76C48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1" y="3547"/>
                <a:ext cx="4" cy="6"/>
              </a:xfrm>
              <a:custGeom>
                <a:avLst/>
                <a:gdLst>
                  <a:gd name="T0" fmla="*/ 2 w 4"/>
                  <a:gd name="T1" fmla="*/ 4 h 6"/>
                  <a:gd name="T2" fmla="*/ 4 w 4"/>
                  <a:gd name="T3" fmla="*/ 0 h 6"/>
                  <a:gd name="T4" fmla="*/ 2 w 4"/>
                  <a:gd name="T5" fmla="*/ 4 h 6"/>
                  <a:gd name="T6" fmla="*/ 0 w 4"/>
                  <a:gd name="T7" fmla="*/ 6 h 6"/>
                  <a:gd name="T8" fmla="*/ 0 w 4"/>
                  <a:gd name="T9" fmla="*/ 6 h 6"/>
                  <a:gd name="T10" fmla="*/ 2 w 4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2" y="4"/>
                    </a:moveTo>
                    <a:lnTo>
                      <a:pt x="4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43" name="Freeform 457">
                <a:extLst>
                  <a:ext uri="{FF2B5EF4-FFF2-40B4-BE49-F238E27FC236}">
                    <a16:creationId xmlns:a16="http://schemas.microsoft.com/office/drawing/2014/main" id="{7A8242A3-6F0B-4B90-81D0-8E9D00D8ED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" y="3482"/>
                <a:ext cx="10" cy="6"/>
              </a:xfrm>
              <a:custGeom>
                <a:avLst/>
                <a:gdLst>
                  <a:gd name="T0" fmla="*/ 8 w 10"/>
                  <a:gd name="T1" fmla="*/ 4 h 6"/>
                  <a:gd name="T2" fmla="*/ 8 w 10"/>
                  <a:gd name="T3" fmla="*/ 2 h 6"/>
                  <a:gd name="T4" fmla="*/ 10 w 10"/>
                  <a:gd name="T5" fmla="*/ 0 h 6"/>
                  <a:gd name="T6" fmla="*/ 8 w 10"/>
                  <a:gd name="T7" fmla="*/ 2 h 6"/>
                  <a:gd name="T8" fmla="*/ 8 w 10"/>
                  <a:gd name="T9" fmla="*/ 4 h 6"/>
                  <a:gd name="T10" fmla="*/ 4 w 10"/>
                  <a:gd name="T11" fmla="*/ 6 h 6"/>
                  <a:gd name="T12" fmla="*/ 0 w 10"/>
                  <a:gd name="T13" fmla="*/ 6 h 6"/>
                  <a:gd name="T14" fmla="*/ 4 w 10"/>
                  <a:gd name="T15" fmla="*/ 6 h 6"/>
                  <a:gd name="T16" fmla="*/ 8 w 10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6">
                    <a:moveTo>
                      <a:pt x="8" y="4"/>
                    </a:moveTo>
                    <a:lnTo>
                      <a:pt x="8" y="2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44" name="Freeform 458">
                <a:extLst>
                  <a:ext uri="{FF2B5EF4-FFF2-40B4-BE49-F238E27FC236}">
                    <a16:creationId xmlns:a16="http://schemas.microsoft.com/office/drawing/2014/main" id="{980A7263-9BD2-4E00-8CFD-8D68329554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6" y="3431"/>
                <a:ext cx="8" cy="10"/>
              </a:xfrm>
              <a:custGeom>
                <a:avLst/>
                <a:gdLst>
                  <a:gd name="T0" fmla="*/ 8 w 8"/>
                  <a:gd name="T1" fmla="*/ 0 h 10"/>
                  <a:gd name="T2" fmla="*/ 8 w 8"/>
                  <a:gd name="T3" fmla="*/ 0 h 10"/>
                  <a:gd name="T4" fmla="*/ 4 w 8"/>
                  <a:gd name="T5" fmla="*/ 6 h 10"/>
                  <a:gd name="T6" fmla="*/ 0 w 8"/>
                  <a:gd name="T7" fmla="*/ 10 h 10"/>
                  <a:gd name="T8" fmla="*/ 4 w 8"/>
                  <a:gd name="T9" fmla="*/ 6 h 10"/>
                  <a:gd name="T10" fmla="*/ 8 w 8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0">
                    <a:moveTo>
                      <a:pt x="8" y="0"/>
                    </a:moveTo>
                    <a:lnTo>
                      <a:pt x="8" y="0"/>
                    </a:lnTo>
                    <a:lnTo>
                      <a:pt x="4" y="6"/>
                    </a:lnTo>
                    <a:lnTo>
                      <a:pt x="0" y="10"/>
                    </a:lnTo>
                    <a:lnTo>
                      <a:pt x="4" y="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45" name="Freeform 459">
                <a:extLst>
                  <a:ext uri="{FF2B5EF4-FFF2-40B4-BE49-F238E27FC236}">
                    <a16:creationId xmlns:a16="http://schemas.microsoft.com/office/drawing/2014/main" id="{E209F740-5333-4EB9-9D04-B1523BC6BF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0" y="3478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46" name="Rectangle 460">
                <a:extLst>
                  <a:ext uri="{FF2B5EF4-FFF2-40B4-BE49-F238E27FC236}">
                    <a16:creationId xmlns:a16="http://schemas.microsoft.com/office/drawing/2014/main" id="{DA094E8C-004D-4550-B2C6-87A26BAF69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5" y="347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47" name="Freeform 461">
                <a:extLst>
                  <a:ext uri="{FF2B5EF4-FFF2-40B4-BE49-F238E27FC236}">
                    <a16:creationId xmlns:a16="http://schemas.microsoft.com/office/drawing/2014/main" id="{338F6D29-D841-4255-96E0-1E1A46029B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4" y="3457"/>
                <a:ext cx="4" cy="0"/>
              </a:xfrm>
              <a:custGeom>
                <a:avLst/>
                <a:gdLst>
                  <a:gd name="T0" fmla="*/ 4 w 4"/>
                  <a:gd name="T1" fmla="*/ 4 w 4"/>
                  <a:gd name="T2" fmla="*/ 4 w 4"/>
                  <a:gd name="T3" fmla="*/ 0 w 4"/>
                  <a:gd name="T4" fmla="*/ 0 w 4"/>
                  <a:gd name="T5" fmla="*/ 0 w 4"/>
                  <a:gd name="T6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48" name="Freeform 462">
                <a:extLst>
                  <a:ext uri="{FF2B5EF4-FFF2-40B4-BE49-F238E27FC236}">
                    <a16:creationId xmlns:a16="http://schemas.microsoft.com/office/drawing/2014/main" id="{F8267BA5-4CCA-488A-8BB5-10F106C0C2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0" y="3490"/>
                <a:ext cx="6" cy="0"/>
              </a:xfrm>
              <a:custGeom>
                <a:avLst/>
                <a:gdLst>
                  <a:gd name="T0" fmla="*/ 6 w 6"/>
                  <a:gd name="T1" fmla="*/ 6 w 6"/>
                  <a:gd name="T2" fmla="*/ 4 w 6"/>
                  <a:gd name="T3" fmla="*/ 0 w 6"/>
                  <a:gd name="T4" fmla="*/ 4 w 6"/>
                  <a:gd name="T5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49" name="Freeform 463">
                <a:extLst>
                  <a:ext uri="{FF2B5EF4-FFF2-40B4-BE49-F238E27FC236}">
                    <a16:creationId xmlns:a16="http://schemas.microsoft.com/office/drawing/2014/main" id="{9B71913C-9366-47E7-9977-41BBF454D3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0" y="3512"/>
                <a:ext cx="0" cy="3"/>
              </a:xfrm>
              <a:custGeom>
                <a:avLst/>
                <a:gdLst>
                  <a:gd name="T0" fmla="*/ 3 h 3"/>
                  <a:gd name="T1" fmla="*/ 1 h 3"/>
                  <a:gd name="T2" fmla="*/ 0 h 3"/>
                  <a:gd name="T3" fmla="*/ 1 h 3"/>
                  <a:gd name="T4" fmla="*/ 3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50" name="Freeform 464">
                <a:extLst>
                  <a:ext uri="{FF2B5EF4-FFF2-40B4-BE49-F238E27FC236}">
                    <a16:creationId xmlns:a16="http://schemas.microsoft.com/office/drawing/2014/main" id="{C1514015-BAEB-4DE8-AFB2-7518F4A87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" y="3508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6 w 6"/>
                  <a:gd name="T3" fmla="*/ 0 h 2"/>
                  <a:gd name="T4" fmla="*/ 2 w 6"/>
                  <a:gd name="T5" fmla="*/ 0 h 2"/>
                  <a:gd name="T6" fmla="*/ 0 w 6"/>
                  <a:gd name="T7" fmla="*/ 2 h 2"/>
                  <a:gd name="T8" fmla="*/ 2 w 6"/>
                  <a:gd name="T9" fmla="*/ 0 h 2"/>
                  <a:gd name="T10" fmla="*/ 6 w 6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51" name="Freeform 465">
                <a:extLst>
                  <a:ext uri="{FF2B5EF4-FFF2-40B4-BE49-F238E27FC236}">
                    <a16:creationId xmlns:a16="http://schemas.microsoft.com/office/drawing/2014/main" id="{AFDDAEC8-0C26-479C-B80E-61889E3610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3" y="3437"/>
                <a:ext cx="8" cy="0"/>
              </a:xfrm>
              <a:custGeom>
                <a:avLst/>
                <a:gdLst>
                  <a:gd name="T0" fmla="*/ 8 w 8"/>
                  <a:gd name="T1" fmla="*/ 2 w 8"/>
                  <a:gd name="T2" fmla="*/ 0 w 8"/>
                  <a:gd name="T3" fmla="*/ 2 w 8"/>
                  <a:gd name="T4" fmla="*/ 8 w 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8">
                    <a:moveTo>
                      <a:pt x="8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52" name="Freeform 466">
                <a:extLst>
                  <a:ext uri="{FF2B5EF4-FFF2-40B4-BE49-F238E27FC236}">
                    <a16:creationId xmlns:a16="http://schemas.microsoft.com/office/drawing/2014/main" id="{0846C336-0C90-48D9-9C5B-76EC3B181E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0" y="3515"/>
                <a:ext cx="8" cy="4"/>
              </a:xfrm>
              <a:custGeom>
                <a:avLst/>
                <a:gdLst>
                  <a:gd name="T0" fmla="*/ 6 w 8"/>
                  <a:gd name="T1" fmla="*/ 2 h 4"/>
                  <a:gd name="T2" fmla="*/ 8 w 8"/>
                  <a:gd name="T3" fmla="*/ 0 h 4"/>
                  <a:gd name="T4" fmla="*/ 6 w 8"/>
                  <a:gd name="T5" fmla="*/ 2 h 4"/>
                  <a:gd name="T6" fmla="*/ 2 w 8"/>
                  <a:gd name="T7" fmla="*/ 4 h 4"/>
                  <a:gd name="T8" fmla="*/ 0 w 8"/>
                  <a:gd name="T9" fmla="*/ 2 h 4"/>
                  <a:gd name="T10" fmla="*/ 2 w 8"/>
                  <a:gd name="T11" fmla="*/ 4 h 4"/>
                  <a:gd name="T12" fmla="*/ 6 w 8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6" y="2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53" name="Rectangle 467">
                <a:extLst>
                  <a:ext uri="{FF2B5EF4-FFF2-40B4-BE49-F238E27FC236}">
                    <a16:creationId xmlns:a16="http://schemas.microsoft.com/office/drawing/2014/main" id="{97A26A24-D464-44D1-8818-26BE5816AE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0" y="351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54" name="Freeform 468">
                <a:extLst>
                  <a:ext uri="{FF2B5EF4-FFF2-40B4-BE49-F238E27FC236}">
                    <a16:creationId xmlns:a16="http://schemas.microsoft.com/office/drawing/2014/main" id="{1B893EFC-C7D0-477A-A5B5-C1446B7260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3519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0 h 2"/>
                  <a:gd name="T4" fmla="*/ 0 w 4"/>
                  <a:gd name="T5" fmla="*/ 0 h 2"/>
                  <a:gd name="T6" fmla="*/ 2 w 4"/>
                  <a:gd name="T7" fmla="*/ 0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55" name="Freeform 469">
                <a:extLst>
                  <a:ext uri="{FF2B5EF4-FFF2-40B4-BE49-F238E27FC236}">
                    <a16:creationId xmlns:a16="http://schemas.microsoft.com/office/drawing/2014/main" id="{CDC066A2-E4C9-4085-9D2C-5FBDA9E063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2" y="3525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56" name="Freeform 470">
                <a:extLst>
                  <a:ext uri="{FF2B5EF4-FFF2-40B4-BE49-F238E27FC236}">
                    <a16:creationId xmlns:a16="http://schemas.microsoft.com/office/drawing/2014/main" id="{A330122C-E4AA-4BB7-A262-A795ACDD3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7" y="3512"/>
                <a:ext cx="20" cy="5"/>
              </a:xfrm>
              <a:custGeom>
                <a:avLst/>
                <a:gdLst>
                  <a:gd name="T0" fmla="*/ 20 w 20"/>
                  <a:gd name="T1" fmla="*/ 5 h 5"/>
                  <a:gd name="T2" fmla="*/ 6 w 20"/>
                  <a:gd name="T3" fmla="*/ 0 h 5"/>
                  <a:gd name="T4" fmla="*/ 0 w 20"/>
                  <a:gd name="T5" fmla="*/ 0 h 5"/>
                  <a:gd name="T6" fmla="*/ 6 w 20"/>
                  <a:gd name="T7" fmla="*/ 0 h 5"/>
                  <a:gd name="T8" fmla="*/ 20 w 20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5">
                    <a:moveTo>
                      <a:pt x="20" y="5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20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57" name="Freeform 471">
                <a:extLst>
                  <a:ext uri="{FF2B5EF4-FFF2-40B4-BE49-F238E27FC236}">
                    <a16:creationId xmlns:a16="http://schemas.microsoft.com/office/drawing/2014/main" id="{92920D6F-C87D-43D7-BC78-6C0540A33C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0" y="3513"/>
                <a:ext cx="3" cy="12"/>
              </a:xfrm>
              <a:custGeom>
                <a:avLst/>
                <a:gdLst>
                  <a:gd name="T0" fmla="*/ 2 w 3"/>
                  <a:gd name="T1" fmla="*/ 10 h 12"/>
                  <a:gd name="T2" fmla="*/ 3 w 3"/>
                  <a:gd name="T3" fmla="*/ 0 h 12"/>
                  <a:gd name="T4" fmla="*/ 3 w 3"/>
                  <a:gd name="T5" fmla="*/ 0 h 12"/>
                  <a:gd name="T6" fmla="*/ 2 w 3"/>
                  <a:gd name="T7" fmla="*/ 10 h 12"/>
                  <a:gd name="T8" fmla="*/ 2 w 3"/>
                  <a:gd name="T9" fmla="*/ 10 h 12"/>
                  <a:gd name="T10" fmla="*/ 0 w 3"/>
                  <a:gd name="T11" fmla="*/ 12 h 12"/>
                  <a:gd name="T12" fmla="*/ 2 w 3"/>
                  <a:gd name="T13" fmla="*/ 10 h 12"/>
                  <a:gd name="T14" fmla="*/ 2 w 3"/>
                  <a:gd name="T15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12">
                    <a:moveTo>
                      <a:pt x="2" y="10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2" y="1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58" name="Freeform 472">
                <a:extLst>
                  <a:ext uri="{FF2B5EF4-FFF2-40B4-BE49-F238E27FC236}">
                    <a16:creationId xmlns:a16="http://schemas.microsoft.com/office/drawing/2014/main" id="{7B79479A-C36B-4EF9-9E81-2EA6A01CBB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8" y="3517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59" name="Freeform 473">
                <a:extLst>
                  <a:ext uri="{FF2B5EF4-FFF2-40B4-BE49-F238E27FC236}">
                    <a16:creationId xmlns:a16="http://schemas.microsoft.com/office/drawing/2014/main" id="{6DEE4BE0-26A1-4EE0-988D-4D7B15D488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4" y="3463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60" name="Freeform 474">
                <a:extLst>
                  <a:ext uri="{FF2B5EF4-FFF2-40B4-BE49-F238E27FC236}">
                    <a16:creationId xmlns:a16="http://schemas.microsoft.com/office/drawing/2014/main" id="{5C7FB687-67C9-4872-AFFF-4247A2D41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8" y="3467"/>
                <a:ext cx="8" cy="2"/>
              </a:xfrm>
              <a:custGeom>
                <a:avLst/>
                <a:gdLst>
                  <a:gd name="T0" fmla="*/ 8 w 8"/>
                  <a:gd name="T1" fmla="*/ 2 h 2"/>
                  <a:gd name="T2" fmla="*/ 4 w 8"/>
                  <a:gd name="T3" fmla="*/ 2 h 2"/>
                  <a:gd name="T4" fmla="*/ 0 w 8"/>
                  <a:gd name="T5" fmla="*/ 0 h 2"/>
                  <a:gd name="T6" fmla="*/ 4 w 8"/>
                  <a:gd name="T7" fmla="*/ 2 h 2"/>
                  <a:gd name="T8" fmla="*/ 8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8" y="2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61" name="Freeform 475">
                <a:extLst>
                  <a:ext uri="{FF2B5EF4-FFF2-40B4-BE49-F238E27FC236}">
                    <a16:creationId xmlns:a16="http://schemas.microsoft.com/office/drawing/2014/main" id="{60DB0AF6-5109-4986-B99B-99DB22512E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0" y="3457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62" name="Freeform 476">
                <a:extLst>
                  <a:ext uri="{FF2B5EF4-FFF2-40B4-BE49-F238E27FC236}">
                    <a16:creationId xmlns:a16="http://schemas.microsoft.com/office/drawing/2014/main" id="{E9AC7B25-97FD-4E67-A5DC-750E3BE00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4" y="3506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63" name="Freeform 477">
                <a:extLst>
                  <a:ext uri="{FF2B5EF4-FFF2-40B4-BE49-F238E27FC236}">
                    <a16:creationId xmlns:a16="http://schemas.microsoft.com/office/drawing/2014/main" id="{D91A9E95-7C38-40B6-AD8F-4586F99DA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2" y="3449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2 w 4"/>
                  <a:gd name="T3" fmla="*/ 2 h 4"/>
                  <a:gd name="T4" fmla="*/ 0 w 4"/>
                  <a:gd name="T5" fmla="*/ 0 h 4"/>
                  <a:gd name="T6" fmla="*/ 2 w 4"/>
                  <a:gd name="T7" fmla="*/ 2 h 4"/>
                  <a:gd name="T8" fmla="*/ 4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64" name="Freeform 478">
                <a:extLst>
                  <a:ext uri="{FF2B5EF4-FFF2-40B4-BE49-F238E27FC236}">
                    <a16:creationId xmlns:a16="http://schemas.microsoft.com/office/drawing/2014/main" id="{C5A6F781-FE1B-45F1-A601-62671FD4A4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2" y="3556"/>
                <a:ext cx="21" cy="2"/>
              </a:xfrm>
              <a:custGeom>
                <a:avLst/>
                <a:gdLst>
                  <a:gd name="T0" fmla="*/ 15 w 21"/>
                  <a:gd name="T1" fmla="*/ 0 h 2"/>
                  <a:gd name="T2" fmla="*/ 21 w 21"/>
                  <a:gd name="T3" fmla="*/ 0 h 2"/>
                  <a:gd name="T4" fmla="*/ 15 w 21"/>
                  <a:gd name="T5" fmla="*/ 0 h 2"/>
                  <a:gd name="T6" fmla="*/ 6 w 21"/>
                  <a:gd name="T7" fmla="*/ 2 h 2"/>
                  <a:gd name="T8" fmla="*/ 0 w 21"/>
                  <a:gd name="T9" fmla="*/ 2 h 2"/>
                  <a:gd name="T10" fmla="*/ 6 w 21"/>
                  <a:gd name="T11" fmla="*/ 2 h 2"/>
                  <a:gd name="T12" fmla="*/ 15 w 21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">
                    <a:moveTo>
                      <a:pt x="15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6" y="2"/>
                    </a:lnTo>
                    <a:lnTo>
                      <a:pt x="0" y="2"/>
                    </a:lnTo>
                    <a:lnTo>
                      <a:pt x="6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65" name="Freeform 479">
                <a:extLst>
                  <a:ext uri="{FF2B5EF4-FFF2-40B4-BE49-F238E27FC236}">
                    <a16:creationId xmlns:a16="http://schemas.microsoft.com/office/drawing/2014/main" id="{77CE0B67-8F78-4D14-9455-F3F56AC8CD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1" y="3482"/>
                <a:ext cx="6" cy="10"/>
              </a:xfrm>
              <a:custGeom>
                <a:avLst/>
                <a:gdLst>
                  <a:gd name="T0" fmla="*/ 2 w 6"/>
                  <a:gd name="T1" fmla="*/ 10 h 10"/>
                  <a:gd name="T2" fmla="*/ 6 w 6"/>
                  <a:gd name="T3" fmla="*/ 10 h 10"/>
                  <a:gd name="T4" fmla="*/ 6 w 6"/>
                  <a:gd name="T5" fmla="*/ 10 h 10"/>
                  <a:gd name="T6" fmla="*/ 2 w 6"/>
                  <a:gd name="T7" fmla="*/ 10 h 10"/>
                  <a:gd name="T8" fmla="*/ 0 w 6"/>
                  <a:gd name="T9" fmla="*/ 8 h 10"/>
                  <a:gd name="T10" fmla="*/ 2 w 6"/>
                  <a:gd name="T11" fmla="*/ 0 h 10"/>
                  <a:gd name="T12" fmla="*/ 0 w 6"/>
                  <a:gd name="T13" fmla="*/ 8 h 10"/>
                  <a:gd name="T14" fmla="*/ 2 w 6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0">
                    <a:moveTo>
                      <a:pt x="2" y="10"/>
                    </a:moveTo>
                    <a:lnTo>
                      <a:pt x="6" y="10"/>
                    </a:lnTo>
                    <a:lnTo>
                      <a:pt x="6" y="10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2" y="0"/>
                    </a:lnTo>
                    <a:lnTo>
                      <a:pt x="0" y="8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66" name="Freeform 480">
                <a:extLst>
                  <a:ext uri="{FF2B5EF4-FFF2-40B4-BE49-F238E27FC236}">
                    <a16:creationId xmlns:a16="http://schemas.microsoft.com/office/drawing/2014/main" id="{18594926-FE5A-40C4-A432-CFDE0D33D5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3" y="3498"/>
                <a:ext cx="6" cy="0"/>
              </a:xfrm>
              <a:custGeom>
                <a:avLst/>
                <a:gdLst>
                  <a:gd name="T0" fmla="*/ 4 w 6"/>
                  <a:gd name="T1" fmla="*/ 6 w 6"/>
                  <a:gd name="T2" fmla="*/ 4 w 6"/>
                  <a:gd name="T3" fmla="*/ 0 w 6"/>
                  <a:gd name="T4" fmla="*/ 0 w 6"/>
                  <a:gd name="T5" fmla="*/ 4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4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67" name="Freeform 481">
                <a:extLst>
                  <a:ext uri="{FF2B5EF4-FFF2-40B4-BE49-F238E27FC236}">
                    <a16:creationId xmlns:a16="http://schemas.microsoft.com/office/drawing/2014/main" id="{59CBD476-5FD6-47EA-BED6-3C6E0A2A7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7" y="3486"/>
                <a:ext cx="6" cy="12"/>
              </a:xfrm>
              <a:custGeom>
                <a:avLst/>
                <a:gdLst>
                  <a:gd name="T0" fmla="*/ 2 w 6"/>
                  <a:gd name="T1" fmla="*/ 8 h 12"/>
                  <a:gd name="T2" fmla="*/ 4 w 6"/>
                  <a:gd name="T3" fmla="*/ 12 h 12"/>
                  <a:gd name="T4" fmla="*/ 6 w 6"/>
                  <a:gd name="T5" fmla="*/ 12 h 12"/>
                  <a:gd name="T6" fmla="*/ 4 w 6"/>
                  <a:gd name="T7" fmla="*/ 12 h 12"/>
                  <a:gd name="T8" fmla="*/ 2 w 6"/>
                  <a:gd name="T9" fmla="*/ 8 h 12"/>
                  <a:gd name="T10" fmla="*/ 2 w 6"/>
                  <a:gd name="T11" fmla="*/ 4 h 12"/>
                  <a:gd name="T12" fmla="*/ 0 w 6"/>
                  <a:gd name="T13" fmla="*/ 0 h 12"/>
                  <a:gd name="T14" fmla="*/ 0 w 6"/>
                  <a:gd name="T15" fmla="*/ 0 h 12"/>
                  <a:gd name="T16" fmla="*/ 2 w 6"/>
                  <a:gd name="T17" fmla="*/ 4 h 12"/>
                  <a:gd name="T18" fmla="*/ 2 w 6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12">
                    <a:moveTo>
                      <a:pt x="2" y="8"/>
                    </a:moveTo>
                    <a:lnTo>
                      <a:pt x="4" y="12"/>
                    </a:lnTo>
                    <a:lnTo>
                      <a:pt x="6" y="12"/>
                    </a:lnTo>
                    <a:lnTo>
                      <a:pt x="4" y="12"/>
                    </a:lnTo>
                    <a:lnTo>
                      <a:pt x="2" y="8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68" name="Freeform 482">
                <a:extLst>
                  <a:ext uri="{FF2B5EF4-FFF2-40B4-BE49-F238E27FC236}">
                    <a16:creationId xmlns:a16="http://schemas.microsoft.com/office/drawing/2014/main" id="{535B7694-718C-40B7-96E7-BE0CD16555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7" y="3594"/>
                <a:ext cx="13" cy="5"/>
              </a:xfrm>
              <a:custGeom>
                <a:avLst/>
                <a:gdLst>
                  <a:gd name="T0" fmla="*/ 13 w 13"/>
                  <a:gd name="T1" fmla="*/ 5 h 5"/>
                  <a:gd name="T2" fmla="*/ 13 w 13"/>
                  <a:gd name="T3" fmla="*/ 5 h 5"/>
                  <a:gd name="T4" fmla="*/ 13 w 13"/>
                  <a:gd name="T5" fmla="*/ 5 h 5"/>
                  <a:gd name="T6" fmla="*/ 0 w 13"/>
                  <a:gd name="T7" fmla="*/ 0 h 5"/>
                  <a:gd name="T8" fmla="*/ 0 w 13"/>
                  <a:gd name="T9" fmla="*/ 0 h 5"/>
                  <a:gd name="T10" fmla="*/ 13 w 13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5">
                    <a:moveTo>
                      <a:pt x="13" y="5"/>
                    </a:moveTo>
                    <a:lnTo>
                      <a:pt x="13" y="5"/>
                    </a:lnTo>
                    <a:lnTo>
                      <a:pt x="13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3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69" name="Freeform 483">
                <a:extLst>
                  <a:ext uri="{FF2B5EF4-FFF2-40B4-BE49-F238E27FC236}">
                    <a16:creationId xmlns:a16="http://schemas.microsoft.com/office/drawing/2014/main" id="{5A0D1A4A-B273-40A0-9737-C9DEDB0A50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1" y="3701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0 h 6"/>
                  <a:gd name="T4" fmla="*/ 0 w 2"/>
                  <a:gd name="T5" fmla="*/ 6 h 6"/>
                  <a:gd name="T6" fmla="*/ 2 w 2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6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70" name="Rectangle 484">
                <a:extLst>
                  <a:ext uri="{FF2B5EF4-FFF2-40B4-BE49-F238E27FC236}">
                    <a16:creationId xmlns:a16="http://schemas.microsoft.com/office/drawing/2014/main" id="{EEE86DAD-DF29-4C3E-99D8-4F6C88C7C7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9" y="379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71" name="Freeform 485">
                <a:extLst>
                  <a:ext uri="{FF2B5EF4-FFF2-40B4-BE49-F238E27FC236}">
                    <a16:creationId xmlns:a16="http://schemas.microsoft.com/office/drawing/2014/main" id="{53B055D2-E000-4FEC-8B0D-44E1C3DD90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0" y="3576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72" name="Freeform 486">
                <a:extLst>
                  <a:ext uri="{FF2B5EF4-FFF2-40B4-BE49-F238E27FC236}">
                    <a16:creationId xmlns:a16="http://schemas.microsoft.com/office/drawing/2014/main" id="{A81AE2D8-E1BF-4A39-A65C-FE6DF259B5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7" y="379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73" name="Rectangle 487">
                <a:extLst>
                  <a:ext uri="{FF2B5EF4-FFF2-40B4-BE49-F238E27FC236}">
                    <a16:creationId xmlns:a16="http://schemas.microsoft.com/office/drawing/2014/main" id="{9AD8D7DC-5F3F-4F4D-9C1A-4D746B4661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5" y="379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74" name="Rectangle 488">
                <a:extLst>
                  <a:ext uri="{FF2B5EF4-FFF2-40B4-BE49-F238E27FC236}">
                    <a16:creationId xmlns:a16="http://schemas.microsoft.com/office/drawing/2014/main" id="{74B04A15-3B74-4212-856F-CBCA689AEE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4" y="376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75" name="Rectangle 489">
                <a:extLst>
                  <a:ext uri="{FF2B5EF4-FFF2-40B4-BE49-F238E27FC236}">
                    <a16:creationId xmlns:a16="http://schemas.microsoft.com/office/drawing/2014/main" id="{568390FB-FBAF-4F77-B1EB-DF6F626D6E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84" y="356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76" name="Freeform 490">
                <a:extLst>
                  <a:ext uri="{FF2B5EF4-FFF2-40B4-BE49-F238E27FC236}">
                    <a16:creationId xmlns:a16="http://schemas.microsoft.com/office/drawing/2014/main" id="{867961AB-9068-49DB-9917-7E9AD826B4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1" y="3553"/>
                <a:ext cx="6" cy="1"/>
              </a:xfrm>
              <a:custGeom>
                <a:avLst/>
                <a:gdLst>
                  <a:gd name="T0" fmla="*/ 2 w 6"/>
                  <a:gd name="T1" fmla="*/ 1 h 1"/>
                  <a:gd name="T2" fmla="*/ 6 w 6"/>
                  <a:gd name="T3" fmla="*/ 0 h 1"/>
                  <a:gd name="T4" fmla="*/ 2 w 6"/>
                  <a:gd name="T5" fmla="*/ 1 h 1"/>
                  <a:gd name="T6" fmla="*/ 0 w 6"/>
                  <a:gd name="T7" fmla="*/ 1 h 1"/>
                  <a:gd name="T8" fmla="*/ 0 w 6"/>
                  <a:gd name="T9" fmla="*/ 1 h 1"/>
                  <a:gd name="T10" fmla="*/ 0 w 6"/>
                  <a:gd name="T11" fmla="*/ 1 h 1"/>
                  <a:gd name="T12" fmla="*/ 2 w 6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">
                    <a:moveTo>
                      <a:pt x="2" y="1"/>
                    </a:moveTo>
                    <a:lnTo>
                      <a:pt x="6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77" name="Freeform 491">
                <a:extLst>
                  <a:ext uri="{FF2B5EF4-FFF2-40B4-BE49-F238E27FC236}">
                    <a16:creationId xmlns:a16="http://schemas.microsoft.com/office/drawing/2014/main" id="{C4E5DD06-A69C-4A73-A8E0-9673F73B44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6" y="3553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78" name="Freeform 492">
                <a:extLst>
                  <a:ext uri="{FF2B5EF4-FFF2-40B4-BE49-F238E27FC236}">
                    <a16:creationId xmlns:a16="http://schemas.microsoft.com/office/drawing/2014/main" id="{C3CD1386-42F7-47CD-A954-5156D5906D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6" y="3549"/>
                <a:ext cx="6" cy="11"/>
              </a:xfrm>
              <a:custGeom>
                <a:avLst/>
                <a:gdLst>
                  <a:gd name="T0" fmla="*/ 2 w 6"/>
                  <a:gd name="T1" fmla="*/ 7 h 11"/>
                  <a:gd name="T2" fmla="*/ 0 w 6"/>
                  <a:gd name="T3" fmla="*/ 4 h 11"/>
                  <a:gd name="T4" fmla="*/ 2 w 6"/>
                  <a:gd name="T5" fmla="*/ 0 h 11"/>
                  <a:gd name="T6" fmla="*/ 4 w 6"/>
                  <a:gd name="T7" fmla="*/ 0 h 11"/>
                  <a:gd name="T8" fmla="*/ 6 w 6"/>
                  <a:gd name="T9" fmla="*/ 2 h 11"/>
                  <a:gd name="T10" fmla="*/ 4 w 6"/>
                  <a:gd name="T11" fmla="*/ 0 h 11"/>
                  <a:gd name="T12" fmla="*/ 2 w 6"/>
                  <a:gd name="T13" fmla="*/ 0 h 11"/>
                  <a:gd name="T14" fmla="*/ 0 w 6"/>
                  <a:gd name="T15" fmla="*/ 4 h 11"/>
                  <a:gd name="T16" fmla="*/ 2 w 6"/>
                  <a:gd name="T17" fmla="*/ 7 h 11"/>
                  <a:gd name="T18" fmla="*/ 0 w 6"/>
                  <a:gd name="T19" fmla="*/ 11 h 11"/>
                  <a:gd name="T20" fmla="*/ 0 w 6"/>
                  <a:gd name="T21" fmla="*/ 11 h 11"/>
                  <a:gd name="T22" fmla="*/ 2 w 6"/>
                  <a:gd name="T23" fmla="*/ 7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11">
                    <a:moveTo>
                      <a:pt x="2" y="7"/>
                    </a:moveTo>
                    <a:lnTo>
                      <a:pt x="0" y="4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79" name="Freeform 493">
                <a:extLst>
                  <a:ext uri="{FF2B5EF4-FFF2-40B4-BE49-F238E27FC236}">
                    <a16:creationId xmlns:a16="http://schemas.microsoft.com/office/drawing/2014/main" id="{7CD8853F-10F9-4D21-B2CF-5CB3186CEC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3342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80" name="Freeform 494">
                <a:extLst>
                  <a:ext uri="{FF2B5EF4-FFF2-40B4-BE49-F238E27FC236}">
                    <a16:creationId xmlns:a16="http://schemas.microsoft.com/office/drawing/2014/main" id="{9F4ACD81-7C15-449B-AB84-EC5EB0B952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3" y="3537"/>
                <a:ext cx="2" cy="10"/>
              </a:xfrm>
              <a:custGeom>
                <a:avLst/>
                <a:gdLst>
                  <a:gd name="T0" fmla="*/ 2 w 2"/>
                  <a:gd name="T1" fmla="*/ 0 h 10"/>
                  <a:gd name="T2" fmla="*/ 0 w 2"/>
                  <a:gd name="T3" fmla="*/ 8 h 10"/>
                  <a:gd name="T4" fmla="*/ 0 w 2"/>
                  <a:gd name="T5" fmla="*/ 10 h 10"/>
                  <a:gd name="T6" fmla="*/ 0 w 2"/>
                  <a:gd name="T7" fmla="*/ 8 h 10"/>
                  <a:gd name="T8" fmla="*/ 2 w 2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0">
                    <a:moveTo>
                      <a:pt x="2" y="0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81" name="Rectangle 495">
                <a:extLst>
                  <a:ext uri="{FF2B5EF4-FFF2-40B4-BE49-F238E27FC236}">
                    <a16:creationId xmlns:a16="http://schemas.microsoft.com/office/drawing/2014/main" id="{DC9AC6B4-58D1-476F-B7B3-AA72913131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9" y="332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82" name="Freeform 496">
                <a:extLst>
                  <a:ext uri="{FF2B5EF4-FFF2-40B4-BE49-F238E27FC236}">
                    <a16:creationId xmlns:a16="http://schemas.microsoft.com/office/drawing/2014/main" id="{71A7622D-F994-4935-A698-BC6F9BFD1C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" y="1723"/>
                <a:ext cx="6" cy="2"/>
              </a:xfrm>
              <a:custGeom>
                <a:avLst/>
                <a:gdLst>
                  <a:gd name="T0" fmla="*/ 0 w 6"/>
                  <a:gd name="T1" fmla="*/ 0 h 2"/>
                  <a:gd name="T2" fmla="*/ 0 w 6"/>
                  <a:gd name="T3" fmla="*/ 0 h 2"/>
                  <a:gd name="T4" fmla="*/ 2 w 6"/>
                  <a:gd name="T5" fmla="*/ 0 h 2"/>
                  <a:gd name="T6" fmla="*/ 6 w 6"/>
                  <a:gd name="T7" fmla="*/ 2 h 2"/>
                  <a:gd name="T8" fmla="*/ 2 w 6"/>
                  <a:gd name="T9" fmla="*/ 0 h 2"/>
                  <a:gd name="T10" fmla="*/ 0 w 6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83" name="Freeform 497">
                <a:extLst>
                  <a:ext uri="{FF2B5EF4-FFF2-40B4-BE49-F238E27FC236}">
                    <a16:creationId xmlns:a16="http://schemas.microsoft.com/office/drawing/2014/main" id="{8BBB29BC-D728-4638-9786-DE80A41079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1" y="3299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84" name="Freeform 498">
                <a:extLst>
                  <a:ext uri="{FF2B5EF4-FFF2-40B4-BE49-F238E27FC236}">
                    <a16:creationId xmlns:a16="http://schemas.microsoft.com/office/drawing/2014/main" id="{5CB62B79-0A39-4CAE-94E9-ED4752DC47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2" y="336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85" name="Freeform 499">
                <a:extLst>
                  <a:ext uri="{FF2B5EF4-FFF2-40B4-BE49-F238E27FC236}">
                    <a16:creationId xmlns:a16="http://schemas.microsoft.com/office/drawing/2014/main" id="{A6012845-879B-49B1-9ED7-3B51D24B86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" y="336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86" name="Rectangle 500">
                <a:extLst>
                  <a:ext uri="{FF2B5EF4-FFF2-40B4-BE49-F238E27FC236}">
                    <a16:creationId xmlns:a16="http://schemas.microsoft.com/office/drawing/2014/main" id="{8EE094CF-7E31-421D-AECF-73DA06E0DD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11" y="334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87" name="Freeform 501">
                <a:extLst>
                  <a:ext uri="{FF2B5EF4-FFF2-40B4-BE49-F238E27FC236}">
                    <a16:creationId xmlns:a16="http://schemas.microsoft.com/office/drawing/2014/main" id="{0089FC79-0DD0-4CB6-B476-1478A3AD03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4" y="3344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88" name="Freeform 502">
                <a:extLst>
                  <a:ext uri="{FF2B5EF4-FFF2-40B4-BE49-F238E27FC236}">
                    <a16:creationId xmlns:a16="http://schemas.microsoft.com/office/drawing/2014/main" id="{707E7974-38F9-4E68-8C8C-A4A0210227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" y="3611"/>
                <a:ext cx="41" cy="25"/>
              </a:xfrm>
              <a:custGeom>
                <a:avLst/>
                <a:gdLst>
                  <a:gd name="T0" fmla="*/ 11 w 41"/>
                  <a:gd name="T1" fmla="*/ 25 h 25"/>
                  <a:gd name="T2" fmla="*/ 17 w 41"/>
                  <a:gd name="T3" fmla="*/ 24 h 25"/>
                  <a:gd name="T4" fmla="*/ 19 w 41"/>
                  <a:gd name="T5" fmla="*/ 20 h 25"/>
                  <a:gd name="T6" fmla="*/ 23 w 41"/>
                  <a:gd name="T7" fmla="*/ 20 h 25"/>
                  <a:gd name="T8" fmla="*/ 41 w 41"/>
                  <a:gd name="T9" fmla="*/ 22 h 25"/>
                  <a:gd name="T10" fmla="*/ 37 w 41"/>
                  <a:gd name="T11" fmla="*/ 14 h 25"/>
                  <a:gd name="T12" fmla="*/ 31 w 41"/>
                  <a:gd name="T13" fmla="*/ 8 h 25"/>
                  <a:gd name="T14" fmla="*/ 17 w 41"/>
                  <a:gd name="T15" fmla="*/ 0 h 25"/>
                  <a:gd name="T16" fmla="*/ 17 w 41"/>
                  <a:gd name="T17" fmla="*/ 2 h 25"/>
                  <a:gd name="T18" fmla="*/ 21 w 41"/>
                  <a:gd name="T19" fmla="*/ 4 h 25"/>
                  <a:gd name="T20" fmla="*/ 21 w 41"/>
                  <a:gd name="T21" fmla="*/ 6 h 25"/>
                  <a:gd name="T22" fmla="*/ 17 w 41"/>
                  <a:gd name="T23" fmla="*/ 4 h 25"/>
                  <a:gd name="T24" fmla="*/ 17 w 41"/>
                  <a:gd name="T25" fmla="*/ 4 h 25"/>
                  <a:gd name="T26" fmla="*/ 15 w 41"/>
                  <a:gd name="T27" fmla="*/ 4 h 25"/>
                  <a:gd name="T28" fmla="*/ 15 w 41"/>
                  <a:gd name="T29" fmla="*/ 4 h 25"/>
                  <a:gd name="T30" fmla="*/ 13 w 41"/>
                  <a:gd name="T31" fmla="*/ 2 h 25"/>
                  <a:gd name="T32" fmla="*/ 13 w 41"/>
                  <a:gd name="T33" fmla="*/ 2 h 25"/>
                  <a:gd name="T34" fmla="*/ 11 w 41"/>
                  <a:gd name="T35" fmla="*/ 2 h 25"/>
                  <a:gd name="T36" fmla="*/ 11 w 41"/>
                  <a:gd name="T37" fmla="*/ 4 h 25"/>
                  <a:gd name="T38" fmla="*/ 11 w 41"/>
                  <a:gd name="T39" fmla="*/ 4 h 25"/>
                  <a:gd name="T40" fmla="*/ 11 w 41"/>
                  <a:gd name="T41" fmla="*/ 6 h 25"/>
                  <a:gd name="T42" fmla="*/ 11 w 41"/>
                  <a:gd name="T43" fmla="*/ 6 h 25"/>
                  <a:gd name="T44" fmla="*/ 13 w 41"/>
                  <a:gd name="T45" fmla="*/ 8 h 25"/>
                  <a:gd name="T46" fmla="*/ 21 w 41"/>
                  <a:gd name="T47" fmla="*/ 14 h 25"/>
                  <a:gd name="T48" fmla="*/ 17 w 41"/>
                  <a:gd name="T49" fmla="*/ 18 h 25"/>
                  <a:gd name="T50" fmla="*/ 9 w 41"/>
                  <a:gd name="T51" fmla="*/ 22 h 25"/>
                  <a:gd name="T52" fmla="*/ 5 w 41"/>
                  <a:gd name="T53" fmla="*/ 25 h 25"/>
                  <a:gd name="T54" fmla="*/ 0 w 41"/>
                  <a:gd name="T55" fmla="*/ 25 h 25"/>
                  <a:gd name="T56" fmla="*/ 4 w 41"/>
                  <a:gd name="T57" fmla="*/ 25 h 25"/>
                  <a:gd name="T58" fmla="*/ 11 w 41"/>
                  <a:gd name="T5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1" h="25">
                    <a:moveTo>
                      <a:pt x="11" y="25"/>
                    </a:moveTo>
                    <a:lnTo>
                      <a:pt x="17" y="24"/>
                    </a:lnTo>
                    <a:lnTo>
                      <a:pt x="19" y="20"/>
                    </a:lnTo>
                    <a:lnTo>
                      <a:pt x="23" y="20"/>
                    </a:lnTo>
                    <a:lnTo>
                      <a:pt x="41" y="22"/>
                    </a:lnTo>
                    <a:lnTo>
                      <a:pt x="37" y="14"/>
                    </a:lnTo>
                    <a:lnTo>
                      <a:pt x="31" y="8"/>
                    </a:lnTo>
                    <a:lnTo>
                      <a:pt x="17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1" y="6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15" y="4"/>
                    </a:lnTo>
                    <a:lnTo>
                      <a:pt x="15" y="4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13" y="8"/>
                    </a:lnTo>
                    <a:lnTo>
                      <a:pt x="21" y="14"/>
                    </a:lnTo>
                    <a:lnTo>
                      <a:pt x="17" y="18"/>
                    </a:lnTo>
                    <a:lnTo>
                      <a:pt x="9" y="22"/>
                    </a:lnTo>
                    <a:lnTo>
                      <a:pt x="5" y="25"/>
                    </a:lnTo>
                    <a:lnTo>
                      <a:pt x="0" y="25"/>
                    </a:lnTo>
                    <a:lnTo>
                      <a:pt x="4" y="25"/>
                    </a:lnTo>
                    <a:lnTo>
                      <a:pt x="11" y="2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89" name="Rectangle 503">
                <a:extLst>
                  <a:ext uri="{FF2B5EF4-FFF2-40B4-BE49-F238E27FC236}">
                    <a16:creationId xmlns:a16="http://schemas.microsoft.com/office/drawing/2014/main" id="{80D21EF4-03A1-402E-BA6C-B73BD48989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6" y="355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90" name="Freeform 504">
                <a:extLst>
                  <a:ext uri="{FF2B5EF4-FFF2-40B4-BE49-F238E27FC236}">
                    <a16:creationId xmlns:a16="http://schemas.microsoft.com/office/drawing/2014/main" id="{FB2E5C85-36D1-43AF-9CC6-D40A256BF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3" y="3566"/>
                <a:ext cx="12" cy="8"/>
              </a:xfrm>
              <a:custGeom>
                <a:avLst/>
                <a:gdLst>
                  <a:gd name="T0" fmla="*/ 6 w 12"/>
                  <a:gd name="T1" fmla="*/ 4 h 8"/>
                  <a:gd name="T2" fmla="*/ 10 w 12"/>
                  <a:gd name="T3" fmla="*/ 8 h 8"/>
                  <a:gd name="T4" fmla="*/ 12 w 12"/>
                  <a:gd name="T5" fmla="*/ 8 h 8"/>
                  <a:gd name="T6" fmla="*/ 10 w 12"/>
                  <a:gd name="T7" fmla="*/ 8 h 8"/>
                  <a:gd name="T8" fmla="*/ 6 w 12"/>
                  <a:gd name="T9" fmla="*/ 4 h 8"/>
                  <a:gd name="T10" fmla="*/ 0 w 12"/>
                  <a:gd name="T11" fmla="*/ 0 h 8"/>
                  <a:gd name="T12" fmla="*/ 0 w 12"/>
                  <a:gd name="T13" fmla="*/ 0 h 8"/>
                  <a:gd name="T14" fmla="*/ 0 w 12"/>
                  <a:gd name="T15" fmla="*/ 0 h 8"/>
                  <a:gd name="T16" fmla="*/ 6 w 12"/>
                  <a:gd name="T1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8">
                    <a:moveTo>
                      <a:pt x="6" y="4"/>
                    </a:moveTo>
                    <a:lnTo>
                      <a:pt x="10" y="8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91" name="Freeform 505">
                <a:extLst>
                  <a:ext uri="{FF2B5EF4-FFF2-40B4-BE49-F238E27FC236}">
                    <a16:creationId xmlns:a16="http://schemas.microsoft.com/office/drawing/2014/main" id="{3FEAAAF4-2E62-42AC-AEEF-95C3AB780C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3" y="3566"/>
                <a:ext cx="8" cy="6"/>
              </a:xfrm>
              <a:custGeom>
                <a:avLst/>
                <a:gdLst>
                  <a:gd name="T0" fmla="*/ 6 w 8"/>
                  <a:gd name="T1" fmla="*/ 6 h 6"/>
                  <a:gd name="T2" fmla="*/ 8 w 8"/>
                  <a:gd name="T3" fmla="*/ 6 h 6"/>
                  <a:gd name="T4" fmla="*/ 6 w 8"/>
                  <a:gd name="T5" fmla="*/ 6 h 6"/>
                  <a:gd name="T6" fmla="*/ 0 w 8"/>
                  <a:gd name="T7" fmla="*/ 0 h 6"/>
                  <a:gd name="T8" fmla="*/ 0 w 8"/>
                  <a:gd name="T9" fmla="*/ 0 h 6"/>
                  <a:gd name="T10" fmla="*/ 0 w 8"/>
                  <a:gd name="T11" fmla="*/ 0 h 6"/>
                  <a:gd name="T12" fmla="*/ 6 w 8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6" y="6"/>
                    </a:moveTo>
                    <a:lnTo>
                      <a:pt x="8" y="6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92" name="Freeform 506">
                <a:extLst>
                  <a:ext uri="{FF2B5EF4-FFF2-40B4-BE49-F238E27FC236}">
                    <a16:creationId xmlns:a16="http://schemas.microsoft.com/office/drawing/2014/main" id="{E8C87106-7C87-4707-8A31-955BC1059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8" y="3564"/>
                <a:ext cx="24" cy="12"/>
              </a:xfrm>
              <a:custGeom>
                <a:avLst/>
                <a:gdLst>
                  <a:gd name="T0" fmla="*/ 18 w 24"/>
                  <a:gd name="T1" fmla="*/ 6 h 12"/>
                  <a:gd name="T2" fmla="*/ 24 w 24"/>
                  <a:gd name="T3" fmla="*/ 0 h 12"/>
                  <a:gd name="T4" fmla="*/ 24 w 24"/>
                  <a:gd name="T5" fmla="*/ 0 h 12"/>
                  <a:gd name="T6" fmla="*/ 24 w 24"/>
                  <a:gd name="T7" fmla="*/ 0 h 12"/>
                  <a:gd name="T8" fmla="*/ 18 w 24"/>
                  <a:gd name="T9" fmla="*/ 6 h 12"/>
                  <a:gd name="T10" fmla="*/ 10 w 24"/>
                  <a:gd name="T11" fmla="*/ 6 h 12"/>
                  <a:gd name="T12" fmla="*/ 0 w 24"/>
                  <a:gd name="T13" fmla="*/ 12 h 12"/>
                  <a:gd name="T14" fmla="*/ 10 w 24"/>
                  <a:gd name="T15" fmla="*/ 6 h 12"/>
                  <a:gd name="T16" fmla="*/ 18 w 24"/>
                  <a:gd name="T1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12">
                    <a:moveTo>
                      <a:pt x="18" y="6"/>
                    </a:move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6"/>
                    </a:lnTo>
                    <a:lnTo>
                      <a:pt x="10" y="6"/>
                    </a:lnTo>
                    <a:lnTo>
                      <a:pt x="0" y="12"/>
                    </a:lnTo>
                    <a:lnTo>
                      <a:pt x="10" y="6"/>
                    </a:lnTo>
                    <a:lnTo>
                      <a:pt x="18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93" name="Rectangle 507">
                <a:extLst>
                  <a:ext uri="{FF2B5EF4-FFF2-40B4-BE49-F238E27FC236}">
                    <a16:creationId xmlns:a16="http://schemas.microsoft.com/office/drawing/2014/main" id="{45A36ED0-2106-420B-9523-C14C98B185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93" y="357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94" name="Freeform 508">
                <a:extLst>
                  <a:ext uri="{FF2B5EF4-FFF2-40B4-BE49-F238E27FC236}">
                    <a16:creationId xmlns:a16="http://schemas.microsoft.com/office/drawing/2014/main" id="{B3E40820-7749-45DA-999B-2405561985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" y="3562"/>
                <a:ext cx="6" cy="0"/>
              </a:xfrm>
              <a:custGeom>
                <a:avLst/>
                <a:gdLst>
                  <a:gd name="T0" fmla="*/ 6 w 6"/>
                  <a:gd name="T1" fmla="*/ 2 w 6"/>
                  <a:gd name="T2" fmla="*/ 0 w 6"/>
                  <a:gd name="T3" fmla="*/ 2 w 6"/>
                  <a:gd name="T4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95" name="Freeform 509">
                <a:extLst>
                  <a:ext uri="{FF2B5EF4-FFF2-40B4-BE49-F238E27FC236}">
                    <a16:creationId xmlns:a16="http://schemas.microsoft.com/office/drawing/2014/main" id="{E8355B2D-C95D-4426-8D7B-88860EA4E1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" y="3576"/>
                <a:ext cx="19" cy="27"/>
              </a:xfrm>
              <a:custGeom>
                <a:avLst/>
                <a:gdLst>
                  <a:gd name="T0" fmla="*/ 19 w 19"/>
                  <a:gd name="T1" fmla="*/ 0 h 27"/>
                  <a:gd name="T2" fmla="*/ 19 w 19"/>
                  <a:gd name="T3" fmla="*/ 0 h 27"/>
                  <a:gd name="T4" fmla="*/ 14 w 19"/>
                  <a:gd name="T5" fmla="*/ 4 h 27"/>
                  <a:gd name="T6" fmla="*/ 0 w 19"/>
                  <a:gd name="T7" fmla="*/ 27 h 27"/>
                  <a:gd name="T8" fmla="*/ 14 w 19"/>
                  <a:gd name="T9" fmla="*/ 4 h 27"/>
                  <a:gd name="T10" fmla="*/ 19 w 19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7">
                    <a:moveTo>
                      <a:pt x="19" y="0"/>
                    </a:moveTo>
                    <a:lnTo>
                      <a:pt x="19" y="0"/>
                    </a:lnTo>
                    <a:lnTo>
                      <a:pt x="14" y="4"/>
                    </a:lnTo>
                    <a:lnTo>
                      <a:pt x="0" y="27"/>
                    </a:lnTo>
                    <a:lnTo>
                      <a:pt x="14" y="4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96" name="Freeform 510">
                <a:extLst>
                  <a:ext uri="{FF2B5EF4-FFF2-40B4-BE49-F238E27FC236}">
                    <a16:creationId xmlns:a16="http://schemas.microsoft.com/office/drawing/2014/main" id="{EB52B29C-71A8-446D-9F5B-E5A3BC4F1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2" y="3562"/>
                <a:ext cx="84" cy="12"/>
              </a:xfrm>
              <a:custGeom>
                <a:avLst/>
                <a:gdLst>
                  <a:gd name="T0" fmla="*/ 80 w 84"/>
                  <a:gd name="T1" fmla="*/ 0 h 12"/>
                  <a:gd name="T2" fmla="*/ 84 w 84"/>
                  <a:gd name="T3" fmla="*/ 0 h 12"/>
                  <a:gd name="T4" fmla="*/ 80 w 84"/>
                  <a:gd name="T5" fmla="*/ 0 h 12"/>
                  <a:gd name="T6" fmla="*/ 68 w 84"/>
                  <a:gd name="T7" fmla="*/ 4 h 12"/>
                  <a:gd name="T8" fmla="*/ 0 w 84"/>
                  <a:gd name="T9" fmla="*/ 12 h 12"/>
                  <a:gd name="T10" fmla="*/ 68 w 84"/>
                  <a:gd name="T11" fmla="*/ 4 h 12"/>
                  <a:gd name="T12" fmla="*/ 80 w 84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80" y="0"/>
                    </a:moveTo>
                    <a:lnTo>
                      <a:pt x="84" y="0"/>
                    </a:lnTo>
                    <a:lnTo>
                      <a:pt x="80" y="0"/>
                    </a:lnTo>
                    <a:lnTo>
                      <a:pt x="68" y="4"/>
                    </a:lnTo>
                    <a:lnTo>
                      <a:pt x="0" y="12"/>
                    </a:lnTo>
                    <a:lnTo>
                      <a:pt x="68" y="4"/>
                    </a:lnTo>
                    <a:lnTo>
                      <a:pt x="8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97" name="Freeform 511">
                <a:extLst>
                  <a:ext uri="{FF2B5EF4-FFF2-40B4-BE49-F238E27FC236}">
                    <a16:creationId xmlns:a16="http://schemas.microsoft.com/office/drawing/2014/main" id="{AF724C51-C167-4A85-84FC-1AFAA81D66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4" y="353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98" name="Freeform 512">
                <a:extLst>
                  <a:ext uri="{FF2B5EF4-FFF2-40B4-BE49-F238E27FC236}">
                    <a16:creationId xmlns:a16="http://schemas.microsoft.com/office/drawing/2014/main" id="{D786A4EE-2AD7-4567-BBBA-04E47EBABD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" y="3609"/>
                <a:ext cx="39" cy="14"/>
              </a:xfrm>
              <a:custGeom>
                <a:avLst/>
                <a:gdLst>
                  <a:gd name="T0" fmla="*/ 8 w 39"/>
                  <a:gd name="T1" fmla="*/ 12 h 14"/>
                  <a:gd name="T2" fmla="*/ 10 w 39"/>
                  <a:gd name="T3" fmla="*/ 12 h 14"/>
                  <a:gd name="T4" fmla="*/ 21 w 39"/>
                  <a:gd name="T5" fmla="*/ 10 h 14"/>
                  <a:gd name="T6" fmla="*/ 33 w 39"/>
                  <a:gd name="T7" fmla="*/ 6 h 14"/>
                  <a:gd name="T8" fmla="*/ 33 w 39"/>
                  <a:gd name="T9" fmla="*/ 6 h 14"/>
                  <a:gd name="T10" fmla="*/ 33 w 39"/>
                  <a:gd name="T11" fmla="*/ 6 h 14"/>
                  <a:gd name="T12" fmla="*/ 39 w 39"/>
                  <a:gd name="T13" fmla="*/ 0 h 14"/>
                  <a:gd name="T14" fmla="*/ 33 w 39"/>
                  <a:gd name="T15" fmla="*/ 6 h 14"/>
                  <a:gd name="T16" fmla="*/ 33 w 39"/>
                  <a:gd name="T17" fmla="*/ 6 h 14"/>
                  <a:gd name="T18" fmla="*/ 33 w 39"/>
                  <a:gd name="T19" fmla="*/ 6 h 14"/>
                  <a:gd name="T20" fmla="*/ 21 w 39"/>
                  <a:gd name="T21" fmla="*/ 10 h 14"/>
                  <a:gd name="T22" fmla="*/ 10 w 39"/>
                  <a:gd name="T23" fmla="*/ 12 h 14"/>
                  <a:gd name="T24" fmla="*/ 8 w 39"/>
                  <a:gd name="T25" fmla="*/ 12 h 14"/>
                  <a:gd name="T26" fmla="*/ 2 w 39"/>
                  <a:gd name="T27" fmla="*/ 14 h 14"/>
                  <a:gd name="T28" fmla="*/ 0 w 39"/>
                  <a:gd name="T29" fmla="*/ 12 h 14"/>
                  <a:gd name="T30" fmla="*/ 2 w 39"/>
                  <a:gd name="T31" fmla="*/ 14 h 14"/>
                  <a:gd name="T32" fmla="*/ 8 w 39"/>
                  <a:gd name="T33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" h="14">
                    <a:moveTo>
                      <a:pt x="8" y="12"/>
                    </a:moveTo>
                    <a:lnTo>
                      <a:pt x="10" y="12"/>
                    </a:lnTo>
                    <a:lnTo>
                      <a:pt x="21" y="10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9" y="0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21" y="10"/>
                    </a:lnTo>
                    <a:lnTo>
                      <a:pt x="10" y="12"/>
                    </a:lnTo>
                    <a:lnTo>
                      <a:pt x="8" y="12"/>
                    </a:lnTo>
                    <a:lnTo>
                      <a:pt x="2" y="14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99" name="Freeform 513">
                <a:extLst>
                  <a:ext uri="{FF2B5EF4-FFF2-40B4-BE49-F238E27FC236}">
                    <a16:creationId xmlns:a16="http://schemas.microsoft.com/office/drawing/2014/main" id="{6D408BEB-F41E-44A3-9D38-4EF213119C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9" y="3554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00" name="Freeform 514">
                <a:extLst>
                  <a:ext uri="{FF2B5EF4-FFF2-40B4-BE49-F238E27FC236}">
                    <a16:creationId xmlns:a16="http://schemas.microsoft.com/office/drawing/2014/main" id="{B92DCC6D-3A22-466F-B078-9C32888AF7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3182"/>
                <a:ext cx="4" cy="1"/>
              </a:xfrm>
              <a:custGeom>
                <a:avLst/>
                <a:gdLst>
                  <a:gd name="T0" fmla="*/ 4 w 4"/>
                  <a:gd name="T1" fmla="*/ 1 h 1"/>
                  <a:gd name="T2" fmla="*/ 4 w 4"/>
                  <a:gd name="T3" fmla="*/ 1 h 1"/>
                  <a:gd name="T4" fmla="*/ 0 w 4"/>
                  <a:gd name="T5" fmla="*/ 0 h 1"/>
                  <a:gd name="T6" fmla="*/ 0 w 4"/>
                  <a:gd name="T7" fmla="*/ 0 h 1"/>
                  <a:gd name="T8" fmla="*/ 0 w 4"/>
                  <a:gd name="T9" fmla="*/ 0 h 1"/>
                  <a:gd name="T10" fmla="*/ 0 w 4"/>
                  <a:gd name="T11" fmla="*/ 0 h 1"/>
                  <a:gd name="T12" fmla="*/ 4 w 4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">
                    <a:moveTo>
                      <a:pt x="4" y="1"/>
                    </a:moveTo>
                    <a:lnTo>
                      <a:pt x="4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01" name="Freeform 515">
                <a:extLst>
                  <a:ext uri="{FF2B5EF4-FFF2-40B4-BE49-F238E27FC236}">
                    <a16:creationId xmlns:a16="http://schemas.microsoft.com/office/drawing/2014/main" id="{EDBC8C6D-AB26-41AC-BB01-14C9B56E2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2" y="355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02" name="Freeform 516">
                <a:extLst>
                  <a:ext uri="{FF2B5EF4-FFF2-40B4-BE49-F238E27FC236}">
                    <a16:creationId xmlns:a16="http://schemas.microsoft.com/office/drawing/2014/main" id="{950FFA53-27F8-4125-B4B5-B473168192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4" y="3558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0 h 2"/>
                  <a:gd name="T4" fmla="*/ 0 w 4"/>
                  <a:gd name="T5" fmla="*/ 2 h 2"/>
                  <a:gd name="T6" fmla="*/ 2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03" name="Freeform 517">
                <a:extLst>
                  <a:ext uri="{FF2B5EF4-FFF2-40B4-BE49-F238E27FC236}">
                    <a16:creationId xmlns:a16="http://schemas.microsoft.com/office/drawing/2014/main" id="{B2853FF0-A4E6-430E-BE72-E95D4067EC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" y="3533"/>
                <a:ext cx="12" cy="12"/>
              </a:xfrm>
              <a:custGeom>
                <a:avLst/>
                <a:gdLst>
                  <a:gd name="T0" fmla="*/ 8 w 12"/>
                  <a:gd name="T1" fmla="*/ 8 h 12"/>
                  <a:gd name="T2" fmla="*/ 12 w 12"/>
                  <a:gd name="T3" fmla="*/ 12 h 12"/>
                  <a:gd name="T4" fmla="*/ 8 w 12"/>
                  <a:gd name="T5" fmla="*/ 8 h 12"/>
                  <a:gd name="T6" fmla="*/ 2 w 12"/>
                  <a:gd name="T7" fmla="*/ 0 h 12"/>
                  <a:gd name="T8" fmla="*/ 0 w 12"/>
                  <a:gd name="T9" fmla="*/ 0 h 12"/>
                  <a:gd name="T10" fmla="*/ 2 w 12"/>
                  <a:gd name="T11" fmla="*/ 0 h 12"/>
                  <a:gd name="T12" fmla="*/ 8 w 12"/>
                  <a:gd name="T13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2">
                    <a:moveTo>
                      <a:pt x="8" y="8"/>
                    </a:moveTo>
                    <a:lnTo>
                      <a:pt x="12" y="12"/>
                    </a:lnTo>
                    <a:lnTo>
                      <a:pt x="8" y="8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04" name="Freeform 518">
                <a:extLst>
                  <a:ext uri="{FF2B5EF4-FFF2-40B4-BE49-F238E27FC236}">
                    <a16:creationId xmlns:a16="http://schemas.microsoft.com/office/drawing/2014/main" id="{BEE9F476-998E-4436-8D23-68AC13C330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5" y="3549"/>
                <a:ext cx="12" cy="4"/>
              </a:xfrm>
              <a:custGeom>
                <a:avLst/>
                <a:gdLst>
                  <a:gd name="T0" fmla="*/ 2 w 12"/>
                  <a:gd name="T1" fmla="*/ 2 h 4"/>
                  <a:gd name="T2" fmla="*/ 4 w 12"/>
                  <a:gd name="T3" fmla="*/ 2 h 4"/>
                  <a:gd name="T4" fmla="*/ 10 w 12"/>
                  <a:gd name="T5" fmla="*/ 0 h 4"/>
                  <a:gd name="T6" fmla="*/ 12 w 12"/>
                  <a:gd name="T7" fmla="*/ 2 h 4"/>
                  <a:gd name="T8" fmla="*/ 10 w 12"/>
                  <a:gd name="T9" fmla="*/ 0 h 4"/>
                  <a:gd name="T10" fmla="*/ 4 w 12"/>
                  <a:gd name="T11" fmla="*/ 2 h 4"/>
                  <a:gd name="T12" fmla="*/ 2 w 12"/>
                  <a:gd name="T13" fmla="*/ 2 h 4"/>
                  <a:gd name="T14" fmla="*/ 0 w 12"/>
                  <a:gd name="T15" fmla="*/ 4 h 4"/>
                  <a:gd name="T16" fmla="*/ 0 w 12"/>
                  <a:gd name="T17" fmla="*/ 4 h 4"/>
                  <a:gd name="T18" fmla="*/ 0 w 12"/>
                  <a:gd name="T19" fmla="*/ 4 h 4"/>
                  <a:gd name="T20" fmla="*/ 2 w 12"/>
                  <a:gd name="T2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4">
                    <a:moveTo>
                      <a:pt x="2" y="2"/>
                    </a:moveTo>
                    <a:lnTo>
                      <a:pt x="4" y="2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05" name="Freeform 519">
                <a:extLst>
                  <a:ext uri="{FF2B5EF4-FFF2-40B4-BE49-F238E27FC236}">
                    <a16:creationId xmlns:a16="http://schemas.microsoft.com/office/drawing/2014/main" id="{F59F7AF6-09FD-4893-A9D9-B23D0403C2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" y="3527"/>
                <a:ext cx="8" cy="2"/>
              </a:xfrm>
              <a:custGeom>
                <a:avLst/>
                <a:gdLst>
                  <a:gd name="T0" fmla="*/ 8 w 8"/>
                  <a:gd name="T1" fmla="*/ 2 h 2"/>
                  <a:gd name="T2" fmla="*/ 0 w 8"/>
                  <a:gd name="T3" fmla="*/ 0 h 2"/>
                  <a:gd name="T4" fmla="*/ 0 w 8"/>
                  <a:gd name="T5" fmla="*/ 0 h 2"/>
                  <a:gd name="T6" fmla="*/ 0 w 8"/>
                  <a:gd name="T7" fmla="*/ 0 h 2"/>
                  <a:gd name="T8" fmla="*/ 8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8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06" name="Freeform 520">
                <a:extLst>
                  <a:ext uri="{FF2B5EF4-FFF2-40B4-BE49-F238E27FC236}">
                    <a16:creationId xmlns:a16="http://schemas.microsoft.com/office/drawing/2014/main" id="{94839660-ED2E-454F-A400-6464F98E81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9" y="3551"/>
                <a:ext cx="16" cy="2"/>
              </a:xfrm>
              <a:custGeom>
                <a:avLst/>
                <a:gdLst>
                  <a:gd name="T0" fmla="*/ 16 w 16"/>
                  <a:gd name="T1" fmla="*/ 2 h 2"/>
                  <a:gd name="T2" fmla="*/ 10 w 16"/>
                  <a:gd name="T3" fmla="*/ 0 h 2"/>
                  <a:gd name="T4" fmla="*/ 0 w 16"/>
                  <a:gd name="T5" fmla="*/ 0 h 2"/>
                  <a:gd name="T6" fmla="*/ 10 w 16"/>
                  <a:gd name="T7" fmla="*/ 0 h 2"/>
                  <a:gd name="T8" fmla="*/ 16 w 1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">
                    <a:moveTo>
                      <a:pt x="16" y="2"/>
                    </a:moveTo>
                    <a:lnTo>
                      <a:pt x="10" y="0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07" name="Freeform 521">
                <a:extLst>
                  <a:ext uri="{FF2B5EF4-FFF2-40B4-BE49-F238E27FC236}">
                    <a16:creationId xmlns:a16="http://schemas.microsoft.com/office/drawing/2014/main" id="{C9DEE0FE-164A-491B-A1E9-C8155002A2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4" y="3560"/>
                <a:ext cx="23" cy="6"/>
              </a:xfrm>
              <a:custGeom>
                <a:avLst/>
                <a:gdLst>
                  <a:gd name="T0" fmla="*/ 4 w 23"/>
                  <a:gd name="T1" fmla="*/ 6 h 6"/>
                  <a:gd name="T2" fmla="*/ 20 w 23"/>
                  <a:gd name="T3" fmla="*/ 0 h 6"/>
                  <a:gd name="T4" fmla="*/ 23 w 23"/>
                  <a:gd name="T5" fmla="*/ 0 h 6"/>
                  <a:gd name="T6" fmla="*/ 20 w 23"/>
                  <a:gd name="T7" fmla="*/ 0 h 6"/>
                  <a:gd name="T8" fmla="*/ 4 w 23"/>
                  <a:gd name="T9" fmla="*/ 6 h 6"/>
                  <a:gd name="T10" fmla="*/ 0 w 23"/>
                  <a:gd name="T11" fmla="*/ 6 h 6"/>
                  <a:gd name="T12" fmla="*/ 0 w 23"/>
                  <a:gd name="T13" fmla="*/ 6 h 6"/>
                  <a:gd name="T14" fmla="*/ 4 w 23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6">
                    <a:moveTo>
                      <a:pt x="4" y="6"/>
                    </a:moveTo>
                    <a:lnTo>
                      <a:pt x="20" y="0"/>
                    </a:lnTo>
                    <a:lnTo>
                      <a:pt x="23" y="0"/>
                    </a:lnTo>
                    <a:lnTo>
                      <a:pt x="20" y="0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08" name="Freeform 522">
                <a:extLst>
                  <a:ext uri="{FF2B5EF4-FFF2-40B4-BE49-F238E27FC236}">
                    <a16:creationId xmlns:a16="http://schemas.microsoft.com/office/drawing/2014/main" id="{E93EBDCB-F6ED-4037-B008-C574965AE6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8" y="3553"/>
                <a:ext cx="15" cy="5"/>
              </a:xfrm>
              <a:custGeom>
                <a:avLst/>
                <a:gdLst>
                  <a:gd name="T0" fmla="*/ 13 w 15"/>
                  <a:gd name="T1" fmla="*/ 3 h 5"/>
                  <a:gd name="T2" fmla="*/ 13 w 15"/>
                  <a:gd name="T3" fmla="*/ 3 h 5"/>
                  <a:gd name="T4" fmla="*/ 13 w 15"/>
                  <a:gd name="T5" fmla="*/ 3 h 5"/>
                  <a:gd name="T6" fmla="*/ 15 w 15"/>
                  <a:gd name="T7" fmla="*/ 1 h 5"/>
                  <a:gd name="T8" fmla="*/ 15 w 15"/>
                  <a:gd name="T9" fmla="*/ 1 h 5"/>
                  <a:gd name="T10" fmla="*/ 15 w 15"/>
                  <a:gd name="T11" fmla="*/ 1 h 5"/>
                  <a:gd name="T12" fmla="*/ 13 w 15"/>
                  <a:gd name="T13" fmla="*/ 3 h 5"/>
                  <a:gd name="T14" fmla="*/ 13 w 15"/>
                  <a:gd name="T15" fmla="*/ 3 h 5"/>
                  <a:gd name="T16" fmla="*/ 13 w 15"/>
                  <a:gd name="T17" fmla="*/ 3 h 5"/>
                  <a:gd name="T18" fmla="*/ 10 w 15"/>
                  <a:gd name="T19" fmla="*/ 5 h 5"/>
                  <a:gd name="T20" fmla="*/ 0 w 15"/>
                  <a:gd name="T21" fmla="*/ 0 h 5"/>
                  <a:gd name="T22" fmla="*/ 10 w 15"/>
                  <a:gd name="T23" fmla="*/ 5 h 5"/>
                  <a:gd name="T24" fmla="*/ 13 w 15"/>
                  <a:gd name="T2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" h="5">
                    <a:moveTo>
                      <a:pt x="13" y="3"/>
                    </a:moveTo>
                    <a:lnTo>
                      <a:pt x="13" y="3"/>
                    </a:lnTo>
                    <a:lnTo>
                      <a:pt x="13" y="3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3" y="3"/>
                    </a:lnTo>
                    <a:lnTo>
                      <a:pt x="13" y="3"/>
                    </a:lnTo>
                    <a:lnTo>
                      <a:pt x="13" y="3"/>
                    </a:lnTo>
                    <a:lnTo>
                      <a:pt x="10" y="5"/>
                    </a:lnTo>
                    <a:lnTo>
                      <a:pt x="0" y="0"/>
                    </a:lnTo>
                    <a:lnTo>
                      <a:pt x="10" y="5"/>
                    </a:lnTo>
                    <a:lnTo>
                      <a:pt x="13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09" name="Freeform 523">
                <a:extLst>
                  <a:ext uri="{FF2B5EF4-FFF2-40B4-BE49-F238E27FC236}">
                    <a16:creationId xmlns:a16="http://schemas.microsoft.com/office/drawing/2014/main" id="{D0FFB3B0-D691-4B91-A270-448D386768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9" y="702"/>
                <a:ext cx="82" cy="129"/>
              </a:xfrm>
              <a:custGeom>
                <a:avLst/>
                <a:gdLst>
                  <a:gd name="T0" fmla="*/ 21 w 82"/>
                  <a:gd name="T1" fmla="*/ 14 h 129"/>
                  <a:gd name="T2" fmla="*/ 19 w 82"/>
                  <a:gd name="T3" fmla="*/ 19 h 129"/>
                  <a:gd name="T4" fmla="*/ 16 w 82"/>
                  <a:gd name="T5" fmla="*/ 31 h 129"/>
                  <a:gd name="T6" fmla="*/ 14 w 82"/>
                  <a:gd name="T7" fmla="*/ 43 h 129"/>
                  <a:gd name="T8" fmla="*/ 12 w 82"/>
                  <a:gd name="T9" fmla="*/ 49 h 129"/>
                  <a:gd name="T10" fmla="*/ 12 w 82"/>
                  <a:gd name="T11" fmla="*/ 51 h 129"/>
                  <a:gd name="T12" fmla="*/ 12 w 82"/>
                  <a:gd name="T13" fmla="*/ 53 h 129"/>
                  <a:gd name="T14" fmla="*/ 12 w 82"/>
                  <a:gd name="T15" fmla="*/ 55 h 129"/>
                  <a:gd name="T16" fmla="*/ 6 w 82"/>
                  <a:gd name="T17" fmla="*/ 68 h 129"/>
                  <a:gd name="T18" fmla="*/ 0 w 82"/>
                  <a:gd name="T19" fmla="*/ 78 h 129"/>
                  <a:gd name="T20" fmla="*/ 0 w 82"/>
                  <a:gd name="T21" fmla="*/ 82 h 129"/>
                  <a:gd name="T22" fmla="*/ 2 w 82"/>
                  <a:gd name="T23" fmla="*/ 86 h 129"/>
                  <a:gd name="T24" fmla="*/ 2 w 82"/>
                  <a:gd name="T25" fmla="*/ 86 h 129"/>
                  <a:gd name="T26" fmla="*/ 2 w 82"/>
                  <a:gd name="T27" fmla="*/ 92 h 129"/>
                  <a:gd name="T28" fmla="*/ 4 w 82"/>
                  <a:gd name="T29" fmla="*/ 98 h 129"/>
                  <a:gd name="T30" fmla="*/ 6 w 82"/>
                  <a:gd name="T31" fmla="*/ 101 h 129"/>
                  <a:gd name="T32" fmla="*/ 8 w 82"/>
                  <a:gd name="T33" fmla="*/ 105 h 129"/>
                  <a:gd name="T34" fmla="*/ 10 w 82"/>
                  <a:gd name="T35" fmla="*/ 121 h 129"/>
                  <a:gd name="T36" fmla="*/ 12 w 82"/>
                  <a:gd name="T37" fmla="*/ 125 h 129"/>
                  <a:gd name="T38" fmla="*/ 16 w 82"/>
                  <a:gd name="T39" fmla="*/ 129 h 129"/>
                  <a:gd name="T40" fmla="*/ 19 w 82"/>
                  <a:gd name="T41" fmla="*/ 127 h 129"/>
                  <a:gd name="T42" fmla="*/ 23 w 82"/>
                  <a:gd name="T43" fmla="*/ 125 h 129"/>
                  <a:gd name="T44" fmla="*/ 27 w 82"/>
                  <a:gd name="T45" fmla="*/ 121 h 129"/>
                  <a:gd name="T46" fmla="*/ 31 w 82"/>
                  <a:gd name="T47" fmla="*/ 117 h 129"/>
                  <a:gd name="T48" fmla="*/ 29 w 82"/>
                  <a:gd name="T49" fmla="*/ 117 h 129"/>
                  <a:gd name="T50" fmla="*/ 29 w 82"/>
                  <a:gd name="T51" fmla="*/ 113 h 129"/>
                  <a:gd name="T52" fmla="*/ 29 w 82"/>
                  <a:gd name="T53" fmla="*/ 109 h 129"/>
                  <a:gd name="T54" fmla="*/ 31 w 82"/>
                  <a:gd name="T55" fmla="*/ 105 h 129"/>
                  <a:gd name="T56" fmla="*/ 31 w 82"/>
                  <a:gd name="T57" fmla="*/ 101 h 129"/>
                  <a:gd name="T58" fmla="*/ 33 w 82"/>
                  <a:gd name="T59" fmla="*/ 96 h 129"/>
                  <a:gd name="T60" fmla="*/ 43 w 82"/>
                  <a:gd name="T61" fmla="*/ 72 h 129"/>
                  <a:gd name="T62" fmla="*/ 45 w 82"/>
                  <a:gd name="T63" fmla="*/ 68 h 129"/>
                  <a:gd name="T64" fmla="*/ 57 w 82"/>
                  <a:gd name="T65" fmla="*/ 58 h 129"/>
                  <a:gd name="T66" fmla="*/ 58 w 82"/>
                  <a:gd name="T67" fmla="*/ 55 h 129"/>
                  <a:gd name="T68" fmla="*/ 60 w 82"/>
                  <a:gd name="T69" fmla="*/ 47 h 129"/>
                  <a:gd name="T70" fmla="*/ 62 w 82"/>
                  <a:gd name="T71" fmla="*/ 41 h 129"/>
                  <a:gd name="T72" fmla="*/ 68 w 82"/>
                  <a:gd name="T73" fmla="*/ 31 h 129"/>
                  <a:gd name="T74" fmla="*/ 72 w 82"/>
                  <a:gd name="T75" fmla="*/ 27 h 129"/>
                  <a:gd name="T76" fmla="*/ 74 w 82"/>
                  <a:gd name="T77" fmla="*/ 25 h 129"/>
                  <a:gd name="T78" fmla="*/ 76 w 82"/>
                  <a:gd name="T79" fmla="*/ 12 h 129"/>
                  <a:gd name="T80" fmla="*/ 76 w 82"/>
                  <a:gd name="T81" fmla="*/ 10 h 129"/>
                  <a:gd name="T82" fmla="*/ 82 w 82"/>
                  <a:gd name="T83" fmla="*/ 0 h 129"/>
                  <a:gd name="T84" fmla="*/ 21 w 82"/>
                  <a:gd name="T85" fmla="*/ 0 h 129"/>
                  <a:gd name="T86" fmla="*/ 21 w 82"/>
                  <a:gd name="T87" fmla="*/ 4 h 129"/>
                  <a:gd name="T88" fmla="*/ 21 w 82"/>
                  <a:gd name="T89" fmla="*/ 14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2" h="129">
                    <a:moveTo>
                      <a:pt x="21" y="14"/>
                    </a:moveTo>
                    <a:lnTo>
                      <a:pt x="19" y="19"/>
                    </a:lnTo>
                    <a:lnTo>
                      <a:pt x="16" y="31"/>
                    </a:lnTo>
                    <a:lnTo>
                      <a:pt x="14" y="43"/>
                    </a:lnTo>
                    <a:lnTo>
                      <a:pt x="12" y="49"/>
                    </a:lnTo>
                    <a:lnTo>
                      <a:pt x="12" y="51"/>
                    </a:lnTo>
                    <a:lnTo>
                      <a:pt x="12" y="53"/>
                    </a:lnTo>
                    <a:lnTo>
                      <a:pt x="12" y="55"/>
                    </a:lnTo>
                    <a:lnTo>
                      <a:pt x="6" y="68"/>
                    </a:lnTo>
                    <a:lnTo>
                      <a:pt x="0" y="78"/>
                    </a:lnTo>
                    <a:lnTo>
                      <a:pt x="0" y="82"/>
                    </a:lnTo>
                    <a:lnTo>
                      <a:pt x="2" y="86"/>
                    </a:lnTo>
                    <a:lnTo>
                      <a:pt x="2" y="86"/>
                    </a:lnTo>
                    <a:lnTo>
                      <a:pt x="2" y="92"/>
                    </a:lnTo>
                    <a:lnTo>
                      <a:pt x="4" y="98"/>
                    </a:lnTo>
                    <a:lnTo>
                      <a:pt x="6" y="101"/>
                    </a:lnTo>
                    <a:lnTo>
                      <a:pt x="8" y="105"/>
                    </a:lnTo>
                    <a:lnTo>
                      <a:pt x="10" y="121"/>
                    </a:lnTo>
                    <a:lnTo>
                      <a:pt x="12" y="125"/>
                    </a:lnTo>
                    <a:lnTo>
                      <a:pt x="16" y="129"/>
                    </a:lnTo>
                    <a:lnTo>
                      <a:pt x="19" y="127"/>
                    </a:lnTo>
                    <a:lnTo>
                      <a:pt x="23" y="125"/>
                    </a:lnTo>
                    <a:lnTo>
                      <a:pt x="27" y="121"/>
                    </a:lnTo>
                    <a:lnTo>
                      <a:pt x="31" y="117"/>
                    </a:lnTo>
                    <a:lnTo>
                      <a:pt x="29" y="117"/>
                    </a:lnTo>
                    <a:lnTo>
                      <a:pt x="29" y="113"/>
                    </a:lnTo>
                    <a:lnTo>
                      <a:pt x="29" y="109"/>
                    </a:lnTo>
                    <a:lnTo>
                      <a:pt x="31" y="105"/>
                    </a:lnTo>
                    <a:lnTo>
                      <a:pt x="31" y="101"/>
                    </a:lnTo>
                    <a:lnTo>
                      <a:pt x="33" y="96"/>
                    </a:lnTo>
                    <a:lnTo>
                      <a:pt x="43" y="72"/>
                    </a:lnTo>
                    <a:lnTo>
                      <a:pt x="45" y="68"/>
                    </a:lnTo>
                    <a:lnTo>
                      <a:pt x="57" y="58"/>
                    </a:lnTo>
                    <a:lnTo>
                      <a:pt x="58" y="55"/>
                    </a:lnTo>
                    <a:lnTo>
                      <a:pt x="60" y="47"/>
                    </a:lnTo>
                    <a:lnTo>
                      <a:pt x="62" y="41"/>
                    </a:lnTo>
                    <a:lnTo>
                      <a:pt x="68" y="31"/>
                    </a:lnTo>
                    <a:lnTo>
                      <a:pt x="72" y="27"/>
                    </a:lnTo>
                    <a:lnTo>
                      <a:pt x="74" y="25"/>
                    </a:lnTo>
                    <a:lnTo>
                      <a:pt x="76" y="12"/>
                    </a:lnTo>
                    <a:lnTo>
                      <a:pt x="76" y="10"/>
                    </a:lnTo>
                    <a:lnTo>
                      <a:pt x="82" y="0"/>
                    </a:lnTo>
                    <a:lnTo>
                      <a:pt x="21" y="0"/>
                    </a:lnTo>
                    <a:lnTo>
                      <a:pt x="21" y="4"/>
                    </a:lnTo>
                    <a:lnTo>
                      <a:pt x="21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10" name="Freeform 524">
                <a:extLst>
                  <a:ext uri="{FF2B5EF4-FFF2-40B4-BE49-F238E27FC236}">
                    <a16:creationId xmlns:a16="http://schemas.microsoft.com/office/drawing/2014/main" id="{2963AFB2-D07D-4704-88C1-FECD61B936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2633"/>
                <a:ext cx="12" cy="14"/>
              </a:xfrm>
              <a:custGeom>
                <a:avLst/>
                <a:gdLst>
                  <a:gd name="T0" fmla="*/ 6 w 12"/>
                  <a:gd name="T1" fmla="*/ 6 h 14"/>
                  <a:gd name="T2" fmla="*/ 12 w 12"/>
                  <a:gd name="T3" fmla="*/ 0 h 14"/>
                  <a:gd name="T4" fmla="*/ 6 w 12"/>
                  <a:gd name="T5" fmla="*/ 6 h 14"/>
                  <a:gd name="T6" fmla="*/ 2 w 12"/>
                  <a:gd name="T7" fmla="*/ 10 h 14"/>
                  <a:gd name="T8" fmla="*/ 0 w 12"/>
                  <a:gd name="T9" fmla="*/ 14 h 14"/>
                  <a:gd name="T10" fmla="*/ 2 w 12"/>
                  <a:gd name="T11" fmla="*/ 10 h 14"/>
                  <a:gd name="T12" fmla="*/ 6 w 12"/>
                  <a:gd name="T13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4">
                    <a:moveTo>
                      <a:pt x="6" y="6"/>
                    </a:moveTo>
                    <a:lnTo>
                      <a:pt x="12" y="0"/>
                    </a:lnTo>
                    <a:lnTo>
                      <a:pt x="6" y="6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11" name="Freeform 525">
                <a:extLst>
                  <a:ext uri="{FF2B5EF4-FFF2-40B4-BE49-F238E27FC236}">
                    <a16:creationId xmlns:a16="http://schemas.microsoft.com/office/drawing/2014/main" id="{C8434655-C0C1-4DC0-8666-75BF82E689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666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12" name="Freeform 526">
                <a:extLst>
                  <a:ext uri="{FF2B5EF4-FFF2-40B4-BE49-F238E27FC236}">
                    <a16:creationId xmlns:a16="http://schemas.microsoft.com/office/drawing/2014/main" id="{B2ADDA61-734F-41A4-953D-5A54B95545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" y="2670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0 h 4"/>
                  <a:gd name="T4" fmla="*/ 2 w 2"/>
                  <a:gd name="T5" fmla="*/ 4 h 4"/>
                  <a:gd name="T6" fmla="*/ 2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13" name="Freeform 527">
                <a:extLst>
                  <a:ext uri="{FF2B5EF4-FFF2-40B4-BE49-F238E27FC236}">
                    <a16:creationId xmlns:a16="http://schemas.microsoft.com/office/drawing/2014/main" id="{8D336B41-025D-49F3-B9CA-9C3E8C5A9A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5" y="2662"/>
                <a:ext cx="2" cy="8"/>
              </a:xfrm>
              <a:custGeom>
                <a:avLst/>
                <a:gdLst>
                  <a:gd name="T0" fmla="*/ 2 w 2"/>
                  <a:gd name="T1" fmla="*/ 8 h 8"/>
                  <a:gd name="T2" fmla="*/ 2 w 2"/>
                  <a:gd name="T3" fmla="*/ 4 h 8"/>
                  <a:gd name="T4" fmla="*/ 0 w 2"/>
                  <a:gd name="T5" fmla="*/ 0 h 8"/>
                  <a:gd name="T6" fmla="*/ 0 w 2"/>
                  <a:gd name="T7" fmla="*/ 0 h 8"/>
                  <a:gd name="T8" fmla="*/ 2 w 2"/>
                  <a:gd name="T9" fmla="*/ 4 h 8"/>
                  <a:gd name="T10" fmla="*/ 2 w 2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8">
                    <a:moveTo>
                      <a:pt x="2" y="8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14" name="Freeform 528">
                <a:extLst>
                  <a:ext uri="{FF2B5EF4-FFF2-40B4-BE49-F238E27FC236}">
                    <a16:creationId xmlns:a16="http://schemas.microsoft.com/office/drawing/2014/main" id="{F0B0B25A-B0BE-46BE-AB04-C2B26AB09D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8" y="2629"/>
                <a:ext cx="16" cy="4"/>
              </a:xfrm>
              <a:custGeom>
                <a:avLst/>
                <a:gdLst>
                  <a:gd name="T0" fmla="*/ 8 w 16"/>
                  <a:gd name="T1" fmla="*/ 0 h 4"/>
                  <a:gd name="T2" fmla="*/ 16 w 16"/>
                  <a:gd name="T3" fmla="*/ 0 h 4"/>
                  <a:gd name="T4" fmla="*/ 8 w 16"/>
                  <a:gd name="T5" fmla="*/ 0 h 4"/>
                  <a:gd name="T6" fmla="*/ 4 w 16"/>
                  <a:gd name="T7" fmla="*/ 2 h 4"/>
                  <a:gd name="T8" fmla="*/ 0 w 16"/>
                  <a:gd name="T9" fmla="*/ 4 h 4"/>
                  <a:gd name="T10" fmla="*/ 4 w 16"/>
                  <a:gd name="T11" fmla="*/ 2 h 4"/>
                  <a:gd name="T12" fmla="*/ 8 w 1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4">
                    <a:moveTo>
                      <a:pt x="8" y="0"/>
                    </a:moveTo>
                    <a:lnTo>
                      <a:pt x="16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15" name="Rectangle 529">
                <a:extLst>
                  <a:ext uri="{FF2B5EF4-FFF2-40B4-BE49-F238E27FC236}">
                    <a16:creationId xmlns:a16="http://schemas.microsoft.com/office/drawing/2014/main" id="{8730F611-8A39-4A24-A16C-707D2705CA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48" y="261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16" name="Freeform 530">
                <a:extLst>
                  <a:ext uri="{FF2B5EF4-FFF2-40B4-BE49-F238E27FC236}">
                    <a16:creationId xmlns:a16="http://schemas.microsoft.com/office/drawing/2014/main" id="{18D5364B-E169-4123-AAD5-2EFB563682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6" y="354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17" name="Rectangle 531">
                <a:extLst>
                  <a:ext uri="{FF2B5EF4-FFF2-40B4-BE49-F238E27FC236}">
                    <a16:creationId xmlns:a16="http://schemas.microsoft.com/office/drawing/2014/main" id="{C93C163A-01C3-4659-855F-D6EB6799B6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3" y="259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18" name="Freeform 532">
                <a:extLst>
                  <a:ext uri="{FF2B5EF4-FFF2-40B4-BE49-F238E27FC236}">
                    <a16:creationId xmlns:a16="http://schemas.microsoft.com/office/drawing/2014/main" id="{3285C27A-D0DF-473C-895D-C03BAE66E5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0" y="2629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19" name="Rectangle 533">
                <a:extLst>
                  <a:ext uri="{FF2B5EF4-FFF2-40B4-BE49-F238E27FC236}">
                    <a16:creationId xmlns:a16="http://schemas.microsoft.com/office/drawing/2014/main" id="{2F0C5CB6-DC44-4EB6-90CF-011D15FD3A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1" y="266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20" name="Rectangle 534">
                <a:extLst>
                  <a:ext uri="{FF2B5EF4-FFF2-40B4-BE49-F238E27FC236}">
                    <a16:creationId xmlns:a16="http://schemas.microsoft.com/office/drawing/2014/main" id="{E97DB644-9CCB-47B3-B84B-3D1C021555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1" y="260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21" name="Freeform 535">
                <a:extLst>
                  <a:ext uri="{FF2B5EF4-FFF2-40B4-BE49-F238E27FC236}">
                    <a16:creationId xmlns:a16="http://schemas.microsoft.com/office/drawing/2014/main" id="{AB5764B1-9AD6-4CD1-8B3B-79FC67BF86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7" y="2608"/>
                <a:ext cx="2" cy="5"/>
              </a:xfrm>
              <a:custGeom>
                <a:avLst/>
                <a:gdLst>
                  <a:gd name="T0" fmla="*/ 2 w 2"/>
                  <a:gd name="T1" fmla="*/ 3 h 5"/>
                  <a:gd name="T2" fmla="*/ 2 w 2"/>
                  <a:gd name="T3" fmla="*/ 5 h 5"/>
                  <a:gd name="T4" fmla="*/ 2 w 2"/>
                  <a:gd name="T5" fmla="*/ 3 h 5"/>
                  <a:gd name="T6" fmla="*/ 2 w 2"/>
                  <a:gd name="T7" fmla="*/ 1 h 5"/>
                  <a:gd name="T8" fmla="*/ 0 w 2"/>
                  <a:gd name="T9" fmla="*/ 0 h 5"/>
                  <a:gd name="T10" fmla="*/ 2 w 2"/>
                  <a:gd name="T11" fmla="*/ 1 h 5"/>
                  <a:gd name="T12" fmla="*/ 2 w 2"/>
                  <a:gd name="T13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5">
                    <a:moveTo>
                      <a:pt x="2" y="3"/>
                    </a:moveTo>
                    <a:lnTo>
                      <a:pt x="2" y="5"/>
                    </a:lnTo>
                    <a:lnTo>
                      <a:pt x="2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2" y="1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22" name="Freeform 536">
                <a:extLst>
                  <a:ext uri="{FF2B5EF4-FFF2-40B4-BE49-F238E27FC236}">
                    <a16:creationId xmlns:a16="http://schemas.microsoft.com/office/drawing/2014/main" id="{5150AB71-7D7A-4F7F-89BA-EFA247003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3" y="2609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2 w 4"/>
                  <a:gd name="T3" fmla="*/ 2 h 4"/>
                  <a:gd name="T4" fmla="*/ 0 w 4"/>
                  <a:gd name="T5" fmla="*/ 4 h 4"/>
                  <a:gd name="T6" fmla="*/ 2 w 4"/>
                  <a:gd name="T7" fmla="*/ 2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23" name="Freeform 537">
                <a:extLst>
                  <a:ext uri="{FF2B5EF4-FFF2-40B4-BE49-F238E27FC236}">
                    <a16:creationId xmlns:a16="http://schemas.microsoft.com/office/drawing/2014/main" id="{8031B9AB-3AA6-4F7D-8074-25A414D25B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2" y="2621"/>
                <a:ext cx="6" cy="6"/>
              </a:xfrm>
              <a:custGeom>
                <a:avLst/>
                <a:gdLst>
                  <a:gd name="T0" fmla="*/ 4 w 6"/>
                  <a:gd name="T1" fmla="*/ 4 h 6"/>
                  <a:gd name="T2" fmla="*/ 6 w 6"/>
                  <a:gd name="T3" fmla="*/ 6 h 6"/>
                  <a:gd name="T4" fmla="*/ 4 w 6"/>
                  <a:gd name="T5" fmla="*/ 4 h 6"/>
                  <a:gd name="T6" fmla="*/ 0 w 6"/>
                  <a:gd name="T7" fmla="*/ 0 h 6"/>
                  <a:gd name="T8" fmla="*/ 0 w 6"/>
                  <a:gd name="T9" fmla="*/ 0 h 6"/>
                  <a:gd name="T10" fmla="*/ 4 w 6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6">
                    <a:moveTo>
                      <a:pt x="4" y="4"/>
                    </a:moveTo>
                    <a:lnTo>
                      <a:pt x="6" y="6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24" name="Freeform 538">
                <a:extLst>
                  <a:ext uri="{FF2B5EF4-FFF2-40B4-BE49-F238E27FC236}">
                    <a16:creationId xmlns:a16="http://schemas.microsoft.com/office/drawing/2014/main" id="{B528224C-7827-4626-8E1A-6E76F02E86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3" y="2625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2 h 4"/>
                  <a:gd name="T4" fmla="*/ 0 w 4"/>
                  <a:gd name="T5" fmla="*/ 4 h 4"/>
                  <a:gd name="T6" fmla="*/ 4 w 4"/>
                  <a:gd name="T7" fmla="*/ 2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2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25" name="Freeform 539">
                <a:extLst>
                  <a:ext uri="{FF2B5EF4-FFF2-40B4-BE49-F238E27FC236}">
                    <a16:creationId xmlns:a16="http://schemas.microsoft.com/office/drawing/2014/main" id="{20170D44-4F29-4527-B0FB-D929E9AF4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9" y="2629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26" name="Freeform 540">
                <a:extLst>
                  <a:ext uri="{FF2B5EF4-FFF2-40B4-BE49-F238E27FC236}">
                    <a16:creationId xmlns:a16="http://schemas.microsoft.com/office/drawing/2014/main" id="{6209FE8D-13D0-4D48-8E18-16F267B1AA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0" y="2627"/>
                <a:ext cx="15" cy="4"/>
              </a:xfrm>
              <a:custGeom>
                <a:avLst/>
                <a:gdLst>
                  <a:gd name="T0" fmla="*/ 15 w 15"/>
                  <a:gd name="T1" fmla="*/ 4 h 4"/>
                  <a:gd name="T2" fmla="*/ 13 w 15"/>
                  <a:gd name="T3" fmla="*/ 4 h 4"/>
                  <a:gd name="T4" fmla="*/ 0 w 15"/>
                  <a:gd name="T5" fmla="*/ 0 h 4"/>
                  <a:gd name="T6" fmla="*/ 0 w 15"/>
                  <a:gd name="T7" fmla="*/ 0 h 4"/>
                  <a:gd name="T8" fmla="*/ 13 w 15"/>
                  <a:gd name="T9" fmla="*/ 4 h 4"/>
                  <a:gd name="T10" fmla="*/ 15 w 15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4">
                    <a:moveTo>
                      <a:pt x="15" y="4"/>
                    </a:moveTo>
                    <a:lnTo>
                      <a:pt x="13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3" y="4"/>
                    </a:lnTo>
                    <a:lnTo>
                      <a:pt x="15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27" name="Freeform 541">
                <a:extLst>
                  <a:ext uri="{FF2B5EF4-FFF2-40B4-BE49-F238E27FC236}">
                    <a16:creationId xmlns:a16="http://schemas.microsoft.com/office/drawing/2014/main" id="{D1525593-08C8-43B1-9342-AFA28C7FE8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9" y="2635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2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28" name="Freeform 542">
                <a:extLst>
                  <a:ext uri="{FF2B5EF4-FFF2-40B4-BE49-F238E27FC236}">
                    <a16:creationId xmlns:a16="http://schemas.microsoft.com/office/drawing/2014/main" id="{F1A6037C-6B7F-47B5-B56A-66B7E9972A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6" y="2627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4 w 8"/>
                  <a:gd name="T3" fmla="*/ 2 h 4"/>
                  <a:gd name="T4" fmla="*/ 0 w 8"/>
                  <a:gd name="T5" fmla="*/ 4 h 4"/>
                  <a:gd name="T6" fmla="*/ 4 w 8"/>
                  <a:gd name="T7" fmla="*/ 2 h 4"/>
                  <a:gd name="T8" fmla="*/ 8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4" y="2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29" name="Freeform 543">
                <a:extLst>
                  <a:ext uri="{FF2B5EF4-FFF2-40B4-BE49-F238E27FC236}">
                    <a16:creationId xmlns:a16="http://schemas.microsoft.com/office/drawing/2014/main" id="{84D1FF5F-FD2B-49C4-A594-E1E550645C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0" y="2629"/>
                <a:ext cx="10" cy="12"/>
              </a:xfrm>
              <a:custGeom>
                <a:avLst/>
                <a:gdLst>
                  <a:gd name="T0" fmla="*/ 2 w 10"/>
                  <a:gd name="T1" fmla="*/ 8 h 12"/>
                  <a:gd name="T2" fmla="*/ 2 w 10"/>
                  <a:gd name="T3" fmla="*/ 10 h 12"/>
                  <a:gd name="T4" fmla="*/ 4 w 10"/>
                  <a:gd name="T5" fmla="*/ 12 h 12"/>
                  <a:gd name="T6" fmla="*/ 8 w 10"/>
                  <a:gd name="T7" fmla="*/ 10 h 12"/>
                  <a:gd name="T8" fmla="*/ 10 w 10"/>
                  <a:gd name="T9" fmla="*/ 6 h 12"/>
                  <a:gd name="T10" fmla="*/ 8 w 10"/>
                  <a:gd name="T11" fmla="*/ 10 h 12"/>
                  <a:gd name="T12" fmla="*/ 4 w 10"/>
                  <a:gd name="T13" fmla="*/ 12 h 12"/>
                  <a:gd name="T14" fmla="*/ 2 w 10"/>
                  <a:gd name="T15" fmla="*/ 10 h 12"/>
                  <a:gd name="T16" fmla="*/ 2 w 10"/>
                  <a:gd name="T17" fmla="*/ 8 h 12"/>
                  <a:gd name="T18" fmla="*/ 0 w 10"/>
                  <a:gd name="T19" fmla="*/ 0 h 12"/>
                  <a:gd name="T20" fmla="*/ 0 w 10"/>
                  <a:gd name="T21" fmla="*/ 0 h 12"/>
                  <a:gd name="T22" fmla="*/ 0 w 10"/>
                  <a:gd name="T23" fmla="*/ 0 h 12"/>
                  <a:gd name="T24" fmla="*/ 2 w 10"/>
                  <a:gd name="T25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" h="12">
                    <a:moveTo>
                      <a:pt x="2" y="8"/>
                    </a:moveTo>
                    <a:lnTo>
                      <a:pt x="2" y="10"/>
                    </a:lnTo>
                    <a:lnTo>
                      <a:pt x="4" y="12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10"/>
                    </a:lnTo>
                    <a:lnTo>
                      <a:pt x="4" y="12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30" name="Freeform 544">
                <a:extLst>
                  <a:ext uri="{FF2B5EF4-FFF2-40B4-BE49-F238E27FC236}">
                    <a16:creationId xmlns:a16="http://schemas.microsoft.com/office/drawing/2014/main" id="{D9D96E4F-231F-4D4D-A028-12603581A0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3" y="2658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31" name="Rectangle 545">
                <a:extLst>
                  <a:ext uri="{FF2B5EF4-FFF2-40B4-BE49-F238E27FC236}">
                    <a16:creationId xmlns:a16="http://schemas.microsoft.com/office/drawing/2014/main" id="{C2AC34F7-B01F-44E7-9BF8-8E121F3BD8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6" y="172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32" name="Freeform 546">
                <a:extLst>
                  <a:ext uri="{FF2B5EF4-FFF2-40B4-BE49-F238E27FC236}">
                    <a16:creationId xmlns:a16="http://schemas.microsoft.com/office/drawing/2014/main" id="{0FD68C64-9CD3-4AD2-9917-60055983FA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3" y="2512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33" name="Freeform 547">
                <a:extLst>
                  <a:ext uri="{FF2B5EF4-FFF2-40B4-BE49-F238E27FC236}">
                    <a16:creationId xmlns:a16="http://schemas.microsoft.com/office/drawing/2014/main" id="{FB87FD56-CB36-4EB0-9145-9CA496406A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6" y="3566"/>
                <a:ext cx="10" cy="2"/>
              </a:xfrm>
              <a:custGeom>
                <a:avLst/>
                <a:gdLst>
                  <a:gd name="T0" fmla="*/ 0 w 10"/>
                  <a:gd name="T1" fmla="*/ 0 h 2"/>
                  <a:gd name="T2" fmla="*/ 0 w 10"/>
                  <a:gd name="T3" fmla="*/ 0 h 2"/>
                  <a:gd name="T4" fmla="*/ 0 w 10"/>
                  <a:gd name="T5" fmla="*/ 0 h 2"/>
                  <a:gd name="T6" fmla="*/ 6 w 10"/>
                  <a:gd name="T7" fmla="*/ 2 h 2"/>
                  <a:gd name="T8" fmla="*/ 10 w 10"/>
                  <a:gd name="T9" fmla="*/ 2 h 2"/>
                  <a:gd name="T10" fmla="*/ 10 w 10"/>
                  <a:gd name="T11" fmla="*/ 2 h 2"/>
                  <a:gd name="T12" fmla="*/ 6 w 10"/>
                  <a:gd name="T13" fmla="*/ 2 h 2"/>
                  <a:gd name="T14" fmla="*/ 0 w 10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34" name="Freeform 548">
                <a:extLst>
                  <a:ext uri="{FF2B5EF4-FFF2-40B4-BE49-F238E27FC236}">
                    <a16:creationId xmlns:a16="http://schemas.microsoft.com/office/drawing/2014/main" id="{53FC0188-46D9-4818-A894-7857384C9C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3" y="716"/>
                <a:ext cx="61" cy="82"/>
              </a:xfrm>
              <a:custGeom>
                <a:avLst/>
                <a:gdLst>
                  <a:gd name="T0" fmla="*/ 8 w 61"/>
                  <a:gd name="T1" fmla="*/ 39 h 82"/>
                  <a:gd name="T2" fmla="*/ 16 w 61"/>
                  <a:gd name="T3" fmla="*/ 52 h 82"/>
                  <a:gd name="T4" fmla="*/ 24 w 61"/>
                  <a:gd name="T5" fmla="*/ 62 h 82"/>
                  <a:gd name="T6" fmla="*/ 28 w 61"/>
                  <a:gd name="T7" fmla="*/ 70 h 82"/>
                  <a:gd name="T8" fmla="*/ 33 w 61"/>
                  <a:gd name="T9" fmla="*/ 74 h 82"/>
                  <a:gd name="T10" fmla="*/ 31 w 61"/>
                  <a:gd name="T11" fmla="*/ 64 h 82"/>
                  <a:gd name="T12" fmla="*/ 33 w 61"/>
                  <a:gd name="T13" fmla="*/ 54 h 82"/>
                  <a:gd name="T14" fmla="*/ 35 w 61"/>
                  <a:gd name="T15" fmla="*/ 48 h 82"/>
                  <a:gd name="T16" fmla="*/ 39 w 61"/>
                  <a:gd name="T17" fmla="*/ 46 h 82"/>
                  <a:gd name="T18" fmla="*/ 41 w 61"/>
                  <a:gd name="T19" fmla="*/ 50 h 82"/>
                  <a:gd name="T20" fmla="*/ 53 w 61"/>
                  <a:gd name="T21" fmla="*/ 80 h 82"/>
                  <a:gd name="T22" fmla="*/ 59 w 61"/>
                  <a:gd name="T23" fmla="*/ 82 h 82"/>
                  <a:gd name="T24" fmla="*/ 57 w 61"/>
                  <a:gd name="T25" fmla="*/ 76 h 82"/>
                  <a:gd name="T26" fmla="*/ 59 w 61"/>
                  <a:gd name="T27" fmla="*/ 68 h 82"/>
                  <a:gd name="T28" fmla="*/ 55 w 61"/>
                  <a:gd name="T29" fmla="*/ 64 h 82"/>
                  <a:gd name="T30" fmla="*/ 53 w 61"/>
                  <a:gd name="T31" fmla="*/ 58 h 82"/>
                  <a:gd name="T32" fmla="*/ 49 w 61"/>
                  <a:gd name="T33" fmla="*/ 52 h 82"/>
                  <a:gd name="T34" fmla="*/ 49 w 61"/>
                  <a:gd name="T35" fmla="*/ 43 h 82"/>
                  <a:gd name="T36" fmla="*/ 55 w 61"/>
                  <a:gd name="T37" fmla="*/ 48 h 82"/>
                  <a:gd name="T38" fmla="*/ 57 w 61"/>
                  <a:gd name="T39" fmla="*/ 52 h 82"/>
                  <a:gd name="T40" fmla="*/ 59 w 61"/>
                  <a:gd name="T41" fmla="*/ 60 h 82"/>
                  <a:gd name="T42" fmla="*/ 61 w 61"/>
                  <a:gd name="T43" fmla="*/ 60 h 82"/>
                  <a:gd name="T44" fmla="*/ 59 w 61"/>
                  <a:gd name="T45" fmla="*/ 58 h 82"/>
                  <a:gd name="T46" fmla="*/ 61 w 61"/>
                  <a:gd name="T47" fmla="*/ 50 h 82"/>
                  <a:gd name="T48" fmla="*/ 59 w 61"/>
                  <a:gd name="T49" fmla="*/ 43 h 82"/>
                  <a:gd name="T50" fmla="*/ 55 w 61"/>
                  <a:gd name="T51" fmla="*/ 39 h 82"/>
                  <a:gd name="T52" fmla="*/ 51 w 61"/>
                  <a:gd name="T53" fmla="*/ 41 h 82"/>
                  <a:gd name="T54" fmla="*/ 47 w 61"/>
                  <a:gd name="T55" fmla="*/ 37 h 82"/>
                  <a:gd name="T56" fmla="*/ 45 w 61"/>
                  <a:gd name="T57" fmla="*/ 37 h 82"/>
                  <a:gd name="T58" fmla="*/ 41 w 61"/>
                  <a:gd name="T59" fmla="*/ 39 h 82"/>
                  <a:gd name="T60" fmla="*/ 37 w 61"/>
                  <a:gd name="T61" fmla="*/ 37 h 82"/>
                  <a:gd name="T62" fmla="*/ 35 w 61"/>
                  <a:gd name="T63" fmla="*/ 31 h 82"/>
                  <a:gd name="T64" fmla="*/ 35 w 61"/>
                  <a:gd name="T65" fmla="*/ 25 h 82"/>
                  <a:gd name="T66" fmla="*/ 30 w 61"/>
                  <a:gd name="T67" fmla="*/ 21 h 82"/>
                  <a:gd name="T68" fmla="*/ 30 w 61"/>
                  <a:gd name="T69" fmla="*/ 25 h 82"/>
                  <a:gd name="T70" fmla="*/ 30 w 61"/>
                  <a:gd name="T71" fmla="*/ 31 h 82"/>
                  <a:gd name="T72" fmla="*/ 26 w 61"/>
                  <a:gd name="T73" fmla="*/ 33 h 82"/>
                  <a:gd name="T74" fmla="*/ 22 w 61"/>
                  <a:gd name="T75" fmla="*/ 37 h 82"/>
                  <a:gd name="T76" fmla="*/ 18 w 61"/>
                  <a:gd name="T77" fmla="*/ 33 h 82"/>
                  <a:gd name="T78" fmla="*/ 14 w 61"/>
                  <a:gd name="T79" fmla="*/ 35 h 82"/>
                  <a:gd name="T80" fmla="*/ 10 w 61"/>
                  <a:gd name="T81" fmla="*/ 33 h 82"/>
                  <a:gd name="T82" fmla="*/ 8 w 61"/>
                  <a:gd name="T83" fmla="*/ 31 h 82"/>
                  <a:gd name="T84" fmla="*/ 8 w 61"/>
                  <a:gd name="T85" fmla="*/ 27 h 82"/>
                  <a:gd name="T86" fmla="*/ 8 w 61"/>
                  <a:gd name="T87" fmla="*/ 25 h 82"/>
                  <a:gd name="T88" fmla="*/ 10 w 61"/>
                  <a:gd name="T89" fmla="*/ 17 h 82"/>
                  <a:gd name="T90" fmla="*/ 6 w 61"/>
                  <a:gd name="T91" fmla="*/ 9 h 82"/>
                  <a:gd name="T92" fmla="*/ 4 w 61"/>
                  <a:gd name="T93" fmla="*/ 5 h 82"/>
                  <a:gd name="T94" fmla="*/ 4 w 61"/>
                  <a:gd name="T95" fmla="*/ 0 h 82"/>
                  <a:gd name="T96" fmla="*/ 2 w 61"/>
                  <a:gd name="T97" fmla="*/ 11 h 82"/>
                  <a:gd name="T98" fmla="*/ 6 w 61"/>
                  <a:gd name="T99" fmla="*/ 23 h 82"/>
                  <a:gd name="T100" fmla="*/ 2 w 61"/>
                  <a:gd name="T101" fmla="*/ 3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1" h="82">
                    <a:moveTo>
                      <a:pt x="2" y="31"/>
                    </a:moveTo>
                    <a:lnTo>
                      <a:pt x="8" y="39"/>
                    </a:lnTo>
                    <a:lnTo>
                      <a:pt x="10" y="48"/>
                    </a:lnTo>
                    <a:lnTo>
                      <a:pt x="16" y="52"/>
                    </a:lnTo>
                    <a:lnTo>
                      <a:pt x="22" y="56"/>
                    </a:lnTo>
                    <a:lnTo>
                      <a:pt x="24" y="62"/>
                    </a:lnTo>
                    <a:lnTo>
                      <a:pt x="24" y="66"/>
                    </a:lnTo>
                    <a:lnTo>
                      <a:pt x="28" y="70"/>
                    </a:lnTo>
                    <a:lnTo>
                      <a:pt x="30" y="72"/>
                    </a:lnTo>
                    <a:lnTo>
                      <a:pt x="33" y="74"/>
                    </a:lnTo>
                    <a:lnTo>
                      <a:pt x="31" y="68"/>
                    </a:lnTo>
                    <a:lnTo>
                      <a:pt x="31" y="64"/>
                    </a:lnTo>
                    <a:lnTo>
                      <a:pt x="31" y="60"/>
                    </a:lnTo>
                    <a:lnTo>
                      <a:pt x="33" y="54"/>
                    </a:lnTo>
                    <a:lnTo>
                      <a:pt x="35" y="50"/>
                    </a:lnTo>
                    <a:lnTo>
                      <a:pt x="35" y="48"/>
                    </a:lnTo>
                    <a:lnTo>
                      <a:pt x="37" y="46"/>
                    </a:lnTo>
                    <a:lnTo>
                      <a:pt x="39" y="46"/>
                    </a:lnTo>
                    <a:lnTo>
                      <a:pt x="39" y="48"/>
                    </a:lnTo>
                    <a:lnTo>
                      <a:pt x="41" y="50"/>
                    </a:lnTo>
                    <a:lnTo>
                      <a:pt x="43" y="54"/>
                    </a:lnTo>
                    <a:lnTo>
                      <a:pt x="53" y="80"/>
                    </a:lnTo>
                    <a:lnTo>
                      <a:pt x="55" y="82"/>
                    </a:lnTo>
                    <a:lnTo>
                      <a:pt x="59" y="82"/>
                    </a:lnTo>
                    <a:lnTo>
                      <a:pt x="57" y="78"/>
                    </a:lnTo>
                    <a:lnTo>
                      <a:pt x="57" y="76"/>
                    </a:lnTo>
                    <a:lnTo>
                      <a:pt x="57" y="72"/>
                    </a:lnTo>
                    <a:lnTo>
                      <a:pt x="59" y="68"/>
                    </a:lnTo>
                    <a:lnTo>
                      <a:pt x="57" y="68"/>
                    </a:lnTo>
                    <a:lnTo>
                      <a:pt x="55" y="64"/>
                    </a:lnTo>
                    <a:lnTo>
                      <a:pt x="53" y="60"/>
                    </a:lnTo>
                    <a:lnTo>
                      <a:pt x="53" y="58"/>
                    </a:lnTo>
                    <a:lnTo>
                      <a:pt x="51" y="54"/>
                    </a:lnTo>
                    <a:lnTo>
                      <a:pt x="49" y="52"/>
                    </a:lnTo>
                    <a:lnTo>
                      <a:pt x="47" y="48"/>
                    </a:lnTo>
                    <a:lnTo>
                      <a:pt x="49" y="43"/>
                    </a:lnTo>
                    <a:lnTo>
                      <a:pt x="51" y="46"/>
                    </a:lnTo>
                    <a:lnTo>
                      <a:pt x="55" y="48"/>
                    </a:lnTo>
                    <a:lnTo>
                      <a:pt x="57" y="50"/>
                    </a:lnTo>
                    <a:lnTo>
                      <a:pt x="57" y="52"/>
                    </a:lnTo>
                    <a:lnTo>
                      <a:pt x="59" y="56"/>
                    </a:lnTo>
                    <a:lnTo>
                      <a:pt x="59" y="60"/>
                    </a:lnTo>
                    <a:lnTo>
                      <a:pt x="61" y="62"/>
                    </a:lnTo>
                    <a:lnTo>
                      <a:pt x="61" y="60"/>
                    </a:lnTo>
                    <a:lnTo>
                      <a:pt x="61" y="60"/>
                    </a:lnTo>
                    <a:lnTo>
                      <a:pt x="59" y="58"/>
                    </a:lnTo>
                    <a:lnTo>
                      <a:pt x="61" y="54"/>
                    </a:lnTo>
                    <a:lnTo>
                      <a:pt x="61" y="50"/>
                    </a:lnTo>
                    <a:lnTo>
                      <a:pt x="61" y="44"/>
                    </a:lnTo>
                    <a:lnTo>
                      <a:pt x="59" y="43"/>
                    </a:lnTo>
                    <a:lnTo>
                      <a:pt x="57" y="39"/>
                    </a:lnTo>
                    <a:lnTo>
                      <a:pt x="55" y="39"/>
                    </a:lnTo>
                    <a:lnTo>
                      <a:pt x="53" y="41"/>
                    </a:lnTo>
                    <a:lnTo>
                      <a:pt x="51" y="41"/>
                    </a:lnTo>
                    <a:lnTo>
                      <a:pt x="49" y="41"/>
                    </a:lnTo>
                    <a:lnTo>
                      <a:pt x="47" y="37"/>
                    </a:lnTo>
                    <a:lnTo>
                      <a:pt x="45" y="37"/>
                    </a:lnTo>
                    <a:lnTo>
                      <a:pt x="45" y="37"/>
                    </a:lnTo>
                    <a:lnTo>
                      <a:pt x="43" y="39"/>
                    </a:lnTo>
                    <a:lnTo>
                      <a:pt x="41" y="39"/>
                    </a:lnTo>
                    <a:lnTo>
                      <a:pt x="39" y="39"/>
                    </a:lnTo>
                    <a:lnTo>
                      <a:pt x="37" y="37"/>
                    </a:lnTo>
                    <a:lnTo>
                      <a:pt x="35" y="33"/>
                    </a:lnTo>
                    <a:lnTo>
                      <a:pt x="35" y="31"/>
                    </a:lnTo>
                    <a:lnTo>
                      <a:pt x="37" y="29"/>
                    </a:lnTo>
                    <a:lnTo>
                      <a:pt x="35" y="25"/>
                    </a:lnTo>
                    <a:lnTo>
                      <a:pt x="33" y="23"/>
                    </a:lnTo>
                    <a:lnTo>
                      <a:pt x="30" y="21"/>
                    </a:lnTo>
                    <a:lnTo>
                      <a:pt x="28" y="21"/>
                    </a:lnTo>
                    <a:lnTo>
                      <a:pt x="30" y="25"/>
                    </a:lnTo>
                    <a:lnTo>
                      <a:pt x="30" y="29"/>
                    </a:lnTo>
                    <a:lnTo>
                      <a:pt x="30" y="31"/>
                    </a:lnTo>
                    <a:lnTo>
                      <a:pt x="26" y="33"/>
                    </a:lnTo>
                    <a:lnTo>
                      <a:pt x="26" y="33"/>
                    </a:lnTo>
                    <a:lnTo>
                      <a:pt x="24" y="37"/>
                    </a:lnTo>
                    <a:lnTo>
                      <a:pt x="22" y="37"/>
                    </a:lnTo>
                    <a:lnTo>
                      <a:pt x="20" y="35"/>
                    </a:lnTo>
                    <a:lnTo>
                      <a:pt x="18" y="33"/>
                    </a:lnTo>
                    <a:lnTo>
                      <a:pt x="18" y="33"/>
                    </a:lnTo>
                    <a:lnTo>
                      <a:pt x="14" y="35"/>
                    </a:lnTo>
                    <a:lnTo>
                      <a:pt x="12" y="35"/>
                    </a:lnTo>
                    <a:lnTo>
                      <a:pt x="10" y="33"/>
                    </a:lnTo>
                    <a:lnTo>
                      <a:pt x="8" y="33"/>
                    </a:lnTo>
                    <a:lnTo>
                      <a:pt x="8" y="31"/>
                    </a:lnTo>
                    <a:lnTo>
                      <a:pt x="8" y="29"/>
                    </a:lnTo>
                    <a:lnTo>
                      <a:pt x="8" y="27"/>
                    </a:lnTo>
                    <a:lnTo>
                      <a:pt x="8" y="25"/>
                    </a:lnTo>
                    <a:lnTo>
                      <a:pt x="8" y="25"/>
                    </a:lnTo>
                    <a:lnTo>
                      <a:pt x="10" y="19"/>
                    </a:lnTo>
                    <a:lnTo>
                      <a:pt x="10" y="17"/>
                    </a:lnTo>
                    <a:lnTo>
                      <a:pt x="8" y="15"/>
                    </a:lnTo>
                    <a:lnTo>
                      <a:pt x="6" y="9"/>
                    </a:lnTo>
                    <a:lnTo>
                      <a:pt x="6" y="7"/>
                    </a:lnTo>
                    <a:lnTo>
                      <a:pt x="4" y="5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2" y="5"/>
                    </a:lnTo>
                    <a:lnTo>
                      <a:pt x="2" y="11"/>
                    </a:lnTo>
                    <a:lnTo>
                      <a:pt x="2" y="17"/>
                    </a:lnTo>
                    <a:lnTo>
                      <a:pt x="6" y="23"/>
                    </a:lnTo>
                    <a:lnTo>
                      <a:pt x="0" y="25"/>
                    </a:lnTo>
                    <a:lnTo>
                      <a:pt x="2" y="3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35" name="Freeform 549">
                <a:extLst>
                  <a:ext uri="{FF2B5EF4-FFF2-40B4-BE49-F238E27FC236}">
                    <a16:creationId xmlns:a16="http://schemas.microsoft.com/office/drawing/2014/main" id="{8A51F496-8856-4EE0-B082-1EC07F3329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3" y="1145"/>
                <a:ext cx="47" cy="68"/>
              </a:xfrm>
              <a:custGeom>
                <a:avLst/>
                <a:gdLst>
                  <a:gd name="T0" fmla="*/ 6 w 47"/>
                  <a:gd name="T1" fmla="*/ 37 h 68"/>
                  <a:gd name="T2" fmla="*/ 8 w 47"/>
                  <a:gd name="T3" fmla="*/ 45 h 68"/>
                  <a:gd name="T4" fmla="*/ 10 w 47"/>
                  <a:gd name="T5" fmla="*/ 53 h 68"/>
                  <a:gd name="T6" fmla="*/ 14 w 47"/>
                  <a:gd name="T7" fmla="*/ 53 h 68"/>
                  <a:gd name="T8" fmla="*/ 16 w 47"/>
                  <a:gd name="T9" fmla="*/ 59 h 68"/>
                  <a:gd name="T10" fmla="*/ 19 w 47"/>
                  <a:gd name="T11" fmla="*/ 65 h 68"/>
                  <a:gd name="T12" fmla="*/ 25 w 47"/>
                  <a:gd name="T13" fmla="*/ 57 h 68"/>
                  <a:gd name="T14" fmla="*/ 29 w 47"/>
                  <a:gd name="T15" fmla="*/ 61 h 68"/>
                  <a:gd name="T16" fmla="*/ 29 w 47"/>
                  <a:gd name="T17" fmla="*/ 66 h 68"/>
                  <a:gd name="T18" fmla="*/ 35 w 47"/>
                  <a:gd name="T19" fmla="*/ 68 h 68"/>
                  <a:gd name="T20" fmla="*/ 29 w 47"/>
                  <a:gd name="T21" fmla="*/ 57 h 68"/>
                  <a:gd name="T22" fmla="*/ 31 w 47"/>
                  <a:gd name="T23" fmla="*/ 49 h 68"/>
                  <a:gd name="T24" fmla="*/ 33 w 47"/>
                  <a:gd name="T25" fmla="*/ 51 h 68"/>
                  <a:gd name="T26" fmla="*/ 35 w 47"/>
                  <a:gd name="T27" fmla="*/ 51 h 68"/>
                  <a:gd name="T28" fmla="*/ 37 w 47"/>
                  <a:gd name="T29" fmla="*/ 49 h 68"/>
                  <a:gd name="T30" fmla="*/ 39 w 47"/>
                  <a:gd name="T31" fmla="*/ 51 h 68"/>
                  <a:gd name="T32" fmla="*/ 43 w 47"/>
                  <a:gd name="T33" fmla="*/ 53 h 68"/>
                  <a:gd name="T34" fmla="*/ 47 w 47"/>
                  <a:gd name="T35" fmla="*/ 47 h 68"/>
                  <a:gd name="T36" fmla="*/ 43 w 47"/>
                  <a:gd name="T37" fmla="*/ 37 h 68"/>
                  <a:gd name="T38" fmla="*/ 39 w 47"/>
                  <a:gd name="T39" fmla="*/ 31 h 68"/>
                  <a:gd name="T40" fmla="*/ 33 w 47"/>
                  <a:gd name="T41" fmla="*/ 31 h 68"/>
                  <a:gd name="T42" fmla="*/ 23 w 47"/>
                  <a:gd name="T43" fmla="*/ 16 h 68"/>
                  <a:gd name="T44" fmla="*/ 19 w 47"/>
                  <a:gd name="T45" fmla="*/ 16 h 68"/>
                  <a:gd name="T46" fmla="*/ 19 w 47"/>
                  <a:gd name="T47" fmla="*/ 27 h 68"/>
                  <a:gd name="T48" fmla="*/ 17 w 47"/>
                  <a:gd name="T49" fmla="*/ 27 h 68"/>
                  <a:gd name="T50" fmla="*/ 16 w 47"/>
                  <a:gd name="T51" fmla="*/ 33 h 68"/>
                  <a:gd name="T52" fmla="*/ 14 w 47"/>
                  <a:gd name="T53" fmla="*/ 37 h 68"/>
                  <a:gd name="T54" fmla="*/ 12 w 47"/>
                  <a:gd name="T55" fmla="*/ 35 h 68"/>
                  <a:gd name="T56" fmla="*/ 8 w 47"/>
                  <a:gd name="T57" fmla="*/ 27 h 68"/>
                  <a:gd name="T58" fmla="*/ 4 w 47"/>
                  <a:gd name="T59" fmla="*/ 4 h 68"/>
                  <a:gd name="T60" fmla="*/ 4 w 47"/>
                  <a:gd name="T61" fmla="*/ 2 h 68"/>
                  <a:gd name="T62" fmla="*/ 2 w 47"/>
                  <a:gd name="T63" fmla="*/ 0 h 68"/>
                  <a:gd name="T64" fmla="*/ 2 w 47"/>
                  <a:gd name="T65" fmla="*/ 1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7" h="68">
                    <a:moveTo>
                      <a:pt x="4" y="27"/>
                    </a:moveTo>
                    <a:lnTo>
                      <a:pt x="6" y="37"/>
                    </a:lnTo>
                    <a:lnTo>
                      <a:pt x="6" y="41"/>
                    </a:lnTo>
                    <a:lnTo>
                      <a:pt x="8" y="45"/>
                    </a:lnTo>
                    <a:lnTo>
                      <a:pt x="8" y="49"/>
                    </a:lnTo>
                    <a:lnTo>
                      <a:pt x="10" y="53"/>
                    </a:lnTo>
                    <a:lnTo>
                      <a:pt x="12" y="53"/>
                    </a:lnTo>
                    <a:lnTo>
                      <a:pt x="14" y="53"/>
                    </a:lnTo>
                    <a:lnTo>
                      <a:pt x="16" y="53"/>
                    </a:lnTo>
                    <a:lnTo>
                      <a:pt x="16" y="59"/>
                    </a:lnTo>
                    <a:lnTo>
                      <a:pt x="17" y="66"/>
                    </a:lnTo>
                    <a:lnTo>
                      <a:pt x="19" y="65"/>
                    </a:lnTo>
                    <a:lnTo>
                      <a:pt x="21" y="63"/>
                    </a:lnTo>
                    <a:lnTo>
                      <a:pt x="25" y="57"/>
                    </a:lnTo>
                    <a:lnTo>
                      <a:pt x="27" y="59"/>
                    </a:lnTo>
                    <a:lnTo>
                      <a:pt x="29" y="61"/>
                    </a:lnTo>
                    <a:lnTo>
                      <a:pt x="29" y="63"/>
                    </a:lnTo>
                    <a:lnTo>
                      <a:pt x="29" y="66"/>
                    </a:lnTo>
                    <a:lnTo>
                      <a:pt x="31" y="66"/>
                    </a:lnTo>
                    <a:lnTo>
                      <a:pt x="35" y="68"/>
                    </a:lnTo>
                    <a:lnTo>
                      <a:pt x="33" y="63"/>
                    </a:lnTo>
                    <a:lnTo>
                      <a:pt x="29" y="57"/>
                    </a:lnTo>
                    <a:lnTo>
                      <a:pt x="27" y="51"/>
                    </a:lnTo>
                    <a:lnTo>
                      <a:pt x="31" y="49"/>
                    </a:lnTo>
                    <a:lnTo>
                      <a:pt x="33" y="49"/>
                    </a:lnTo>
                    <a:lnTo>
                      <a:pt x="33" y="51"/>
                    </a:lnTo>
                    <a:lnTo>
                      <a:pt x="33" y="53"/>
                    </a:lnTo>
                    <a:lnTo>
                      <a:pt x="35" y="51"/>
                    </a:lnTo>
                    <a:lnTo>
                      <a:pt x="37" y="49"/>
                    </a:lnTo>
                    <a:lnTo>
                      <a:pt x="37" y="49"/>
                    </a:lnTo>
                    <a:lnTo>
                      <a:pt x="39" y="49"/>
                    </a:lnTo>
                    <a:lnTo>
                      <a:pt x="39" y="51"/>
                    </a:lnTo>
                    <a:lnTo>
                      <a:pt x="43" y="53"/>
                    </a:lnTo>
                    <a:lnTo>
                      <a:pt x="43" y="53"/>
                    </a:lnTo>
                    <a:lnTo>
                      <a:pt x="45" y="51"/>
                    </a:lnTo>
                    <a:lnTo>
                      <a:pt x="47" y="47"/>
                    </a:lnTo>
                    <a:lnTo>
                      <a:pt x="45" y="43"/>
                    </a:lnTo>
                    <a:lnTo>
                      <a:pt x="43" y="37"/>
                    </a:lnTo>
                    <a:lnTo>
                      <a:pt x="41" y="33"/>
                    </a:lnTo>
                    <a:lnTo>
                      <a:pt x="39" y="31"/>
                    </a:lnTo>
                    <a:lnTo>
                      <a:pt x="37" y="31"/>
                    </a:lnTo>
                    <a:lnTo>
                      <a:pt x="33" y="31"/>
                    </a:lnTo>
                    <a:lnTo>
                      <a:pt x="29" y="27"/>
                    </a:lnTo>
                    <a:lnTo>
                      <a:pt x="23" y="16"/>
                    </a:lnTo>
                    <a:lnTo>
                      <a:pt x="19" y="10"/>
                    </a:lnTo>
                    <a:lnTo>
                      <a:pt x="19" y="16"/>
                    </a:lnTo>
                    <a:lnTo>
                      <a:pt x="19" y="20"/>
                    </a:lnTo>
                    <a:lnTo>
                      <a:pt x="19" y="27"/>
                    </a:lnTo>
                    <a:lnTo>
                      <a:pt x="17" y="27"/>
                    </a:lnTo>
                    <a:lnTo>
                      <a:pt x="17" y="27"/>
                    </a:lnTo>
                    <a:lnTo>
                      <a:pt x="14" y="29"/>
                    </a:lnTo>
                    <a:lnTo>
                      <a:pt x="16" y="33"/>
                    </a:lnTo>
                    <a:lnTo>
                      <a:pt x="16" y="35"/>
                    </a:lnTo>
                    <a:lnTo>
                      <a:pt x="14" y="37"/>
                    </a:lnTo>
                    <a:lnTo>
                      <a:pt x="12" y="37"/>
                    </a:lnTo>
                    <a:lnTo>
                      <a:pt x="12" y="35"/>
                    </a:lnTo>
                    <a:lnTo>
                      <a:pt x="10" y="27"/>
                    </a:lnTo>
                    <a:lnTo>
                      <a:pt x="8" y="27"/>
                    </a:lnTo>
                    <a:lnTo>
                      <a:pt x="6" y="1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10"/>
                    </a:lnTo>
                    <a:lnTo>
                      <a:pt x="2" y="18"/>
                    </a:lnTo>
                    <a:lnTo>
                      <a:pt x="4" y="2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36" name="Freeform 550">
                <a:extLst>
                  <a:ext uri="{FF2B5EF4-FFF2-40B4-BE49-F238E27FC236}">
                    <a16:creationId xmlns:a16="http://schemas.microsoft.com/office/drawing/2014/main" id="{81174DC5-121D-49D4-9C0C-30BACAD47F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5" y="1049"/>
                <a:ext cx="41" cy="96"/>
              </a:xfrm>
              <a:custGeom>
                <a:avLst/>
                <a:gdLst>
                  <a:gd name="T0" fmla="*/ 37 w 41"/>
                  <a:gd name="T1" fmla="*/ 8 h 96"/>
                  <a:gd name="T2" fmla="*/ 33 w 41"/>
                  <a:gd name="T3" fmla="*/ 8 h 96"/>
                  <a:gd name="T4" fmla="*/ 31 w 41"/>
                  <a:gd name="T5" fmla="*/ 10 h 96"/>
                  <a:gd name="T6" fmla="*/ 29 w 41"/>
                  <a:gd name="T7" fmla="*/ 2 h 96"/>
                  <a:gd name="T8" fmla="*/ 25 w 41"/>
                  <a:gd name="T9" fmla="*/ 0 h 96"/>
                  <a:gd name="T10" fmla="*/ 17 w 41"/>
                  <a:gd name="T11" fmla="*/ 8 h 96"/>
                  <a:gd name="T12" fmla="*/ 19 w 41"/>
                  <a:gd name="T13" fmla="*/ 12 h 96"/>
                  <a:gd name="T14" fmla="*/ 19 w 41"/>
                  <a:gd name="T15" fmla="*/ 16 h 96"/>
                  <a:gd name="T16" fmla="*/ 19 w 41"/>
                  <a:gd name="T17" fmla="*/ 18 h 96"/>
                  <a:gd name="T18" fmla="*/ 16 w 41"/>
                  <a:gd name="T19" fmla="*/ 20 h 96"/>
                  <a:gd name="T20" fmla="*/ 17 w 41"/>
                  <a:gd name="T21" fmla="*/ 18 h 96"/>
                  <a:gd name="T22" fmla="*/ 12 w 41"/>
                  <a:gd name="T23" fmla="*/ 22 h 96"/>
                  <a:gd name="T24" fmla="*/ 8 w 41"/>
                  <a:gd name="T25" fmla="*/ 39 h 96"/>
                  <a:gd name="T26" fmla="*/ 4 w 41"/>
                  <a:gd name="T27" fmla="*/ 43 h 96"/>
                  <a:gd name="T28" fmla="*/ 4 w 41"/>
                  <a:gd name="T29" fmla="*/ 49 h 96"/>
                  <a:gd name="T30" fmla="*/ 6 w 41"/>
                  <a:gd name="T31" fmla="*/ 49 h 96"/>
                  <a:gd name="T32" fmla="*/ 0 w 41"/>
                  <a:gd name="T33" fmla="*/ 57 h 96"/>
                  <a:gd name="T34" fmla="*/ 2 w 41"/>
                  <a:gd name="T35" fmla="*/ 57 h 96"/>
                  <a:gd name="T36" fmla="*/ 10 w 41"/>
                  <a:gd name="T37" fmla="*/ 57 h 96"/>
                  <a:gd name="T38" fmla="*/ 10 w 41"/>
                  <a:gd name="T39" fmla="*/ 59 h 96"/>
                  <a:gd name="T40" fmla="*/ 8 w 41"/>
                  <a:gd name="T41" fmla="*/ 63 h 96"/>
                  <a:gd name="T42" fmla="*/ 6 w 41"/>
                  <a:gd name="T43" fmla="*/ 67 h 96"/>
                  <a:gd name="T44" fmla="*/ 8 w 41"/>
                  <a:gd name="T45" fmla="*/ 69 h 96"/>
                  <a:gd name="T46" fmla="*/ 10 w 41"/>
                  <a:gd name="T47" fmla="*/ 69 h 96"/>
                  <a:gd name="T48" fmla="*/ 8 w 41"/>
                  <a:gd name="T49" fmla="*/ 71 h 96"/>
                  <a:gd name="T50" fmla="*/ 6 w 41"/>
                  <a:gd name="T51" fmla="*/ 71 h 96"/>
                  <a:gd name="T52" fmla="*/ 4 w 41"/>
                  <a:gd name="T53" fmla="*/ 73 h 96"/>
                  <a:gd name="T54" fmla="*/ 4 w 41"/>
                  <a:gd name="T55" fmla="*/ 75 h 96"/>
                  <a:gd name="T56" fmla="*/ 6 w 41"/>
                  <a:gd name="T57" fmla="*/ 77 h 96"/>
                  <a:gd name="T58" fmla="*/ 6 w 41"/>
                  <a:gd name="T59" fmla="*/ 80 h 96"/>
                  <a:gd name="T60" fmla="*/ 6 w 41"/>
                  <a:gd name="T61" fmla="*/ 82 h 96"/>
                  <a:gd name="T62" fmla="*/ 4 w 41"/>
                  <a:gd name="T63" fmla="*/ 86 h 96"/>
                  <a:gd name="T64" fmla="*/ 8 w 41"/>
                  <a:gd name="T65" fmla="*/ 84 h 96"/>
                  <a:gd name="T66" fmla="*/ 10 w 41"/>
                  <a:gd name="T67" fmla="*/ 86 h 96"/>
                  <a:gd name="T68" fmla="*/ 10 w 41"/>
                  <a:gd name="T69" fmla="*/ 90 h 96"/>
                  <a:gd name="T70" fmla="*/ 10 w 41"/>
                  <a:gd name="T71" fmla="*/ 96 h 96"/>
                  <a:gd name="T72" fmla="*/ 12 w 41"/>
                  <a:gd name="T73" fmla="*/ 96 h 96"/>
                  <a:gd name="T74" fmla="*/ 14 w 41"/>
                  <a:gd name="T75" fmla="*/ 96 h 96"/>
                  <a:gd name="T76" fmla="*/ 14 w 41"/>
                  <a:gd name="T77" fmla="*/ 94 h 96"/>
                  <a:gd name="T78" fmla="*/ 12 w 41"/>
                  <a:gd name="T79" fmla="*/ 92 h 96"/>
                  <a:gd name="T80" fmla="*/ 14 w 41"/>
                  <a:gd name="T81" fmla="*/ 88 h 96"/>
                  <a:gd name="T82" fmla="*/ 16 w 41"/>
                  <a:gd name="T83" fmla="*/ 84 h 96"/>
                  <a:gd name="T84" fmla="*/ 17 w 41"/>
                  <a:gd name="T85" fmla="*/ 80 h 96"/>
                  <a:gd name="T86" fmla="*/ 19 w 41"/>
                  <a:gd name="T87" fmla="*/ 80 h 96"/>
                  <a:gd name="T88" fmla="*/ 19 w 41"/>
                  <a:gd name="T89" fmla="*/ 79 h 96"/>
                  <a:gd name="T90" fmla="*/ 25 w 41"/>
                  <a:gd name="T91" fmla="*/ 71 h 96"/>
                  <a:gd name="T92" fmla="*/ 27 w 41"/>
                  <a:gd name="T93" fmla="*/ 63 h 96"/>
                  <a:gd name="T94" fmla="*/ 29 w 41"/>
                  <a:gd name="T95" fmla="*/ 59 h 96"/>
                  <a:gd name="T96" fmla="*/ 31 w 41"/>
                  <a:gd name="T97" fmla="*/ 55 h 96"/>
                  <a:gd name="T98" fmla="*/ 31 w 41"/>
                  <a:gd name="T99" fmla="*/ 49 h 96"/>
                  <a:gd name="T100" fmla="*/ 31 w 41"/>
                  <a:gd name="T101" fmla="*/ 43 h 96"/>
                  <a:gd name="T102" fmla="*/ 31 w 41"/>
                  <a:gd name="T103" fmla="*/ 39 h 96"/>
                  <a:gd name="T104" fmla="*/ 29 w 41"/>
                  <a:gd name="T105" fmla="*/ 36 h 96"/>
                  <a:gd name="T106" fmla="*/ 31 w 41"/>
                  <a:gd name="T107" fmla="*/ 32 h 96"/>
                  <a:gd name="T108" fmla="*/ 35 w 41"/>
                  <a:gd name="T109" fmla="*/ 24 h 96"/>
                  <a:gd name="T110" fmla="*/ 39 w 41"/>
                  <a:gd name="T111" fmla="*/ 22 h 96"/>
                  <a:gd name="T112" fmla="*/ 39 w 41"/>
                  <a:gd name="T113" fmla="*/ 20 h 96"/>
                  <a:gd name="T114" fmla="*/ 41 w 41"/>
                  <a:gd name="T115" fmla="*/ 20 h 96"/>
                  <a:gd name="T116" fmla="*/ 41 w 41"/>
                  <a:gd name="T117" fmla="*/ 14 h 96"/>
                  <a:gd name="T118" fmla="*/ 39 w 41"/>
                  <a:gd name="T119" fmla="*/ 10 h 96"/>
                  <a:gd name="T120" fmla="*/ 37 w 41"/>
                  <a:gd name="T121" fmla="*/ 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" h="96">
                    <a:moveTo>
                      <a:pt x="37" y="8"/>
                    </a:moveTo>
                    <a:lnTo>
                      <a:pt x="33" y="8"/>
                    </a:lnTo>
                    <a:lnTo>
                      <a:pt x="31" y="10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7" y="8"/>
                    </a:lnTo>
                    <a:lnTo>
                      <a:pt x="19" y="12"/>
                    </a:lnTo>
                    <a:lnTo>
                      <a:pt x="19" y="16"/>
                    </a:lnTo>
                    <a:lnTo>
                      <a:pt x="19" y="18"/>
                    </a:lnTo>
                    <a:lnTo>
                      <a:pt x="16" y="20"/>
                    </a:lnTo>
                    <a:lnTo>
                      <a:pt x="17" y="18"/>
                    </a:lnTo>
                    <a:lnTo>
                      <a:pt x="12" y="22"/>
                    </a:lnTo>
                    <a:lnTo>
                      <a:pt x="8" y="39"/>
                    </a:lnTo>
                    <a:lnTo>
                      <a:pt x="4" y="43"/>
                    </a:lnTo>
                    <a:lnTo>
                      <a:pt x="4" y="49"/>
                    </a:lnTo>
                    <a:lnTo>
                      <a:pt x="6" y="49"/>
                    </a:lnTo>
                    <a:lnTo>
                      <a:pt x="0" y="57"/>
                    </a:lnTo>
                    <a:lnTo>
                      <a:pt x="2" y="57"/>
                    </a:lnTo>
                    <a:lnTo>
                      <a:pt x="10" y="57"/>
                    </a:lnTo>
                    <a:lnTo>
                      <a:pt x="10" y="59"/>
                    </a:lnTo>
                    <a:lnTo>
                      <a:pt x="8" y="63"/>
                    </a:lnTo>
                    <a:lnTo>
                      <a:pt x="6" y="67"/>
                    </a:lnTo>
                    <a:lnTo>
                      <a:pt x="8" y="69"/>
                    </a:lnTo>
                    <a:lnTo>
                      <a:pt x="10" y="69"/>
                    </a:lnTo>
                    <a:lnTo>
                      <a:pt x="8" y="71"/>
                    </a:lnTo>
                    <a:lnTo>
                      <a:pt x="6" y="71"/>
                    </a:lnTo>
                    <a:lnTo>
                      <a:pt x="4" y="73"/>
                    </a:lnTo>
                    <a:lnTo>
                      <a:pt x="4" y="75"/>
                    </a:lnTo>
                    <a:lnTo>
                      <a:pt x="6" y="77"/>
                    </a:lnTo>
                    <a:lnTo>
                      <a:pt x="6" y="80"/>
                    </a:lnTo>
                    <a:lnTo>
                      <a:pt x="6" y="82"/>
                    </a:lnTo>
                    <a:lnTo>
                      <a:pt x="4" y="86"/>
                    </a:lnTo>
                    <a:lnTo>
                      <a:pt x="8" y="84"/>
                    </a:lnTo>
                    <a:lnTo>
                      <a:pt x="10" y="86"/>
                    </a:lnTo>
                    <a:lnTo>
                      <a:pt x="10" y="90"/>
                    </a:lnTo>
                    <a:lnTo>
                      <a:pt x="10" y="96"/>
                    </a:lnTo>
                    <a:lnTo>
                      <a:pt x="12" y="96"/>
                    </a:lnTo>
                    <a:lnTo>
                      <a:pt x="14" y="96"/>
                    </a:lnTo>
                    <a:lnTo>
                      <a:pt x="14" y="94"/>
                    </a:lnTo>
                    <a:lnTo>
                      <a:pt x="12" y="92"/>
                    </a:lnTo>
                    <a:lnTo>
                      <a:pt x="14" y="88"/>
                    </a:lnTo>
                    <a:lnTo>
                      <a:pt x="16" y="84"/>
                    </a:lnTo>
                    <a:lnTo>
                      <a:pt x="17" y="80"/>
                    </a:lnTo>
                    <a:lnTo>
                      <a:pt x="19" y="80"/>
                    </a:lnTo>
                    <a:lnTo>
                      <a:pt x="19" y="79"/>
                    </a:lnTo>
                    <a:lnTo>
                      <a:pt x="25" y="71"/>
                    </a:lnTo>
                    <a:lnTo>
                      <a:pt x="27" y="63"/>
                    </a:lnTo>
                    <a:lnTo>
                      <a:pt x="29" y="59"/>
                    </a:lnTo>
                    <a:lnTo>
                      <a:pt x="31" y="55"/>
                    </a:lnTo>
                    <a:lnTo>
                      <a:pt x="31" y="49"/>
                    </a:lnTo>
                    <a:lnTo>
                      <a:pt x="31" y="43"/>
                    </a:lnTo>
                    <a:lnTo>
                      <a:pt x="31" y="39"/>
                    </a:lnTo>
                    <a:lnTo>
                      <a:pt x="29" y="36"/>
                    </a:lnTo>
                    <a:lnTo>
                      <a:pt x="31" y="32"/>
                    </a:lnTo>
                    <a:lnTo>
                      <a:pt x="35" y="24"/>
                    </a:lnTo>
                    <a:lnTo>
                      <a:pt x="39" y="22"/>
                    </a:lnTo>
                    <a:lnTo>
                      <a:pt x="39" y="20"/>
                    </a:lnTo>
                    <a:lnTo>
                      <a:pt x="41" y="20"/>
                    </a:lnTo>
                    <a:lnTo>
                      <a:pt x="41" y="14"/>
                    </a:lnTo>
                    <a:lnTo>
                      <a:pt x="39" y="10"/>
                    </a:lnTo>
                    <a:lnTo>
                      <a:pt x="37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37" name="Freeform 551">
                <a:extLst>
                  <a:ext uri="{FF2B5EF4-FFF2-40B4-BE49-F238E27FC236}">
                    <a16:creationId xmlns:a16="http://schemas.microsoft.com/office/drawing/2014/main" id="{5C94B87D-C68B-43D2-81F8-74B6F50FC2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9" y="1659"/>
                <a:ext cx="6" cy="2"/>
              </a:xfrm>
              <a:custGeom>
                <a:avLst/>
                <a:gdLst>
                  <a:gd name="T0" fmla="*/ 0 w 6"/>
                  <a:gd name="T1" fmla="*/ 0 h 2"/>
                  <a:gd name="T2" fmla="*/ 2 w 6"/>
                  <a:gd name="T3" fmla="*/ 2 h 2"/>
                  <a:gd name="T4" fmla="*/ 6 w 6"/>
                  <a:gd name="T5" fmla="*/ 2 h 2"/>
                  <a:gd name="T6" fmla="*/ 2 w 6"/>
                  <a:gd name="T7" fmla="*/ 2 h 2"/>
                  <a:gd name="T8" fmla="*/ 0 w 6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0" y="0"/>
                    </a:moveTo>
                    <a:lnTo>
                      <a:pt x="2" y="2"/>
                    </a:lnTo>
                    <a:lnTo>
                      <a:pt x="6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38" name="Rectangle 552">
                <a:extLst>
                  <a:ext uri="{FF2B5EF4-FFF2-40B4-BE49-F238E27FC236}">
                    <a16:creationId xmlns:a16="http://schemas.microsoft.com/office/drawing/2014/main" id="{B24161A9-9CC1-4799-A766-94C6966A1D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10" y="76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39" name="Freeform 553">
                <a:extLst>
                  <a:ext uri="{FF2B5EF4-FFF2-40B4-BE49-F238E27FC236}">
                    <a16:creationId xmlns:a16="http://schemas.microsoft.com/office/drawing/2014/main" id="{8A0BC6BB-BFB6-415D-9713-DE329A5CED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7" y="702"/>
                <a:ext cx="10" cy="27"/>
              </a:xfrm>
              <a:custGeom>
                <a:avLst/>
                <a:gdLst>
                  <a:gd name="T0" fmla="*/ 0 w 10"/>
                  <a:gd name="T1" fmla="*/ 0 h 27"/>
                  <a:gd name="T2" fmla="*/ 2 w 10"/>
                  <a:gd name="T3" fmla="*/ 4 h 27"/>
                  <a:gd name="T4" fmla="*/ 2 w 10"/>
                  <a:gd name="T5" fmla="*/ 14 h 27"/>
                  <a:gd name="T6" fmla="*/ 6 w 10"/>
                  <a:gd name="T7" fmla="*/ 21 h 27"/>
                  <a:gd name="T8" fmla="*/ 6 w 10"/>
                  <a:gd name="T9" fmla="*/ 25 h 27"/>
                  <a:gd name="T10" fmla="*/ 8 w 10"/>
                  <a:gd name="T11" fmla="*/ 27 h 27"/>
                  <a:gd name="T12" fmla="*/ 10 w 10"/>
                  <a:gd name="T13" fmla="*/ 25 h 27"/>
                  <a:gd name="T14" fmla="*/ 10 w 10"/>
                  <a:gd name="T15" fmla="*/ 21 h 27"/>
                  <a:gd name="T16" fmla="*/ 10 w 10"/>
                  <a:gd name="T17" fmla="*/ 17 h 27"/>
                  <a:gd name="T18" fmla="*/ 8 w 10"/>
                  <a:gd name="T19" fmla="*/ 14 h 27"/>
                  <a:gd name="T20" fmla="*/ 8 w 10"/>
                  <a:gd name="T21" fmla="*/ 8 h 27"/>
                  <a:gd name="T22" fmla="*/ 8 w 10"/>
                  <a:gd name="T23" fmla="*/ 2 h 27"/>
                  <a:gd name="T24" fmla="*/ 10 w 10"/>
                  <a:gd name="T25" fmla="*/ 0 h 27"/>
                  <a:gd name="T26" fmla="*/ 0 w 10"/>
                  <a:gd name="T27" fmla="*/ 0 h 27"/>
                  <a:gd name="T28" fmla="*/ 0 w 10"/>
                  <a:gd name="T2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27">
                    <a:moveTo>
                      <a:pt x="0" y="0"/>
                    </a:moveTo>
                    <a:lnTo>
                      <a:pt x="2" y="4"/>
                    </a:lnTo>
                    <a:lnTo>
                      <a:pt x="2" y="14"/>
                    </a:lnTo>
                    <a:lnTo>
                      <a:pt x="6" y="21"/>
                    </a:lnTo>
                    <a:lnTo>
                      <a:pt x="6" y="25"/>
                    </a:lnTo>
                    <a:lnTo>
                      <a:pt x="8" y="27"/>
                    </a:lnTo>
                    <a:lnTo>
                      <a:pt x="10" y="25"/>
                    </a:lnTo>
                    <a:lnTo>
                      <a:pt x="10" y="21"/>
                    </a:lnTo>
                    <a:lnTo>
                      <a:pt x="10" y="17"/>
                    </a:lnTo>
                    <a:lnTo>
                      <a:pt x="8" y="14"/>
                    </a:lnTo>
                    <a:lnTo>
                      <a:pt x="8" y="8"/>
                    </a:lnTo>
                    <a:lnTo>
                      <a:pt x="8" y="2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40" name="Freeform 554">
                <a:extLst>
                  <a:ext uri="{FF2B5EF4-FFF2-40B4-BE49-F238E27FC236}">
                    <a16:creationId xmlns:a16="http://schemas.microsoft.com/office/drawing/2014/main" id="{FDFB9888-81AB-4270-9F65-58B5E93B90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" y="2461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41" name="Freeform 555">
                <a:extLst>
                  <a:ext uri="{FF2B5EF4-FFF2-40B4-BE49-F238E27FC236}">
                    <a16:creationId xmlns:a16="http://schemas.microsoft.com/office/drawing/2014/main" id="{09193011-7AAB-4FD9-B4FE-AC9DCCCDA3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0" y="2196"/>
                <a:ext cx="0" cy="3"/>
              </a:xfrm>
              <a:custGeom>
                <a:avLst/>
                <a:gdLst>
                  <a:gd name="T0" fmla="*/ 0 h 3"/>
                  <a:gd name="T1" fmla="*/ 0 h 3"/>
                  <a:gd name="T2" fmla="*/ 3 h 3"/>
                  <a:gd name="T3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42" name="Rectangle 556">
                <a:extLst>
                  <a:ext uri="{FF2B5EF4-FFF2-40B4-BE49-F238E27FC236}">
                    <a16:creationId xmlns:a16="http://schemas.microsoft.com/office/drawing/2014/main" id="{DEDC1922-9596-4E65-B6DF-D907203DFE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29" y="243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43" name="Rectangle 557">
                <a:extLst>
                  <a:ext uri="{FF2B5EF4-FFF2-40B4-BE49-F238E27FC236}">
                    <a16:creationId xmlns:a16="http://schemas.microsoft.com/office/drawing/2014/main" id="{F1DA7425-F33D-44B1-9D5F-60841777C0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1" y="246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44" name="Freeform 558">
                <a:extLst>
                  <a:ext uri="{FF2B5EF4-FFF2-40B4-BE49-F238E27FC236}">
                    <a16:creationId xmlns:a16="http://schemas.microsoft.com/office/drawing/2014/main" id="{30723CE2-85C4-4ECF-B805-A61BD97E5F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4" y="741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45" name="Rectangle 559">
                <a:extLst>
                  <a:ext uri="{FF2B5EF4-FFF2-40B4-BE49-F238E27FC236}">
                    <a16:creationId xmlns:a16="http://schemas.microsoft.com/office/drawing/2014/main" id="{D6A9A7E6-460E-44BA-87EB-CE01FEA152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57" y="78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46" name="Freeform 560">
                <a:extLst>
                  <a:ext uri="{FF2B5EF4-FFF2-40B4-BE49-F238E27FC236}">
                    <a16:creationId xmlns:a16="http://schemas.microsoft.com/office/drawing/2014/main" id="{23D1CC3C-49EC-4181-9916-31E22917E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9" y="897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47" name="Freeform 561">
                <a:extLst>
                  <a:ext uri="{FF2B5EF4-FFF2-40B4-BE49-F238E27FC236}">
                    <a16:creationId xmlns:a16="http://schemas.microsoft.com/office/drawing/2014/main" id="{95F0FD3E-7279-434D-AE6F-B3C9FC89B6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0" y="887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48" name="Rectangle 562">
                <a:extLst>
                  <a:ext uri="{FF2B5EF4-FFF2-40B4-BE49-F238E27FC236}">
                    <a16:creationId xmlns:a16="http://schemas.microsoft.com/office/drawing/2014/main" id="{96537A9B-82E4-4761-B21E-CCECDF1288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58" y="88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49" name="Rectangle 563">
                <a:extLst>
                  <a:ext uri="{FF2B5EF4-FFF2-40B4-BE49-F238E27FC236}">
                    <a16:creationId xmlns:a16="http://schemas.microsoft.com/office/drawing/2014/main" id="{CF031036-BE3C-4E8F-8B29-A90E527837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01" y="257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50" name="Freeform 564">
                <a:extLst>
                  <a:ext uri="{FF2B5EF4-FFF2-40B4-BE49-F238E27FC236}">
                    <a16:creationId xmlns:a16="http://schemas.microsoft.com/office/drawing/2014/main" id="{9304E65A-65EF-4C8A-9558-8789BF847A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3" y="2608"/>
                <a:ext cx="21" cy="7"/>
              </a:xfrm>
              <a:custGeom>
                <a:avLst/>
                <a:gdLst>
                  <a:gd name="T0" fmla="*/ 2 w 21"/>
                  <a:gd name="T1" fmla="*/ 3 h 7"/>
                  <a:gd name="T2" fmla="*/ 20 w 21"/>
                  <a:gd name="T3" fmla="*/ 0 h 7"/>
                  <a:gd name="T4" fmla="*/ 21 w 21"/>
                  <a:gd name="T5" fmla="*/ 0 h 7"/>
                  <a:gd name="T6" fmla="*/ 20 w 21"/>
                  <a:gd name="T7" fmla="*/ 0 h 7"/>
                  <a:gd name="T8" fmla="*/ 2 w 21"/>
                  <a:gd name="T9" fmla="*/ 3 h 7"/>
                  <a:gd name="T10" fmla="*/ 0 w 21"/>
                  <a:gd name="T11" fmla="*/ 5 h 7"/>
                  <a:gd name="T12" fmla="*/ 0 w 21"/>
                  <a:gd name="T13" fmla="*/ 7 h 7"/>
                  <a:gd name="T14" fmla="*/ 0 w 21"/>
                  <a:gd name="T15" fmla="*/ 5 h 7"/>
                  <a:gd name="T16" fmla="*/ 2 w 21"/>
                  <a:gd name="T17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7">
                    <a:moveTo>
                      <a:pt x="2" y="3"/>
                    </a:moveTo>
                    <a:lnTo>
                      <a:pt x="20" y="0"/>
                    </a:lnTo>
                    <a:lnTo>
                      <a:pt x="21" y="0"/>
                    </a:lnTo>
                    <a:lnTo>
                      <a:pt x="20" y="0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51" name="Freeform 565">
                <a:extLst>
                  <a:ext uri="{FF2B5EF4-FFF2-40B4-BE49-F238E27FC236}">
                    <a16:creationId xmlns:a16="http://schemas.microsoft.com/office/drawing/2014/main" id="{ED5C582B-ACD4-496B-84F8-81C79F204E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9" y="2619"/>
                <a:ext cx="4" cy="8"/>
              </a:xfrm>
              <a:custGeom>
                <a:avLst/>
                <a:gdLst>
                  <a:gd name="T0" fmla="*/ 0 w 4"/>
                  <a:gd name="T1" fmla="*/ 2 h 8"/>
                  <a:gd name="T2" fmla="*/ 0 w 4"/>
                  <a:gd name="T3" fmla="*/ 0 h 8"/>
                  <a:gd name="T4" fmla="*/ 0 w 4"/>
                  <a:gd name="T5" fmla="*/ 2 h 8"/>
                  <a:gd name="T6" fmla="*/ 2 w 4"/>
                  <a:gd name="T7" fmla="*/ 4 h 8"/>
                  <a:gd name="T8" fmla="*/ 4 w 4"/>
                  <a:gd name="T9" fmla="*/ 8 h 8"/>
                  <a:gd name="T10" fmla="*/ 2 w 4"/>
                  <a:gd name="T11" fmla="*/ 4 h 8"/>
                  <a:gd name="T12" fmla="*/ 0 w 4"/>
                  <a:gd name="T1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4" y="8"/>
                    </a:lnTo>
                    <a:lnTo>
                      <a:pt x="2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52" name="Freeform 566">
                <a:extLst>
                  <a:ext uri="{FF2B5EF4-FFF2-40B4-BE49-F238E27FC236}">
                    <a16:creationId xmlns:a16="http://schemas.microsoft.com/office/drawing/2014/main" id="{6E5CEF96-515F-4312-9850-5D65FBB6FB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3" y="2639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4 h 4"/>
                  <a:gd name="T4" fmla="*/ 0 w 2"/>
                  <a:gd name="T5" fmla="*/ 4 h 4"/>
                  <a:gd name="T6" fmla="*/ 2 w 2"/>
                  <a:gd name="T7" fmla="*/ 4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53" name="Freeform 567">
                <a:extLst>
                  <a:ext uri="{FF2B5EF4-FFF2-40B4-BE49-F238E27FC236}">
                    <a16:creationId xmlns:a16="http://schemas.microsoft.com/office/drawing/2014/main" id="{22EE3864-3C55-45CE-A0E8-C3DD616D2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2" y="3498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54" name="Freeform 568">
                <a:extLst>
                  <a:ext uri="{FF2B5EF4-FFF2-40B4-BE49-F238E27FC236}">
                    <a16:creationId xmlns:a16="http://schemas.microsoft.com/office/drawing/2014/main" id="{B3A65202-C316-4F84-9EAC-73A36A92E1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2" y="3562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55" name="Rectangle 569">
                <a:extLst>
                  <a:ext uri="{FF2B5EF4-FFF2-40B4-BE49-F238E27FC236}">
                    <a16:creationId xmlns:a16="http://schemas.microsoft.com/office/drawing/2014/main" id="{F92A9477-2075-465D-BE8E-7483EF40BA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6" y="337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56" name="Freeform 570">
                <a:extLst>
                  <a:ext uri="{FF2B5EF4-FFF2-40B4-BE49-F238E27FC236}">
                    <a16:creationId xmlns:a16="http://schemas.microsoft.com/office/drawing/2014/main" id="{E8977D90-0C20-48E8-B802-037930E34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6" y="2611"/>
                <a:ext cx="8" cy="2"/>
              </a:xfrm>
              <a:custGeom>
                <a:avLst/>
                <a:gdLst>
                  <a:gd name="T0" fmla="*/ 6 w 8"/>
                  <a:gd name="T1" fmla="*/ 0 h 2"/>
                  <a:gd name="T2" fmla="*/ 8 w 8"/>
                  <a:gd name="T3" fmla="*/ 2 h 2"/>
                  <a:gd name="T4" fmla="*/ 6 w 8"/>
                  <a:gd name="T5" fmla="*/ 0 h 2"/>
                  <a:gd name="T6" fmla="*/ 2 w 8"/>
                  <a:gd name="T7" fmla="*/ 0 h 2"/>
                  <a:gd name="T8" fmla="*/ 0 w 8"/>
                  <a:gd name="T9" fmla="*/ 0 h 2"/>
                  <a:gd name="T10" fmla="*/ 2 w 8"/>
                  <a:gd name="T11" fmla="*/ 0 h 2"/>
                  <a:gd name="T12" fmla="*/ 6 w 8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2">
                    <a:moveTo>
                      <a:pt x="6" y="0"/>
                    </a:moveTo>
                    <a:lnTo>
                      <a:pt x="8" y="2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57" name="Freeform 571">
                <a:extLst>
                  <a:ext uri="{FF2B5EF4-FFF2-40B4-BE49-F238E27FC236}">
                    <a16:creationId xmlns:a16="http://schemas.microsoft.com/office/drawing/2014/main" id="{068B74EC-F0D7-426E-A54A-D4D491149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5" y="2533"/>
                <a:ext cx="66" cy="10"/>
              </a:xfrm>
              <a:custGeom>
                <a:avLst/>
                <a:gdLst>
                  <a:gd name="T0" fmla="*/ 14 w 66"/>
                  <a:gd name="T1" fmla="*/ 10 h 10"/>
                  <a:gd name="T2" fmla="*/ 60 w 66"/>
                  <a:gd name="T3" fmla="*/ 2 h 10"/>
                  <a:gd name="T4" fmla="*/ 66 w 66"/>
                  <a:gd name="T5" fmla="*/ 0 h 10"/>
                  <a:gd name="T6" fmla="*/ 60 w 66"/>
                  <a:gd name="T7" fmla="*/ 2 h 10"/>
                  <a:gd name="T8" fmla="*/ 14 w 66"/>
                  <a:gd name="T9" fmla="*/ 10 h 10"/>
                  <a:gd name="T10" fmla="*/ 10 w 66"/>
                  <a:gd name="T11" fmla="*/ 10 h 10"/>
                  <a:gd name="T12" fmla="*/ 0 w 66"/>
                  <a:gd name="T13" fmla="*/ 8 h 10"/>
                  <a:gd name="T14" fmla="*/ 0 w 66"/>
                  <a:gd name="T15" fmla="*/ 8 h 10"/>
                  <a:gd name="T16" fmla="*/ 10 w 66"/>
                  <a:gd name="T17" fmla="*/ 10 h 10"/>
                  <a:gd name="T18" fmla="*/ 14 w 66"/>
                  <a:gd name="T1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6" h="10">
                    <a:moveTo>
                      <a:pt x="14" y="10"/>
                    </a:moveTo>
                    <a:lnTo>
                      <a:pt x="60" y="2"/>
                    </a:lnTo>
                    <a:lnTo>
                      <a:pt x="66" y="0"/>
                    </a:lnTo>
                    <a:lnTo>
                      <a:pt x="60" y="2"/>
                    </a:lnTo>
                    <a:lnTo>
                      <a:pt x="14" y="10"/>
                    </a:lnTo>
                    <a:lnTo>
                      <a:pt x="10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10" y="10"/>
                    </a:lnTo>
                    <a:lnTo>
                      <a:pt x="14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58" name="Freeform 572">
                <a:extLst>
                  <a:ext uri="{FF2B5EF4-FFF2-40B4-BE49-F238E27FC236}">
                    <a16:creationId xmlns:a16="http://schemas.microsoft.com/office/drawing/2014/main" id="{A64BD5C8-1EA1-4FFB-B9B2-EA5A43D0A9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8" y="2547"/>
                <a:ext cx="10" cy="16"/>
              </a:xfrm>
              <a:custGeom>
                <a:avLst/>
                <a:gdLst>
                  <a:gd name="T0" fmla="*/ 8 w 10"/>
                  <a:gd name="T1" fmla="*/ 2 h 16"/>
                  <a:gd name="T2" fmla="*/ 10 w 10"/>
                  <a:gd name="T3" fmla="*/ 0 h 16"/>
                  <a:gd name="T4" fmla="*/ 8 w 10"/>
                  <a:gd name="T5" fmla="*/ 2 h 16"/>
                  <a:gd name="T6" fmla="*/ 2 w 10"/>
                  <a:gd name="T7" fmla="*/ 12 h 16"/>
                  <a:gd name="T8" fmla="*/ 0 w 10"/>
                  <a:gd name="T9" fmla="*/ 16 h 16"/>
                  <a:gd name="T10" fmla="*/ 2 w 10"/>
                  <a:gd name="T11" fmla="*/ 12 h 16"/>
                  <a:gd name="T12" fmla="*/ 8 w 10"/>
                  <a:gd name="T1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6">
                    <a:moveTo>
                      <a:pt x="8" y="2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2" y="12"/>
                    </a:lnTo>
                    <a:lnTo>
                      <a:pt x="0" y="16"/>
                    </a:lnTo>
                    <a:lnTo>
                      <a:pt x="2" y="1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59" name="Freeform 573">
                <a:extLst>
                  <a:ext uri="{FF2B5EF4-FFF2-40B4-BE49-F238E27FC236}">
                    <a16:creationId xmlns:a16="http://schemas.microsoft.com/office/drawing/2014/main" id="{E28B8B52-FD53-4147-B669-DA761CAC4D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8" y="2590"/>
                <a:ext cx="49" cy="35"/>
              </a:xfrm>
              <a:custGeom>
                <a:avLst/>
                <a:gdLst>
                  <a:gd name="T0" fmla="*/ 31 w 49"/>
                  <a:gd name="T1" fmla="*/ 12 h 35"/>
                  <a:gd name="T2" fmla="*/ 49 w 49"/>
                  <a:gd name="T3" fmla="*/ 0 h 35"/>
                  <a:gd name="T4" fmla="*/ 31 w 49"/>
                  <a:gd name="T5" fmla="*/ 12 h 35"/>
                  <a:gd name="T6" fmla="*/ 7 w 49"/>
                  <a:gd name="T7" fmla="*/ 33 h 35"/>
                  <a:gd name="T8" fmla="*/ 0 w 49"/>
                  <a:gd name="T9" fmla="*/ 35 h 35"/>
                  <a:gd name="T10" fmla="*/ 7 w 49"/>
                  <a:gd name="T11" fmla="*/ 33 h 35"/>
                  <a:gd name="T12" fmla="*/ 31 w 49"/>
                  <a:gd name="T13" fmla="*/ 1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35">
                    <a:moveTo>
                      <a:pt x="31" y="12"/>
                    </a:moveTo>
                    <a:lnTo>
                      <a:pt x="49" y="0"/>
                    </a:lnTo>
                    <a:lnTo>
                      <a:pt x="31" y="12"/>
                    </a:lnTo>
                    <a:lnTo>
                      <a:pt x="7" y="33"/>
                    </a:lnTo>
                    <a:lnTo>
                      <a:pt x="0" y="35"/>
                    </a:lnTo>
                    <a:lnTo>
                      <a:pt x="7" y="33"/>
                    </a:lnTo>
                    <a:lnTo>
                      <a:pt x="31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60" name="Rectangle 574">
                <a:extLst>
                  <a:ext uri="{FF2B5EF4-FFF2-40B4-BE49-F238E27FC236}">
                    <a16:creationId xmlns:a16="http://schemas.microsoft.com/office/drawing/2014/main" id="{1DDD53A4-6184-4D5F-BBFB-2D1FD8C38A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9" y="347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61" name="Rectangle 575">
                <a:extLst>
                  <a:ext uri="{FF2B5EF4-FFF2-40B4-BE49-F238E27FC236}">
                    <a16:creationId xmlns:a16="http://schemas.microsoft.com/office/drawing/2014/main" id="{153B8366-F2CB-441A-8B54-B15CE241A8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08" y="351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62" name="Freeform 576">
                <a:extLst>
                  <a:ext uri="{FF2B5EF4-FFF2-40B4-BE49-F238E27FC236}">
                    <a16:creationId xmlns:a16="http://schemas.microsoft.com/office/drawing/2014/main" id="{D4C7B2EA-611A-4C0B-9541-B2ECE7041B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5" y="3512"/>
                <a:ext cx="2" cy="1"/>
              </a:xfrm>
              <a:custGeom>
                <a:avLst/>
                <a:gdLst>
                  <a:gd name="T0" fmla="*/ 2 w 2"/>
                  <a:gd name="T1" fmla="*/ 0 h 1"/>
                  <a:gd name="T2" fmla="*/ 0 w 2"/>
                  <a:gd name="T3" fmla="*/ 1 h 1"/>
                  <a:gd name="T4" fmla="*/ 2 w 2"/>
                  <a:gd name="T5" fmla="*/ 0 h 1"/>
                  <a:gd name="T6" fmla="*/ 2 w 2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0" y="1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63" name="Freeform 577">
                <a:extLst>
                  <a:ext uri="{FF2B5EF4-FFF2-40B4-BE49-F238E27FC236}">
                    <a16:creationId xmlns:a16="http://schemas.microsoft.com/office/drawing/2014/main" id="{178D0DA3-5DB6-4077-8336-A86D31F81B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0" y="3551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0 h 2"/>
                  <a:gd name="T4" fmla="*/ 0 w 2"/>
                  <a:gd name="T5" fmla="*/ 0 h 2"/>
                  <a:gd name="T6" fmla="*/ 2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64" name="Rectangle 578">
                <a:extLst>
                  <a:ext uri="{FF2B5EF4-FFF2-40B4-BE49-F238E27FC236}">
                    <a16:creationId xmlns:a16="http://schemas.microsoft.com/office/drawing/2014/main" id="{A9874BC8-ECDC-4851-8ACD-358E5D46B8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8" y="349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65" name="Freeform 579">
                <a:extLst>
                  <a:ext uri="{FF2B5EF4-FFF2-40B4-BE49-F238E27FC236}">
                    <a16:creationId xmlns:a16="http://schemas.microsoft.com/office/drawing/2014/main" id="{7AE05098-070F-4FC7-82D5-41F617B45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5" y="2526"/>
                <a:ext cx="8" cy="1"/>
              </a:xfrm>
              <a:custGeom>
                <a:avLst/>
                <a:gdLst>
                  <a:gd name="T0" fmla="*/ 8 w 8"/>
                  <a:gd name="T1" fmla="*/ 0 h 1"/>
                  <a:gd name="T2" fmla="*/ 4 w 8"/>
                  <a:gd name="T3" fmla="*/ 0 h 1"/>
                  <a:gd name="T4" fmla="*/ 0 w 8"/>
                  <a:gd name="T5" fmla="*/ 1 h 1"/>
                  <a:gd name="T6" fmla="*/ 4 w 8"/>
                  <a:gd name="T7" fmla="*/ 0 h 1"/>
                  <a:gd name="T8" fmla="*/ 8 w 8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">
                    <a:moveTo>
                      <a:pt x="8" y="0"/>
                    </a:moveTo>
                    <a:lnTo>
                      <a:pt x="4" y="0"/>
                    </a:lnTo>
                    <a:lnTo>
                      <a:pt x="0" y="1"/>
                    </a:lnTo>
                    <a:lnTo>
                      <a:pt x="4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66" name="Freeform 580">
                <a:extLst>
                  <a:ext uri="{FF2B5EF4-FFF2-40B4-BE49-F238E27FC236}">
                    <a16:creationId xmlns:a16="http://schemas.microsoft.com/office/drawing/2014/main" id="{0EB4A811-9057-4903-AEE0-5AEE4CC64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1" y="3472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67" name="Rectangle 581">
                <a:extLst>
                  <a:ext uri="{FF2B5EF4-FFF2-40B4-BE49-F238E27FC236}">
                    <a16:creationId xmlns:a16="http://schemas.microsoft.com/office/drawing/2014/main" id="{72A54E64-962D-4140-AF49-D0CFAF0B42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7" y="346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68" name="Rectangle 582">
                <a:extLst>
                  <a:ext uri="{FF2B5EF4-FFF2-40B4-BE49-F238E27FC236}">
                    <a16:creationId xmlns:a16="http://schemas.microsoft.com/office/drawing/2014/main" id="{3645B8C3-8C39-4A15-8EC1-AC45E6D64A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68" y="34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69" name="Freeform 583">
                <a:extLst>
                  <a:ext uri="{FF2B5EF4-FFF2-40B4-BE49-F238E27FC236}">
                    <a16:creationId xmlns:a16="http://schemas.microsoft.com/office/drawing/2014/main" id="{D3BA0EC1-7C42-44ED-9D83-43214AE80E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1" y="3430"/>
                <a:ext cx="0" cy="3"/>
              </a:xfrm>
              <a:custGeom>
                <a:avLst/>
                <a:gdLst>
                  <a:gd name="T0" fmla="*/ 0 h 3"/>
                  <a:gd name="T1" fmla="*/ 0 h 3"/>
                  <a:gd name="T2" fmla="*/ 3 h 3"/>
                  <a:gd name="T3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70" name="Freeform 584">
                <a:extLst>
                  <a:ext uri="{FF2B5EF4-FFF2-40B4-BE49-F238E27FC236}">
                    <a16:creationId xmlns:a16="http://schemas.microsoft.com/office/drawing/2014/main" id="{2C3F2D7B-4596-4269-A325-279B7CDEE1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2" y="2553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0 h 4"/>
                  <a:gd name="T4" fmla="*/ 2 h 4"/>
                  <a:gd name="T5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71" name="Freeform 585">
                <a:extLst>
                  <a:ext uri="{FF2B5EF4-FFF2-40B4-BE49-F238E27FC236}">
                    <a16:creationId xmlns:a16="http://schemas.microsoft.com/office/drawing/2014/main" id="{349D9F53-F518-496F-B60E-B890D0C549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2" y="2608"/>
                <a:ext cx="10" cy="15"/>
              </a:xfrm>
              <a:custGeom>
                <a:avLst/>
                <a:gdLst>
                  <a:gd name="T0" fmla="*/ 0 w 10"/>
                  <a:gd name="T1" fmla="*/ 9 h 15"/>
                  <a:gd name="T2" fmla="*/ 0 w 10"/>
                  <a:gd name="T3" fmla="*/ 13 h 15"/>
                  <a:gd name="T4" fmla="*/ 2 w 10"/>
                  <a:gd name="T5" fmla="*/ 15 h 15"/>
                  <a:gd name="T6" fmla="*/ 6 w 10"/>
                  <a:gd name="T7" fmla="*/ 15 h 15"/>
                  <a:gd name="T8" fmla="*/ 10 w 10"/>
                  <a:gd name="T9" fmla="*/ 13 h 15"/>
                  <a:gd name="T10" fmla="*/ 6 w 10"/>
                  <a:gd name="T11" fmla="*/ 15 h 15"/>
                  <a:gd name="T12" fmla="*/ 2 w 10"/>
                  <a:gd name="T13" fmla="*/ 15 h 15"/>
                  <a:gd name="T14" fmla="*/ 0 w 10"/>
                  <a:gd name="T15" fmla="*/ 13 h 15"/>
                  <a:gd name="T16" fmla="*/ 0 w 10"/>
                  <a:gd name="T17" fmla="*/ 9 h 15"/>
                  <a:gd name="T18" fmla="*/ 4 w 10"/>
                  <a:gd name="T19" fmla="*/ 3 h 15"/>
                  <a:gd name="T20" fmla="*/ 4 w 10"/>
                  <a:gd name="T21" fmla="*/ 0 h 15"/>
                  <a:gd name="T22" fmla="*/ 4 w 10"/>
                  <a:gd name="T23" fmla="*/ 3 h 15"/>
                  <a:gd name="T24" fmla="*/ 0 w 10"/>
                  <a:gd name="T25" fmla="*/ 9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" h="15">
                    <a:moveTo>
                      <a:pt x="0" y="9"/>
                    </a:moveTo>
                    <a:lnTo>
                      <a:pt x="0" y="13"/>
                    </a:lnTo>
                    <a:lnTo>
                      <a:pt x="2" y="15"/>
                    </a:lnTo>
                    <a:lnTo>
                      <a:pt x="6" y="15"/>
                    </a:lnTo>
                    <a:lnTo>
                      <a:pt x="10" y="13"/>
                    </a:lnTo>
                    <a:lnTo>
                      <a:pt x="6" y="15"/>
                    </a:lnTo>
                    <a:lnTo>
                      <a:pt x="2" y="15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4" y="3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72" name="Freeform 586">
                <a:extLst>
                  <a:ext uri="{FF2B5EF4-FFF2-40B4-BE49-F238E27FC236}">
                    <a16:creationId xmlns:a16="http://schemas.microsoft.com/office/drawing/2014/main" id="{5FD3B88A-1A0D-4E32-84B4-158796BBD6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1" y="2649"/>
                <a:ext cx="6" cy="5"/>
              </a:xfrm>
              <a:custGeom>
                <a:avLst/>
                <a:gdLst>
                  <a:gd name="T0" fmla="*/ 2 w 6"/>
                  <a:gd name="T1" fmla="*/ 1 h 5"/>
                  <a:gd name="T2" fmla="*/ 4 w 6"/>
                  <a:gd name="T3" fmla="*/ 3 h 5"/>
                  <a:gd name="T4" fmla="*/ 6 w 6"/>
                  <a:gd name="T5" fmla="*/ 5 h 5"/>
                  <a:gd name="T6" fmla="*/ 4 w 6"/>
                  <a:gd name="T7" fmla="*/ 3 h 5"/>
                  <a:gd name="T8" fmla="*/ 2 w 6"/>
                  <a:gd name="T9" fmla="*/ 1 h 5"/>
                  <a:gd name="T10" fmla="*/ 0 w 6"/>
                  <a:gd name="T11" fmla="*/ 0 h 5"/>
                  <a:gd name="T12" fmla="*/ 0 w 6"/>
                  <a:gd name="T13" fmla="*/ 0 h 5"/>
                  <a:gd name="T14" fmla="*/ 0 w 6"/>
                  <a:gd name="T15" fmla="*/ 0 h 5"/>
                  <a:gd name="T16" fmla="*/ 2 w 6"/>
                  <a:gd name="T1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5">
                    <a:moveTo>
                      <a:pt x="2" y="1"/>
                    </a:moveTo>
                    <a:lnTo>
                      <a:pt x="4" y="3"/>
                    </a:lnTo>
                    <a:lnTo>
                      <a:pt x="6" y="5"/>
                    </a:lnTo>
                    <a:lnTo>
                      <a:pt x="4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73" name="Freeform 587">
                <a:extLst>
                  <a:ext uri="{FF2B5EF4-FFF2-40B4-BE49-F238E27FC236}">
                    <a16:creationId xmlns:a16="http://schemas.microsoft.com/office/drawing/2014/main" id="{76D9FDE7-2265-4ED7-A275-F5FC641788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1" y="2621"/>
                <a:ext cx="8" cy="28"/>
              </a:xfrm>
              <a:custGeom>
                <a:avLst/>
                <a:gdLst>
                  <a:gd name="T0" fmla="*/ 8 w 8"/>
                  <a:gd name="T1" fmla="*/ 8 h 28"/>
                  <a:gd name="T2" fmla="*/ 6 w 8"/>
                  <a:gd name="T3" fmla="*/ 14 h 28"/>
                  <a:gd name="T4" fmla="*/ 0 w 8"/>
                  <a:gd name="T5" fmla="*/ 28 h 28"/>
                  <a:gd name="T6" fmla="*/ 0 w 8"/>
                  <a:gd name="T7" fmla="*/ 28 h 28"/>
                  <a:gd name="T8" fmla="*/ 6 w 8"/>
                  <a:gd name="T9" fmla="*/ 14 h 28"/>
                  <a:gd name="T10" fmla="*/ 8 w 8"/>
                  <a:gd name="T11" fmla="*/ 8 h 28"/>
                  <a:gd name="T12" fmla="*/ 4 w 8"/>
                  <a:gd name="T13" fmla="*/ 2 h 28"/>
                  <a:gd name="T14" fmla="*/ 4 w 8"/>
                  <a:gd name="T15" fmla="*/ 0 h 28"/>
                  <a:gd name="T16" fmla="*/ 4 w 8"/>
                  <a:gd name="T17" fmla="*/ 2 h 28"/>
                  <a:gd name="T18" fmla="*/ 8 w 8"/>
                  <a:gd name="T19" fmla="*/ 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28">
                    <a:moveTo>
                      <a:pt x="8" y="8"/>
                    </a:moveTo>
                    <a:lnTo>
                      <a:pt x="6" y="14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6" y="14"/>
                    </a:lnTo>
                    <a:lnTo>
                      <a:pt x="8" y="8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8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74" name="Freeform 588">
                <a:extLst>
                  <a:ext uri="{FF2B5EF4-FFF2-40B4-BE49-F238E27FC236}">
                    <a16:creationId xmlns:a16="http://schemas.microsoft.com/office/drawing/2014/main" id="{619D4DFD-7828-4BDC-8FF4-310CB7ED52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621"/>
                <a:ext cx="10" cy="2"/>
              </a:xfrm>
              <a:custGeom>
                <a:avLst/>
                <a:gdLst>
                  <a:gd name="T0" fmla="*/ 10 w 10"/>
                  <a:gd name="T1" fmla="*/ 0 h 2"/>
                  <a:gd name="T2" fmla="*/ 6 w 10"/>
                  <a:gd name="T3" fmla="*/ 2 h 2"/>
                  <a:gd name="T4" fmla="*/ 0 w 10"/>
                  <a:gd name="T5" fmla="*/ 0 h 2"/>
                  <a:gd name="T6" fmla="*/ 6 w 10"/>
                  <a:gd name="T7" fmla="*/ 2 h 2"/>
                  <a:gd name="T8" fmla="*/ 10 w 10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">
                    <a:moveTo>
                      <a:pt x="10" y="0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75" name="Freeform 589">
                <a:extLst>
                  <a:ext uri="{FF2B5EF4-FFF2-40B4-BE49-F238E27FC236}">
                    <a16:creationId xmlns:a16="http://schemas.microsoft.com/office/drawing/2014/main" id="{02E47D58-8254-4A49-8CBE-3B8822C418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613"/>
                <a:ext cx="29" cy="8"/>
              </a:xfrm>
              <a:custGeom>
                <a:avLst/>
                <a:gdLst>
                  <a:gd name="T0" fmla="*/ 23 w 29"/>
                  <a:gd name="T1" fmla="*/ 8 h 8"/>
                  <a:gd name="T2" fmla="*/ 29 w 29"/>
                  <a:gd name="T3" fmla="*/ 8 h 8"/>
                  <a:gd name="T4" fmla="*/ 23 w 29"/>
                  <a:gd name="T5" fmla="*/ 8 h 8"/>
                  <a:gd name="T6" fmla="*/ 5 w 29"/>
                  <a:gd name="T7" fmla="*/ 0 h 8"/>
                  <a:gd name="T8" fmla="*/ 0 w 29"/>
                  <a:gd name="T9" fmla="*/ 0 h 8"/>
                  <a:gd name="T10" fmla="*/ 5 w 29"/>
                  <a:gd name="T11" fmla="*/ 0 h 8"/>
                  <a:gd name="T12" fmla="*/ 23 w 2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8">
                    <a:moveTo>
                      <a:pt x="23" y="8"/>
                    </a:moveTo>
                    <a:lnTo>
                      <a:pt x="29" y="8"/>
                    </a:lnTo>
                    <a:lnTo>
                      <a:pt x="23" y="8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23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76" name="Freeform 590">
                <a:extLst>
                  <a:ext uri="{FF2B5EF4-FFF2-40B4-BE49-F238E27FC236}">
                    <a16:creationId xmlns:a16="http://schemas.microsoft.com/office/drawing/2014/main" id="{428C41B9-0178-48AC-A34C-ABA5DC6AD9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2" y="2637"/>
                <a:ext cx="0" cy="6"/>
              </a:xfrm>
              <a:custGeom>
                <a:avLst/>
                <a:gdLst>
                  <a:gd name="T0" fmla="*/ 2 h 6"/>
                  <a:gd name="T1" fmla="*/ 0 h 6"/>
                  <a:gd name="T2" fmla="*/ 2 h 6"/>
                  <a:gd name="T3" fmla="*/ 6 h 6"/>
                  <a:gd name="T4" fmla="*/ 6 h 6"/>
                  <a:gd name="T5" fmla="*/ 6 h 6"/>
                  <a:gd name="T6" fmla="*/ 2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6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77" name="Freeform 591">
                <a:extLst>
                  <a:ext uri="{FF2B5EF4-FFF2-40B4-BE49-F238E27FC236}">
                    <a16:creationId xmlns:a16="http://schemas.microsoft.com/office/drawing/2014/main" id="{5FCCF3A3-8BEE-4CBB-B653-A2CEBEEBD8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6" y="2615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2 w 6"/>
                  <a:gd name="T3" fmla="*/ 0 h 4"/>
                  <a:gd name="T4" fmla="*/ 0 w 6"/>
                  <a:gd name="T5" fmla="*/ 4 h 4"/>
                  <a:gd name="T6" fmla="*/ 0 w 6"/>
                  <a:gd name="T7" fmla="*/ 4 h 4"/>
                  <a:gd name="T8" fmla="*/ 2 w 6"/>
                  <a:gd name="T9" fmla="*/ 0 h 4"/>
                  <a:gd name="T10" fmla="*/ 6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78" name="Freeform 592">
                <a:extLst>
                  <a:ext uri="{FF2B5EF4-FFF2-40B4-BE49-F238E27FC236}">
                    <a16:creationId xmlns:a16="http://schemas.microsoft.com/office/drawing/2014/main" id="{DEED02A3-8B6B-4D16-BD54-1A3B2F4C17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2" y="2615"/>
                <a:ext cx="16" cy="14"/>
              </a:xfrm>
              <a:custGeom>
                <a:avLst/>
                <a:gdLst>
                  <a:gd name="T0" fmla="*/ 14 w 16"/>
                  <a:gd name="T1" fmla="*/ 14 h 14"/>
                  <a:gd name="T2" fmla="*/ 16 w 16"/>
                  <a:gd name="T3" fmla="*/ 14 h 14"/>
                  <a:gd name="T4" fmla="*/ 14 w 16"/>
                  <a:gd name="T5" fmla="*/ 14 h 14"/>
                  <a:gd name="T6" fmla="*/ 4 w 16"/>
                  <a:gd name="T7" fmla="*/ 2 h 14"/>
                  <a:gd name="T8" fmla="*/ 0 w 16"/>
                  <a:gd name="T9" fmla="*/ 0 h 14"/>
                  <a:gd name="T10" fmla="*/ 0 w 16"/>
                  <a:gd name="T11" fmla="*/ 0 h 14"/>
                  <a:gd name="T12" fmla="*/ 4 w 16"/>
                  <a:gd name="T13" fmla="*/ 2 h 14"/>
                  <a:gd name="T14" fmla="*/ 14 w 16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4">
                    <a:moveTo>
                      <a:pt x="14" y="14"/>
                    </a:moveTo>
                    <a:lnTo>
                      <a:pt x="16" y="14"/>
                    </a:lnTo>
                    <a:lnTo>
                      <a:pt x="14" y="1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79" name="Freeform 593">
                <a:extLst>
                  <a:ext uri="{FF2B5EF4-FFF2-40B4-BE49-F238E27FC236}">
                    <a16:creationId xmlns:a16="http://schemas.microsoft.com/office/drawing/2014/main" id="{E15552A0-8E1C-4B9E-8A66-A58204B642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2" y="2627"/>
                <a:ext cx="0" cy="4"/>
              </a:xfrm>
              <a:custGeom>
                <a:avLst/>
                <a:gdLst>
                  <a:gd name="T0" fmla="*/ 0 h 4"/>
                  <a:gd name="T1" fmla="*/ 2 h 4"/>
                  <a:gd name="T2" fmla="*/ 4 h 4"/>
                  <a:gd name="T3" fmla="*/ 2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80" name="Freeform 594">
                <a:extLst>
                  <a:ext uri="{FF2B5EF4-FFF2-40B4-BE49-F238E27FC236}">
                    <a16:creationId xmlns:a16="http://schemas.microsoft.com/office/drawing/2014/main" id="{E190162C-DAD8-4421-88DC-48EF74B607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1" y="2584"/>
                <a:ext cx="0" cy="14"/>
              </a:xfrm>
              <a:custGeom>
                <a:avLst/>
                <a:gdLst>
                  <a:gd name="T0" fmla="*/ 6 h 14"/>
                  <a:gd name="T1" fmla="*/ 14 h 14"/>
                  <a:gd name="T2" fmla="*/ 6 h 14"/>
                  <a:gd name="T3" fmla="*/ 0 h 14"/>
                  <a:gd name="T4" fmla="*/ 0 h 14"/>
                  <a:gd name="T5" fmla="*/ 0 h 14"/>
                  <a:gd name="T6" fmla="*/ 6 h 1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14">
                    <a:moveTo>
                      <a:pt x="0" y="6"/>
                    </a:moveTo>
                    <a:lnTo>
                      <a:pt x="0" y="14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81" name="Freeform 595">
                <a:extLst>
                  <a:ext uri="{FF2B5EF4-FFF2-40B4-BE49-F238E27FC236}">
                    <a16:creationId xmlns:a16="http://schemas.microsoft.com/office/drawing/2014/main" id="{9A84A074-396E-444A-B724-18906ECC61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2631"/>
                <a:ext cx="17" cy="0"/>
              </a:xfrm>
              <a:custGeom>
                <a:avLst/>
                <a:gdLst>
                  <a:gd name="T0" fmla="*/ 17 w 17"/>
                  <a:gd name="T1" fmla="*/ 17 w 17"/>
                  <a:gd name="T2" fmla="*/ 0 w 17"/>
                  <a:gd name="T3" fmla="*/ 0 w 17"/>
                  <a:gd name="T4" fmla="*/ 0 w 17"/>
                  <a:gd name="T5" fmla="*/ 17 w 1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7">
                    <a:moveTo>
                      <a:pt x="17" y="0"/>
                    </a:moveTo>
                    <a:lnTo>
                      <a:pt x="17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82" name="Freeform 596">
                <a:extLst>
                  <a:ext uri="{FF2B5EF4-FFF2-40B4-BE49-F238E27FC236}">
                    <a16:creationId xmlns:a16="http://schemas.microsoft.com/office/drawing/2014/main" id="{E9C2B8EC-CCC3-415D-A587-BB20F8FC5F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0" y="255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83" name="Freeform 597">
                <a:extLst>
                  <a:ext uri="{FF2B5EF4-FFF2-40B4-BE49-F238E27FC236}">
                    <a16:creationId xmlns:a16="http://schemas.microsoft.com/office/drawing/2014/main" id="{CF27F74C-68EC-40C8-ABE9-0801FDC33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2" y="2559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84" name="Freeform 598">
                <a:extLst>
                  <a:ext uri="{FF2B5EF4-FFF2-40B4-BE49-F238E27FC236}">
                    <a16:creationId xmlns:a16="http://schemas.microsoft.com/office/drawing/2014/main" id="{B67DBDF3-A6D8-4F81-8D8C-3544ABB752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0" y="2537"/>
                <a:ext cx="31" cy="12"/>
              </a:xfrm>
              <a:custGeom>
                <a:avLst/>
                <a:gdLst>
                  <a:gd name="T0" fmla="*/ 11 w 31"/>
                  <a:gd name="T1" fmla="*/ 0 h 12"/>
                  <a:gd name="T2" fmla="*/ 15 w 31"/>
                  <a:gd name="T3" fmla="*/ 2 h 12"/>
                  <a:gd name="T4" fmla="*/ 27 w 31"/>
                  <a:gd name="T5" fmla="*/ 12 h 12"/>
                  <a:gd name="T6" fmla="*/ 31 w 31"/>
                  <a:gd name="T7" fmla="*/ 12 h 12"/>
                  <a:gd name="T8" fmla="*/ 27 w 31"/>
                  <a:gd name="T9" fmla="*/ 12 h 12"/>
                  <a:gd name="T10" fmla="*/ 15 w 31"/>
                  <a:gd name="T11" fmla="*/ 2 h 12"/>
                  <a:gd name="T12" fmla="*/ 11 w 31"/>
                  <a:gd name="T13" fmla="*/ 0 h 12"/>
                  <a:gd name="T14" fmla="*/ 0 w 31"/>
                  <a:gd name="T15" fmla="*/ 0 h 12"/>
                  <a:gd name="T16" fmla="*/ 0 w 31"/>
                  <a:gd name="T17" fmla="*/ 0 h 12"/>
                  <a:gd name="T18" fmla="*/ 11 w 31"/>
                  <a:gd name="T1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12">
                    <a:moveTo>
                      <a:pt x="11" y="0"/>
                    </a:moveTo>
                    <a:lnTo>
                      <a:pt x="15" y="2"/>
                    </a:lnTo>
                    <a:lnTo>
                      <a:pt x="27" y="12"/>
                    </a:lnTo>
                    <a:lnTo>
                      <a:pt x="31" y="12"/>
                    </a:lnTo>
                    <a:lnTo>
                      <a:pt x="27" y="12"/>
                    </a:lnTo>
                    <a:lnTo>
                      <a:pt x="15" y="2"/>
                    </a:lnTo>
                    <a:lnTo>
                      <a:pt x="1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85" name="Rectangle 599">
                <a:extLst>
                  <a:ext uri="{FF2B5EF4-FFF2-40B4-BE49-F238E27FC236}">
                    <a16:creationId xmlns:a16="http://schemas.microsoft.com/office/drawing/2014/main" id="{337D1144-1565-4080-82CD-60EA969A1E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01" y="2598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86" name="Freeform 600">
                <a:extLst>
                  <a:ext uri="{FF2B5EF4-FFF2-40B4-BE49-F238E27FC236}">
                    <a16:creationId xmlns:a16="http://schemas.microsoft.com/office/drawing/2014/main" id="{5ECA656E-67E5-40E3-9B7A-E02245514B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7" y="2531"/>
                <a:ext cx="47" cy="2"/>
              </a:xfrm>
              <a:custGeom>
                <a:avLst/>
                <a:gdLst>
                  <a:gd name="T0" fmla="*/ 32 w 47"/>
                  <a:gd name="T1" fmla="*/ 2 h 2"/>
                  <a:gd name="T2" fmla="*/ 47 w 47"/>
                  <a:gd name="T3" fmla="*/ 0 h 2"/>
                  <a:gd name="T4" fmla="*/ 47 w 47"/>
                  <a:gd name="T5" fmla="*/ 0 h 2"/>
                  <a:gd name="T6" fmla="*/ 32 w 47"/>
                  <a:gd name="T7" fmla="*/ 2 h 2"/>
                  <a:gd name="T8" fmla="*/ 10 w 47"/>
                  <a:gd name="T9" fmla="*/ 2 h 2"/>
                  <a:gd name="T10" fmla="*/ 0 w 47"/>
                  <a:gd name="T11" fmla="*/ 2 h 2"/>
                  <a:gd name="T12" fmla="*/ 10 w 47"/>
                  <a:gd name="T13" fmla="*/ 2 h 2"/>
                  <a:gd name="T14" fmla="*/ 32 w 47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2">
                    <a:moveTo>
                      <a:pt x="32" y="2"/>
                    </a:moveTo>
                    <a:lnTo>
                      <a:pt x="47" y="0"/>
                    </a:lnTo>
                    <a:lnTo>
                      <a:pt x="47" y="0"/>
                    </a:lnTo>
                    <a:lnTo>
                      <a:pt x="32" y="2"/>
                    </a:lnTo>
                    <a:lnTo>
                      <a:pt x="10" y="2"/>
                    </a:lnTo>
                    <a:lnTo>
                      <a:pt x="0" y="2"/>
                    </a:lnTo>
                    <a:lnTo>
                      <a:pt x="10" y="2"/>
                    </a:lnTo>
                    <a:lnTo>
                      <a:pt x="3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87" name="Freeform 601">
                <a:extLst>
                  <a:ext uri="{FF2B5EF4-FFF2-40B4-BE49-F238E27FC236}">
                    <a16:creationId xmlns:a16="http://schemas.microsoft.com/office/drawing/2014/main" id="{542680E8-46E4-4002-A63F-E5AF74FC21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9" y="2606"/>
                <a:ext cx="3" cy="0"/>
              </a:xfrm>
              <a:custGeom>
                <a:avLst/>
                <a:gdLst>
                  <a:gd name="T0" fmla="*/ 3 w 3"/>
                  <a:gd name="T1" fmla="*/ 2 w 3"/>
                  <a:gd name="T2" fmla="*/ 0 w 3"/>
                  <a:gd name="T3" fmla="*/ 2 w 3"/>
                  <a:gd name="T4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88" name="Freeform 602">
                <a:extLst>
                  <a:ext uri="{FF2B5EF4-FFF2-40B4-BE49-F238E27FC236}">
                    <a16:creationId xmlns:a16="http://schemas.microsoft.com/office/drawing/2014/main" id="{F86D168B-A72A-4CE5-B99F-8B20D2FE07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6" y="2565"/>
                <a:ext cx="84" cy="17"/>
              </a:xfrm>
              <a:custGeom>
                <a:avLst/>
                <a:gdLst>
                  <a:gd name="T0" fmla="*/ 37 w 84"/>
                  <a:gd name="T1" fmla="*/ 2 h 17"/>
                  <a:gd name="T2" fmla="*/ 70 w 84"/>
                  <a:gd name="T3" fmla="*/ 15 h 17"/>
                  <a:gd name="T4" fmla="*/ 80 w 84"/>
                  <a:gd name="T5" fmla="*/ 17 h 17"/>
                  <a:gd name="T6" fmla="*/ 84 w 84"/>
                  <a:gd name="T7" fmla="*/ 15 h 17"/>
                  <a:gd name="T8" fmla="*/ 80 w 84"/>
                  <a:gd name="T9" fmla="*/ 17 h 17"/>
                  <a:gd name="T10" fmla="*/ 70 w 84"/>
                  <a:gd name="T11" fmla="*/ 15 h 17"/>
                  <a:gd name="T12" fmla="*/ 37 w 84"/>
                  <a:gd name="T13" fmla="*/ 2 h 17"/>
                  <a:gd name="T14" fmla="*/ 2 w 84"/>
                  <a:gd name="T15" fmla="*/ 0 h 17"/>
                  <a:gd name="T16" fmla="*/ 0 w 84"/>
                  <a:gd name="T17" fmla="*/ 0 h 17"/>
                  <a:gd name="T18" fmla="*/ 2 w 84"/>
                  <a:gd name="T19" fmla="*/ 0 h 17"/>
                  <a:gd name="T20" fmla="*/ 37 w 84"/>
                  <a:gd name="T21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4" h="17">
                    <a:moveTo>
                      <a:pt x="37" y="2"/>
                    </a:moveTo>
                    <a:lnTo>
                      <a:pt x="70" y="15"/>
                    </a:lnTo>
                    <a:lnTo>
                      <a:pt x="80" y="17"/>
                    </a:lnTo>
                    <a:lnTo>
                      <a:pt x="84" y="15"/>
                    </a:lnTo>
                    <a:lnTo>
                      <a:pt x="80" y="17"/>
                    </a:lnTo>
                    <a:lnTo>
                      <a:pt x="70" y="15"/>
                    </a:lnTo>
                    <a:lnTo>
                      <a:pt x="37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7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89" name="Freeform 603">
                <a:extLst>
                  <a:ext uri="{FF2B5EF4-FFF2-40B4-BE49-F238E27FC236}">
                    <a16:creationId xmlns:a16="http://schemas.microsoft.com/office/drawing/2014/main" id="{B8D582B6-366E-45BE-8489-49A18FA3B8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576"/>
                <a:ext cx="12" cy="2"/>
              </a:xfrm>
              <a:custGeom>
                <a:avLst/>
                <a:gdLst>
                  <a:gd name="T0" fmla="*/ 10 w 12"/>
                  <a:gd name="T1" fmla="*/ 2 h 2"/>
                  <a:gd name="T2" fmla="*/ 12 w 12"/>
                  <a:gd name="T3" fmla="*/ 2 h 2"/>
                  <a:gd name="T4" fmla="*/ 10 w 12"/>
                  <a:gd name="T5" fmla="*/ 2 h 2"/>
                  <a:gd name="T6" fmla="*/ 4 w 12"/>
                  <a:gd name="T7" fmla="*/ 0 h 2"/>
                  <a:gd name="T8" fmla="*/ 0 w 12"/>
                  <a:gd name="T9" fmla="*/ 0 h 2"/>
                  <a:gd name="T10" fmla="*/ 4 w 12"/>
                  <a:gd name="T11" fmla="*/ 0 h 2"/>
                  <a:gd name="T12" fmla="*/ 10 w 1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">
                    <a:moveTo>
                      <a:pt x="10" y="2"/>
                    </a:moveTo>
                    <a:lnTo>
                      <a:pt x="12" y="2"/>
                    </a:lnTo>
                    <a:lnTo>
                      <a:pt x="10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90" name="Rectangle 604">
                <a:extLst>
                  <a:ext uri="{FF2B5EF4-FFF2-40B4-BE49-F238E27FC236}">
                    <a16:creationId xmlns:a16="http://schemas.microsoft.com/office/drawing/2014/main" id="{CA5872EF-28DE-4200-954F-B6A7FF62B0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9" y="316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91" name="Rectangle 605">
                <a:extLst>
                  <a:ext uri="{FF2B5EF4-FFF2-40B4-BE49-F238E27FC236}">
                    <a16:creationId xmlns:a16="http://schemas.microsoft.com/office/drawing/2014/main" id="{D9BDA2C6-0036-459E-AEB1-3616C6CF09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5" y="297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92" name="Rectangle 606">
                <a:extLst>
                  <a:ext uri="{FF2B5EF4-FFF2-40B4-BE49-F238E27FC236}">
                    <a16:creationId xmlns:a16="http://schemas.microsoft.com/office/drawing/2014/main" id="{9903922C-B2A5-42C1-A553-ED59B39790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4" y="913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</p:grpSp>
        <p:grpSp>
          <p:nvGrpSpPr>
            <p:cNvPr id="530" name="Group 808">
              <a:extLst>
                <a:ext uri="{FF2B5EF4-FFF2-40B4-BE49-F238E27FC236}">
                  <a16:creationId xmlns:a16="http://schemas.microsoft.com/office/drawing/2014/main" id="{3E967092-4263-4A92-93BB-976E7880587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729" y="1167708"/>
              <a:ext cx="6026158" cy="4884688"/>
              <a:chOff x="10" y="739"/>
              <a:chExt cx="3796" cy="3077"/>
            </a:xfrm>
            <a:grpFill/>
          </p:grpSpPr>
          <p:sp>
            <p:nvSpPr>
              <p:cNvPr id="1093" name="Rectangle 608">
                <a:extLst>
                  <a:ext uri="{FF2B5EF4-FFF2-40B4-BE49-F238E27FC236}">
                    <a16:creationId xmlns:a16="http://schemas.microsoft.com/office/drawing/2014/main" id="{FB9FB8FE-83EB-45C3-95F8-7CE97869AB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1" y="308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94" name="Rectangle 609">
                <a:extLst>
                  <a:ext uri="{FF2B5EF4-FFF2-40B4-BE49-F238E27FC236}">
                    <a16:creationId xmlns:a16="http://schemas.microsoft.com/office/drawing/2014/main" id="{1127A2CD-FC30-4AE2-889D-E0BBAF610A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5" y="29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95" name="Freeform 610">
                <a:extLst>
                  <a:ext uri="{FF2B5EF4-FFF2-40B4-BE49-F238E27FC236}">
                    <a16:creationId xmlns:a16="http://schemas.microsoft.com/office/drawing/2014/main" id="{6EF497F1-3534-465B-8114-C350FC5812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1971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2 w 2"/>
                  <a:gd name="T3" fmla="*/ 2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96" name="Freeform 611">
                <a:extLst>
                  <a:ext uri="{FF2B5EF4-FFF2-40B4-BE49-F238E27FC236}">
                    <a16:creationId xmlns:a16="http://schemas.microsoft.com/office/drawing/2014/main" id="{9DFA5295-3792-4773-969D-79D0D67B46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" y="3595"/>
                <a:ext cx="119" cy="82"/>
              </a:xfrm>
              <a:custGeom>
                <a:avLst/>
                <a:gdLst>
                  <a:gd name="T0" fmla="*/ 94 w 119"/>
                  <a:gd name="T1" fmla="*/ 57 h 82"/>
                  <a:gd name="T2" fmla="*/ 84 w 119"/>
                  <a:gd name="T3" fmla="*/ 55 h 82"/>
                  <a:gd name="T4" fmla="*/ 82 w 119"/>
                  <a:gd name="T5" fmla="*/ 49 h 82"/>
                  <a:gd name="T6" fmla="*/ 80 w 119"/>
                  <a:gd name="T7" fmla="*/ 43 h 82"/>
                  <a:gd name="T8" fmla="*/ 76 w 119"/>
                  <a:gd name="T9" fmla="*/ 41 h 82"/>
                  <a:gd name="T10" fmla="*/ 63 w 119"/>
                  <a:gd name="T11" fmla="*/ 36 h 82"/>
                  <a:gd name="T12" fmla="*/ 53 w 119"/>
                  <a:gd name="T13" fmla="*/ 36 h 82"/>
                  <a:gd name="T14" fmla="*/ 33 w 119"/>
                  <a:gd name="T15" fmla="*/ 24 h 82"/>
                  <a:gd name="T16" fmla="*/ 31 w 119"/>
                  <a:gd name="T17" fmla="*/ 18 h 82"/>
                  <a:gd name="T18" fmla="*/ 29 w 119"/>
                  <a:gd name="T19" fmla="*/ 14 h 82"/>
                  <a:gd name="T20" fmla="*/ 8 w 119"/>
                  <a:gd name="T21" fmla="*/ 0 h 82"/>
                  <a:gd name="T22" fmla="*/ 2 w 119"/>
                  <a:gd name="T23" fmla="*/ 2 h 82"/>
                  <a:gd name="T24" fmla="*/ 10 w 119"/>
                  <a:gd name="T25" fmla="*/ 10 h 82"/>
                  <a:gd name="T26" fmla="*/ 20 w 119"/>
                  <a:gd name="T27" fmla="*/ 16 h 82"/>
                  <a:gd name="T28" fmla="*/ 23 w 119"/>
                  <a:gd name="T29" fmla="*/ 22 h 82"/>
                  <a:gd name="T30" fmla="*/ 25 w 119"/>
                  <a:gd name="T31" fmla="*/ 30 h 82"/>
                  <a:gd name="T32" fmla="*/ 29 w 119"/>
                  <a:gd name="T33" fmla="*/ 38 h 82"/>
                  <a:gd name="T34" fmla="*/ 27 w 119"/>
                  <a:gd name="T35" fmla="*/ 41 h 82"/>
                  <a:gd name="T36" fmla="*/ 57 w 119"/>
                  <a:gd name="T37" fmla="*/ 59 h 82"/>
                  <a:gd name="T38" fmla="*/ 59 w 119"/>
                  <a:gd name="T39" fmla="*/ 63 h 82"/>
                  <a:gd name="T40" fmla="*/ 63 w 119"/>
                  <a:gd name="T41" fmla="*/ 69 h 82"/>
                  <a:gd name="T42" fmla="*/ 82 w 119"/>
                  <a:gd name="T43" fmla="*/ 81 h 82"/>
                  <a:gd name="T44" fmla="*/ 88 w 119"/>
                  <a:gd name="T45" fmla="*/ 77 h 82"/>
                  <a:gd name="T46" fmla="*/ 88 w 119"/>
                  <a:gd name="T47" fmla="*/ 77 h 82"/>
                  <a:gd name="T48" fmla="*/ 92 w 119"/>
                  <a:gd name="T49" fmla="*/ 79 h 82"/>
                  <a:gd name="T50" fmla="*/ 96 w 119"/>
                  <a:gd name="T51" fmla="*/ 81 h 82"/>
                  <a:gd name="T52" fmla="*/ 100 w 119"/>
                  <a:gd name="T53" fmla="*/ 77 h 82"/>
                  <a:gd name="T54" fmla="*/ 102 w 119"/>
                  <a:gd name="T55" fmla="*/ 77 h 82"/>
                  <a:gd name="T56" fmla="*/ 104 w 119"/>
                  <a:gd name="T57" fmla="*/ 81 h 82"/>
                  <a:gd name="T58" fmla="*/ 107 w 119"/>
                  <a:gd name="T59" fmla="*/ 81 h 82"/>
                  <a:gd name="T60" fmla="*/ 109 w 119"/>
                  <a:gd name="T61" fmla="*/ 75 h 82"/>
                  <a:gd name="T62" fmla="*/ 113 w 119"/>
                  <a:gd name="T63" fmla="*/ 75 h 82"/>
                  <a:gd name="T64" fmla="*/ 117 w 119"/>
                  <a:gd name="T65" fmla="*/ 71 h 82"/>
                  <a:gd name="T66" fmla="*/ 107 w 119"/>
                  <a:gd name="T67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9" h="82">
                    <a:moveTo>
                      <a:pt x="102" y="61"/>
                    </a:moveTo>
                    <a:lnTo>
                      <a:pt x="94" y="57"/>
                    </a:lnTo>
                    <a:lnTo>
                      <a:pt x="88" y="57"/>
                    </a:lnTo>
                    <a:lnTo>
                      <a:pt x="84" y="55"/>
                    </a:lnTo>
                    <a:lnTo>
                      <a:pt x="82" y="51"/>
                    </a:lnTo>
                    <a:lnTo>
                      <a:pt x="82" y="49"/>
                    </a:lnTo>
                    <a:lnTo>
                      <a:pt x="80" y="47"/>
                    </a:lnTo>
                    <a:lnTo>
                      <a:pt x="80" y="43"/>
                    </a:lnTo>
                    <a:lnTo>
                      <a:pt x="78" y="41"/>
                    </a:lnTo>
                    <a:lnTo>
                      <a:pt x="76" y="41"/>
                    </a:lnTo>
                    <a:lnTo>
                      <a:pt x="72" y="41"/>
                    </a:lnTo>
                    <a:lnTo>
                      <a:pt x="63" y="36"/>
                    </a:lnTo>
                    <a:lnTo>
                      <a:pt x="59" y="36"/>
                    </a:lnTo>
                    <a:lnTo>
                      <a:pt x="53" y="36"/>
                    </a:lnTo>
                    <a:lnTo>
                      <a:pt x="49" y="34"/>
                    </a:lnTo>
                    <a:lnTo>
                      <a:pt x="33" y="24"/>
                    </a:lnTo>
                    <a:lnTo>
                      <a:pt x="31" y="22"/>
                    </a:lnTo>
                    <a:lnTo>
                      <a:pt x="31" y="18"/>
                    </a:lnTo>
                    <a:lnTo>
                      <a:pt x="29" y="16"/>
                    </a:lnTo>
                    <a:lnTo>
                      <a:pt x="29" y="14"/>
                    </a:lnTo>
                    <a:lnTo>
                      <a:pt x="25" y="14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8" y="8"/>
                    </a:lnTo>
                    <a:lnTo>
                      <a:pt x="10" y="10"/>
                    </a:lnTo>
                    <a:lnTo>
                      <a:pt x="18" y="14"/>
                    </a:lnTo>
                    <a:lnTo>
                      <a:pt x="20" y="16"/>
                    </a:lnTo>
                    <a:lnTo>
                      <a:pt x="21" y="18"/>
                    </a:lnTo>
                    <a:lnTo>
                      <a:pt x="23" y="22"/>
                    </a:lnTo>
                    <a:lnTo>
                      <a:pt x="23" y="26"/>
                    </a:lnTo>
                    <a:lnTo>
                      <a:pt x="25" y="30"/>
                    </a:lnTo>
                    <a:lnTo>
                      <a:pt x="29" y="34"/>
                    </a:lnTo>
                    <a:lnTo>
                      <a:pt x="29" y="38"/>
                    </a:lnTo>
                    <a:lnTo>
                      <a:pt x="25" y="38"/>
                    </a:lnTo>
                    <a:lnTo>
                      <a:pt x="27" y="41"/>
                    </a:lnTo>
                    <a:lnTo>
                      <a:pt x="29" y="43"/>
                    </a:lnTo>
                    <a:lnTo>
                      <a:pt x="57" y="59"/>
                    </a:lnTo>
                    <a:lnTo>
                      <a:pt x="59" y="61"/>
                    </a:lnTo>
                    <a:lnTo>
                      <a:pt x="59" y="63"/>
                    </a:lnTo>
                    <a:lnTo>
                      <a:pt x="61" y="69"/>
                    </a:lnTo>
                    <a:lnTo>
                      <a:pt x="63" y="69"/>
                    </a:lnTo>
                    <a:lnTo>
                      <a:pt x="78" y="82"/>
                    </a:lnTo>
                    <a:lnTo>
                      <a:pt x="82" y="81"/>
                    </a:lnTo>
                    <a:lnTo>
                      <a:pt x="88" y="77"/>
                    </a:lnTo>
                    <a:lnTo>
                      <a:pt x="88" y="77"/>
                    </a:lnTo>
                    <a:lnTo>
                      <a:pt x="88" y="75"/>
                    </a:lnTo>
                    <a:lnTo>
                      <a:pt x="88" y="77"/>
                    </a:lnTo>
                    <a:lnTo>
                      <a:pt x="90" y="79"/>
                    </a:lnTo>
                    <a:lnTo>
                      <a:pt x="92" y="79"/>
                    </a:lnTo>
                    <a:lnTo>
                      <a:pt x="94" y="81"/>
                    </a:lnTo>
                    <a:lnTo>
                      <a:pt x="96" y="81"/>
                    </a:lnTo>
                    <a:lnTo>
                      <a:pt x="98" y="79"/>
                    </a:lnTo>
                    <a:lnTo>
                      <a:pt x="100" y="77"/>
                    </a:lnTo>
                    <a:lnTo>
                      <a:pt x="102" y="77"/>
                    </a:lnTo>
                    <a:lnTo>
                      <a:pt x="102" y="77"/>
                    </a:lnTo>
                    <a:lnTo>
                      <a:pt x="102" y="79"/>
                    </a:lnTo>
                    <a:lnTo>
                      <a:pt x="104" y="81"/>
                    </a:lnTo>
                    <a:lnTo>
                      <a:pt x="107" y="81"/>
                    </a:lnTo>
                    <a:lnTo>
                      <a:pt x="107" y="81"/>
                    </a:lnTo>
                    <a:lnTo>
                      <a:pt x="109" y="79"/>
                    </a:lnTo>
                    <a:lnTo>
                      <a:pt x="109" y="75"/>
                    </a:lnTo>
                    <a:lnTo>
                      <a:pt x="109" y="75"/>
                    </a:lnTo>
                    <a:lnTo>
                      <a:pt x="113" y="75"/>
                    </a:lnTo>
                    <a:lnTo>
                      <a:pt x="119" y="75"/>
                    </a:lnTo>
                    <a:lnTo>
                      <a:pt x="117" y="71"/>
                    </a:lnTo>
                    <a:lnTo>
                      <a:pt x="115" y="69"/>
                    </a:lnTo>
                    <a:lnTo>
                      <a:pt x="107" y="67"/>
                    </a:lnTo>
                    <a:lnTo>
                      <a:pt x="102" y="6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97" name="Freeform 612">
                <a:extLst>
                  <a:ext uri="{FF2B5EF4-FFF2-40B4-BE49-F238E27FC236}">
                    <a16:creationId xmlns:a16="http://schemas.microsoft.com/office/drawing/2014/main" id="{1F4E09A4-EA34-467E-8EF2-F33E0AFCF5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" y="899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98" name="Freeform 613">
                <a:extLst>
                  <a:ext uri="{FF2B5EF4-FFF2-40B4-BE49-F238E27FC236}">
                    <a16:creationId xmlns:a16="http://schemas.microsoft.com/office/drawing/2014/main" id="{4C16A7D8-BB15-499D-BD2E-0E9969F5E0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0" y="882"/>
                <a:ext cx="2" cy="1"/>
              </a:xfrm>
              <a:custGeom>
                <a:avLst/>
                <a:gdLst>
                  <a:gd name="T0" fmla="*/ 2 w 2"/>
                  <a:gd name="T1" fmla="*/ 1 h 1"/>
                  <a:gd name="T2" fmla="*/ 2 w 2"/>
                  <a:gd name="T3" fmla="*/ 1 h 1"/>
                  <a:gd name="T4" fmla="*/ 0 w 2"/>
                  <a:gd name="T5" fmla="*/ 0 h 1"/>
                  <a:gd name="T6" fmla="*/ 0 w 2"/>
                  <a:gd name="T7" fmla="*/ 0 h 1"/>
                  <a:gd name="T8" fmla="*/ 0 w 2"/>
                  <a:gd name="T9" fmla="*/ 0 h 1"/>
                  <a:gd name="T10" fmla="*/ 2 w 2"/>
                  <a:gd name="T11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99" name="Freeform 614">
                <a:extLst>
                  <a:ext uri="{FF2B5EF4-FFF2-40B4-BE49-F238E27FC236}">
                    <a16:creationId xmlns:a16="http://schemas.microsoft.com/office/drawing/2014/main" id="{8CC2F60F-8B11-44A6-ABE2-4BF7E5E87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3084"/>
                <a:ext cx="11" cy="6"/>
              </a:xfrm>
              <a:custGeom>
                <a:avLst/>
                <a:gdLst>
                  <a:gd name="T0" fmla="*/ 2 w 11"/>
                  <a:gd name="T1" fmla="*/ 0 h 6"/>
                  <a:gd name="T2" fmla="*/ 6 w 11"/>
                  <a:gd name="T3" fmla="*/ 2 h 6"/>
                  <a:gd name="T4" fmla="*/ 10 w 11"/>
                  <a:gd name="T5" fmla="*/ 6 h 6"/>
                  <a:gd name="T6" fmla="*/ 11 w 11"/>
                  <a:gd name="T7" fmla="*/ 6 h 6"/>
                  <a:gd name="T8" fmla="*/ 10 w 11"/>
                  <a:gd name="T9" fmla="*/ 6 h 6"/>
                  <a:gd name="T10" fmla="*/ 6 w 11"/>
                  <a:gd name="T11" fmla="*/ 2 h 6"/>
                  <a:gd name="T12" fmla="*/ 2 w 11"/>
                  <a:gd name="T13" fmla="*/ 0 h 6"/>
                  <a:gd name="T14" fmla="*/ 0 w 11"/>
                  <a:gd name="T15" fmla="*/ 0 h 6"/>
                  <a:gd name="T16" fmla="*/ 0 w 11"/>
                  <a:gd name="T17" fmla="*/ 0 h 6"/>
                  <a:gd name="T18" fmla="*/ 0 w 11"/>
                  <a:gd name="T19" fmla="*/ 0 h 6"/>
                  <a:gd name="T20" fmla="*/ 0 w 11"/>
                  <a:gd name="T21" fmla="*/ 0 h 6"/>
                  <a:gd name="T22" fmla="*/ 2 w 11"/>
                  <a:gd name="T2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6">
                    <a:moveTo>
                      <a:pt x="2" y="0"/>
                    </a:moveTo>
                    <a:lnTo>
                      <a:pt x="6" y="2"/>
                    </a:lnTo>
                    <a:lnTo>
                      <a:pt x="10" y="6"/>
                    </a:lnTo>
                    <a:lnTo>
                      <a:pt x="11" y="6"/>
                    </a:lnTo>
                    <a:lnTo>
                      <a:pt x="10" y="6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00" name="Freeform 615">
                <a:extLst>
                  <a:ext uri="{FF2B5EF4-FFF2-40B4-BE49-F238E27FC236}">
                    <a16:creationId xmlns:a16="http://schemas.microsoft.com/office/drawing/2014/main" id="{9EDD1218-D9C3-4051-99C6-792D0FB38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965"/>
                <a:ext cx="3" cy="4"/>
              </a:xfrm>
              <a:custGeom>
                <a:avLst/>
                <a:gdLst>
                  <a:gd name="T0" fmla="*/ 2 w 3"/>
                  <a:gd name="T1" fmla="*/ 2 h 4"/>
                  <a:gd name="T2" fmla="*/ 0 w 3"/>
                  <a:gd name="T3" fmla="*/ 0 h 4"/>
                  <a:gd name="T4" fmla="*/ 2 w 3"/>
                  <a:gd name="T5" fmla="*/ 2 h 4"/>
                  <a:gd name="T6" fmla="*/ 3 w 3"/>
                  <a:gd name="T7" fmla="*/ 4 h 4"/>
                  <a:gd name="T8" fmla="*/ 3 w 3"/>
                  <a:gd name="T9" fmla="*/ 4 h 4"/>
                  <a:gd name="T10" fmla="*/ 3 w 3"/>
                  <a:gd name="T11" fmla="*/ 4 h 4"/>
                  <a:gd name="T12" fmla="*/ 2 w 3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01" name="Freeform 616">
                <a:extLst>
                  <a:ext uri="{FF2B5EF4-FFF2-40B4-BE49-F238E27FC236}">
                    <a16:creationId xmlns:a16="http://schemas.microsoft.com/office/drawing/2014/main" id="{D882AFB5-B69C-4CE3-B059-5D45F2FAED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8" y="883"/>
                <a:ext cx="6" cy="0"/>
              </a:xfrm>
              <a:custGeom>
                <a:avLst/>
                <a:gdLst>
                  <a:gd name="T0" fmla="*/ 6 w 6"/>
                  <a:gd name="T1" fmla="*/ 4 w 6"/>
                  <a:gd name="T2" fmla="*/ 0 w 6"/>
                  <a:gd name="T3" fmla="*/ 4 w 6"/>
                  <a:gd name="T4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02" name="Rectangle 617">
                <a:extLst>
                  <a:ext uri="{FF2B5EF4-FFF2-40B4-BE49-F238E27FC236}">
                    <a16:creationId xmlns:a16="http://schemas.microsoft.com/office/drawing/2014/main" id="{3E5F61EB-E724-4F9C-80A5-DD48B5A07D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" y="309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03" name="Freeform 618">
                <a:extLst>
                  <a:ext uri="{FF2B5EF4-FFF2-40B4-BE49-F238E27FC236}">
                    <a16:creationId xmlns:a16="http://schemas.microsoft.com/office/drawing/2014/main" id="{BF865EE1-E74C-4F21-8460-018B1CB0B3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6" y="1907"/>
                <a:ext cx="10" cy="7"/>
              </a:xfrm>
              <a:custGeom>
                <a:avLst/>
                <a:gdLst>
                  <a:gd name="T0" fmla="*/ 8 w 10"/>
                  <a:gd name="T1" fmla="*/ 2 h 7"/>
                  <a:gd name="T2" fmla="*/ 6 w 10"/>
                  <a:gd name="T3" fmla="*/ 2 h 7"/>
                  <a:gd name="T4" fmla="*/ 2 w 10"/>
                  <a:gd name="T5" fmla="*/ 0 h 7"/>
                  <a:gd name="T6" fmla="*/ 0 w 10"/>
                  <a:gd name="T7" fmla="*/ 0 h 7"/>
                  <a:gd name="T8" fmla="*/ 2 w 10"/>
                  <a:gd name="T9" fmla="*/ 0 h 7"/>
                  <a:gd name="T10" fmla="*/ 6 w 10"/>
                  <a:gd name="T11" fmla="*/ 2 h 7"/>
                  <a:gd name="T12" fmla="*/ 8 w 10"/>
                  <a:gd name="T13" fmla="*/ 2 h 7"/>
                  <a:gd name="T14" fmla="*/ 10 w 10"/>
                  <a:gd name="T15" fmla="*/ 5 h 7"/>
                  <a:gd name="T16" fmla="*/ 10 w 10"/>
                  <a:gd name="T17" fmla="*/ 7 h 7"/>
                  <a:gd name="T18" fmla="*/ 10 w 10"/>
                  <a:gd name="T19" fmla="*/ 5 h 7"/>
                  <a:gd name="T20" fmla="*/ 8 w 10"/>
                  <a:gd name="T21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7">
                    <a:moveTo>
                      <a:pt x="8" y="2"/>
                    </a:move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10" y="5"/>
                    </a:lnTo>
                    <a:lnTo>
                      <a:pt x="10" y="7"/>
                    </a:lnTo>
                    <a:lnTo>
                      <a:pt x="10" y="5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04" name="Freeform 619">
                <a:extLst>
                  <a:ext uri="{FF2B5EF4-FFF2-40B4-BE49-F238E27FC236}">
                    <a16:creationId xmlns:a16="http://schemas.microsoft.com/office/drawing/2014/main" id="{7FAF4C21-7FD8-48E2-B6CF-DB3B38642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0" y="2770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05" name="Freeform 620">
                <a:extLst>
                  <a:ext uri="{FF2B5EF4-FFF2-40B4-BE49-F238E27FC236}">
                    <a16:creationId xmlns:a16="http://schemas.microsoft.com/office/drawing/2014/main" id="{73FAB97D-B997-4EEC-8836-469033A13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" y="1871"/>
                <a:ext cx="27" cy="16"/>
              </a:xfrm>
              <a:custGeom>
                <a:avLst/>
                <a:gdLst>
                  <a:gd name="T0" fmla="*/ 14 w 27"/>
                  <a:gd name="T1" fmla="*/ 10 h 16"/>
                  <a:gd name="T2" fmla="*/ 4 w 27"/>
                  <a:gd name="T3" fmla="*/ 2 h 16"/>
                  <a:gd name="T4" fmla="*/ 2 w 27"/>
                  <a:gd name="T5" fmla="*/ 0 h 16"/>
                  <a:gd name="T6" fmla="*/ 0 w 27"/>
                  <a:gd name="T7" fmla="*/ 0 h 16"/>
                  <a:gd name="T8" fmla="*/ 2 w 27"/>
                  <a:gd name="T9" fmla="*/ 0 h 16"/>
                  <a:gd name="T10" fmla="*/ 4 w 27"/>
                  <a:gd name="T11" fmla="*/ 2 h 16"/>
                  <a:gd name="T12" fmla="*/ 14 w 27"/>
                  <a:gd name="T13" fmla="*/ 10 h 16"/>
                  <a:gd name="T14" fmla="*/ 21 w 27"/>
                  <a:gd name="T15" fmla="*/ 14 h 16"/>
                  <a:gd name="T16" fmla="*/ 27 w 27"/>
                  <a:gd name="T17" fmla="*/ 16 h 16"/>
                  <a:gd name="T18" fmla="*/ 21 w 27"/>
                  <a:gd name="T19" fmla="*/ 14 h 16"/>
                  <a:gd name="T20" fmla="*/ 14 w 27"/>
                  <a:gd name="T21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16">
                    <a:moveTo>
                      <a:pt x="14" y="10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lnTo>
                      <a:pt x="14" y="10"/>
                    </a:lnTo>
                    <a:lnTo>
                      <a:pt x="21" y="14"/>
                    </a:lnTo>
                    <a:lnTo>
                      <a:pt x="27" y="16"/>
                    </a:lnTo>
                    <a:lnTo>
                      <a:pt x="21" y="14"/>
                    </a:lnTo>
                    <a:lnTo>
                      <a:pt x="14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06" name="Freeform 621">
                <a:extLst>
                  <a:ext uri="{FF2B5EF4-FFF2-40B4-BE49-F238E27FC236}">
                    <a16:creationId xmlns:a16="http://schemas.microsoft.com/office/drawing/2014/main" id="{B3E07E85-170E-4779-836F-FECA62384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3" y="2773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07" name="Freeform 622">
                <a:extLst>
                  <a:ext uri="{FF2B5EF4-FFF2-40B4-BE49-F238E27FC236}">
                    <a16:creationId xmlns:a16="http://schemas.microsoft.com/office/drawing/2014/main" id="{D8A9FECE-6FA7-4F3B-9AC7-743DA91CD0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8" y="189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08" name="Rectangle 623">
                <a:extLst>
                  <a:ext uri="{FF2B5EF4-FFF2-40B4-BE49-F238E27FC236}">
                    <a16:creationId xmlns:a16="http://schemas.microsoft.com/office/drawing/2014/main" id="{489ABE3D-5163-492D-BCB7-F9F295ADD8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8" y="287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09" name="Freeform 624">
                <a:extLst>
                  <a:ext uri="{FF2B5EF4-FFF2-40B4-BE49-F238E27FC236}">
                    <a16:creationId xmlns:a16="http://schemas.microsoft.com/office/drawing/2014/main" id="{ADAD32D1-9905-4B9A-A714-4677A96960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6" y="2891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10" name="Freeform 625">
                <a:extLst>
                  <a:ext uri="{FF2B5EF4-FFF2-40B4-BE49-F238E27FC236}">
                    <a16:creationId xmlns:a16="http://schemas.microsoft.com/office/drawing/2014/main" id="{D49561EA-114B-4406-8A6B-8CD558E61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961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11" name="Rectangle 626">
                <a:extLst>
                  <a:ext uri="{FF2B5EF4-FFF2-40B4-BE49-F238E27FC236}">
                    <a16:creationId xmlns:a16="http://schemas.microsoft.com/office/drawing/2014/main" id="{BDDF86E9-5597-41AB-B21D-464DDBFC88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33" y="291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12" name="Freeform 627">
                <a:extLst>
                  <a:ext uri="{FF2B5EF4-FFF2-40B4-BE49-F238E27FC236}">
                    <a16:creationId xmlns:a16="http://schemas.microsoft.com/office/drawing/2014/main" id="{4D7CA9B8-6348-4309-9B3F-F7980B61CD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957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13" name="Freeform 628">
                <a:extLst>
                  <a:ext uri="{FF2B5EF4-FFF2-40B4-BE49-F238E27FC236}">
                    <a16:creationId xmlns:a16="http://schemas.microsoft.com/office/drawing/2014/main" id="{C22C5C96-25B1-4ECD-81D1-723FFE79E6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0" y="1922"/>
                <a:ext cx="3" cy="33"/>
              </a:xfrm>
              <a:custGeom>
                <a:avLst/>
                <a:gdLst>
                  <a:gd name="T0" fmla="*/ 3 w 3"/>
                  <a:gd name="T1" fmla="*/ 29 h 33"/>
                  <a:gd name="T2" fmla="*/ 3 w 3"/>
                  <a:gd name="T3" fmla="*/ 24 h 33"/>
                  <a:gd name="T4" fmla="*/ 1 w 3"/>
                  <a:gd name="T5" fmla="*/ 10 h 33"/>
                  <a:gd name="T6" fmla="*/ 0 w 3"/>
                  <a:gd name="T7" fmla="*/ 4 h 33"/>
                  <a:gd name="T8" fmla="*/ 0 w 3"/>
                  <a:gd name="T9" fmla="*/ 0 h 33"/>
                  <a:gd name="T10" fmla="*/ 0 w 3"/>
                  <a:gd name="T11" fmla="*/ 4 h 33"/>
                  <a:gd name="T12" fmla="*/ 1 w 3"/>
                  <a:gd name="T13" fmla="*/ 10 h 33"/>
                  <a:gd name="T14" fmla="*/ 3 w 3"/>
                  <a:gd name="T15" fmla="*/ 24 h 33"/>
                  <a:gd name="T16" fmla="*/ 3 w 3"/>
                  <a:gd name="T17" fmla="*/ 29 h 33"/>
                  <a:gd name="T18" fmla="*/ 1 w 3"/>
                  <a:gd name="T19" fmla="*/ 33 h 33"/>
                  <a:gd name="T20" fmla="*/ 1 w 3"/>
                  <a:gd name="T21" fmla="*/ 33 h 33"/>
                  <a:gd name="T22" fmla="*/ 1 w 3"/>
                  <a:gd name="T23" fmla="*/ 33 h 33"/>
                  <a:gd name="T24" fmla="*/ 3 w 3"/>
                  <a:gd name="T25" fmla="*/ 2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" h="33">
                    <a:moveTo>
                      <a:pt x="3" y="29"/>
                    </a:moveTo>
                    <a:lnTo>
                      <a:pt x="3" y="24"/>
                    </a:lnTo>
                    <a:lnTo>
                      <a:pt x="1" y="10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1" y="10"/>
                    </a:lnTo>
                    <a:lnTo>
                      <a:pt x="3" y="24"/>
                    </a:lnTo>
                    <a:lnTo>
                      <a:pt x="3" y="29"/>
                    </a:lnTo>
                    <a:lnTo>
                      <a:pt x="1" y="33"/>
                    </a:lnTo>
                    <a:lnTo>
                      <a:pt x="1" y="33"/>
                    </a:lnTo>
                    <a:lnTo>
                      <a:pt x="1" y="33"/>
                    </a:lnTo>
                    <a:lnTo>
                      <a:pt x="3" y="2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14" name="Freeform 629">
                <a:extLst>
                  <a:ext uri="{FF2B5EF4-FFF2-40B4-BE49-F238E27FC236}">
                    <a16:creationId xmlns:a16="http://schemas.microsoft.com/office/drawing/2014/main" id="{75F9E4FA-3F5D-4080-8BAE-40FEFFFE6A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5" y="2770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15" name="Freeform 630">
                <a:extLst>
                  <a:ext uri="{FF2B5EF4-FFF2-40B4-BE49-F238E27FC236}">
                    <a16:creationId xmlns:a16="http://schemas.microsoft.com/office/drawing/2014/main" id="{DE732EDB-6E28-4EC3-8325-D17AEE443E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" y="3133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0 h 4"/>
                  <a:gd name="T4" fmla="*/ 2 h 4"/>
                  <a:gd name="T5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16" name="Freeform 631">
                <a:extLst>
                  <a:ext uri="{FF2B5EF4-FFF2-40B4-BE49-F238E27FC236}">
                    <a16:creationId xmlns:a16="http://schemas.microsoft.com/office/drawing/2014/main" id="{373D0255-0FD3-412F-BF69-4C25A4E49F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3" y="811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  <a:gd name="T10" fmla="*/ 2 w 2"/>
                  <a:gd name="T11" fmla="*/ 0 h 2"/>
                  <a:gd name="T12" fmla="*/ 2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17" name="Freeform 632">
                <a:extLst>
                  <a:ext uri="{FF2B5EF4-FFF2-40B4-BE49-F238E27FC236}">
                    <a16:creationId xmlns:a16="http://schemas.microsoft.com/office/drawing/2014/main" id="{12E20BAE-E41A-4ABE-993A-695BF89C06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5" y="831"/>
                <a:ext cx="24" cy="23"/>
              </a:xfrm>
              <a:custGeom>
                <a:avLst/>
                <a:gdLst>
                  <a:gd name="T0" fmla="*/ 20 w 24"/>
                  <a:gd name="T1" fmla="*/ 17 h 23"/>
                  <a:gd name="T2" fmla="*/ 24 w 24"/>
                  <a:gd name="T3" fmla="*/ 23 h 23"/>
                  <a:gd name="T4" fmla="*/ 20 w 24"/>
                  <a:gd name="T5" fmla="*/ 17 h 23"/>
                  <a:gd name="T6" fmla="*/ 2 w 24"/>
                  <a:gd name="T7" fmla="*/ 2 h 23"/>
                  <a:gd name="T8" fmla="*/ 0 w 24"/>
                  <a:gd name="T9" fmla="*/ 0 h 23"/>
                  <a:gd name="T10" fmla="*/ 2 w 24"/>
                  <a:gd name="T11" fmla="*/ 2 h 23"/>
                  <a:gd name="T12" fmla="*/ 20 w 24"/>
                  <a:gd name="T13" fmla="*/ 1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23">
                    <a:moveTo>
                      <a:pt x="20" y="17"/>
                    </a:moveTo>
                    <a:lnTo>
                      <a:pt x="24" y="23"/>
                    </a:lnTo>
                    <a:lnTo>
                      <a:pt x="20" y="17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0" y="1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18" name="Freeform 633">
                <a:extLst>
                  <a:ext uri="{FF2B5EF4-FFF2-40B4-BE49-F238E27FC236}">
                    <a16:creationId xmlns:a16="http://schemas.microsoft.com/office/drawing/2014/main" id="{B0276CA7-7EE1-4A59-9975-9C074624B5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" y="3115"/>
                <a:ext cx="0" cy="4"/>
              </a:xfrm>
              <a:custGeom>
                <a:avLst/>
                <a:gdLst>
                  <a:gd name="T0" fmla="*/ 2 h 4"/>
                  <a:gd name="T1" fmla="*/ 4 h 4"/>
                  <a:gd name="T2" fmla="*/ 4 h 4"/>
                  <a:gd name="T3" fmla="*/ 4 h 4"/>
                  <a:gd name="T4" fmla="*/ 2 h 4"/>
                  <a:gd name="T5" fmla="*/ 2 h 4"/>
                  <a:gd name="T6" fmla="*/ 0 h 4"/>
                  <a:gd name="T7" fmla="*/ 2 h 4"/>
                  <a:gd name="T8" fmla="*/ 2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4">
                    <a:moveTo>
                      <a:pt x="0" y="2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19" name="Rectangle 634">
                <a:extLst>
                  <a:ext uri="{FF2B5EF4-FFF2-40B4-BE49-F238E27FC236}">
                    <a16:creationId xmlns:a16="http://schemas.microsoft.com/office/drawing/2014/main" id="{32257E56-8D4E-4048-91CC-90E3104168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2" y="88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20" name="Freeform 635">
                <a:extLst>
                  <a:ext uri="{FF2B5EF4-FFF2-40B4-BE49-F238E27FC236}">
                    <a16:creationId xmlns:a16="http://schemas.microsoft.com/office/drawing/2014/main" id="{88ADB956-989A-4616-B8EC-48E7547576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4" y="880"/>
                <a:ext cx="4" cy="3"/>
              </a:xfrm>
              <a:custGeom>
                <a:avLst/>
                <a:gdLst>
                  <a:gd name="T0" fmla="*/ 4 w 4"/>
                  <a:gd name="T1" fmla="*/ 0 h 3"/>
                  <a:gd name="T2" fmla="*/ 2 w 4"/>
                  <a:gd name="T3" fmla="*/ 2 h 3"/>
                  <a:gd name="T4" fmla="*/ 0 w 4"/>
                  <a:gd name="T5" fmla="*/ 3 h 3"/>
                  <a:gd name="T6" fmla="*/ 2 w 4"/>
                  <a:gd name="T7" fmla="*/ 2 h 3"/>
                  <a:gd name="T8" fmla="*/ 4 w 4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4" y="0"/>
                    </a:moveTo>
                    <a:lnTo>
                      <a:pt x="2" y="2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21" name="Freeform 636">
                <a:extLst>
                  <a:ext uri="{FF2B5EF4-FFF2-40B4-BE49-F238E27FC236}">
                    <a16:creationId xmlns:a16="http://schemas.microsoft.com/office/drawing/2014/main" id="{55FA7591-32ED-4CBE-AB7D-D85FD1904D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3133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22" name="Freeform 637">
                <a:extLst>
                  <a:ext uri="{FF2B5EF4-FFF2-40B4-BE49-F238E27FC236}">
                    <a16:creationId xmlns:a16="http://schemas.microsoft.com/office/drawing/2014/main" id="{63919C88-1310-48D3-AEB7-5D26D1538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3" y="788"/>
                <a:ext cx="6" cy="2"/>
              </a:xfrm>
              <a:custGeom>
                <a:avLst/>
                <a:gdLst>
                  <a:gd name="T0" fmla="*/ 6 w 6"/>
                  <a:gd name="T1" fmla="*/ 2 h 2"/>
                  <a:gd name="T2" fmla="*/ 2 w 6"/>
                  <a:gd name="T3" fmla="*/ 2 h 2"/>
                  <a:gd name="T4" fmla="*/ 0 w 6"/>
                  <a:gd name="T5" fmla="*/ 0 h 2"/>
                  <a:gd name="T6" fmla="*/ 2 w 6"/>
                  <a:gd name="T7" fmla="*/ 2 h 2"/>
                  <a:gd name="T8" fmla="*/ 6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23" name="Freeform 638">
                <a:extLst>
                  <a:ext uri="{FF2B5EF4-FFF2-40B4-BE49-F238E27FC236}">
                    <a16:creationId xmlns:a16="http://schemas.microsoft.com/office/drawing/2014/main" id="{02AF8B83-C9BC-4B7B-8799-230FFBBBE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" y="3150"/>
                <a:ext cx="2" cy="18"/>
              </a:xfrm>
              <a:custGeom>
                <a:avLst/>
                <a:gdLst>
                  <a:gd name="T0" fmla="*/ 0 w 2"/>
                  <a:gd name="T1" fmla="*/ 4 h 18"/>
                  <a:gd name="T2" fmla="*/ 0 w 2"/>
                  <a:gd name="T3" fmla="*/ 12 h 18"/>
                  <a:gd name="T4" fmla="*/ 0 w 2"/>
                  <a:gd name="T5" fmla="*/ 14 h 18"/>
                  <a:gd name="T6" fmla="*/ 0 w 2"/>
                  <a:gd name="T7" fmla="*/ 18 h 18"/>
                  <a:gd name="T8" fmla="*/ 0 w 2"/>
                  <a:gd name="T9" fmla="*/ 14 h 18"/>
                  <a:gd name="T10" fmla="*/ 0 w 2"/>
                  <a:gd name="T11" fmla="*/ 12 h 18"/>
                  <a:gd name="T12" fmla="*/ 0 w 2"/>
                  <a:gd name="T13" fmla="*/ 4 h 18"/>
                  <a:gd name="T14" fmla="*/ 2 w 2"/>
                  <a:gd name="T15" fmla="*/ 0 h 18"/>
                  <a:gd name="T16" fmla="*/ 2 w 2"/>
                  <a:gd name="T17" fmla="*/ 0 h 18"/>
                  <a:gd name="T18" fmla="*/ 2 w 2"/>
                  <a:gd name="T19" fmla="*/ 0 h 18"/>
                  <a:gd name="T20" fmla="*/ 0 w 2"/>
                  <a:gd name="T21" fmla="*/ 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18">
                    <a:moveTo>
                      <a:pt x="0" y="4"/>
                    </a:moveTo>
                    <a:lnTo>
                      <a:pt x="0" y="12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24" name="Freeform 639">
                <a:extLst>
                  <a:ext uri="{FF2B5EF4-FFF2-40B4-BE49-F238E27FC236}">
                    <a16:creationId xmlns:a16="http://schemas.microsoft.com/office/drawing/2014/main" id="{765E0E62-9EDF-42FF-8EA9-C2EB86CC09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4" y="805"/>
                <a:ext cx="34" cy="4"/>
              </a:xfrm>
              <a:custGeom>
                <a:avLst/>
                <a:gdLst>
                  <a:gd name="T0" fmla="*/ 34 w 34"/>
                  <a:gd name="T1" fmla="*/ 4 h 4"/>
                  <a:gd name="T2" fmla="*/ 4 w 34"/>
                  <a:gd name="T3" fmla="*/ 2 h 4"/>
                  <a:gd name="T4" fmla="*/ 0 w 34"/>
                  <a:gd name="T5" fmla="*/ 0 h 4"/>
                  <a:gd name="T6" fmla="*/ 4 w 34"/>
                  <a:gd name="T7" fmla="*/ 2 h 4"/>
                  <a:gd name="T8" fmla="*/ 34 w 3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4">
                    <a:moveTo>
                      <a:pt x="34" y="4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3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25" name="Freeform 640">
                <a:extLst>
                  <a:ext uri="{FF2B5EF4-FFF2-40B4-BE49-F238E27FC236}">
                    <a16:creationId xmlns:a16="http://schemas.microsoft.com/office/drawing/2014/main" id="{EF82556F-AE8F-4721-BB87-6C37FD08E0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" y="3141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2 w 2"/>
                  <a:gd name="T3" fmla="*/ 1 h 1"/>
                  <a:gd name="T4" fmla="*/ 2 w 2"/>
                  <a:gd name="T5" fmla="*/ 0 h 1"/>
                  <a:gd name="T6" fmla="*/ 2 w 2"/>
                  <a:gd name="T7" fmla="*/ 1 h 1"/>
                  <a:gd name="T8" fmla="*/ 0 w 2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2" y="1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26" name="Freeform 641">
                <a:extLst>
                  <a:ext uri="{FF2B5EF4-FFF2-40B4-BE49-F238E27FC236}">
                    <a16:creationId xmlns:a16="http://schemas.microsoft.com/office/drawing/2014/main" id="{C7CCF823-96B2-40E2-BCFA-958E01BFD3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9" y="788"/>
                <a:ext cx="3" cy="13"/>
              </a:xfrm>
              <a:custGeom>
                <a:avLst/>
                <a:gdLst>
                  <a:gd name="T0" fmla="*/ 1 w 3"/>
                  <a:gd name="T1" fmla="*/ 10 h 13"/>
                  <a:gd name="T2" fmla="*/ 3 w 3"/>
                  <a:gd name="T3" fmla="*/ 13 h 13"/>
                  <a:gd name="T4" fmla="*/ 1 w 3"/>
                  <a:gd name="T5" fmla="*/ 10 h 13"/>
                  <a:gd name="T6" fmla="*/ 1 w 3"/>
                  <a:gd name="T7" fmla="*/ 4 h 13"/>
                  <a:gd name="T8" fmla="*/ 0 w 3"/>
                  <a:gd name="T9" fmla="*/ 0 h 13"/>
                  <a:gd name="T10" fmla="*/ 1 w 3"/>
                  <a:gd name="T11" fmla="*/ 4 h 13"/>
                  <a:gd name="T12" fmla="*/ 1 w 3"/>
                  <a:gd name="T13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3">
                    <a:moveTo>
                      <a:pt x="1" y="10"/>
                    </a:moveTo>
                    <a:lnTo>
                      <a:pt x="3" y="13"/>
                    </a:lnTo>
                    <a:lnTo>
                      <a:pt x="1" y="10"/>
                    </a:lnTo>
                    <a:lnTo>
                      <a:pt x="1" y="4"/>
                    </a:lnTo>
                    <a:lnTo>
                      <a:pt x="0" y="0"/>
                    </a:lnTo>
                    <a:lnTo>
                      <a:pt x="1" y="4"/>
                    </a:lnTo>
                    <a:lnTo>
                      <a:pt x="1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27" name="Freeform 642">
                <a:extLst>
                  <a:ext uri="{FF2B5EF4-FFF2-40B4-BE49-F238E27FC236}">
                    <a16:creationId xmlns:a16="http://schemas.microsoft.com/office/drawing/2014/main" id="{B2889AAE-2BBE-4D39-8ECF-8FD15686AE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3127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4 h 4"/>
                  <a:gd name="T4" fmla="*/ 0 w 2"/>
                  <a:gd name="T5" fmla="*/ 4 h 4"/>
                  <a:gd name="T6" fmla="*/ 2 w 2"/>
                  <a:gd name="T7" fmla="*/ 0 h 4"/>
                  <a:gd name="T8" fmla="*/ 2 w 2"/>
                  <a:gd name="T9" fmla="*/ 0 h 4"/>
                  <a:gd name="T10" fmla="*/ 0 w 2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28" name="Freeform 643">
                <a:extLst>
                  <a:ext uri="{FF2B5EF4-FFF2-40B4-BE49-F238E27FC236}">
                    <a16:creationId xmlns:a16="http://schemas.microsoft.com/office/drawing/2014/main" id="{08B362AC-EF3E-4393-AB76-A68C6C0748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9" y="897"/>
                <a:ext cx="10" cy="4"/>
              </a:xfrm>
              <a:custGeom>
                <a:avLst/>
                <a:gdLst>
                  <a:gd name="T0" fmla="*/ 10 w 10"/>
                  <a:gd name="T1" fmla="*/ 0 h 4"/>
                  <a:gd name="T2" fmla="*/ 6 w 10"/>
                  <a:gd name="T3" fmla="*/ 2 h 4"/>
                  <a:gd name="T4" fmla="*/ 0 w 10"/>
                  <a:gd name="T5" fmla="*/ 4 h 4"/>
                  <a:gd name="T6" fmla="*/ 6 w 10"/>
                  <a:gd name="T7" fmla="*/ 2 h 4"/>
                  <a:gd name="T8" fmla="*/ 10 w 10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4">
                    <a:moveTo>
                      <a:pt x="10" y="0"/>
                    </a:moveTo>
                    <a:lnTo>
                      <a:pt x="6" y="2"/>
                    </a:lnTo>
                    <a:lnTo>
                      <a:pt x="0" y="4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29" name="Freeform 644">
                <a:extLst>
                  <a:ext uri="{FF2B5EF4-FFF2-40B4-BE49-F238E27FC236}">
                    <a16:creationId xmlns:a16="http://schemas.microsoft.com/office/drawing/2014/main" id="{3AD59F83-12E2-43EF-8529-8B35DD7AC3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1" y="901"/>
                <a:ext cx="8" cy="12"/>
              </a:xfrm>
              <a:custGeom>
                <a:avLst/>
                <a:gdLst>
                  <a:gd name="T0" fmla="*/ 2 w 8"/>
                  <a:gd name="T1" fmla="*/ 8 h 12"/>
                  <a:gd name="T2" fmla="*/ 2 w 8"/>
                  <a:gd name="T3" fmla="*/ 6 h 12"/>
                  <a:gd name="T4" fmla="*/ 8 w 8"/>
                  <a:gd name="T5" fmla="*/ 0 h 12"/>
                  <a:gd name="T6" fmla="*/ 8 w 8"/>
                  <a:gd name="T7" fmla="*/ 0 h 12"/>
                  <a:gd name="T8" fmla="*/ 2 w 8"/>
                  <a:gd name="T9" fmla="*/ 6 h 12"/>
                  <a:gd name="T10" fmla="*/ 2 w 8"/>
                  <a:gd name="T11" fmla="*/ 8 h 12"/>
                  <a:gd name="T12" fmla="*/ 0 w 8"/>
                  <a:gd name="T13" fmla="*/ 10 h 12"/>
                  <a:gd name="T14" fmla="*/ 0 w 8"/>
                  <a:gd name="T15" fmla="*/ 12 h 12"/>
                  <a:gd name="T16" fmla="*/ 0 w 8"/>
                  <a:gd name="T17" fmla="*/ 10 h 12"/>
                  <a:gd name="T18" fmla="*/ 2 w 8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12">
                    <a:moveTo>
                      <a:pt x="2" y="8"/>
                    </a:moveTo>
                    <a:lnTo>
                      <a:pt x="2" y="6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30" name="Freeform 645">
                <a:extLst>
                  <a:ext uri="{FF2B5EF4-FFF2-40B4-BE49-F238E27FC236}">
                    <a16:creationId xmlns:a16="http://schemas.microsoft.com/office/drawing/2014/main" id="{9599D68C-7B2C-4E0D-AB61-0B34CD18EE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3096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31" name="Rectangle 646">
                <a:extLst>
                  <a:ext uri="{FF2B5EF4-FFF2-40B4-BE49-F238E27FC236}">
                    <a16:creationId xmlns:a16="http://schemas.microsoft.com/office/drawing/2014/main" id="{A2075406-D748-4B35-96DE-16D966CE31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" y="309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32" name="Freeform 647">
                <a:extLst>
                  <a:ext uri="{FF2B5EF4-FFF2-40B4-BE49-F238E27FC236}">
                    <a16:creationId xmlns:a16="http://schemas.microsoft.com/office/drawing/2014/main" id="{E1B13115-765A-4193-956B-77D0F5BDAF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4" y="887"/>
                <a:ext cx="8" cy="10"/>
              </a:xfrm>
              <a:custGeom>
                <a:avLst/>
                <a:gdLst>
                  <a:gd name="T0" fmla="*/ 4 w 8"/>
                  <a:gd name="T1" fmla="*/ 6 h 10"/>
                  <a:gd name="T2" fmla="*/ 6 w 8"/>
                  <a:gd name="T3" fmla="*/ 2 h 10"/>
                  <a:gd name="T4" fmla="*/ 8 w 8"/>
                  <a:gd name="T5" fmla="*/ 0 h 10"/>
                  <a:gd name="T6" fmla="*/ 6 w 8"/>
                  <a:gd name="T7" fmla="*/ 2 h 10"/>
                  <a:gd name="T8" fmla="*/ 4 w 8"/>
                  <a:gd name="T9" fmla="*/ 6 h 10"/>
                  <a:gd name="T10" fmla="*/ 2 w 8"/>
                  <a:gd name="T11" fmla="*/ 10 h 10"/>
                  <a:gd name="T12" fmla="*/ 0 w 8"/>
                  <a:gd name="T13" fmla="*/ 10 h 10"/>
                  <a:gd name="T14" fmla="*/ 2 w 8"/>
                  <a:gd name="T15" fmla="*/ 10 h 10"/>
                  <a:gd name="T16" fmla="*/ 4 w 8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0">
                    <a:moveTo>
                      <a:pt x="4" y="6"/>
                    </a:moveTo>
                    <a:lnTo>
                      <a:pt x="6" y="2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33" name="Freeform 648">
                <a:extLst>
                  <a:ext uri="{FF2B5EF4-FFF2-40B4-BE49-F238E27FC236}">
                    <a16:creationId xmlns:a16="http://schemas.microsoft.com/office/drawing/2014/main" id="{3C77346F-19A7-419F-854C-4F7C031E45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5" y="913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0 h 2"/>
                  <a:gd name="T4" fmla="*/ 4 w 4"/>
                  <a:gd name="T5" fmla="*/ 0 h 2"/>
                  <a:gd name="T6" fmla="*/ 0 w 4"/>
                  <a:gd name="T7" fmla="*/ 2 h 2"/>
                  <a:gd name="T8" fmla="*/ 0 w 4"/>
                  <a:gd name="T9" fmla="*/ 2 h 2"/>
                  <a:gd name="T10" fmla="*/ 4 w 4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34" name="Freeform 649">
                <a:extLst>
                  <a:ext uri="{FF2B5EF4-FFF2-40B4-BE49-F238E27FC236}">
                    <a16:creationId xmlns:a16="http://schemas.microsoft.com/office/drawing/2014/main" id="{E4139C9C-6AF7-4C04-899B-C4AC7EFFE6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3098"/>
                <a:ext cx="0" cy="7"/>
              </a:xfrm>
              <a:custGeom>
                <a:avLst/>
                <a:gdLst>
                  <a:gd name="T0" fmla="*/ 5 h 7"/>
                  <a:gd name="T1" fmla="*/ 7 h 7"/>
                  <a:gd name="T2" fmla="*/ 5 h 7"/>
                  <a:gd name="T3" fmla="*/ 0 h 7"/>
                  <a:gd name="T4" fmla="*/ 0 h 7"/>
                  <a:gd name="T5" fmla="*/ 5 h 7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7">
                    <a:moveTo>
                      <a:pt x="0" y="5"/>
                    </a:moveTo>
                    <a:lnTo>
                      <a:pt x="0" y="7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35" name="Freeform 650">
                <a:extLst>
                  <a:ext uri="{FF2B5EF4-FFF2-40B4-BE49-F238E27FC236}">
                    <a16:creationId xmlns:a16="http://schemas.microsoft.com/office/drawing/2014/main" id="{EB4219E2-63DE-47A1-8EED-A6F50A0B3C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8" y="897"/>
                <a:ext cx="8" cy="4"/>
              </a:xfrm>
              <a:custGeom>
                <a:avLst/>
                <a:gdLst>
                  <a:gd name="T0" fmla="*/ 8 w 8"/>
                  <a:gd name="T1" fmla="*/ 4 h 4"/>
                  <a:gd name="T2" fmla="*/ 6 w 8"/>
                  <a:gd name="T3" fmla="*/ 2 h 4"/>
                  <a:gd name="T4" fmla="*/ 0 w 8"/>
                  <a:gd name="T5" fmla="*/ 0 h 4"/>
                  <a:gd name="T6" fmla="*/ 6 w 8"/>
                  <a:gd name="T7" fmla="*/ 2 h 4"/>
                  <a:gd name="T8" fmla="*/ 8 w 8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4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36" name="Rectangle 651">
                <a:extLst>
                  <a:ext uri="{FF2B5EF4-FFF2-40B4-BE49-F238E27FC236}">
                    <a16:creationId xmlns:a16="http://schemas.microsoft.com/office/drawing/2014/main" id="{D25A6C75-3F6B-4059-9933-980CC2E7EA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" y="3115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37" name="Rectangle 652">
                <a:extLst>
                  <a:ext uri="{FF2B5EF4-FFF2-40B4-BE49-F238E27FC236}">
                    <a16:creationId xmlns:a16="http://schemas.microsoft.com/office/drawing/2014/main" id="{DC286549-4D5E-4DBD-AE48-1691A14F82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97" y="91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38" name="Freeform 653">
                <a:extLst>
                  <a:ext uri="{FF2B5EF4-FFF2-40B4-BE49-F238E27FC236}">
                    <a16:creationId xmlns:a16="http://schemas.microsoft.com/office/drawing/2014/main" id="{F36EFF27-3DC6-4C48-91A3-7108053976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" y="3107"/>
                <a:ext cx="2" cy="8"/>
              </a:xfrm>
              <a:custGeom>
                <a:avLst/>
                <a:gdLst>
                  <a:gd name="T0" fmla="*/ 0 w 2"/>
                  <a:gd name="T1" fmla="*/ 4 h 8"/>
                  <a:gd name="T2" fmla="*/ 0 w 2"/>
                  <a:gd name="T3" fmla="*/ 6 h 8"/>
                  <a:gd name="T4" fmla="*/ 2 w 2"/>
                  <a:gd name="T5" fmla="*/ 8 h 8"/>
                  <a:gd name="T6" fmla="*/ 2 w 2"/>
                  <a:gd name="T7" fmla="*/ 8 h 8"/>
                  <a:gd name="T8" fmla="*/ 2 w 2"/>
                  <a:gd name="T9" fmla="*/ 8 h 8"/>
                  <a:gd name="T10" fmla="*/ 0 w 2"/>
                  <a:gd name="T11" fmla="*/ 6 h 8"/>
                  <a:gd name="T12" fmla="*/ 0 w 2"/>
                  <a:gd name="T13" fmla="*/ 4 h 8"/>
                  <a:gd name="T14" fmla="*/ 0 w 2"/>
                  <a:gd name="T15" fmla="*/ 2 h 8"/>
                  <a:gd name="T16" fmla="*/ 2 w 2"/>
                  <a:gd name="T17" fmla="*/ 0 h 8"/>
                  <a:gd name="T18" fmla="*/ 0 w 2"/>
                  <a:gd name="T19" fmla="*/ 2 h 8"/>
                  <a:gd name="T20" fmla="*/ 0 w 2"/>
                  <a:gd name="T2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8">
                    <a:moveTo>
                      <a:pt x="0" y="4"/>
                    </a:move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39" name="Freeform 654">
                <a:extLst>
                  <a:ext uri="{FF2B5EF4-FFF2-40B4-BE49-F238E27FC236}">
                    <a16:creationId xmlns:a16="http://schemas.microsoft.com/office/drawing/2014/main" id="{155BDE7E-E2AA-4A6D-942E-38E9AC4DCF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6" y="1731"/>
                <a:ext cx="8" cy="8"/>
              </a:xfrm>
              <a:custGeom>
                <a:avLst/>
                <a:gdLst>
                  <a:gd name="T0" fmla="*/ 6 w 8"/>
                  <a:gd name="T1" fmla="*/ 4 h 8"/>
                  <a:gd name="T2" fmla="*/ 8 w 8"/>
                  <a:gd name="T3" fmla="*/ 0 h 8"/>
                  <a:gd name="T4" fmla="*/ 6 w 8"/>
                  <a:gd name="T5" fmla="*/ 4 h 8"/>
                  <a:gd name="T6" fmla="*/ 4 w 8"/>
                  <a:gd name="T7" fmla="*/ 6 h 8"/>
                  <a:gd name="T8" fmla="*/ 0 w 8"/>
                  <a:gd name="T9" fmla="*/ 8 h 8"/>
                  <a:gd name="T10" fmla="*/ 4 w 8"/>
                  <a:gd name="T11" fmla="*/ 6 h 8"/>
                  <a:gd name="T12" fmla="*/ 6 w 8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6" y="4"/>
                    </a:moveTo>
                    <a:lnTo>
                      <a:pt x="8" y="0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40" name="Freeform 655">
                <a:extLst>
                  <a:ext uri="{FF2B5EF4-FFF2-40B4-BE49-F238E27FC236}">
                    <a16:creationId xmlns:a16="http://schemas.microsoft.com/office/drawing/2014/main" id="{C157DC3B-A01E-472B-ADB0-1298C97486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6" y="1688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41" name="Freeform 656">
                <a:extLst>
                  <a:ext uri="{FF2B5EF4-FFF2-40B4-BE49-F238E27FC236}">
                    <a16:creationId xmlns:a16="http://schemas.microsoft.com/office/drawing/2014/main" id="{710D029B-B6BB-45A3-9878-B9F40557F1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3" y="3154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42" name="Freeform 657">
                <a:extLst>
                  <a:ext uri="{FF2B5EF4-FFF2-40B4-BE49-F238E27FC236}">
                    <a16:creationId xmlns:a16="http://schemas.microsoft.com/office/drawing/2014/main" id="{4D570118-8EA8-49BE-9050-7D5821D879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8" y="1690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43" name="Freeform 658">
                <a:extLst>
                  <a:ext uri="{FF2B5EF4-FFF2-40B4-BE49-F238E27FC236}">
                    <a16:creationId xmlns:a16="http://schemas.microsoft.com/office/drawing/2014/main" id="{6BC871E4-A763-4BA0-A9D0-61B57088EC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3" y="1684"/>
                <a:ext cx="10" cy="0"/>
              </a:xfrm>
              <a:custGeom>
                <a:avLst/>
                <a:gdLst>
                  <a:gd name="T0" fmla="*/ 8 w 10"/>
                  <a:gd name="T1" fmla="*/ 0 w 10"/>
                  <a:gd name="T2" fmla="*/ 8 w 10"/>
                  <a:gd name="T3" fmla="*/ 10 w 10"/>
                  <a:gd name="T4" fmla="*/ 10 w 10"/>
                  <a:gd name="T5" fmla="*/ 8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0">
                    <a:moveTo>
                      <a:pt x="8" y="0"/>
                    </a:moveTo>
                    <a:lnTo>
                      <a:pt x="0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44" name="Rectangle 659">
                <a:extLst>
                  <a:ext uri="{FF2B5EF4-FFF2-40B4-BE49-F238E27FC236}">
                    <a16:creationId xmlns:a16="http://schemas.microsoft.com/office/drawing/2014/main" id="{2E8DB7F6-9630-4EA3-8DD7-A75E9262AE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6" y="279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45" name="Freeform 660">
                <a:extLst>
                  <a:ext uri="{FF2B5EF4-FFF2-40B4-BE49-F238E27FC236}">
                    <a16:creationId xmlns:a16="http://schemas.microsoft.com/office/drawing/2014/main" id="{224D0AE5-BC94-4717-8500-9830530C37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7" y="1680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2 w 6"/>
                  <a:gd name="T3" fmla="*/ 2 h 4"/>
                  <a:gd name="T4" fmla="*/ 6 w 6"/>
                  <a:gd name="T5" fmla="*/ 4 h 4"/>
                  <a:gd name="T6" fmla="*/ 6 w 6"/>
                  <a:gd name="T7" fmla="*/ 4 h 4"/>
                  <a:gd name="T8" fmla="*/ 2 w 6"/>
                  <a:gd name="T9" fmla="*/ 2 h 4"/>
                  <a:gd name="T10" fmla="*/ 0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46" name="Freeform 661">
                <a:extLst>
                  <a:ext uri="{FF2B5EF4-FFF2-40B4-BE49-F238E27FC236}">
                    <a16:creationId xmlns:a16="http://schemas.microsoft.com/office/drawing/2014/main" id="{74BD231E-234C-409D-9F58-092A1BC499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4" y="3230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47" name="Freeform 662">
                <a:extLst>
                  <a:ext uri="{FF2B5EF4-FFF2-40B4-BE49-F238E27FC236}">
                    <a16:creationId xmlns:a16="http://schemas.microsoft.com/office/drawing/2014/main" id="{B0088C1A-0EDC-4D2E-B4FF-F51AE8FCD4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4" y="1719"/>
                <a:ext cx="0" cy="8"/>
              </a:xfrm>
              <a:custGeom>
                <a:avLst/>
                <a:gdLst>
                  <a:gd name="T0" fmla="*/ 0 h 8"/>
                  <a:gd name="T1" fmla="*/ 6 h 8"/>
                  <a:gd name="T2" fmla="*/ 8 h 8"/>
                  <a:gd name="T3" fmla="*/ 6 h 8"/>
                  <a:gd name="T4" fmla="*/ 0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8">
                    <a:moveTo>
                      <a:pt x="0" y="0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48" name="Rectangle 663">
                <a:extLst>
                  <a:ext uri="{FF2B5EF4-FFF2-40B4-BE49-F238E27FC236}">
                    <a16:creationId xmlns:a16="http://schemas.microsoft.com/office/drawing/2014/main" id="{D45AFFF4-58E0-45C0-85DC-652A962573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5" y="303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49" name="Freeform 664">
                <a:extLst>
                  <a:ext uri="{FF2B5EF4-FFF2-40B4-BE49-F238E27FC236}">
                    <a16:creationId xmlns:a16="http://schemas.microsoft.com/office/drawing/2014/main" id="{10C0F1A8-6F4A-4E73-86FA-C89BDDEEB7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2" y="1705"/>
                <a:ext cx="2" cy="10"/>
              </a:xfrm>
              <a:custGeom>
                <a:avLst/>
                <a:gdLst>
                  <a:gd name="T0" fmla="*/ 0 w 2"/>
                  <a:gd name="T1" fmla="*/ 0 h 10"/>
                  <a:gd name="T2" fmla="*/ 0 w 2"/>
                  <a:gd name="T3" fmla="*/ 2 h 10"/>
                  <a:gd name="T4" fmla="*/ 2 w 2"/>
                  <a:gd name="T5" fmla="*/ 10 h 10"/>
                  <a:gd name="T6" fmla="*/ 0 w 2"/>
                  <a:gd name="T7" fmla="*/ 2 h 10"/>
                  <a:gd name="T8" fmla="*/ 0 w 2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0">
                    <a:moveTo>
                      <a:pt x="0" y="0"/>
                    </a:moveTo>
                    <a:lnTo>
                      <a:pt x="0" y="2"/>
                    </a:lnTo>
                    <a:lnTo>
                      <a:pt x="2" y="1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50" name="Freeform 665">
                <a:extLst>
                  <a:ext uri="{FF2B5EF4-FFF2-40B4-BE49-F238E27FC236}">
                    <a16:creationId xmlns:a16="http://schemas.microsoft.com/office/drawing/2014/main" id="{D957F438-68B1-48CE-BD9F-58ECAF1C41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8" y="3060"/>
                <a:ext cx="6" cy="0"/>
              </a:xfrm>
              <a:custGeom>
                <a:avLst/>
                <a:gdLst>
                  <a:gd name="T0" fmla="*/ 0 w 6"/>
                  <a:gd name="T1" fmla="*/ 0 w 6"/>
                  <a:gd name="T2" fmla="*/ 6 w 6"/>
                  <a:gd name="T3" fmla="*/ 0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6">
                    <a:moveTo>
                      <a:pt x="0" y="0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51" name="Rectangle 666">
                <a:extLst>
                  <a:ext uri="{FF2B5EF4-FFF2-40B4-BE49-F238E27FC236}">
                    <a16:creationId xmlns:a16="http://schemas.microsoft.com/office/drawing/2014/main" id="{F4F7BCE6-1C07-47C4-A747-EF88A53050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0" y="296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52" name="Freeform 667">
                <a:extLst>
                  <a:ext uri="{FF2B5EF4-FFF2-40B4-BE49-F238E27FC236}">
                    <a16:creationId xmlns:a16="http://schemas.microsoft.com/office/drawing/2014/main" id="{BD13CE88-5874-4C98-A320-155537693F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8" y="1696"/>
                <a:ext cx="12" cy="6"/>
              </a:xfrm>
              <a:custGeom>
                <a:avLst/>
                <a:gdLst>
                  <a:gd name="T0" fmla="*/ 0 w 12"/>
                  <a:gd name="T1" fmla="*/ 0 h 6"/>
                  <a:gd name="T2" fmla="*/ 0 w 12"/>
                  <a:gd name="T3" fmla="*/ 0 h 6"/>
                  <a:gd name="T4" fmla="*/ 0 w 12"/>
                  <a:gd name="T5" fmla="*/ 0 h 6"/>
                  <a:gd name="T6" fmla="*/ 10 w 12"/>
                  <a:gd name="T7" fmla="*/ 6 h 6"/>
                  <a:gd name="T8" fmla="*/ 12 w 12"/>
                  <a:gd name="T9" fmla="*/ 6 h 6"/>
                  <a:gd name="T10" fmla="*/ 10 w 12"/>
                  <a:gd name="T11" fmla="*/ 6 h 6"/>
                  <a:gd name="T12" fmla="*/ 0 w 1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0" y="6"/>
                    </a:lnTo>
                    <a:lnTo>
                      <a:pt x="12" y="6"/>
                    </a:lnTo>
                    <a:lnTo>
                      <a:pt x="1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53" name="Freeform 668">
                <a:extLst>
                  <a:ext uri="{FF2B5EF4-FFF2-40B4-BE49-F238E27FC236}">
                    <a16:creationId xmlns:a16="http://schemas.microsoft.com/office/drawing/2014/main" id="{A3E6A444-0BBB-4EF8-9199-9D236BE474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0" y="318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54" name="Rectangle 669">
                <a:extLst>
                  <a:ext uri="{FF2B5EF4-FFF2-40B4-BE49-F238E27FC236}">
                    <a16:creationId xmlns:a16="http://schemas.microsoft.com/office/drawing/2014/main" id="{155BC646-C95E-4C42-993D-805889370F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2" y="320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55" name="Freeform 670">
                <a:extLst>
                  <a:ext uri="{FF2B5EF4-FFF2-40B4-BE49-F238E27FC236}">
                    <a16:creationId xmlns:a16="http://schemas.microsoft.com/office/drawing/2014/main" id="{C4423AE0-B16D-4B90-8DF2-212D530195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1651"/>
                <a:ext cx="12" cy="6"/>
              </a:xfrm>
              <a:custGeom>
                <a:avLst/>
                <a:gdLst>
                  <a:gd name="T0" fmla="*/ 0 w 12"/>
                  <a:gd name="T1" fmla="*/ 6 h 6"/>
                  <a:gd name="T2" fmla="*/ 2 w 12"/>
                  <a:gd name="T3" fmla="*/ 4 h 6"/>
                  <a:gd name="T4" fmla="*/ 12 w 12"/>
                  <a:gd name="T5" fmla="*/ 0 h 6"/>
                  <a:gd name="T6" fmla="*/ 2 w 12"/>
                  <a:gd name="T7" fmla="*/ 4 h 6"/>
                  <a:gd name="T8" fmla="*/ 0 w 1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6">
                    <a:moveTo>
                      <a:pt x="0" y="6"/>
                    </a:moveTo>
                    <a:lnTo>
                      <a:pt x="2" y="4"/>
                    </a:lnTo>
                    <a:lnTo>
                      <a:pt x="12" y="0"/>
                    </a:lnTo>
                    <a:lnTo>
                      <a:pt x="2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56" name="Rectangle 671">
                <a:extLst>
                  <a:ext uri="{FF2B5EF4-FFF2-40B4-BE49-F238E27FC236}">
                    <a16:creationId xmlns:a16="http://schemas.microsoft.com/office/drawing/2014/main" id="{98721AEF-C579-4890-90BF-58AA92569C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5" y="165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57" name="Rectangle 672">
                <a:extLst>
                  <a:ext uri="{FF2B5EF4-FFF2-40B4-BE49-F238E27FC236}">
                    <a16:creationId xmlns:a16="http://schemas.microsoft.com/office/drawing/2014/main" id="{E09B57F8-28FD-4DAF-BAAF-EF8D961E3F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1" y="322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58" name="Freeform 673">
                <a:extLst>
                  <a:ext uri="{FF2B5EF4-FFF2-40B4-BE49-F238E27FC236}">
                    <a16:creationId xmlns:a16="http://schemas.microsoft.com/office/drawing/2014/main" id="{1F2BA9FD-E25C-491B-A289-DBD3D70CD4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3" y="1666"/>
                <a:ext cx="4" cy="10"/>
              </a:xfrm>
              <a:custGeom>
                <a:avLst/>
                <a:gdLst>
                  <a:gd name="T0" fmla="*/ 0 w 4"/>
                  <a:gd name="T1" fmla="*/ 0 h 10"/>
                  <a:gd name="T2" fmla="*/ 2 w 4"/>
                  <a:gd name="T3" fmla="*/ 6 h 10"/>
                  <a:gd name="T4" fmla="*/ 4 w 4"/>
                  <a:gd name="T5" fmla="*/ 10 h 10"/>
                  <a:gd name="T6" fmla="*/ 2 w 4"/>
                  <a:gd name="T7" fmla="*/ 6 h 10"/>
                  <a:gd name="T8" fmla="*/ 0 w 4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0">
                    <a:moveTo>
                      <a:pt x="0" y="0"/>
                    </a:moveTo>
                    <a:lnTo>
                      <a:pt x="2" y="6"/>
                    </a:lnTo>
                    <a:lnTo>
                      <a:pt x="4" y="10"/>
                    </a:lnTo>
                    <a:lnTo>
                      <a:pt x="2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59" name="Freeform 674">
                <a:extLst>
                  <a:ext uri="{FF2B5EF4-FFF2-40B4-BE49-F238E27FC236}">
                    <a16:creationId xmlns:a16="http://schemas.microsoft.com/office/drawing/2014/main" id="{FAA7E115-A66A-47DC-A19B-9431D59728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5" y="319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60" name="Rectangle 675">
                <a:extLst>
                  <a:ext uri="{FF2B5EF4-FFF2-40B4-BE49-F238E27FC236}">
                    <a16:creationId xmlns:a16="http://schemas.microsoft.com/office/drawing/2014/main" id="{C07348FB-BFE4-4595-98BC-FA2CFE06A5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4" y="321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61" name="Freeform 676">
                <a:extLst>
                  <a:ext uri="{FF2B5EF4-FFF2-40B4-BE49-F238E27FC236}">
                    <a16:creationId xmlns:a16="http://schemas.microsoft.com/office/drawing/2014/main" id="{DB65EF03-DF74-4CA1-9142-EBC8D792CE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8" y="3183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62" name="Freeform 677">
                <a:extLst>
                  <a:ext uri="{FF2B5EF4-FFF2-40B4-BE49-F238E27FC236}">
                    <a16:creationId xmlns:a16="http://schemas.microsoft.com/office/drawing/2014/main" id="{16786E0C-B5CF-407B-BB0D-A7ED1BA880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8" y="1649"/>
                <a:ext cx="45" cy="4"/>
              </a:xfrm>
              <a:custGeom>
                <a:avLst/>
                <a:gdLst>
                  <a:gd name="T0" fmla="*/ 28 w 45"/>
                  <a:gd name="T1" fmla="*/ 4 h 4"/>
                  <a:gd name="T2" fmla="*/ 0 w 45"/>
                  <a:gd name="T3" fmla="*/ 0 h 4"/>
                  <a:gd name="T4" fmla="*/ 0 w 45"/>
                  <a:gd name="T5" fmla="*/ 0 h 4"/>
                  <a:gd name="T6" fmla="*/ 0 w 45"/>
                  <a:gd name="T7" fmla="*/ 0 h 4"/>
                  <a:gd name="T8" fmla="*/ 28 w 45"/>
                  <a:gd name="T9" fmla="*/ 4 h 4"/>
                  <a:gd name="T10" fmla="*/ 45 w 45"/>
                  <a:gd name="T11" fmla="*/ 0 h 4"/>
                  <a:gd name="T12" fmla="*/ 45 w 45"/>
                  <a:gd name="T13" fmla="*/ 0 h 4"/>
                  <a:gd name="T14" fmla="*/ 28 w 45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4">
                    <a:moveTo>
                      <a:pt x="28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8" y="4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2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63" name="Freeform 678">
                <a:extLst>
                  <a:ext uri="{FF2B5EF4-FFF2-40B4-BE49-F238E27FC236}">
                    <a16:creationId xmlns:a16="http://schemas.microsoft.com/office/drawing/2014/main" id="{0E73E77F-8275-44CA-AD7A-7B7051AD7F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9" y="1653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0 h 4"/>
                  <a:gd name="T4" fmla="*/ 2 w 2"/>
                  <a:gd name="T5" fmla="*/ 4 h 4"/>
                  <a:gd name="T6" fmla="*/ 2 w 2"/>
                  <a:gd name="T7" fmla="*/ 0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0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64" name="Rectangle 679">
                <a:extLst>
                  <a:ext uri="{FF2B5EF4-FFF2-40B4-BE49-F238E27FC236}">
                    <a16:creationId xmlns:a16="http://schemas.microsoft.com/office/drawing/2014/main" id="{4D759813-2D42-46D8-8BE7-8420904F7D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43" y="319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65" name="Freeform 680">
                <a:extLst>
                  <a:ext uri="{FF2B5EF4-FFF2-40B4-BE49-F238E27FC236}">
                    <a16:creationId xmlns:a16="http://schemas.microsoft.com/office/drawing/2014/main" id="{BCDBAE18-BA11-4F11-BE91-08DE0A2D11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0" y="2891"/>
                <a:ext cx="0" cy="4"/>
              </a:xfrm>
              <a:custGeom>
                <a:avLst/>
                <a:gdLst>
                  <a:gd name="T0" fmla="*/ 4 h 4"/>
                  <a:gd name="T1" fmla="*/ 0 h 4"/>
                  <a:gd name="T2" fmla="*/ 4 h 4"/>
                  <a:gd name="T3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66" name="Rectangle 681">
                <a:extLst>
                  <a:ext uri="{FF2B5EF4-FFF2-40B4-BE49-F238E27FC236}">
                    <a16:creationId xmlns:a16="http://schemas.microsoft.com/office/drawing/2014/main" id="{ECB14E50-7BD0-4DF5-BFDD-99AB1E95BE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88" y="291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67" name="Freeform 682">
                <a:extLst>
                  <a:ext uri="{FF2B5EF4-FFF2-40B4-BE49-F238E27FC236}">
                    <a16:creationId xmlns:a16="http://schemas.microsoft.com/office/drawing/2014/main" id="{834C153B-CDF9-4DF5-841B-36949E67EB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7" y="1852"/>
                <a:ext cx="0" cy="4"/>
              </a:xfrm>
              <a:custGeom>
                <a:avLst/>
                <a:gdLst>
                  <a:gd name="T0" fmla="*/ 0 h 4"/>
                  <a:gd name="T1" fmla="*/ 0 h 4"/>
                  <a:gd name="T2" fmla="*/ 2 h 4"/>
                  <a:gd name="T3" fmla="*/ 4 h 4"/>
                  <a:gd name="T4" fmla="*/ 2 h 4"/>
                  <a:gd name="T5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68" name="Rectangle 683">
                <a:extLst>
                  <a:ext uri="{FF2B5EF4-FFF2-40B4-BE49-F238E27FC236}">
                    <a16:creationId xmlns:a16="http://schemas.microsoft.com/office/drawing/2014/main" id="{9808E297-9FF7-4F70-9CFF-0C5EBD408A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96" y="185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69" name="Freeform 684">
                <a:extLst>
                  <a:ext uri="{FF2B5EF4-FFF2-40B4-BE49-F238E27FC236}">
                    <a16:creationId xmlns:a16="http://schemas.microsoft.com/office/drawing/2014/main" id="{702B628D-0D6C-4BF5-A7F4-1194755E47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4" y="291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70" name="Rectangle 685">
                <a:extLst>
                  <a:ext uri="{FF2B5EF4-FFF2-40B4-BE49-F238E27FC236}">
                    <a16:creationId xmlns:a16="http://schemas.microsoft.com/office/drawing/2014/main" id="{F0A0382A-9DDC-419F-B870-36422169BE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8" y="335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71" name="Freeform 686">
                <a:extLst>
                  <a:ext uri="{FF2B5EF4-FFF2-40B4-BE49-F238E27FC236}">
                    <a16:creationId xmlns:a16="http://schemas.microsoft.com/office/drawing/2014/main" id="{4348CA8F-4D19-483C-94B0-2EB78F737D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869"/>
                <a:ext cx="8" cy="4"/>
              </a:xfrm>
              <a:custGeom>
                <a:avLst/>
                <a:gdLst>
                  <a:gd name="T0" fmla="*/ 4 w 8"/>
                  <a:gd name="T1" fmla="*/ 4 h 4"/>
                  <a:gd name="T2" fmla="*/ 0 w 8"/>
                  <a:gd name="T3" fmla="*/ 0 h 4"/>
                  <a:gd name="T4" fmla="*/ 0 w 8"/>
                  <a:gd name="T5" fmla="*/ 0 h 4"/>
                  <a:gd name="T6" fmla="*/ 4 w 8"/>
                  <a:gd name="T7" fmla="*/ 4 h 4"/>
                  <a:gd name="T8" fmla="*/ 8 w 8"/>
                  <a:gd name="T9" fmla="*/ 4 h 4"/>
                  <a:gd name="T10" fmla="*/ 8 w 8"/>
                  <a:gd name="T11" fmla="*/ 4 h 4"/>
                  <a:gd name="T12" fmla="*/ 8 w 8"/>
                  <a:gd name="T13" fmla="*/ 4 h 4"/>
                  <a:gd name="T14" fmla="*/ 4 w 8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4">
                    <a:moveTo>
                      <a:pt x="4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72" name="Freeform 687">
                <a:extLst>
                  <a:ext uri="{FF2B5EF4-FFF2-40B4-BE49-F238E27FC236}">
                    <a16:creationId xmlns:a16="http://schemas.microsoft.com/office/drawing/2014/main" id="{5BE5CDB0-449D-4F3C-AF52-C70E146429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8" y="1848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73" name="Rectangle 688">
                <a:extLst>
                  <a:ext uri="{FF2B5EF4-FFF2-40B4-BE49-F238E27FC236}">
                    <a16:creationId xmlns:a16="http://schemas.microsoft.com/office/drawing/2014/main" id="{FCD77534-0264-4B68-A36C-294FF9827F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7" y="186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74" name="Freeform 689">
                <a:extLst>
                  <a:ext uri="{FF2B5EF4-FFF2-40B4-BE49-F238E27FC236}">
                    <a16:creationId xmlns:a16="http://schemas.microsoft.com/office/drawing/2014/main" id="{7154D1B0-AF22-43BA-AF33-0D3AB9FFFB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9" y="1858"/>
                <a:ext cx="6" cy="0"/>
              </a:xfrm>
              <a:custGeom>
                <a:avLst/>
                <a:gdLst>
                  <a:gd name="T0" fmla="*/ 0 w 6"/>
                  <a:gd name="T1" fmla="*/ 2 w 6"/>
                  <a:gd name="T2" fmla="*/ 6 w 6"/>
                  <a:gd name="T3" fmla="*/ 2 w 6"/>
                  <a:gd name="T4" fmla="*/ 0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0" y="0"/>
                    </a:moveTo>
                    <a:lnTo>
                      <a:pt x="2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75" name="Rectangle 690">
                <a:extLst>
                  <a:ext uri="{FF2B5EF4-FFF2-40B4-BE49-F238E27FC236}">
                    <a16:creationId xmlns:a16="http://schemas.microsoft.com/office/drawing/2014/main" id="{803DD1F3-08FF-44E0-B96D-2EB1ECFBD1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29" y="287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76" name="Freeform 691">
                <a:extLst>
                  <a:ext uri="{FF2B5EF4-FFF2-40B4-BE49-F238E27FC236}">
                    <a16:creationId xmlns:a16="http://schemas.microsoft.com/office/drawing/2014/main" id="{6874D07C-9CDC-4D78-AC88-5A2A010AA9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5" y="1750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77" name="Freeform 692">
                <a:extLst>
                  <a:ext uri="{FF2B5EF4-FFF2-40B4-BE49-F238E27FC236}">
                    <a16:creationId xmlns:a16="http://schemas.microsoft.com/office/drawing/2014/main" id="{537F90BF-A5A3-40D9-8D88-A61A28FD8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9" y="1774"/>
                <a:ext cx="4" cy="13"/>
              </a:xfrm>
              <a:custGeom>
                <a:avLst/>
                <a:gdLst>
                  <a:gd name="T0" fmla="*/ 4 w 4"/>
                  <a:gd name="T1" fmla="*/ 2 h 13"/>
                  <a:gd name="T2" fmla="*/ 2 w 4"/>
                  <a:gd name="T3" fmla="*/ 0 h 13"/>
                  <a:gd name="T4" fmla="*/ 4 w 4"/>
                  <a:gd name="T5" fmla="*/ 2 h 13"/>
                  <a:gd name="T6" fmla="*/ 2 w 4"/>
                  <a:gd name="T7" fmla="*/ 8 h 13"/>
                  <a:gd name="T8" fmla="*/ 0 w 4"/>
                  <a:gd name="T9" fmla="*/ 13 h 13"/>
                  <a:gd name="T10" fmla="*/ 2 w 4"/>
                  <a:gd name="T11" fmla="*/ 8 h 13"/>
                  <a:gd name="T12" fmla="*/ 4 w 4"/>
                  <a:gd name="T1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3">
                    <a:moveTo>
                      <a:pt x="4" y="2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2" y="8"/>
                    </a:lnTo>
                    <a:lnTo>
                      <a:pt x="0" y="13"/>
                    </a:lnTo>
                    <a:lnTo>
                      <a:pt x="2" y="8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78" name="Rectangle 693">
                <a:extLst>
                  <a:ext uri="{FF2B5EF4-FFF2-40B4-BE49-F238E27FC236}">
                    <a16:creationId xmlns:a16="http://schemas.microsoft.com/office/drawing/2014/main" id="{87269A32-6CE9-4623-A7C0-C652DF0C4D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3" y="29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79" name="Freeform 694">
                <a:extLst>
                  <a:ext uri="{FF2B5EF4-FFF2-40B4-BE49-F238E27FC236}">
                    <a16:creationId xmlns:a16="http://schemas.microsoft.com/office/drawing/2014/main" id="{787A0958-5351-4DE9-A86B-B9D85A1CF2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5" y="1750"/>
                <a:ext cx="0" cy="6"/>
              </a:xfrm>
              <a:custGeom>
                <a:avLst/>
                <a:gdLst>
                  <a:gd name="T0" fmla="*/ 4 h 6"/>
                  <a:gd name="T1" fmla="*/ 2 h 6"/>
                  <a:gd name="T2" fmla="*/ 2 h 6"/>
                  <a:gd name="T3" fmla="*/ 0 h 6"/>
                  <a:gd name="T4" fmla="*/ 0 h 6"/>
                  <a:gd name="T5" fmla="*/ 2 h 6"/>
                  <a:gd name="T6" fmla="*/ 2 h 6"/>
                  <a:gd name="T7" fmla="*/ 4 h 6"/>
                  <a:gd name="T8" fmla="*/ 6 h 6"/>
                  <a:gd name="T9" fmla="*/ 6 h 6"/>
                  <a:gd name="T10" fmla="*/ 6 h 6"/>
                  <a:gd name="T11" fmla="*/ 4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  <a:cxn ang="0">
                    <a:pos x="0" y="T10"/>
                  </a:cxn>
                  <a:cxn ang="0">
                    <a:pos x="0" y="T11"/>
                  </a:cxn>
                </a:cxnLst>
                <a:rect l="0" t="0" r="r" b="b"/>
                <a:pathLst>
                  <a:path h="6">
                    <a:moveTo>
                      <a:pt x="0" y="4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80" name="Rectangle 695">
                <a:extLst>
                  <a:ext uri="{FF2B5EF4-FFF2-40B4-BE49-F238E27FC236}">
                    <a16:creationId xmlns:a16="http://schemas.microsoft.com/office/drawing/2014/main" id="{DF55FB92-5D8F-4896-BA39-F1FC9F6863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" y="313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81" name="Freeform 696">
                <a:extLst>
                  <a:ext uri="{FF2B5EF4-FFF2-40B4-BE49-F238E27FC236}">
                    <a16:creationId xmlns:a16="http://schemas.microsoft.com/office/drawing/2014/main" id="{C6F4D087-56EB-43EC-8523-D658A8FDB4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4" y="2928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82" name="Rectangle 697">
                <a:extLst>
                  <a:ext uri="{FF2B5EF4-FFF2-40B4-BE49-F238E27FC236}">
                    <a16:creationId xmlns:a16="http://schemas.microsoft.com/office/drawing/2014/main" id="{71261528-EA8E-452C-8CEF-EA5B6F28A2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6" y="296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83" name="Rectangle 698">
                <a:extLst>
                  <a:ext uri="{FF2B5EF4-FFF2-40B4-BE49-F238E27FC236}">
                    <a16:creationId xmlns:a16="http://schemas.microsoft.com/office/drawing/2014/main" id="{7C6050D0-90E9-4048-A7A7-59512D9273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74" y="2932"/>
                <a:ext cx="1" cy="4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84" name="Rectangle 699">
                <a:extLst>
                  <a:ext uri="{FF2B5EF4-FFF2-40B4-BE49-F238E27FC236}">
                    <a16:creationId xmlns:a16="http://schemas.microsoft.com/office/drawing/2014/main" id="{91FD733A-7B5F-4E88-B7BB-176A6DA9F4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52" y="296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85" name="Freeform 700">
                <a:extLst>
                  <a:ext uri="{FF2B5EF4-FFF2-40B4-BE49-F238E27FC236}">
                    <a16:creationId xmlns:a16="http://schemas.microsoft.com/office/drawing/2014/main" id="{880E1E1D-58CF-4CB7-9C2C-1CDF7D0E8F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8" y="1842"/>
                <a:ext cx="8" cy="2"/>
              </a:xfrm>
              <a:custGeom>
                <a:avLst/>
                <a:gdLst>
                  <a:gd name="T0" fmla="*/ 0 w 8"/>
                  <a:gd name="T1" fmla="*/ 2 h 2"/>
                  <a:gd name="T2" fmla="*/ 0 w 8"/>
                  <a:gd name="T3" fmla="*/ 2 h 2"/>
                  <a:gd name="T4" fmla="*/ 0 w 8"/>
                  <a:gd name="T5" fmla="*/ 2 h 2"/>
                  <a:gd name="T6" fmla="*/ 6 w 8"/>
                  <a:gd name="T7" fmla="*/ 0 h 2"/>
                  <a:gd name="T8" fmla="*/ 8 w 8"/>
                  <a:gd name="T9" fmla="*/ 2 h 2"/>
                  <a:gd name="T10" fmla="*/ 6 w 8"/>
                  <a:gd name="T11" fmla="*/ 0 h 2"/>
                  <a:gd name="T12" fmla="*/ 0 w 8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6" y="0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86" name="Freeform 701">
                <a:extLst>
                  <a:ext uri="{FF2B5EF4-FFF2-40B4-BE49-F238E27FC236}">
                    <a16:creationId xmlns:a16="http://schemas.microsoft.com/office/drawing/2014/main" id="{4E65E886-88FB-4B51-B13D-B71287C02B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7" y="1823"/>
                <a:ext cx="2" cy="9"/>
              </a:xfrm>
              <a:custGeom>
                <a:avLst/>
                <a:gdLst>
                  <a:gd name="T0" fmla="*/ 0 w 2"/>
                  <a:gd name="T1" fmla="*/ 0 h 9"/>
                  <a:gd name="T2" fmla="*/ 0 w 2"/>
                  <a:gd name="T3" fmla="*/ 5 h 9"/>
                  <a:gd name="T4" fmla="*/ 2 w 2"/>
                  <a:gd name="T5" fmla="*/ 9 h 9"/>
                  <a:gd name="T6" fmla="*/ 0 w 2"/>
                  <a:gd name="T7" fmla="*/ 5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lnTo>
                      <a:pt x="0" y="5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87" name="Freeform 702">
                <a:extLst>
                  <a:ext uri="{FF2B5EF4-FFF2-40B4-BE49-F238E27FC236}">
                    <a16:creationId xmlns:a16="http://schemas.microsoft.com/office/drawing/2014/main" id="{F5D69B28-E03D-4827-862A-B7D61AD29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2" y="2961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88" name="Freeform 703">
                <a:extLst>
                  <a:ext uri="{FF2B5EF4-FFF2-40B4-BE49-F238E27FC236}">
                    <a16:creationId xmlns:a16="http://schemas.microsoft.com/office/drawing/2014/main" id="{BCA76B27-6F18-407E-8C7E-6342942D1F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8" y="2824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89" name="Freeform 704">
                <a:extLst>
                  <a:ext uri="{FF2B5EF4-FFF2-40B4-BE49-F238E27FC236}">
                    <a16:creationId xmlns:a16="http://schemas.microsoft.com/office/drawing/2014/main" id="{B45F6C20-08A4-4305-AD26-00A8DD7E8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9" y="778"/>
                <a:ext cx="12" cy="10"/>
              </a:xfrm>
              <a:custGeom>
                <a:avLst/>
                <a:gdLst>
                  <a:gd name="T0" fmla="*/ 12 w 12"/>
                  <a:gd name="T1" fmla="*/ 0 h 10"/>
                  <a:gd name="T2" fmla="*/ 12 w 12"/>
                  <a:gd name="T3" fmla="*/ 0 h 10"/>
                  <a:gd name="T4" fmla="*/ 8 w 12"/>
                  <a:gd name="T5" fmla="*/ 2 h 10"/>
                  <a:gd name="T6" fmla="*/ 0 w 12"/>
                  <a:gd name="T7" fmla="*/ 10 h 10"/>
                  <a:gd name="T8" fmla="*/ 8 w 12"/>
                  <a:gd name="T9" fmla="*/ 2 h 10"/>
                  <a:gd name="T10" fmla="*/ 12 w 12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0">
                    <a:moveTo>
                      <a:pt x="12" y="0"/>
                    </a:moveTo>
                    <a:lnTo>
                      <a:pt x="12" y="0"/>
                    </a:lnTo>
                    <a:lnTo>
                      <a:pt x="8" y="2"/>
                    </a:lnTo>
                    <a:lnTo>
                      <a:pt x="0" y="10"/>
                    </a:lnTo>
                    <a:lnTo>
                      <a:pt x="8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90" name="Freeform 705">
                <a:extLst>
                  <a:ext uri="{FF2B5EF4-FFF2-40B4-BE49-F238E27FC236}">
                    <a16:creationId xmlns:a16="http://schemas.microsoft.com/office/drawing/2014/main" id="{E19680AC-E16B-403E-B119-B07F27DFB5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3732"/>
                <a:ext cx="6" cy="12"/>
              </a:xfrm>
              <a:custGeom>
                <a:avLst/>
                <a:gdLst>
                  <a:gd name="T0" fmla="*/ 0 w 6"/>
                  <a:gd name="T1" fmla="*/ 12 h 12"/>
                  <a:gd name="T2" fmla="*/ 4 w 6"/>
                  <a:gd name="T3" fmla="*/ 6 h 12"/>
                  <a:gd name="T4" fmla="*/ 6 w 6"/>
                  <a:gd name="T5" fmla="*/ 0 h 12"/>
                  <a:gd name="T6" fmla="*/ 6 w 6"/>
                  <a:gd name="T7" fmla="*/ 0 h 12"/>
                  <a:gd name="T8" fmla="*/ 4 w 6"/>
                  <a:gd name="T9" fmla="*/ 6 h 12"/>
                  <a:gd name="T10" fmla="*/ 0 w 6"/>
                  <a:gd name="T1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4" y="6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91" name="Freeform 706">
                <a:extLst>
                  <a:ext uri="{FF2B5EF4-FFF2-40B4-BE49-F238E27FC236}">
                    <a16:creationId xmlns:a16="http://schemas.microsoft.com/office/drawing/2014/main" id="{1823908D-7103-41AC-B0E1-A6DB26930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5" y="780"/>
                <a:ext cx="12" cy="0"/>
              </a:xfrm>
              <a:custGeom>
                <a:avLst/>
                <a:gdLst>
                  <a:gd name="T0" fmla="*/ 12 w 12"/>
                  <a:gd name="T1" fmla="*/ 8 w 12"/>
                  <a:gd name="T2" fmla="*/ 0 w 12"/>
                  <a:gd name="T3" fmla="*/ 8 w 12"/>
                  <a:gd name="T4" fmla="*/ 12 w 1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2">
                    <a:moveTo>
                      <a:pt x="12" y="0"/>
                    </a:moveTo>
                    <a:lnTo>
                      <a:pt x="8" y="0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92" name="Freeform 707">
                <a:extLst>
                  <a:ext uri="{FF2B5EF4-FFF2-40B4-BE49-F238E27FC236}">
                    <a16:creationId xmlns:a16="http://schemas.microsoft.com/office/drawing/2014/main" id="{D9E14BD0-6728-4A25-A90B-B7FB9AE810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5" y="770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0 w 2"/>
                  <a:gd name="T3" fmla="*/ 6 h 6"/>
                  <a:gd name="T4" fmla="*/ 0 w 2"/>
                  <a:gd name="T5" fmla="*/ 6 h 6"/>
                  <a:gd name="T6" fmla="*/ 2 w 2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93" name="Freeform 708">
                <a:extLst>
                  <a:ext uri="{FF2B5EF4-FFF2-40B4-BE49-F238E27FC236}">
                    <a16:creationId xmlns:a16="http://schemas.microsoft.com/office/drawing/2014/main" id="{9BC8E162-D45B-47F2-A12D-1D3B4A0C41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" y="788"/>
                <a:ext cx="10" cy="10"/>
              </a:xfrm>
              <a:custGeom>
                <a:avLst/>
                <a:gdLst>
                  <a:gd name="T0" fmla="*/ 4 w 10"/>
                  <a:gd name="T1" fmla="*/ 4 h 10"/>
                  <a:gd name="T2" fmla="*/ 10 w 10"/>
                  <a:gd name="T3" fmla="*/ 0 h 10"/>
                  <a:gd name="T4" fmla="*/ 10 w 10"/>
                  <a:gd name="T5" fmla="*/ 0 h 10"/>
                  <a:gd name="T6" fmla="*/ 4 w 10"/>
                  <a:gd name="T7" fmla="*/ 4 h 10"/>
                  <a:gd name="T8" fmla="*/ 2 w 10"/>
                  <a:gd name="T9" fmla="*/ 6 h 10"/>
                  <a:gd name="T10" fmla="*/ 0 w 10"/>
                  <a:gd name="T11" fmla="*/ 10 h 10"/>
                  <a:gd name="T12" fmla="*/ 2 w 10"/>
                  <a:gd name="T13" fmla="*/ 6 h 10"/>
                  <a:gd name="T14" fmla="*/ 4 w 10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0">
                    <a:moveTo>
                      <a:pt x="4" y="4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94" name="Freeform 709">
                <a:extLst>
                  <a:ext uri="{FF2B5EF4-FFF2-40B4-BE49-F238E27FC236}">
                    <a16:creationId xmlns:a16="http://schemas.microsoft.com/office/drawing/2014/main" id="{050B51EA-B177-4FE6-963F-9469E86AA4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" y="3748"/>
                <a:ext cx="2" cy="4"/>
              </a:xfrm>
              <a:custGeom>
                <a:avLst/>
                <a:gdLst>
                  <a:gd name="T0" fmla="*/ 2 w 2"/>
                  <a:gd name="T1" fmla="*/ 2 h 4"/>
                  <a:gd name="T2" fmla="*/ 0 w 2"/>
                  <a:gd name="T3" fmla="*/ 4 h 4"/>
                  <a:gd name="T4" fmla="*/ 2 w 2"/>
                  <a:gd name="T5" fmla="*/ 2 h 4"/>
                  <a:gd name="T6" fmla="*/ 2 w 2"/>
                  <a:gd name="T7" fmla="*/ 2 h 4"/>
                  <a:gd name="T8" fmla="*/ 0 w 2"/>
                  <a:gd name="T9" fmla="*/ 0 h 4"/>
                  <a:gd name="T10" fmla="*/ 2 w 2"/>
                  <a:gd name="T11" fmla="*/ 2 h 4"/>
                  <a:gd name="T12" fmla="*/ 2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95" name="Freeform 710">
                <a:extLst>
                  <a:ext uri="{FF2B5EF4-FFF2-40B4-BE49-F238E27FC236}">
                    <a16:creationId xmlns:a16="http://schemas.microsoft.com/office/drawing/2014/main" id="{F5A8687D-1AF6-4746-8F8C-662094A0F7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8" y="803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4 w 8"/>
                  <a:gd name="T5" fmla="*/ 4 h 4"/>
                  <a:gd name="T6" fmla="*/ 0 w 8"/>
                  <a:gd name="T7" fmla="*/ 4 h 4"/>
                  <a:gd name="T8" fmla="*/ 4 w 8"/>
                  <a:gd name="T9" fmla="*/ 4 h 4"/>
                  <a:gd name="T10" fmla="*/ 8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96" name="Freeform 711">
                <a:extLst>
                  <a:ext uri="{FF2B5EF4-FFF2-40B4-BE49-F238E27FC236}">
                    <a16:creationId xmlns:a16="http://schemas.microsoft.com/office/drawing/2014/main" id="{1BB9D503-F384-46D4-89A5-ADB275FBA0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" y="3756"/>
                <a:ext cx="10" cy="13"/>
              </a:xfrm>
              <a:custGeom>
                <a:avLst/>
                <a:gdLst>
                  <a:gd name="T0" fmla="*/ 4 w 10"/>
                  <a:gd name="T1" fmla="*/ 3 h 13"/>
                  <a:gd name="T2" fmla="*/ 8 w 10"/>
                  <a:gd name="T3" fmla="*/ 9 h 13"/>
                  <a:gd name="T4" fmla="*/ 10 w 10"/>
                  <a:gd name="T5" fmla="*/ 13 h 13"/>
                  <a:gd name="T6" fmla="*/ 8 w 10"/>
                  <a:gd name="T7" fmla="*/ 9 h 13"/>
                  <a:gd name="T8" fmla="*/ 4 w 10"/>
                  <a:gd name="T9" fmla="*/ 3 h 13"/>
                  <a:gd name="T10" fmla="*/ 0 w 10"/>
                  <a:gd name="T11" fmla="*/ 0 h 13"/>
                  <a:gd name="T12" fmla="*/ 0 w 10"/>
                  <a:gd name="T13" fmla="*/ 0 h 13"/>
                  <a:gd name="T14" fmla="*/ 4 w 10"/>
                  <a:gd name="T1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3">
                    <a:moveTo>
                      <a:pt x="4" y="3"/>
                    </a:moveTo>
                    <a:lnTo>
                      <a:pt x="8" y="9"/>
                    </a:lnTo>
                    <a:lnTo>
                      <a:pt x="10" y="13"/>
                    </a:lnTo>
                    <a:lnTo>
                      <a:pt x="8" y="9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97" name="Freeform 712">
                <a:extLst>
                  <a:ext uri="{FF2B5EF4-FFF2-40B4-BE49-F238E27FC236}">
                    <a16:creationId xmlns:a16="http://schemas.microsoft.com/office/drawing/2014/main" id="{B2CD9B8D-89CE-485C-9206-9FDF1A0FA5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" y="3738"/>
                <a:ext cx="0" cy="6"/>
              </a:xfrm>
              <a:custGeom>
                <a:avLst/>
                <a:gdLst>
                  <a:gd name="T0" fmla="*/ 4 h 6"/>
                  <a:gd name="T1" fmla="*/ 6 h 6"/>
                  <a:gd name="T2" fmla="*/ 6 h 6"/>
                  <a:gd name="T3" fmla="*/ 6 h 6"/>
                  <a:gd name="T4" fmla="*/ 4 h 6"/>
                  <a:gd name="T5" fmla="*/ 0 h 6"/>
                  <a:gd name="T6" fmla="*/ 0 h 6"/>
                  <a:gd name="T7" fmla="*/ 0 h 6"/>
                  <a:gd name="T8" fmla="*/ 4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6">
                    <a:moveTo>
                      <a:pt x="0" y="4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98" name="Freeform 713">
                <a:extLst>
                  <a:ext uri="{FF2B5EF4-FFF2-40B4-BE49-F238E27FC236}">
                    <a16:creationId xmlns:a16="http://schemas.microsoft.com/office/drawing/2014/main" id="{386C959A-6A45-4F31-ACA7-590D4FFD2B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7" y="753"/>
                <a:ext cx="2" cy="9"/>
              </a:xfrm>
              <a:custGeom>
                <a:avLst/>
                <a:gdLst>
                  <a:gd name="T0" fmla="*/ 2 w 2"/>
                  <a:gd name="T1" fmla="*/ 9 h 9"/>
                  <a:gd name="T2" fmla="*/ 0 w 2"/>
                  <a:gd name="T3" fmla="*/ 6 h 9"/>
                  <a:gd name="T4" fmla="*/ 0 w 2"/>
                  <a:gd name="T5" fmla="*/ 0 h 9"/>
                  <a:gd name="T6" fmla="*/ 0 w 2"/>
                  <a:gd name="T7" fmla="*/ 6 h 9"/>
                  <a:gd name="T8" fmla="*/ 2 w 2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2" y="9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2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99" name="Freeform 714">
                <a:extLst>
                  <a:ext uri="{FF2B5EF4-FFF2-40B4-BE49-F238E27FC236}">
                    <a16:creationId xmlns:a16="http://schemas.microsoft.com/office/drawing/2014/main" id="{FD10533B-EA97-4EAA-A41F-384AD9E305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1" y="764"/>
                <a:ext cx="7" cy="2"/>
              </a:xfrm>
              <a:custGeom>
                <a:avLst/>
                <a:gdLst>
                  <a:gd name="T0" fmla="*/ 4 w 7"/>
                  <a:gd name="T1" fmla="*/ 2 h 2"/>
                  <a:gd name="T2" fmla="*/ 7 w 7"/>
                  <a:gd name="T3" fmla="*/ 0 h 2"/>
                  <a:gd name="T4" fmla="*/ 4 w 7"/>
                  <a:gd name="T5" fmla="*/ 2 h 2"/>
                  <a:gd name="T6" fmla="*/ 0 w 7"/>
                  <a:gd name="T7" fmla="*/ 2 h 2"/>
                  <a:gd name="T8" fmla="*/ 0 w 7"/>
                  <a:gd name="T9" fmla="*/ 2 h 2"/>
                  <a:gd name="T10" fmla="*/ 0 w 7"/>
                  <a:gd name="T11" fmla="*/ 2 h 2"/>
                  <a:gd name="T12" fmla="*/ 4 w 7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2">
                    <a:moveTo>
                      <a:pt x="4" y="2"/>
                    </a:moveTo>
                    <a:lnTo>
                      <a:pt x="7" y="0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00" name="Freeform 715">
                <a:extLst>
                  <a:ext uri="{FF2B5EF4-FFF2-40B4-BE49-F238E27FC236}">
                    <a16:creationId xmlns:a16="http://schemas.microsoft.com/office/drawing/2014/main" id="{B484E77C-6A00-43A9-9EAE-6A082BBD9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9" y="764"/>
                <a:ext cx="3" cy="2"/>
              </a:xfrm>
              <a:custGeom>
                <a:avLst/>
                <a:gdLst>
                  <a:gd name="T0" fmla="*/ 3 w 3"/>
                  <a:gd name="T1" fmla="*/ 0 h 2"/>
                  <a:gd name="T2" fmla="*/ 2 w 3"/>
                  <a:gd name="T3" fmla="*/ 0 h 2"/>
                  <a:gd name="T4" fmla="*/ 0 w 3"/>
                  <a:gd name="T5" fmla="*/ 2 h 2"/>
                  <a:gd name="T6" fmla="*/ 2 w 3"/>
                  <a:gd name="T7" fmla="*/ 0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01" name="Rectangle 716">
                <a:extLst>
                  <a:ext uri="{FF2B5EF4-FFF2-40B4-BE49-F238E27FC236}">
                    <a16:creationId xmlns:a16="http://schemas.microsoft.com/office/drawing/2014/main" id="{7F510D75-E137-4FC3-8FE2-1B20CE53BD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" y="74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02" name="Rectangle 717">
                <a:extLst>
                  <a:ext uri="{FF2B5EF4-FFF2-40B4-BE49-F238E27FC236}">
                    <a16:creationId xmlns:a16="http://schemas.microsoft.com/office/drawing/2014/main" id="{58DF070F-B46A-4D98-BE4E-AB1E85F2F9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0" y="76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03" name="Freeform 718">
                <a:extLst>
                  <a:ext uri="{FF2B5EF4-FFF2-40B4-BE49-F238E27FC236}">
                    <a16:creationId xmlns:a16="http://schemas.microsoft.com/office/drawing/2014/main" id="{8CF1B89E-9CEA-41FB-8972-0A97A9EAA3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2" y="745"/>
                <a:ext cx="19" cy="15"/>
              </a:xfrm>
              <a:custGeom>
                <a:avLst/>
                <a:gdLst>
                  <a:gd name="T0" fmla="*/ 10 w 19"/>
                  <a:gd name="T1" fmla="*/ 12 h 15"/>
                  <a:gd name="T2" fmla="*/ 19 w 19"/>
                  <a:gd name="T3" fmla="*/ 2 h 15"/>
                  <a:gd name="T4" fmla="*/ 19 w 19"/>
                  <a:gd name="T5" fmla="*/ 0 h 15"/>
                  <a:gd name="T6" fmla="*/ 19 w 19"/>
                  <a:gd name="T7" fmla="*/ 2 h 15"/>
                  <a:gd name="T8" fmla="*/ 10 w 19"/>
                  <a:gd name="T9" fmla="*/ 12 h 15"/>
                  <a:gd name="T10" fmla="*/ 4 w 19"/>
                  <a:gd name="T11" fmla="*/ 15 h 15"/>
                  <a:gd name="T12" fmla="*/ 0 w 19"/>
                  <a:gd name="T13" fmla="*/ 15 h 15"/>
                  <a:gd name="T14" fmla="*/ 4 w 19"/>
                  <a:gd name="T15" fmla="*/ 15 h 15"/>
                  <a:gd name="T16" fmla="*/ 10 w 19"/>
                  <a:gd name="T17" fmla="*/ 1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5">
                    <a:moveTo>
                      <a:pt x="10" y="12"/>
                    </a:moveTo>
                    <a:lnTo>
                      <a:pt x="19" y="2"/>
                    </a:lnTo>
                    <a:lnTo>
                      <a:pt x="19" y="0"/>
                    </a:lnTo>
                    <a:lnTo>
                      <a:pt x="19" y="2"/>
                    </a:lnTo>
                    <a:lnTo>
                      <a:pt x="10" y="12"/>
                    </a:lnTo>
                    <a:lnTo>
                      <a:pt x="4" y="15"/>
                    </a:lnTo>
                    <a:lnTo>
                      <a:pt x="0" y="15"/>
                    </a:lnTo>
                    <a:lnTo>
                      <a:pt x="4" y="15"/>
                    </a:lnTo>
                    <a:lnTo>
                      <a:pt x="10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04" name="Freeform 719">
                <a:extLst>
                  <a:ext uri="{FF2B5EF4-FFF2-40B4-BE49-F238E27FC236}">
                    <a16:creationId xmlns:a16="http://schemas.microsoft.com/office/drawing/2014/main" id="{1AC28F3A-DF55-4769-9E17-9062FA4656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4" y="768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05" name="Freeform 720">
                <a:extLst>
                  <a:ext uri="{FF2B5EF4-FFF2-40B4-BE49-F238E27FC236}">
                    <a16:creationId xmlns:a16="http://schemas.microsoft.com/office/drawing/2014/main" id="{AF7BB269-4FB2-4595-B643-AE005E21F5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0" y="3402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06" name="Rectangle 721">
                <a:extLst>
                  <a:ext uri="{FF2B5EF4-FFF2-40B4-BE49-F238E27FC236}">
                    <a16:creationId xmlns:a16="http://schemas.microsoft.com/office/drawing/2014/main" id="{9D86C84F-F513-40D7-91CA-820B0B90AB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" y="340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07" name="Freeform 722">
                <a:extLst>
                  <a:ext uri="{FF2B5EF4-FFF2-40B4-BE49-F238E27FC236}">
                    <a16:creationId xmlns:a16="http://schemas.microsoft.com/office/drawing/2014/main" id="{C138FA3C-117C-4657-AD16-68C93AA17B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" y="1709"/>
                <a:ext cx="19" cy="6"/>
              </a:xfrm>
              <a:custGeom>
                <a:avLst/>
                <a:gdLst>
                  <a:gd name="T0" fmla="*/ 15 w 19"/>
                  <a:gd name="T1" fmla="*/ 4 h 6"/>
                  <a:gd name="T2" fmla="*/ 0 w 19"/>
                  <a:gd name="T3" fmla="*/ 0 h 6"/>
                  <a:gd name="T4" fmla="*/ 15 w 19"/>
                  <a:gd name="T5" fmla="*/ 4 h 6"/>
                  <a:gd name="T6" fmla="*/ 19 w 19"/>
                  <a:gd name="T7" fmla="*/ 6 h 6"/>
                  <a:gd name="T8" fmla="*/ 19 w 19"/>
                  <a:gd name="T9" fmla="*/ 6 h 6"/>
                  <a:gd name="T10" fmla="*/ 15 w 19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6">
                    <a:moveTo>
                      <a:pt x="15" y="4"/>
                    </a:moveTo>
                    <a:lnTo>
                      <a:pt x="0" y="0"/>
                    </a:lnTo>
                    <a:lnTo>
                      <a:pt x="15" y="4"/>
                    </a:lnTo>
                    <a:lnTo>
                      <a:pt x="19" y="6"/>
                    </a:lnTo>
                    <a:lnTo>
                      <a:pt x="19" y="6"/>
                    </a:lnTo>
                    <a:lnTo>
                      <a:pt x="15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08" name="Freeform 723">
                <a:extLst>
                  <a:ext uri="{FF2B5EF4-FFF2-40B4-BE49-F238E27FC236}">
                    <a16:creationId xmlns:a16="http://schemas.microsoft.com/office/drawing/2014/main" id="{C77A613C-8FA3-4D5C-9039-121B263913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" y="3400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09" name="Freeform 724">
                <a:extLst>
                  <a:ext uri="{FF2B5EF4-FFF2-40B4-BE49-F238E27FC236}">
                    <a16:creationId xmlns:a16="http://schemas.microsoft.com/office/drawing/2014/main" id="{F486BD7C-938D-45D3-B497-192E76DE78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" y="1727"/>
                <a:ext cx="16" cy="0"/>
              </a:xfrm>
              <a:custGeom>
                <a:avLst/>
                <a:gdLst>
                  <a:gd name="T0" fmla="*/ 14 w 16"/>
                  <a:gd name="T1" fmla="*/ 0 w 16"/>
                  <a:gd name="T2" fmla="*/ 0 w 16"/>
                  <a:gd name="T3" fmla="*/ 0 w 16"/>
                  <a:gd name="T4" fmla="*/ 14 w 16"/>
                  <a:gd name="T5" fmla="*/ 16 w 16"/>
                  <a:gd name="T6" fmla="*/ 16 w 16"/>
                  <a:gd name="T7" fmla="*/ 16 w 16"/>
                  <a:gd name="T8" fmla="*/ 14 w 1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</a:cxnLst>
                <a:rect l="0" t="0" r="r" b="b"/>
                <a:pathLst>
                  <a:path w="16">
                    <a:moveTo>
                      <a:pt x="14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10" name="Freeform 725">
                <a:extLst>
                  <a:ext uri="{FF2B5EF4-FFF2-40B4-BE49-F238E27FC236}">
                    <a16:creationId xmlns:a16="http://schemas.microsoft.com/office/drawing/2014/main" id="{284B905D-6266-453B-A2C4-ABDB06DA6F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" y="1698"/>
                <a:ext cx="12" cy="4"/>
              </a:xfrm>
              <a:custGeom>
                <a:avLst/>
                <a:gdLst>
                  <a:gd name="T0" fmla="*/ 0 w 12"/>
                  <a:gd name="T1" fmla="*/ 4 h 4"/>
                  <a:gd name="T2" fmla="*/ 8 w 12"/>
                  <a:gd name="T3" fmla="*/ 0 h 4"/>
                  <a:gd name="T4" fmla="*/ 12 w 12"/>
                  <a:gd name="T5" fmla="*/ 0 h 4"/>
                  <a:gd name="T6" fmla="*/ 8 w 12"/>
                  <a:gd name="T7" fmla="*/ 0 h 4"/>
                  <a:gd name="T8" fmla="*/ 0 w 1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">
                    <a:moveTo>
                      <a:pt x="0" y="4"/>
                    </a:moveTo>
                    <a:lnTo>
                      <a:pt x="8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11" name="Rectangle 726">
                <a:extLst>
                  <a:ext uri="{FF2B5EF4-FFF2-40B4-BE49-F238E27FC236}">
                    <a16:creationId xmlns:a16="http://schemas.microsoft.com/office/drawing/2014/main" id="{E9D31AA1-0AFC-44E4-9256-59A9EB6C24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" y="291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12" name="Freeform 727">
                <a:extLst>
                  <a:ext uri="{FF2B5EF4-FFF2-40B4-BE49-F238E27FC236}">
                    <a16:creationId xmlns:a16="http://schemas.microsoft.com/office/drawing/2014/main" id="{CA93045E-086A-48B3-85DE-3753F6AF8E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" y="3783"/>
                <a:ext cx="12" cy="2"/>
              </a:xfrm>
              <a:custGeom>
                <a:avLst/>
                <a:gdLst>
                  <a:gd name="T0" fmla="*/ 0 w 12"/>
                  <a:gd name="T1" fmla="*/ 0 h 2"/>
                  <a:gd name="T2" fmla="*/ 0 w 12"/>
                  <a:gd name="T3" fmla="*/ 0 h 2"/>
                  <a:gd name="T4" fmla="*/ 0 w 12"/>
                  <a:gd name="T5" fmla="*/ 0 h 2"/>
                  <a:gd name="T6" fmla="*/ 10 w 12"/>
                  <a:gd name="T7" fmla="*/ 2 h 2"/>
                  <a:gd name="T8" fmla="*/ 12 w 12"/>
                  <a:gd name="T9" fmla="*/ 2 h 2"/>
                  <a:gd name="T10" fmla="*/ 10 w 12"/>
                  <a:gd name="T11" fmla="*/ 2 h 2"/>
                  <a:gd name="T12" fmla="*/ 0 w 1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13" name="Freeform 728">
                <a:extLst>
                  <a:ext uri="{FF2B5EF4-FFF2-40B4-BE49-F238E27FC236}">
                    <a16:creationId xmlns:a16="http://schemas.microsoft.com/office/drawing/2014/main" id="{A50EA70B-F175-4B6E-9CD1-3126F97242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" y="1719"/>
                <a:ext cx="2" cy="6"/>
              </a:xfrm>
              <a:custGeom>
                <a:avLst/>
                <a:gdLst>
                  <a:gd name="T0" fmla="*/ 0 w 2"/>
                  <a:gd name="T1" fmla="*/ 0 h 6"/>
                  <a:gd name="T2" fmla="*/ 0 w 2"/>
                  <a:gd name="T3" fmla="*/ 0 h 6"/>
                  <a:gd name="T4" fmla="*/ 0 w 2"/>
                  <a:gd name="T5" fmla="*/ 0 h 6"/>
                  <a:gd name="T6" fmla="*/ 0 w 2"/>
                  <a:gd name="T7" fmla="*/ 4 h 6"/>
                  <a:gd name="T8" fmla="*/ 2 w 2"/>
                  <a:gd name="T9" fmla="*/ 6 h 6"/>
                  <a:gd name="T10" fmla="*/ 0 w 2"/>
                  <a:gd name="T11" fmla="*/ 4 h 6"/>
                  <a:gd name="T12" fmla="*/ 0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14" name="Freeform 729">
                <a:extLst>
                  <a:ext uri="{FF2B5EF4-FFF2-40B4-BE49-F238E27FC236}">
                    <a16:creationId xmlns:a16="http://schemas.microsoft.com/office/drawing/2014/main" id="{6CFEC089-242C-46B7-B68B-F2CC535E5D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3746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15" name="Freeform 730">
                <a:extLst>
                  <a:ext uri="{FF2B5EF4-FFF2-40B4-BE49-F238E27FC236}">
                    <a16:creationId xmlns:a16="http://schemas.microsoft.com/office/drawing/2014/main" id="{82B579C8-F414-4392-B68D-209A173F9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3758"/>
                <a:ext cx="4" cy="9"/>
              </a:xfrm>
              <a:custGeom>
                <a:avLst/>
                <a:gdLst>
                  <a:gd name="T0" fmla="*/ 4 w 4"/>
                  <a:gd name="T1" fmla="*/ 3 h 9"/>
                  <a:gd name="T2" fmla="*/ 2 w 4"/>
                  <a:gd name="T3" fmla="*/ 0 h 9"/>
                  <a:gd name="T4" fmla="*/ 0 w 4"/>
                  <a:gd name="T5" fmla="*/ 0 h 9"/>
                  <a:gd name="T6" fmla="*/ 2 w 4"/>
                  <a:gd name="T7" fmla="*/ 0 h 9"/>
                  <a:gd name="T8" fmla="*/ 4 w 4"/>
                  <a:gd name="T9" fmla="*/ 3 h 9"/>
                  <a:gd name="T10" fmla="*/ 4 w 4"/>
                  <a:gd name="T11" fmla="*/ 7 h 9"/>
                  <a:gd name="T12" fmla="*/ 4 w 4"/>
                  <a:gd name="T13" fmla="*/ 9 h 9"/>
                  <a:gd name="T14" fmla="*/ 4 w 4"/>
                  <a:gd name="T15" fmla="*/ 7 h 9"/>
                  <a:gd name="T16" fmla="*/ 4 w 4"/>
                  <a:gd name="T17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9">
                    <a:moveTo>
                      <a:pt x="4" y="3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3"/>
                    </a:lnTo>
                    <a:lnTo>
                      <a:pt x="4" y="7"/>
                    </a:lnTo>
                    <a:lnTo>
                      <a:pt x="4" y="9"/>
                    </a:lnTo>
                    <a:lnTo>
                      <a:pt x="4" y="7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16" name="Freeform 731">
                <a:extLst>
                  <a:ext uri="{FF2B5EF4-FFF2-40B4-BE49-F238E27FC236}">
                    <a16:creationId xmlns:a16="http://schemas.microsoft.com/office/drawing/2014/main" id="{5A4DD1A8-BE31-43C4-B393-38933C8B33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" y="1702"/>
                <a:ext cx="10" cy="0"/>
              </a:xfrm>
              <a:custGeom>
                <a:avLst/>
                <a:gdLst>
                  <a:gd name="T0" fmla="*/ 0 w 10"/>
                  <a:gd name="T1" fmla="*/ 2 w 10"/>
                  <a:gd name="T2" fmla="*/ 10 w 10"/>
                  <a:gd name="T3" fmla="*/ 10 w 10"/>
                  <a:gd name="T4" fmla="*/ 2 w 10"/>
                  <a:gd name="T5" fmla="*/ 0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0">
                    <a:moveTo>
                      <a:pt x="0" y="0"/>
                    </a:moveTo>
                    <a:lnTo>
                      <a:pt x="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17" name="Freeform 732">
                <a:extLst>
                  <a:ext uri="{FF2B5EF4-FFF2-40B4-BE49-F238E27FC236}">
                    <a16:creationId xmlns:a16="http://schemas.microsoft.com/office/drawing/2014/main" id="{CD62A1C3-453D-4D22-B12E-E86EF39C49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" y="3773"/>
                <a:ext cx="6" cy="8"/>
              </a:xfrm>
              <a:custGeom>
                <a:avLst/>
                <a:gdLst>
                  <a:gd name="T0" fmla="*/ 2 w 6"/>
                  <a:gd name="T1" fmla="*/ 4 h 8"/>
                  <a:gd name="T2" fmla="*/ 4 w 6"/>
                  <a:gd name="T3" fmla="*/ 2 h 8"/>
                  <a:gd name="T4" fmla="*/ 6 w 6"/>
                  <a:gd name="T5" fmla="*/ 0 h 8"/>
                  <a:gd name="T6" fmla="*/ 4 w 6"/>
                  <a:gd name="T7" fmla="*/ 2 h 8"/>
                  <a:gd name="T8" fmla="*/ 2 w 6"/>
                  <a:gd name="T9" fmla="*/ 4 h 8"/>
                  <a:gd name="T10" fmla="*/ 0 w 6"/>
                  <a:gd name="T11" fmla="*/ 6 h 8"/>
                  <a:gd name="T12" fmla="*/ 0 w 6"/>
                  <a:gd name="T13" fmla="*/ 8 h 8"/>
                  <a:gd name="T14" fmla="*/ 0 w 6"/>
                  <a:gd name="T15" fmla="*/ 8 h 8"/>
                  <a:gd name="T16" fmla="*/ 0 w 6"/>
                  <a:gd name="T17" fmla="*/ 6 h 8"/>
                  <a:gd name="T18" fmla="*/ 2 w 6"/>
                  <a:gd name="T1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8">
                    <a:moveTo>
                      <a:pt x="2" y="4"/>
                    </a:moveTo>
                    <a:lnTo>
                      <a:pt x="4" y="2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18" name="Rectangle 733">
                <a:extLst>
                  <a:ext uri="{FF2B5EF4-FFF2-40B4-BE49-F238E27FC236}">
                    <a16:creationId xmlns:a16="http://schemas.microsoft.com/office/drawing/2014/main" id="{5595B2AA-9776-4F1B-AC58-5463EF7191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7" y="338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19" name="Rectangle 734">
                <a:extLst>
                  <a:ext uri="{FF2B5EF4-FFF2-40B4-BE49-F238E27FC236}">
                    <a16:creationId xmlns:a16="http://schemas.microsoft.com/office/drawing/2014/main" id="{B9E3907D-FEDD-4B46-ABF6-2369C23B3B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7" y="338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20" name="Rectangle 735">
                <a:extLst>
                  <a:ext uri="{FF2B5EF4-FFF2-40B4-BE49-F238E27FC236}">
                    <a16:creationId xmlns:a16="http://schemas.microsoft.com/office/drawing/2014/main" id="{B8391145-9D54-4C8E-A989-79A07396D7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" y="172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21" name="Freeform 736">
                <a:extLst>
                  <a:ext uri="{FF2B5EF4-FFF2-40B4-BE49-F238E27FC236}">
                    <a16:creationId xmlns:a16="http://schemas.microsoft.com/office/drawing/2014/main" id="{7649EAC0-C04F-4775-8107-991D0B3853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2" y="751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22" name="Freeform 737">
                <a:extLst>
                  <a:ext uri="{FF2B5EF4-FFF2-40B4-BE49-F238E27FC236}">
                    <a16:creationId xmlns:a16="http://schemas.microsoft.com/office/drawing/2014/main" id="{68A6EA20-07FF-458B-9239-9184B7685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24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  <a:gd name="T10" fmla="*/ 2 w 2"/>
                  <a:gd name="T11" fmla="*/ 2 h 2"/>
                  <a:gd name="T12" fmla="*/ 0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23" name="Freeform 738">
                <a:extLst>
                  <a:ext uri="{FF2B5EF4-FFF2-40B4-BE49-F238E27FC236}">
                    <a16:creationId xmlns:a16="http://schemas.microsoft.com/office/drawing/2014/main" id="{48C355BC-6DC9-4AE3-8099-C09B57A040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6" y="739"/>
                <a:ext cx="4" cy="16"/>
              </a:xfrm>
              <a:custGeom>
                <a:avLst/>
                <a:gdLst>
                  <a:gd name="T0" fmla="*/ 0 w 4"/>
                  <a:gd name="T1" fmla="*/ 2 h 16"/>
                  <a:gd name="T2" fmla="*/ 2 w 4"/>
                  <a:gd name="T3" fmla="*/ 0 h 16"/>
                  <a:gd name="T4" fmla="*/ 0 w 4"/>
                  <a:gd name="T5" fmla="*/ 2 h 16"/>
                  <a:gd name="T6" fmla="*/ 0 w 4"/>
                  <a:gd name="T7" fmla="*/ 8 h 16"/>
                  <a:gd name="T8" fmla="*/ 4 w 4"/>
                  <a:gd name="T9" fmla="*/ 16 h 16"/>
                  <a:gd name="T10" fmla="*/ 0 w 4"/>
                  <a:gd name="T11" fmla="*/ 8 h 16"/>
                  <a:gd name="T12" fmla="*/ 0 w 4"/>
                  <a:gd name="T1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6">
                    <a:moveTo>
                      <a:pt x="0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4" y="16"/>
                    </a:lnTo>
                    <a:lnTo>
                      <a:pt x="0" y="8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24" name="Freeform 739">
                <a:extLst>
                  <a:ext uri="{FF2B5EF4-FFF2-40B4-BE49-F238E27FC236}">
                    <a16:creationId xmlns:a16="http://schemas.microsoft.com/office/drawing/2014/main" id="{2DD50901-FAA4-40A4-945E-F694F3C29C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8" y="757"/>
                <a:ext cx="4" cy="7"/>
              </a:xfrm>
              <a:custGeom>
                <a:avLst/>
                <a:gdLst>
                  <a:gd name="T0" fmla="*/ 4 w 4"/>
                  <a:gd name="T1" fmla="*/ 3 h 7"/>
                  <a:gd name="T2" fmla="*/ 4 w 4"/>
                  <a:gd name="T3" fmla="*/ 0 h 7"/>
                  <a:gd name="T4" fmla="*/ 4 w 4"/>
                  <a:gd name="T5" fmla="*/ 3 h 7"/>
                  <a:gd name="T6" fmla="*/ 0 w 4"/>
                  <a:gd name="T7" fmla="*/ 7 h 7"/>
                  <a:gd name="T8" fmla="*/ 0 w 4"/>
                  <a:gd name="T9" fmla="*/ 7 h 7"/>
                  <a:gd name="T10" fmla="*/ 4 w 4"/>
                  <a:gd name="T11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7">
                    <a:moveTo>
                      <a:pt x="4" y="3"/>
                    </a:moveTo>
                    <a:lnTo>
                      <a:pt x="4" y="0"/>
                    </a:lnTo>
                    <a:lnTo>
                      <a:pt x="4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25" name="Freeform 740">
                <a:extLst>
                  <a:ext uri="{FF2B5EF4-FFF2-40B4-BE49-F238E27FC236}">
                    <a16:creationId xmlns:a16="http://schemas.microsoft.com/office/drawing/2014/main" id="{56BABAE7-AF09-4DF5-9AE8-EDBF210F58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" y="2932"/>
                <a:ext cx="2" cy="7"/>
              </a:xfrm>
              <a:custGeom>
                <a:avLst/>
                <a:gdLst>
                  <a:gd name="T0" fmla="*/ 2 w 2"/>
                  <a:gd name="T1" fmla="*/ 0 h 7"/>
                  <a:gd name="T2" fmla="*/ 0 w 2"/>
                  <a:gd name="T3" fmla="*/ 2 h 7"/>
                  <a:gd name="T4" fmla="*/ 0 w 2"/>
                  <a:gd name="T5" fmla="*/ 7 h 7"/>
                  <a:gd name="T6" fmla="*/ 0 w 2"/>
                  <a:gd name="T7" fmla="*/ 2 h 7"/>
                  <a:gd name="T8" fmla="*/ 2 w 2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7">
                    <a:moveTo>
                      <a:pt x="2" y="0"/>
                    </a:moveTo>
                    <a:lnTo>
                      <a:pt x="0" y="2"/>
                    </a:lnTo>
                    <a:lnTo>
                      <a:pt x="0" y="7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26" name="Rectangle 741">
                <a:extLst>
                  <a:ext uri="{FF2B5EF4-FFF2-40B4-BE49-F238E27FC236}">
                    <a16:creationId xmlns:a16="http://schemas.microsoft.com/office/drawing/2014/main" id="{88478553-3EA2-4B3E-8014-F08AC74A5E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" y="291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27" name="Freeform 742">
                <a:extLst>
                  <a:ext uri="{FF2B5EF4-FFF2-40B4-BE49-F238E27FC236}">
                    <a16:creationId xmlns:a16="http://schemas.microsoft.com/office/drawing/2014/main" id="{31F2529A-CAE3-4D17-8054-9EF6DEE51C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" y="2961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28" name="Freeform 743">
                <a:extLst>
                  <a:ext uri="{FF2B5EF4-FFF2-40B4-BE49-F238E27FC236}">
                    <a16:creationId xmlns:a16="http://schemas.microsoft.com/office/drawing/2014/main" id="{A662C668-AEF8-48CF-83DF-C51A172D58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7" y="778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  <a:gd name="T4" fmla="*/ 0 h 2"/>
                  <a:gd name="T5" fmla="*/ 0 h 2"/>
                  <a:gd name="T6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29" name="Freeform 744">
                <a:extLst>
                  <a:ext uri="{FF2B5EF4-FFF2-40B4-BE49-F238E27FC236}">
                    <a16:creationId xmlns:a16="http://schemas.microsoft.com/office/drawing/2014/main" id="{235F57B5-4375-4AA1-87C1-5B9711A812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" y="2957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30" name="Freeform 745">
                <a:extLst>
                  <a:ext uri="{FF2B5EF4-FFF2-40B4-BE49-F238E27FC236}">
                    <a16:creationId xmlns:a16="http://schemas.microsoft.com/office/drawing/2014/main" id="{A4F56E2F-70A1-4BA2-B68C-00D251FAFA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0" y="75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31" name="Freeform 746">
                <a:extLst>
                  <a:ext uri="{FF2B5EF4-FFF2-40B4-BE49-F238E27FC236}">
                    <a16:creationId xmlns:a16="http://schemas.microsoft.com/office/drawing/2014/main" id="{C6D8CA9E-1C61-49F9-AC5C-92EDBECB97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2" y="768"/>
                <a:ext cx="13" cy="6"/>
              </a:xfrm>
              <a:custGeom>
                <a:avLst/>
                <a:gdLst>
                  <a:gd name="T0" fmla="*/ 11 w 13"/>
                  <a:gd name="T1" fmla="*/ 4 h 6"/>
                  <a:gd name="T2" fmla="*/ 13 w 13"/>
                  <a:gd name="T3" fmla="*/ 6 h 6"/>
                  <a:gd name="T4" fmla="*/ 11 w 13"/>
                  <a:gd name="T5" fmla="*/ 4 h 6"/>
                  <a:gd name="T6" fmla="*/ 5 w 13"/>
                  <a:gd name="T7" fmla="*/ 4 h 6"/>
                  <a:gd name="T8" fmla="*/ 0 w 13"/>
                  <a:gd name="T9" fmla="*/ 0 h 6"/>
                  <a:gd name="T10" fmla="*/ 5 w 13"/>
                  <a:gd name="T11" fmla="*/ 4 h 6"/>
                  <a:gd name="T12" fmla="*/ 11 w 13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6">
                    <a:moveTo>
                      <a:pt x="11" y="4"/>
                    </a:moveTo>
                    <a:lnTo>
                      <a:pt x="13" y="6"/>
                    </a:lnTo>
                    <a:lnTo>
                      <a:pt x="11" y="4"/>
                    </a:lnTo>
                    <a:lnTo>
                      <a:pt x="5" y="4"/>
                    </a:lnTo>
                    <a:lnTo>
                      <a:pt x="0" y="0"/>
                    </a:lnTo>
                    <a:lnTo>
                      <a:pt x="5" y="4"/>
                    </a:lnTo>
                    <a:lnTo>
                      <a:pt x="1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32" name="Freeform 747">
                <a:extLst>
                  <a:ext uri="{FF2B5EF4-FFF2-40B4-BE49-F238E27FC236}">
                    <a16:creationId xmlns:a16="http://schemas.microsoft.com/office/drawing/2014/main" id="{D1348F41-D213-4CC7-A63C-57E4AE3BC9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" y="296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33" name="Freeform 748">
                <a:extLst>
                  <a:ext uri="{FF2B5EF4-FFF2-40B4-BE49-F238E27FC236}">
                    <a16:creationId xmlns:a16="http://schemas.microsoft.com/office/drawing/2014/main" id="{0DDAC5A4-3B70-4248-9D92-988EC286C0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0" y="3144"/>
                <a:ext cx="953" cy="469"/>
              </a:xfrm>
              <a:custGeom>
                <a:avLst/>
                <a:gdLst>
                  <a:gd name="T0" fmla="*/ 899 w 953"/>
                  <a:gd name="T1" fmla="*/ 120 h 469"/>
                  <a:gd name="T2" fmla="*/ 887 w 953"/>
                  <a:gd name="T3" fmla="*/ 110 h 469"/>
                  <a:gd name="T4" fmla="*/ 832 w 953"/>
                  <a:gd name="T5" fmla="*/ 59 h 469"/>
                  <a:gd name="T6" fmla="*/ 807 w 953"/>
                  <a:gd name="T7" fmla="*/ 53 h 469"/>
                  <a:gd name="T8" fmla="*/ 775 w 953"/>
                  <a:gd name="T9" fmla="*/ 49 h 469"/>
                  <a:gd name="T10" fmla="*/ 731 w 953"/>
                  <a:gd name="T11" fmla="*/ 49 h 469"/>
                  <a:gd name="T12" fmla="*/ 701 w 953"/>
                  <a:gd name="T13" fmla="*/ 53 h 469"/>
                  <a:gd name="T14" fmla="*/ 695 w 953"/>
                  <a:gd name="T15" fmla="*/ 69 h 469"/>
                  <a:gd name="T16" fmla="*/ 666 w 953"/>
                  <a:gd name="T17" fmla="*/ 73 h 469"/>
                  <a:gd name="T18" fmla="*/ 623 w 953"/>
                  <a:gd name="T19" fmla="*/ 59 h 469"/>
                  <a:gd name="T20" fmla="*/ 580 w 953"/>
                  <a:gd name="T21" fmla="*/ 57 h 469"/>
                  <a:gd name="T22" fmla="*/ 551 w 953"/>
                  <a:gd name="T23" fmla="*/ 77 h 469"/>
                  <a:gd name="T24" fmla="*/ 531 w 953"/>
                  <a:gd name="T25" fmla="*/ 108 h 469"/>
                  <a:gd name="T26" fmla="*/ 486 w 953"/>
                  <a:gd name="T27" fmla="*/ 100 h 469"/>
                  <a:gd name="T28" fmla="*/ 494 w 953"/>
                  <a:gd name="T29" fmla="*/ 82 h 469"/>
                  <a:gd name="T30" fmla="*/ 492 w 953"/>
                  <a:gd name="T31" fmla="*/ 59 h 469"/>
                  <a:gd name="T32" fmla="*/ 467 w 953"/>
                  <a:gd name="T33" fmla="*/ 41 h 469"/>
                  <a:gd name="T34" fmla="*/ 441 w 953"/>
                  <a:gd name="T35" fmla="*/ 8 h 469"/>
                  <a:gd name="T36" fmla="*/ 418 w 953"/>
                  <a:gd name="T37" fmla="*/ 20 h 469"/>
                  <a:gd name="T38" fmla="*/ 396 w 953"/>
                  <a:gd name="T39" fmla="*/ 39 h 469"/>
                  <a:gd name="T40" fmla="*/ 391 w 953"/>
                  <a:gd name="T41" fmla="*/ 51 h 469"/>
                  <a:gd name="T42" fmla="*/ 355 w 953"/>
                  <a:gd name="T43" fmla="*/ 55 h 469"/>
                  <a:gd name="T44" fmla="*/ 350 w 953"/>
                  <a:gd name="T45" fmla="*/ 26 h 469"/>
                  <a:gd name="T46" fmla="*/ 283 w 953"/>
                  <a:gd name="T47" fmla="*/ 32 h 469"/>
                  <a:gd name="T48" fmla="*/ 217 w 953"/>
                  <a:gd name="T49" fmla="*/ 96 h 469"/>
                  <a:gd name="T50" fmla="*/ 176 w 953"/>
                  <a:gd name="T51" fmla="*/ 161 h 469"/>
                  <a:gd name="T52" fmla="*/ 98 w 953"/>
                  <a:gd name="T53" fmla="*/ 196 h 469"/>
                  <a:gd name="T54" fmla="*/ 19 w 953"/>
                  <a:gd name="T55" fmla="*/ 246 h 469"/>
                  <a:gd name="T56" fmla="*/ 8 w 953"/>
                  <a:gd name="T57" fmla="*/ 286 h 469"/>
                  <a:gd name="T58" fmla="*/ 6 w 953"/>
                  <a:gd name="T59" fmla="*/ 317 h 469"/>
                  <a:gd name="T60" fmla="*/ 10 w 953"/>
                  <a:gd name="T61" fmla="*/ 328 h 469"/>
                  <a:gd name="T62" fmla="*/ 19 w 953"/>
                  <a:gd name="T63" fmla="*/ 340 h 469"/>
                  <a:gd name="T64" fmla="*/ 37 w 953"/>
                  <a:gd name="T65" fmla="*/ 379 h 469"/>
                  <a:gd name="T66" fmla="*/ 57 w 953"/>
                  <a:gd name="T67" fmla="*/ 401 h 469"/>
                  <a:gd name="T68" fmla="*/ 113 w 953"/>
                  <a:gd name="T69" fmla="*/ 438 h 469"/>
                  <a:gd name="T70" fmla="*/ 146 w 953"/>
                  <a:gd name="T71" fmla="*/ 463 h 469"/>
                  <a:gd name="T72" fmla="*/ 303 w 953"/>
                  <a:gd name="T73" fmla="*/ 461 h 469"/>
                  <a:gd name="T74" fmla="*/ 320 w 953"/>
                  <a:gd name="T75" fmla="*/ 440 h 469"/>
                  <a:gd name="T76" fmla="*/ 320 w 953"/>
                  <a:gd name="T77" fmla="*/ 410 h 469"/>
                  <a:gd name="T78" fmla="*/ 365 w 953"/>
                  <a:gd name="T79" fmla="*/ 391 h 469"/>
                  <a:gd name="T80" fmla="*/ 441 w 953"/>
                  <a:gd name="T81" fmla="*/ 373 h 469"/>
                  <a:gd name="T82" fmla="*/ 465 w 953"/>
                  <a:gd name="T83" fmla="*/ 350 h 469"/>
                  <a:gd name="T84" fmla="*/ 490 w 953"/>
                  <a:gd name="T85" fmla="*/ 360 h 469"/>
                  <a:gd name="T86" fmla="*/ 498 w 953"/>
                  <a:gd name="T87" fmla="*/ 368 h 469"/>
                  <a:gd name="T88" fmla="*/ 535 w 953"/>
                  <a:gd name="T89" fmla="*/ 362 h 469"/>
                  <a:gd name="T90" fmla="*/ 553 w 953"/>
                  <a:gd name="T91" fmla="*/ 344 h 469"/>
                  <a:gd name="T92" fmla="*/ 574 w 953"/>
                  <a:gd name="T93" fmla="*/ 344 h 469"/>
                  <a:gd name="T94" fmla="*/ 606 w 953"/>
                  <a:gd name="T95" fmla="*/ 289 h 469"/>
                  <a:gd name="T96" fmla="*/ 609 w 953"/>
                  <a:gd name="T97" fmla="*/ 274 h 469"/>
                  <a:gd name="T98" fmla="*/ 688 w 953"/>
                  <a:gd name="T99" fmla="*/ 276 h 469"/>
                  <a:gd name="T100" fmla="*/ 736 w 953"/>
                  <a:gd name="T101" fmla="*/ 278 h 469"/>
                  <a:gd name="T102" fmla="*/ 754 w 953"/>
                  <a:gd name="T103" fmla="*/ 268 h 469"/>
                  <a:gd name="T104" fmla="*/ 785 w 953"/>
                  <a:gd name="T105" fmla="*/ 282 h 469"/>
                  <a:gd name="T106" fmla="*/ 822 w 953"/>
                  <a:gd name="T107" fmla="*/ 323 h 469"/>
                  <a:gd name="T108" fmla="*/ 879 w 953"/>
                  <a:gd name="T109" fmla="*/ 311 h 469"/>
                  <a:gd name="T110" fmla="*/ 900 w 953"/>
                  <a:gd name="T111" fmla="*/ 250 h 469"/>
                  <a:gd name="T112" fmla="*/ 918 w 953"/>
                  <a:gd name="T113" fmla="*/ 219 h 469"/>
                  <a:gd name="T114" fmla="*/ 924 w 953"/>
                  <a:gd name="T115" fmla="*/ 196 h 469"/>
                  <a:gd name="T116" fmla="*/ 932 w 953"/>
                  <a:gd name="T117" fmla="*/ 178 h 469"/>
                  <a:gd name="T118" fmla="*/ 951 w 953"/>
                  <a:gd name="T119" fmla="*/ 147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53" h="469">
                    <a:moveTo>
                      <a:pt x="951" y="135"/>
                    </a:moveTo>
                    <a:lnTo>
                      <a:pt x="947" y="133"/>
                    </a:lnTo>
                    <a:lnTo>
                      <a:pt x="940" y="133"/>
                    </a:lnTo>
                    <a:lnTo>
                      <a:pt x="934" y="133"/>
                    </a:lnTo>
                    <a:lnTo>
                      <a:pt x="934" y="133"/>
                    </a:lnTo>
                    <a:lnTo>
                      <a:pt x="928" y="131"/>
                    </a:lnTo>
                    <a:lnTo>
                      <a:pt x="922" y="123"/>
                    </a:lnTo>
                    <a:lnTo>
                      <a:pt x="920" y="123"/>
                    </a:lnTo>
                    <a:lnTo>
                      <a:pt x="918" y="121"/>
                    </a:lnTo>
                    <a:lnTo>
                      <a:pt x="916" y="121"/>
                    </a:lnTo>
                    <a:lnTo>
                      <a:pt x="910" y="121"/>
                    </a:lnTo>
                    <a:lnTo>
                      <a:pt x="906" y="121"/>
                    </a:lnTo>
                    <a:lnTo>
                      <a:pt x="902" y="120"/>
                    </a:lnTo>
                    <a:lnTo>
                      <a:pt x="899" y="120"/>
                    </a:lnTo>
                    <a:lnTo>
                      <a:pt x="899" y="118"/>
                    </a:lnTo>
                    <a:lnTo>
                      <a:pt x="899" y="118"/>
                    </a:lnTo>
                    <a:lnTo>
                      <a:pt x="899" y="118"/>
                    </a:lnTo>
                    <a:lnTo>
                      <a:pt x="899" y="118"/>
                    </a:lnTo>
                    <a:lnTo>
                      <a:pt x="899" y="116"/>
                    </a:lnTo>
                    <a:lnTo>
                      <a:pt x="899" y="116"/>
                    </a:lnTo>
                    <a:lnTo>
                      <a:pt x="899" y="114"/>
                    </a:lnTo>
                    <a:lnTo>
                      <a:pt x="899" y="112"/>
                    </a:lnTo>
                    <a:lnTo>
                      <a:pt x="897" y="112"/>
                    </a:lnTo>
                    <a:lnTo>
                      <a:pt x="895" y="112"/>
                    </a:lnTo>
                    <a:lnTo>
                      <a:pt x="891" y="112"/>
                    </a:lnTo>
                    <a:lnTo>
                      <a:pt x="891" y="112"/>
                    </a:lnTo>
                    <a:lnTo>
                      <a:pt x="889" y="112"/>
                    </a:lnTo>
                    <a:lnTo>
                      <a:pt x="887" y="110"/>
                    </a:lnTo>
                    <a:lnTo>
                      <a:pt x="885" y="108"/>
                    </a:lnTo>
                    <a:lnTo>
                      <a:pt x="881" y="106"/>
                    </a:lnTo>
                    <a:lnTo>
                      <a:pt x="869" y="104"/>
                    </a:lnTo>
                    <a:lnTo>
                      <a:pt x="865" y="102"/>
                    </a:lnTo>
                    <a:lnTo>
                      <a:pt x="863" y="92"/>
                    </a:lnTo>
                    <a:lnTo>
                      <a:pt x="861" y="84"/>
                    </a:lnTo>
                    <a:lnTo>
                      <a:pt x="861" y="84"/>
                    </a:lnTo>
                    <a:lnTo>
                      <a:pt x="858" y="77"/>
                    </a:lnTo>
                    <a:lnTo>
                      <a:pt x="852" y="71"/>
                    </a:lnTo>
                    <a:lnTo>
                      <a:pt x="850" y="71"/>
                    </a:lnTo>
                    <a:lnTo>
                      <a:pt x="842" y="67"/>
                    </a:lnTo>
                    <a:lnTo>
                      <a:pt x="836" y="61"/>
                    </a:lnTo>
                    <a:lnTo>
                      <a:pt x="832" y="59"/>
                    </a:lnTo>
                    <a:lnTo>
                      <a:pt x="832" y="59"/>
                    </a:lnTo>
                    <a:lnTo>
                      <a:pt x="830" y="59"/>
                    </a:lnTo>
                    <a:lnTo>
                      <a:pt x="826" y="61"/>
                    </a:lnTo>
                    <a:lnTo>
                      <a:pt x="826" y="63"/>
                    </a:lnTo>
                    <a:lnTo>
                      <a:pt x="824" y="65"/>
                    </a:lnTo>
                    <a:lnTo>
                      <a:pt x="822" y="65"/>
                    </a:lnTo>
                    <a:lnTo>
                      <a:pt x="822" y="65"/>
                    </a:lnTo>
                    <a:lnTo>
                      <a:pt x="820" y="63"/>
                    </a:lnTo>
                    <a:lnTo>
                      <a:pt x="816" y="59"/>
                    </a:lnTo>
                    <a:lnTo>
                      <a:pt x="815" y="55"/>
                    </a:lnTo>
                    <a:lnTo>
                      <a:pt x="813" y="55"/>
                    </a:lnTo>
                    <a:lnTo>
                      <a:pt x="811" y="51"/>
                    </a:lnTo>
                    <a:lnTo>
                      <a:pt x="811" y="51"/>
                    </a:lnTo>
                    <a:lnTo>
                      <a:pt x="807" y="53"/>
                    </a:lnTo>
                    <a:lnTo>
                      <a:pt x="807" y="53"/>
                    </a:lnTo>
                    <a:lnTo>
                      <a:pt x="807" y="51"/>
                    </a:lnTo>
                    <a:lnTo>
                      <a:pt x="805" y="51"/>
                    </a:lnTo>
                    <a:lnTo>
                      <a:pt x="805" y="51"/>
                    </a:lnTo>
                    <a:lnTo>
                      <a:pt x="805" y="51"/>
                    </a:lnTo>
                    <a:lnTo>
                      <a:pt x="801" y="47"/>
                    </a:lnTo>
                    <a:lnTo>
                      <a:pt x="799" y="47"/>
                    </a:lnTo>
                    <a:lnTo>
                      <a:pt x="799" y="47"/>
                    </a:lnTo>
                    <a:lnTo>
                      <a:pt x="797" y="45"/>
                    </a:lnTo>
                    <a:lnTo>
                      <a:pt x="785" y="47"/>
                    </a:lnTo>
                    <a:lnTo>
                      <a:pt x="783" y="47"/>
                    </a:lnTo>
                    <a:lnTo>
                      <a:pt x="781" y="49"/>
                    </a:lnTo>
                    <a:lnTo>
                      <a:pt x="779" y="49"/>
                    </a:lnTo>
                    <a:lnTo>
                      <a:pt x="779" y="49"/>
                    </a:lnTo>
                    <a:lnTo>
                      <a:pt x="775" y="49"/>
                    </a:lnTo>
                    <a:lnTo>
                      <a:pt x="770" y="49"/>
                    </a:lnTo>
                    <a:lnTo>
                      <a:pt x="768" y="49"/>
                    </a:lnTo>
                    <a:lnTo>
                      <a:pt x="762" y="49"/>
                    </a:lnTo>
                    <a:lnTo>
                      <a:pt x="750" y="45"/>
                    </a:lnTo>
                    <a:lnTo>
                      <a:pt x="742" y="41"/>
                    </a:lnTo>
                    <a:lnTo>
                      <a:pt x="742" y="41"/>
                    </a:lnTo>
                    <a:lnTo>
                      <a:pt x="740" y="39"/>
                    </a:lnTo>
                    <a:lnTo>
                      <a:pt x="740" y="39"/>
                    </a:lnTo>
                    <a:lnTo>
                      <a:pt x="738" y="41"/>
                    </a:lnTo>
                    <a:lnTo>
                      <a:pt x="736" y="41"/>
                    </a:lnTo>
                    <a:lnTo>
                      <a:pt x="732" y="49"/>
                    </a:lnTo>
                    <a:lnTo>
                      <a:pt x="731" y="49"/>
                    </a:lnTo>
                    <a:lnTo>
                      <a:pt x="731" y="49"/>
                    </a:lnTo>
                    <a:lnTo>
                      <a:pt x="731" y="49"/>
                    </a:lnTo>
                    <a:lnTo>
                      <a:pt x="729" y="53"/>
                    </a:lnTo>
                    <a:lnTo>
                      <a:pt x="725" y="53"/>
                    </a:lnTo>
                    <a:lnTo>
                      <a:pt x="725" y="53"/>
                    </a:lnTo>
                    <a:lnTo>
                      <a:pt x="723" y="51"/>
                    </a:lnTo>
                    <a:lnTo>
                      <a:pt x="721" y="51"/>
                    </a:lnTo>
                    <a:lnTo>
                      <a:pt x="719" y="49"/>
                    </a:lnTo>
                    <a:lnTo>
                      <a:pt x="717" y="47"/>
                    </a:lnTo>
                    <a:lnTo>
                      <a:pt x="717" y="47"/>
                    </a:lnTo>
                    <a:lnTo>
                      <a:pt x="715" y="47"/>
                    </a:lnTo>
                    <a:lnTo>
                      <a:pt x="707" y="47"/>
                    </a:lnTo>
                    <a:lnTo>
                      <a:pt x="705" y="49"/>
                    </a:lnTo>
                    <a:lnTo>
                      <a:pt x="705" y="49"/>
                    </a:lnTo>
                    <a:lnTo>
                      <a:pt x="703" y="49"/>
                    </a:lnTo>
                    <a:lnTo>
                      <a:pt x="701" y="53"/>
                    </a:lnTo>
                    <a:lnTo>
                      <a:pt x="703" y="55"/>
                    </a:lnTo>
                    <a:lnTo>
                      <a:pt x="705" y="57"/>
                    </a:lnTo>
                    <a:lnTo>
                      <a:pt x="707" y="57"/>
                    </a:lnTo>
                    <a:lnTo>
                      <a:pt x="709" y="61"/>
                    </a:lnTo>
                    <a:lnTo>
                      <a:pt x="709" y="61"/>
                    </a:lnTo>
                    <a:lnTo>
                      <a:pt x="709" y="61"/>
                    </a:lnTo>
                    <a:lnTo>
                      <a:pt x="707" y="63"/>
                    </a:lnTo>
                    <a:lnTo>
                      <a:pt x="707" y="63"/>
                    </a:lnTo>
                    <a:lnTo>
                      <a:pt x="707" y="63"/>
                    </a:lnTo>
                    <a:lnTo>
                      <a:pt x="705" y="65"/>
                    </a:lnTo>
                    <a:lnTo>
                      <a:pt x="701" y="65"/>
                    </a:lnTo>
                    <a:lnTo>
                      <a:pt x="701" y="65"/>
                    </a:lnTo>
                    <a:lnTo>
                      <a:pt x="699" y="65"/>
                    </a:lnTo>
                    <a:lnTo>
                      <a:pt x="695" y="69"/>
                    </a:lnTo>
                    <a:lnTo>
                      <a:pt x="691" y="75"/>
                    </a:lnTo>
                    <a:lnTo>
                      <a:pt x="690" y="77"/>
                    </a:lnTo>
                    <a:lnTo>
                      <a:pt x="686" y="79"/>
                    </a:lnTo>
                    <a:lnTo>
                      <a:pt x="682" y="80"/>
                    </a:lnTo>
                    <a:lnTo>
                      <a:pt x="682" y="80"/>
                    </a:lnTo>
                    <a:lnTo>
                      <a:pt x="680" y="80"/>
                    </a:lnTo>
                    <a:lnTo>
                      <a:pt x="678" y="80"/>
                    </a:lnTo>
                    <a:lnTo>
                      <a:pt x="676" y="79"/>
                    </a:lnTo>
                    <a:lnTo>
                      <a:pt x="674" y="75"/>
                    </a:lnTo>
                    <a:lnTo>
                      <a:pt x="674" y="75"/>
                    </a:lnTo>
                    <a:lnTo>
                      <a:pt x="670" y="73"/>
                    </a:lnTo>
                    <a:lnTo>
                      <a:pt x="670" y="73"/>
                    </a:lnTo>
                    <a:lnTo>
                      <a:pt x="668" y="73"/>
                    </a:lnTo>
                    <a:lnTo>
                      <a:pt x="666" y="73"/>
                    </a:lnTo>
                    <a:lnTo>
                      <a:pt x="664" y="73"/>
                    </a:lnTo>
                    <a:lnTo>
                      <a:pt x="662" y="73"/>
                    </a:lnTo>
                    <a:lnTo>
                      <a:pt x="658" y="71"/>
                    </a:lnTo>
                    <a:lnTo>
                      <a:pt x="647" y="55"/>
                    </a:lnTo>
                    <a:lnTo>
                      <a:pt x="645" y="53"/>
                    </a:lnTo>
                    <a:lnTo>
                      <a:pt x="643" y="53"/>
                    </a:lnTo>
                    <a:lnTo>
                      <a:pt x="641" y="51"/>
                    </a:lnTo>
                    <a:lnTo>
                      <a:pt x="635" y="53"/>
                    </a:lnTo>
                    <a:lnTo>
                      <a:pt x="633" y="53"/>
                    </a:lnTo>
                    <a:lnTo>
                      <a:pt x="631" y="53"/>
                    </a:lnTo>
                    <a:lnTo>
                      <a:pt x="629" y="53"/>
                    </a:lnTo>
                    <a:lnTo>
                      <a:pt x="629" y="53"/>
                    </a:lnTo>
                    <a:lnTo>
                      <a:pt x="625" y="57"/>
                    </a:lnTo>
                    <a:lnTo>
                      <a:pt x="623" y="59"/>
                    </a:lnTo>
                    <a:lnTo>
                      <a:pt x="623" y="59"/>
                    </a:lnTo>
                    <a:lnTo>
                      <a:pt x="619" y="61"/>
                    </a:lnTo>
                    <a:lnTo>
                      <a:pt x="615" y="59"/>
                    </a:lnTo>
                    <a:lnTo>
                      <a:pt x="607" y="55"/>
                    </a:lnTo>
                    <a:lnTo>
                      <a:pt x="602" y="51"/>
                    </a:lnTo>
                    <a:lnTo>
                      <a:pt x="600" y="53"/>
                    </a:lnTo>
                    <a:lnTo>
                      <a:pt x="600" y="53"/>
                    </a:lnTo>
                    <a:lnTo>
                      <a:pt x="600" y="57"/>
                    </a:lnTo>
                    <a:lnTo>
                      <a:pt x="590" y="57"/>
                    </a:lnTo>
                    <a:lnTo>
                      <a:pt x="584" y="55"/>
                    </a:lnTo>
                    <a:lnTo>
                      <a:pt x="582" y="55"/>
                    </a:lnTo>
                    <a:lnTo>
                      <a:pt x="580" y="57"/>
                    </a:lnTo>
                    <a:lnTo>
                      <a:pt x="580" y="57"/>
                    </a:lnTo>
                    <a:lnTo>
                      <a:pt x="580" y="57"/>
                    </a:lnTo>
                    <a:lnTo>
                      <a:pt x="578" y="59"/>
                    </a:lnTo>
                    <a:lnTo>
                      <a:pt x="578" y="61"/>
                    </a:lnTo>
                    <a:lnTo>
                      <a:pt x="578" y="63"/>
                    </a:lnTo>
                    <a:lnTo>
                      <a:pt x="578" y="63"/>
                    </a:lnTo>
                    <a:lnTo>
                      <a:pt x="576" y="67"/>
                    </a:lnTo>
                    <a:lnTo>
                      <a:pt x="576" y="69"/>
                    </a:lnTo>
                    <a:lnTo>
                      <a:pt x="572" y="69"/>
                    </a:lnTo>
                    <a:lnTo>
                      <a:pt x="563" y="69"/>
                    </a:lnTo>
                    <a:lnTo>
                      <a:pt x="561" y="71"/>
                    </a:lnTo>
                    <a:lnTo>
                      <a:pt x="557" y="75"/>
                    </a:lnTo>
                    <a:lnTo>
                      <a:pt x="555" y="77"/>
                    </a:lnTo>
                    <a:lnTo>
                      <a:pt x="551" y="77"/>
                    </a:lnTo>
                    <a:lnTo>
                      <a:pt x="551" y="77"/>
                    </a:lnTo>
                    <a:lnTo>
                      <a:pt x="551" y="77"/>
                    </a:lnTo>
                    <a:lnTo>
                      <a:pt x="549" y="80"/>
                    </a:lnTo>
                    <a:lnTo>
                      <a:pt x="547" y="84"/>
                    </a:lnTo>
                    <a:lnTo>
                      <a:pt x="547" y="88"/>
                    </a:lnTo>
                    <a:lnTo>
                      <a:pt x="547" y="88"/>
                    </a:lnTo>
                    <a:lnTo>
                      <a:pt x="547" y="88"/>
                    </a:lnTo>
                    <a:lnTo>
                      <a:pt x="545" y="90"/>
                    </a:lnTo>
                    <a:lnTo>
                      <a:pt x="543" y="92"/>
                    </a:lnTo>
                    <a:lnTo>
                      <a:pt x="541" y="102"/>
                    </a:lnTo>
                    <a:lnTo>
                      <a:pt x="541" y="102"/>
                    </a:lnTo>
                    <a:lnTo>
                      <a:pt x="541" y="102"/>
                    </a:lnTo>
                    <a:lnTo>
                      <a:pt x="541" y="102"/>
                    </a:lnTo>
                    <a:lnTo>
                      <a:pt x="541" y="108"/>
                    </a:lnTo>
                    <a:lnTo>
                      <a:pt x="537" y="110"/>
                    </a:lnTo>
                    <a:lnTo>
                      <a:pt x="531" y="108"/>
                    </a:lnTo>
                    <a:lnTo>
                      <a:pt x="523" y="100"/>
                    </a:lnTo>
                    <a:lnTo>
                      <a:pt x="518" y="98"/>
                    </a:lnTo>
                    <a:lnTo>
                      <a:pt x="512" y="98"/>
                    </a:lnTo>
                    <a:lnTo>
                      <a:pt x="512" y="98"/>
                    </a:lnTo>
                    <a:lnTo>
                      <a:pt x="510" y="100"/>
                    </a:lnTo>
                    <a:lnTo>
                      <a:pt x="508" y="102"/>
                    </a:lnTo>
                    <a:lnTo>
                      <a:pt x="506" y="104"/>
                    </a:lnTo>
                    <a:lnTo>
                      <a:pt x="504" y="106"/>
                    </a:lnTo>
                    <a:lnTo>
                      <a:pt x="500" y="108"/>
                    </a:lnTo>
                    <a:lnTo>
                      <a:pt x="492" y="108"/>
                    </a:lnTo>
                    <a:lnTo>
                      <a:pt x="488" y="106"/>
                    </a:lnTo>
                    <a:lnTo>
                      <a:pt x="486" y="104"/>
                    </a:lnTo>
                    <a:lnTo>
                      <a:pt x="486" y="102"/>
                    </a:lnTo>
                    <a:lnTo>
                      <a:pt x="486" y="100"/>
                    </a:lnTo>
                    <a:lnTo>
                      <a:pt x="486" y="98"/>
                    </a:lnTo>
                    <a:lnTo>
                      <a:pt x="490" y="94"/>
                    </a:lnTo>
                    <a:lnTo>
                      <a:pt x="494" y="88"/>
                    </a:lnTo>
                    <a:lnTo>
                      <a:pt x="494" y="88"/>
                    </a:lnTo>
                    <a:lnTo>
                      <a:pt x="494" y="88"/>
                    </a:lnTo>
                    <a:lnTo>
                      <a:pt x="494" y="88"/>
                    </a:lnTo>
                    <a:lnTo>
                      <a:pt x="494" y="88"/>
                    </a:lnTo>
                    <a:lnTo>
                      <a:pt x="496" y="86"/>
                    </a:lnTo>
                    <a:lnTo>
                      <a:pt x="496" y="86"/>
                    </a:lnTo>
                    <a:lnTo>
                      <a:pt x="496" y="86"/>
                    </a:lnTo>
                    <a:lnTo>
                      <a:pt x="496" y="84"/>
                    </a:lnTo>
                    <a:lnTo>
                      <a:pt x="496" y="84"/>
                    </a:lnTo>
                    <a:lnTo>
                      <a:pt x="496" y="84"/>
                    </a:lnTo>
                    <a:lnTo>
                      <a:pt x="494" y="82"/>
                    </a:lnTo>
                    <a:lnTo>
                      <a:pt x="494" y="82"/>
                    </a:lnTo>
                    <a:lnTo>
                      <a:pt x="494" y="82"/>
                    </a:lnTo>
                    <a:lnTo>
                      <a:pt x="492" y="80"/>
                    </a:lnTo>
                    <a:lnTo>
                      <a:pt x="492" y="80"/>
                    </a:lnTo>
                    <a:lnTo>
                      <a:pt x="492" y="80"/>
                    </a:lnTo>
                    <a:lnTo>
                      <a:pt x="492" y="80"/>
                    </a:lnTo>
                    <a:lnTo>
                      <a:pt x="492" y="80"/>
                    </a:lnTo>
                    <a:lnTo>
                      <a:pt x="492" y="80"/>
                    </a:lnTo>
                    <a:lnTo>
                      <a:pt x="492" y="79"/>
                    </a:lnTo>
                    <a:lnTo>
                      <a:pt x="492" y="79"/>
                    </a:lnTo>
                    <a:lnTo>
                      <a:pt x="492" y="77"/>
                    </a:lnTo>
                    <a:lnTo>
                      <a:pt x="494" y="77"/>
                    </a:lnTo>
                    <a:lnTo>
                      <a:pt x="492" y="63"/>
                    </a:lnTo>
                    <a:lnTo>
                      <a:pt x="492" y="59"/>
                    </a:lnTo>
                    <a:lnTo>
                      <a:pt x="490" y="55"/>
                    </a:lnTo>
                    <a:lnTo>
                      <a:pt x="488" y="53"/>
                    </a:lnTo>
                    <a:lnTo>
                      <a:pt x="482" y="55"/>
                    </a:lnTo>
                    <a:lnTo>
                      <a:pt x="480" y="55"/>
                    </a:lnTo>
                    <a:lnTo>
                      <a:pt x="479" y="55"/>
                    </a:lnTo>
                    <a:lnTo>
                      <a:pt x="477" y="55"/>
                    </a:lnTo>
                    <a:lnTo>
                      <a:pt x="467" y="53"/>
                    </a:lnTo>
                    <a:lnTo>
                      <a:pt x="467" y="53"/>
                    </a:lnTo>
                    <a:lnTo>
                      <a:pt x="467" y="51"/>
                    </a:lnTo>
                    <a:lnTo>
                      <a:pt x="467" y="51"/>
                    </a:lnTo>
                    <a:lnTo>
                      <a:pt x="467" y="49"/>
                    </a:lnTo>
                    <a:lnTo>
                      <a:pt x="467" y="45"/>
                    </a:lnTo>
                    <a:lnTo>
                      <a:pt x="467" y="43"/>
                    </a:lnTo>
                    <a:lnTo>
                      <a:pt x="467" y="41"/>
                    </a:lnTo>
                    <a:lnTo>
                      <a:pt x="463" y="41"/>
                    </a:lnTo>
                    <a:lnTo>
                      <a:pt x="461" y="41"/>
                    </a:lnTo>
                    <a:lnTo>
                      <a:pt x="457" y="41"/>
                    </a:lnTo>
                    <a:lnTo>
                      <a:pt x="455" y="39"/>
                    </a:lnTo>
                    <a:lnTo>
                      <a:pt x="453" y="38"/>
                    </a:lnTo>
                    <a:lnTo>
                      <a:pt x="453" y="38"/>
                    </a:lnTo>
                    <a:lnTo>
                      <a:pt x="451" y="30"/>
                    </a:lnTo>
                    <a:lnTo>
                      <a:pt x="449" y="24"/>
                    </a:lnTo>
                    <a:lnTo>
                      <a:pt x="447" y="16"/>
                    </a:lnTo>
                    <a:lnTo>
                      <a:pt x="445" y="12"/>
                    </a:lnTo>
                    <a:lnTo>
                      <a:pt x="445" y="10"/>
                    </a:lnTo>
                    <a:lnTo>
                      <a:pt x="443" y="10"/>
                    </a:lnTo>
                    <a:lnTo>
                      <a:pt x="441" y="8"/>
                    </a:lnTo>
                    <a:lnTo>
                      <a:pt x="441" y="8"/>
                    </a:lnTo>
                    <a:lnTo>
                      <a:pt x="441" y="6"/>
                    </a:lnTo>
                    <a:lnTo>
                      <a:pt x="439" y="4"/>
                    </a:lnTo>
                    <a:lnTo>
                      <a:pt x="438" y="2"/>
                    </a:lnTo>
                    <a:lnTo>
                      <a:pt x="436" y="0"/>
                    </a:lnTo>
                    <a:lnTo>
                      <a:pt x="436" y="0"/>
                    </a:lnTo>
                    <a:lnTo>
                      <a:pt x="436" y="0"/>
                    </a:lnTo>
                    <a:lnTo>
                      <a:pt x="434" y="0"/>
                    </a:lnTo>
                    <a:lnTo>
                      <a:pt x="434" y="2"/>
                    </a:lnTo>
                    <a:lnTo>
                      <a:pt x="434" y="2"/>
                    </a:lnTo>
                    <a:lnTo>
                      <a:pt x="420" y="18"/>
                    </a:lnTo>
                    <a:lnTo>
                      <a:pt x="418" y="20"/>
                    </a:lnTo>
                    <a:lnTo>
                      <a:pt x="418" y="20"/>
                    </a:lnTo>
                    <a:lnTo>
                      <a:pt x="418" y="20"/>
                    </a:lnTo>
                    <a:lnTo>
                      <a:pt x="418" y="20"/>
                    </a:lnTo>
                    <a:lnTo>
                      <a:pt x="416" y="20"/>
                    </a:lnTo>
                    <a:lnTo>
                      <a:pt x="414" y="20"/>
                    </a:lnTo>
                    <a:lnTo>
                      <a:pt x="414" y="22"/>
                    </a:lnTo>
                    <a:lnTo>
                      <a:pt x="408" y="20"/>
                    </a:lnTo>
                    <a:lnTo>
                      <a:pt x="406" y="22"/>
                    </a:lnTo>
                    <a:lnTo>
                      <a:pt x="404" y="22"/>
                    </a:lnTo>
                    <a:lnTo>
                      <a:pt x="402" y="24"/>
                    </a:lnTo>
                    <a:lnTo>
                      <a:pt x="400" y="26"/>
                    </a:lnTo>
                    <a:lnTo>
                      <a:pt x="398" y="30"/>
                    </a:lnTo>
                    <a:lnTo>
                      <a:pt x="396" y="34"/>
                    </a:lnTo>
                    <a:lnTo>
                      <a:pt x="395" y="38"/>
                    </a:lnTo>
                    <a:lnTo>
                      <a:pt x="396" y="38"/>
                    </a:lnTo>
                    <a:lnTo>
                      <a:pt x="396" y="38"/>
                    </a:lnTo>
                    <a:lnTo>
                      <a:pt x="396" y="39"/>
                    </a:lnTo>
                    <a:lnTo>
                      <a:pt x="396" y="39"/>
                    </a:lnTo>
                    <a:lnTo>
                      <a:pt x="396" y="39"/>
                    </a:lnTo>
                    <a:lnTo>
                      <a:pt x="396" y="41"/>
                    </a:lnTo>
                    <a:lnTo>
                      <a:pt x="396" y="41"/>
                    </a:lnTo>
                    <a:lnTo>
                      <a:pt x="396" y="41"/>
                    </a:lnTo>
                    <a:lnTo>
                      <a:pt x="396" y="41"/>
                    </a:lnTo>
                    <a:lnTo>
                      <a:pt x="396" y="41"/>
                    </a:lnTo>
                    <a:lnTo>
                      <a:pt x="395" y="41"/>
                    </a:lnTo>
                    <a:lnTo>
                      <a:pt x="395" y="41"/>
                    </a:lnTo>
                    <a:lnTo>
                      <a:pt x="393" y="41"/>
                    </a:lnTo>
                    <a:lnTo>
                      <a:pt x="393" y="41"/>
                    </a:lnTo>
                    <a:lnTo>
                      <a:pt x="393" y="47"/>
                    </a:lnTo>
                    <a:lnTo>
                      <a:pt x="391" y="49"/>
                    </a:lnTo>
                    <a:lnTo>
                      <a:pt x="391" y="51"/>
                    </a:lnTo>
                    <a:lnTo>
                      <a:pt x="391" y="51"/>
                    </a:lnTo>
                    <a:lnTo>
                      <a:pt x="385" y="55"/>
                    </a:lnTo>
                    <a:lnTo>
                      <a:pt x="383" y="55"/>
                    </a:lnTo>
                    <a:lnTo>
                      <a:pt x="381" y="55"/>
                    </a:lnTo>
                    <a:lnTo>
                      <a:pt x="379" y="55"/>
                    </a:lnTo>
                    <a:lnTo>
                      <a:pt x="377" y="53"/>
                    </a:lnTo>
                    <a:lnTo>
                      <a:pt x="377" y="53"/>
                    </a:lnTo>
                    <a:lnTo>
                      <a:pt x="375" y="51"/>
                    </a:lnTo>
                    <a:lnTo>
                      <a:pt x="373" y="51"/>
                    </a:lnTo>
                    <a:lnTo>
                      <a:pt x="373" y="51"/>
                    </a:lnTo>
                    <a:lnTo>
                      <a:pt x="369" y="51"/>
                    </a:lnTo>
                    <a:lnTo>
                      <a:pt x="363" y="55"/>
                    </a:lnTo>
                    <a:lnTo>
                      <a:pt x="357" y="57"/>
                    </a:lnTo>
                    <a:lnTo>
                      <a:pt x="355" y="55"/>
                    </a:lnTo>
                    <a:lnTo>
                      <a:pt x="355" y="55"/>
                    </a:lnTo>
                    <a:lnTo>
                      <a:pt x="355" y="55"/>
                    </a:lnTo>
                    <a:lnTo>
                      <a:pt x="355" y="55"/>
                    </a:lnTo>
                    <a:lnTo>
                      <a:pt x="354" y="53"/>
                    </a:lnTo>
                    <a:lnTo>
                      <a:pt x="354" y="51"/>
                    </a:lnTo>
                    <a:lnTo>
                      <a:pt x="355" y="43"/>
                    </a:lnTo>
                    <a:lnTo>
                      <a:pt x="354" y="39"/>
                    </a:lnTo>
                    <a:lnTo>
                      <a:pt x="354" y="38"/>
                    </a:lnTo>
                    <a:lnTo>
                      <a:pt x="354" y="36"/>
                    </a:lnTo>
                    <a:lnTo>
                      <a:pt x="354" y="34"/>
                    </a:lnTo>
                    <a:lnTo>
                      <a:pt x="354" y="34"/>
                    </a:lnTo>
                    <a:lnTo>
                      <a:pt x="354" y="34"/>
                    </a:lnTo>
                    <a:lnTo>
                      <a:pt x="355" y="30"/>
                    </a:lnTo>
                    <a:lnTo>
                      <a:pt x="350" y="26"/>
                    </a:lnTo>
                    <a:lnTo>
                      <a:pt x="350" y="26"/>
                    </a:lnTo>
                    <a:lnTo>
                      <a:pt x="338" y="26"/>
                    </a:lnTo>
                    <a:lnTo>
                      <a:pt x="334" y="24"/>
                    </a:lnTo>
                    <a:lnTo>
                      <a:pt x="326" y="24"/>
                    </a:lnTo>
                    <a:lnTo>
                      <a:pt x="324" y="26"/>
                    </a:lnTo>
                    <a:lnTo>
                      <a:pt x="316" y="32"/>
                    </a:lnTo>
                    <a:lnTo>
                      <a:pt x="312" y="32"/>
                    </a:lnTo>
                    <a:lnTo>
                      <a:pt x="307" y="32"/>
                    </a:lnTo>
                    <a:lnTo>
                      <a:pt x="301" y="28"/>
                    </a:lnTo>
                    <a:lnTo>
                      <a:pt x="301" y="28"/>
                    </a:lnTo>
                    <a:lnTo>
                      <a:pt x="299" y="28"/>
                    </a:lnTo>
                    <a:lnTo>
                      <a:pt x="295" y="30"/>
                    </a:lnTo>
                    <a:lnTo>
                      <a:pt x="287" y="30"/>
                    </a:lnTo>
                    <a:lnTo>
                      <a:pt x="283" y="32"/>
                    </a:lnTo>
                    <a:lnTo>
                      <a:pt x="283" y="34"/>
                    </a:lnTo>
                    <a:lnTo>
                      <a:pt x="281" y="39"/>
                    </a:lnTo>
                    <a:lnTo>
                      <a:pt x="281" y="41"/>
                    </a:lnTo>
                    <a:lnTo>
                      <a:pt x="279" y="41"/>
                    </a:lnTo>
                    <a:lnTo>
                      <a:pt x="275" y="45"/>
                    </a:lnTo>
                    <a:lnTo>
                      <a:pt x="268" y="53"/>
                    </a:lnTo>
                    <a:lnTo>
                      <a:pt x="264" y="57"/>
                    </a:lnTo>
                    <a:lnTo>
                      <a:pt x="258" y="55"/>
                    </a:lnTo>
                    <a:lnTo>
                      <a:pt x="258" y="67"/>
                    </a:lnTo>
                    <a:lnTo>
                      <a:pt x="254" y="71"/>
                    </a:lnTo>
                    <a:lnTo>
                      <a:pt x="248" y="75"/>
                    </a:lnTo>
                    <a:lnTo>
                      <a:pt x="227" y="84"/>
                    </a:lnTo>
                    <a:lnTo>
                      <a:pt x="221" y="88"/>
                    </a:lnTo>
                    <a:lnTo>
                      <a:pt x="217" y="96"/>
                    </a:lnTo>
                    <a:lnTo>
                      <a:pt x="213" y="104"/>
                    </a:lnTo>
                    <a:lnTo>
                      <a:pt x="211" y="112"/>
                    </a:lnTo>
                    <a:lnTo>
                      <a:pt x="211" y="118"/>
                    </a:lnTo>
                    <a:lnTo>
                      <a:pt x="211" y="120"/>
                    </a:lnTo>
                    <a:lnTo>
                      <a:pt x="211" y="131"/>
                    </a:lnTo>
                    <a:lnTo>
                      <a:pt x="211" y="137"/>
                    </a:lnTo>
                    <a:lnTo>
                      <a:pt x="207" y="143"/>
                    </a:lnTo>
                    <a:lnTo>
                      <a:pt x="201" y="147"/>
                    </a:lnTo>
                    <a:lnTo>
                      <a:pt x="195" y="151"/>
                    </a:lnTo>
                    <a:lnTo>
                      <a:pt x="187" y="149"/>
                    </a:lnTo>
                    <a:lnTo>
                      <a:pt x="184" y="151"/>
                    </a:lnTo>
                    <a:lnTo>
                      <a:pt x="180" y="153"/>
                    </a:lnTo>
                    <a:lnTo>
                      <a:pt x="178" y="157"/>
                    </a:lnTo>
                    <a:lnTo>
                      <a:pt x="176" y="161"/>
                    </a:lnTo>
                    <a:lnTo>
                      <a:pt x="176" y="168"/>
                    </a:lnTo>
                    <a:lnTo>
                      <a:pt x="174" y="172"/>
                    </a:lnTo>
                    <a:lnTo>
                      <a:pt x="170" y="174"/>
                    </a:lnTo>
                    <a:lnTo>
                      <a:pt x="168" y="174"/>
                    </a:lnTo>
                    <a:lnTo>
                      <a:pt x="164" y="174"/>
                    </a:lnTo>
                    <a:lnTo>
                      <a:pt x="160" y="174"/>
                    </a:lnTo>
                    <a:lnTo>
                      <a:pt x="156" y="178"/>
                    </a:lnTo>
                    <a:lnTo>
                      <a:pt x="150" y="188"/>
                    </a:lnTo>
                    <a:lnTo>
                      <a:pt x="148" y="190"/>
                    </a:lnTo>
                    <a:lnTo>
                      <a:pt x="115" y="202"/>
                    </a:lnTo>
                    <a:lnTo>
                      <a:pt x="109" y="202"/>
                    </a:lnTo>
                    <a:lnTo>
                      <a:pt x="105" y="196"/>
                    </a:lnTo>
                    <a:lnTo>
                      <a:pt x="101" y="196"/>
                    </a:lnTo>
                    <a:lnTo>
                      <a:pt x="98" y="196"/>
                    </a:lnTo>
                    <a:lnTo>
                      <a:pt x="96" y="198"/>
                    </a:lnTo>
                    <a:lnTo>
                      <a:pt x="92" y="200"/>
                    </a:lnTo>
                    <a:lnTo>
                      <a:pt x="90" y="202"/>
                    </a:lnTo>
                    <a:lnTo>
                      <a:pt x="70" y="192"/>
                    </a:lnTo>
                    <a:lnTo>
                      <a:pt x="62" y="188"/>
                    </a:lnTo>
                    <a:lnTo>
                      <a:pt x="55" y="190"/>
                    </a:lnTo>
                    <a:lnTo>
                      <a:pt x="45" y="198"/>
                    </a:lnTo>
                    <a:lnTo>
                      <a:pt x="45" y="200"/>
                    </a:lnTo>
                    <a:lnTo>
                      <a:pt x="43" y="204"/>
                    </a:lnTo>
                    <a:lnTo>
                      <a:pt x="41" y="207"/>
                    </a:lnTo>
                    <a:lnTo>
                      <a:pt x="35" y="211"/>
                    </a:lnTo>
                    <a:lnTo>
                      <a:pt x="31" y="219"/>
                    </a:lnTo>
                    <a:lnTo>
                      <a:pt x="21" y="243"/>
                    </a:lnTo>
                    <a:lnTo>
                      <a:pt x="19" y="246"/>
                    </a:lnTo>
                    <a:lnTo>
                      <a:pt x="17" y="250"/>
                    </a:lnTo>
                    <a:lnTo>
                      <a:pt x="17" y="254"/>
                    </a:lnTo>
                    <a:lnTo>
                      <a:pt x="19" y="266"/>
                    </a:lnTo>
                    <a:lnTo>
                      <a:pt x="17" y="270"/>
                    </a:lnTo>
                    <a:lnTo>
                      <a:pt x="17" y="272"/>
                    </a:lnTo>
                    <a:lnTo>
                      <a:pt x="17" y="272"/>
                    </a:lnTo>
                    <a:lnTo>
                      <a:pt x="17" y="272"/>
                    </a:lnTo>
                    <a:lnTo>
                      <a:pt x="16" y="274"/>
                    </a:lnTo>
                    <a:lnTo>
                      <a:pt x="16" y="274"/>
                    </a:lnTo>
                    <a:lnTo>
                      <a:pt x="16" y="274"/>
                    </a:lnTo>
                    <a:lnTo>
                      <a:pt x="12" y="276"/>
                    </a:lnTo>
                    <a:lnTo>
                      <a:pt x="12" y="280"/>
                    </a:lnTo>
                    <a:lnTo>
                      <a:pt x="10" y="282"/>
                    </a:lnTo>
                    <a:lnTo>
                      <a:pt x="8" y="286"/>
                    </a:lnTo>
                    <a:lnTo>
                      <a:pt x="6" y="289"/>
                    </a:lnTo>
                    <a:lnTo>
                      <a:pt x="4" y="291"/>
                    </a:lnTo>
                    <a:lnTo>
                      <a:pt x="4" y="295"/>
                    </a:lnTo>
                    <a:lnTo>
                      <a:pt x="2" y="301"/>
                    </a:lnTo>
                    <a:lnTo>
                      <a:pt x="2" y="309"/>
                    </a:lnTo>
                    <a:lnTo>
                      <a:pt x="2" y="311"/>
                    </a:lnTo>
                    <a:lnTo>
                      <a:pt x="2" y="311"/>
                    </a:lnTo>
                    <a:lnTo>
                      <a:pt x="0" y="311"/>
                    </a:lnTo>
                    <a:lnTo>
                      <a:pt x="0" y="313"/>
                    </a:lnTo>
                    <a:lnTo>
                      <a:pt x="0" y="315"/>
                    </a:lnTo>
                    <a:lnTo>
                      <a:pt x="2" y="317"/>
                    </a:lnTo>
                    <a:lnTo>
                      <a:pt x="2" y="317"/>
                    </a:lnTo>
                    <a:lnTo>
                      <a:pt x="2" y="317"/>
                    </a:lnTo>
                    <a:lnTo>
                      <a:pt x="6" y="317"/>
                    </a:lnTo>
                    <a:lnTo>
                      <a:pt x="6" y="319"/>
                    </a:lnTo>
                    <a:lnTo>
                      <a:pt x="8" y="319"/>
                    </a:lnTo>
                    <a:lnTo>
                      <a:pt x="8" y="321"/>
                    </a:lnTo>
                    <a:lnTo>
                      <a:pt x="10" y="321"/>
                    </a:lnTo>
                    <a:lnTo>
                      <a:pt x="10" y="321"/>
                    </a:lnTo>
                    <a:lnTo>
                      <a:pt x="10" y="321"/>
                    </a:lnTo>
                    <a:lnTo>
                      <a:pt x="10" y="323"/>
                    </a:lnTo>
                    <a:lnTo>
                      <a:pt x="12" y="325"/>
                    </a:lnTo>
                    <a:lnTo>
                      <a:pt x="10" y="325"/>
                    </a:lnTo>
                    <a:lnTo>
                      <a:pt x="10" y="327"/>
                    </a:lnTo>
                    <a:lnTo>
                      <a:pt x="10" y="327"/>
                    </a:lnTo>
                    <a:lnTo>
                      <a:pt x="10" y="328"/>
                    </a:lnTo>
                    <a:lnTo>
                      <a:pt x="10" y="328"/>
                    </a:lnTo>
                    <a:lnTo>
                      <a:pt x="10" y="328"/>
                    </a:lnTo>
                    <a:lnTo>
                      <a:pt x="12" y="328"/>
                    </a:lnTo>
                    <a:lnTo>
                      <a:pt x="12" y="330"/>
                    </a:lnTo>
                    <a:lnTo>
                      <a:pt x="12" y="330"/>
                    </a:lnTo>
                    <a:lnTo>
                      <a:pt x="12" y="332"/>
                    </a:lnTo>
                    <a:lnTo>
                      <a:pt x="12" y="334"/>
                    </a:lnTo>
                    <a:lnTo>
                      <a:pt x="14" y="334"/>
                    </a:lnTo>
                    <a:lnTo>
                      <a:pt x="16" y="336"/>
                    </a:lnTo>
                    <a:lnTo>
                      <a:pt x="17" y="336"/>
                    </a:lnTo>
                    <a:lnTo>
                      <a:pt x="17" y="336"/>
                    </a:lnTo>
                    <a:lnTo>
                      <a:pt x="17" y="336"/>
                    </a:lnTo>
                    <a:lnTo>
                      <a:pt x="17" y="338"/>
                    </a:lnTo>
                    <a:lnTo>
                      <a:pt x="19" y="338"/>
                    </a:lnTo>
                    <a:lnTo>
                      <a:pt x="19" y="338"/>
                    </a:lnTo>
                    <a:lnTo>
                      <a:pt x="19" y="340"/>
                    </a:lnTo>
                    <a:lnTo>
                      <a:pt x="19" y="340"/>
                    </a:lnTo>
                    <a:lnTo>
                      <a:pt x="19" y="342"/>
                    </a:lnTo>
                    <a:lnTo>
                      <a:pt x="19" y="344"/>
                    </a:lnTo>
                    <a:lnTo>
                      <a:pt x="21" y="352"/>
                    </a:lnTo>
                    <a:lnTo>
                      <a:pt x="21" y="358"/>
                    </a:lnTo>
                    <a:lnTo>
                      <a:pt x="21" y="362"/>
                    </a:lnTo>
                    <a:lnTo>
                      <a:pt x="23" y="366"/>
                    </a:lnTo>
                    <a:lnTo>
                      <a:pt x="27" y="371"/>
                    </a:lnTo>
                    <a:lnTo>
                      <a:pt x="29" y="371"/>
                    </a:lnTo>
                    <a:lnTo>
                      <a:pt x="29" y="371"/>
                    </a:lnTo>
                    <a:lnTo>
                      <a:pt x="33" y="373"/>
                    </a:lnTo>
                    <a:lnTo>
                      <a:pt x="33" y="373"/>
                    </a:lnTo>
                    <a:lnTo>
                      <a:pt x="35" y="373"/>
                    </a:lnTo>
                    <a:lnTo>
                      <a:pt x="37" y="379"/>
                    </a:lnTo>
                    <a:lnTo>
                      <a:pt x="37" y="379"/>
                    </a:lnTo>
                    <a:lnTo>
                      <a:pt x="39" y="381"/>
                    </a:lnTo>
                    <a:lnTo>
                      <a:pt x="39" y="383"/>
                    </a:lnTo>
                    <a:lnTo>
                      <a:pt x="39" y="385"/>
                    </a:lnTo>
                    <a:lnTo>
                      <a:pt x="37" y="387"/>
                    </a:lnTo>
                    <a:lnTo>
                      <a:pt x="37" y="391"/>
                    </a:lnTo>
                    <a:lnTo>
                      <a:pt x="37" y="391"/>
                    </a:lnTo>
                    <a:lnTo>
                      <a:pt x="39" y="393"/>
                    </a:lnTo>
                    <a:lnTo>
                      <a:pt x="39" y="393"/>
                    </a:lnTo>
                    <a:lnTo>
                      <a:pt x="39" y="397"/>
                    </a:lnTo>
                    <a:lnTo>
                      <a:pt x="43" y="399"/>
                    </a:lnTo>
                    <a:lnTo>
                      <a:pt x="47" y="401"/>
                    </a:lnTo>
                    <a:lnTo>
                      <a:pt x="51" y="405"/>
                    </a:lnTo>
                    <a:lnTo>
                      <a:pt x="57" y="401"/>
                    </a:lnTo>
                    <a:lnTo>
                      <a:pt x="64" y="403"/>
                    </a:lnTo>
                    <a:lnTo>
                      <a:pt x="70" y="405"/>
                    </a:lnTo>
                    <a:lnTo>
                      <a:pt x="72" y="405"/>
                    </a:lnTo>
                    <a:lnTo>
                      <a:pt x="84" y="407"/>
                    </a:lnTo>
                    <a:lnTo>
                      <a:pt x="84" y="409"/>
                    </a:lnTo>
                    <a:lnTo>
                      <a:pt x="88" y="410"/>
                    </a:lnTo>
                    <a:lnTo>
                      <a:pt x="96" y="420"/>
                    </a:lnTo>
                    <a:lnTo>
                      <a:pt x="105" y="434"/>
                    </a:lnTo>
                    <a:lnTo>
                      <a:pt x="107" y="436"/>
                    </a:lnTo>
                    <a:lnTo>
                      <a:pt x="107" y="436"/>
                    </a:lnTo>
                    <a:lnTo>
                      <a:pt x="109" y="436"/>
                    </a:lnTo>
                    <a:lnTo>
                      <a:pt x="111" y="438"/>
                    </a:lnTo>
                    <a:lnTo>
                      <a:pt x="113" y="438"/>
                    </a:lnTo>
                    <a:lnTo>
                      <a:pt x="113" y="438"/>
                    </a:lnTo>
                    <a:lnTo>
                      <a:pt x="115" y="438"/>
                    </a:lnTo>
                    <a:lnTo>
                      <a:pt x="121" y="448"/>
                    </a:lnTo>
                    <a:lnTo>
                      <a:pt x="123" y="450"/>
                    </a:lnTo>
                    <a:lnTo>
                      <a:pt x="125" y="450"/>
                    </a:lnTo>
                    <a:lnTo>
                      <a:pt x="125" y="448"/>
                    </a:lnTo>
                    <a:lnTo>
                      <a:pt x="127" y="448"/>
                    </a:lnTo>
                    <a:lnTo>
                      <a:pt x="129" y="450"/>
                    </a:lnTo>
                    <a:lnTo>
                      <a:pt x="131" y="450"/>
                    </a:lnTo>
                    <a:lnTo>
                      <a:pt x="133" y="451"/>
                    </a:lnTo>
                    <a:lnTo>
                      <a:pt x="137" y="453"/>
                    </a:lnTo>
                    <a:lnTo>
                      <a:pt x="137" y="455"/>
                    </a:lnTo>
                    <a:lnTo>
                      <a:pt x="139" y="457"/>
                    </a:lnTo>
                    <a:lnTo>
                      <a:pt x="141" y="459"/>
                    </a:lnTo>
                    <a:lnTo>
                      <a:pt x="146" y="463"/>
                    </a:lnTo>
                    <a:lnTo>
                      <a:pt x="150" y="465"/>
                    </a:lnTo>
                    <a:lnTo>
                      <a:pt x="164" y="469"/>
                    </a:lnTo>
                    <a:lnTo>
                      <a:pt x="168" y="469"/>
                    </a:lnTo>
                    <a:lnTo>
                      <a:pt x="174" y="467"/>
                    </a:lnTo>
                    <a:lnTo>
                      <a:pt x="189" y="467"/>
                    </a:lnTo>
                    <a:lnTo>
                      <a:pt x="213" y="465"/>
                    </a:lnTo>
                    <a:lnTo>
                      <a:pt x="232" y="467"/>
                    </a:lnTo>
                    <a:lnTo>
                      <a:pt x="240" y="467"/>
                    </a:lnTo>
                    <a:lnTo>
                      <a:pt x="252" y="461"/>
                    </a:lnTo>
                    <a:lnTo>
                      <a:pt x="287" y="457"/>
                    </a:lnTo>
                    <a:lnTo>
                      <a:pt x="293" y="459"/>
                    </a:lnTo>
                    <a:lnTo>
                      <a:pt x="297" y="459"/>
                    </a:lnTo>
                    <a:lnTo>
                      <a:pt x="301" y="461"/>
                    </a:lnTo>
                    <a:lnTo>
                      <a:pt x="303" y="461"/>
                    </a:lnTo>
                    <a:lnTo>
                      <a:pt x="305" y="461"/>
                    </a:lnTo>
                    <a:lnTo>
                      <a:pt x="311" y="461"/>
                    </a:lnTo>
                    <a:lnTo>
                      <a:pt x="312" y="461"/>
                    </a:lnTo>
                    <a:lnTo>
                      <a:pt x="314" y="459"/>
                    </a:lnTo>
                    <a:lnTo>
                      <a:pt x="320" y="453"/>
                    </a:lnTo>
                    <a:lnTo>
                      <a:pt x="322" y="451"/>
                    </a:lnTo>
                    <a:lnTo>
                      <a:pt x="324" y="450"/>
                    </a:lnTo>
                    <a:lnTo>
                      <a:pt x="326" y="450"/>
                    </a:lnTo>
                    <a:lnTo>
                      <a:pt x="330" y="448"/>
                    </a:lnTo>
                    <a:lnTo>
                      <a:pt x="330" y="448"/>
                    </a:lnTo>
                    <a:lnTo>
                      <a:pt x="330" y="448"/>
                    </a:lnTo>
                    <a:lnTo>
                      <a:pt x="326" y="444"/>
                    </a:lnTo>
                    <a:lnTo>
                      <a:pt x="324" y="444"/>
                    </a:lnTo>
                    <a:lnTo>
                      <a:pt x="320" y="440"/>
                    </a:lnTo>
                    <a:lnTo>
                      <a:pt x="318" y="438"/>
                    </a:lnTo>
                    <a:lnTo>
                      <a:pt x="318" y="436"/>
                    </a:lnTo>
                    <a:lnTo>
                      <a:pt x="318" y="434"/>
                    </a:lnTo>
                    <a:lnTo>
                      <a:pt x="318" y="428"/>
                    </a:lnTo>
                    <a:lnTo>
                      <a:pt x="318" y="424"/>
                    </a:lnTo>
                    <a:lnTo>
                      <a:pt x="320" y="418"/>
                    </a:lnTo>
                    <a:lnTo>
                      <a:pt x="320" y="418"/>
                    </a:lnTo>
                    <a:lnTo>
                      <a:pt x="320" y="416"/>
                    </a:lnTo>
                    <a:lnTo>
                      <a:pt x="318" y="414"/>
                    </a:lnTo>
                    <a:lnTo>
                      <a:pt x="318" y="414"/>
                    </a:lnTo>
                    <a:lnTo>
                      <a:pt x="318" y="414"/>
                    </a:lnTo>
                    <a:lnTo>
                      <a:pt x="320" y="410"/>
                    </a:lnTo>
                    <a:lnTo>
                      <a:pt x="320" y="410"/>
                    </a:lnTo>
                    <a:lnTo>
                      <a:pt x="320" y="410"/>
                    </a:lnTo>
                    <a:lnTo>
                      <a:pt x="320" y="410"/>
                    </a:lnTo>
                    <a:lnTo>
                      <a:pt x="322" y="410"/>
                    </a:lnTo>
                    <a:lnTo>
                      <a:pt x="324" y="410"/>
                    </a:lnTo>
                    <a:lnTo>
                      <a:pt x="326" y="409"/>
                    </a:lnTo>
                    <a:lnTo>
                      <a:pt x="326" y="409"/>
                    </a:lnTo>
                    <a:lnTo>
                      <a:pt x="330" y="401"/>
                    </a:lnTo>
                    <a:lnTo>
                      <a:pt x="332" y="399"/>
                    </a:lnTo>
                    <a:lnTo>
                      <a:pt x="334" y="397"/>
                    </a:lnTo>
                    <a:lnTo>
                      <a:pt x="350" y="393"/>
                    </a:lnTo>
                    <a:lnTo>
                      <a:pt x="352" y="393"/>
                    </a:lnTo>
                    <a:lnTo>
                      <a:pt x="357" y="391"/>
                    </a:lnTo>
                    <a:lnTo>
                      <a:pt x="359" y="391"/>
                    </a:lnTo>
                    <a:lnTo>
                      <a:pt x="361" y="389"/>
                    </a:lnTo>
                    <a:lnTo>
                      <a:pt x="365" y="391"/>
                    </a:lnTo>
                    <a:lnTo>
                      <a:pt x="367" y="391"/>
                    </a:lnTo>
                    <a:lnTo>
                      <a:pt x="377" y="389"/>
                    </a:lnTo>
                    <a:lnTo>
                      <a:pt x="383" y="389"/>
                    </a:lnTo>
                    <a:lnTo>
                      <a:pt x="398" y="391"/>
                    </a:lnTo>
                    <a:lnTo>
                      <a:pt x="398" y="391"/>
                    </a:lnTo>
                    <a:lnTo>
                      <a:pt x="400" y="391"/>
                    </a:lnTo>
                    <a:lnTo>
                      <a:pt x="404" y="389"/>
                    </a:lnTo>
                    <a:lnTo>
                      <a:pt x="410" y="385"/>
                    </a:lnTo>
                    <a:lnTo>
                      <a:pt x="434" y="385"/>
                    </a:lnTo>
                    <a:lnTo>
                      <a:pt x="441" y="379"/>
                    </a:lnTo>
                    <a:lnTo>
                      <a:pt x="441" y="377"/>
                    </a:lnTo>
                    <a:lnTo>
                      <a:pt x="441" y="375"/>
                    </a:lnTo>
                    <a:lnTo>
                      <a:pt x="441" y="375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3" y="369"/>
                    </a:lnTo>
                    <a:lnTo>
                      <a:pt x="445" y="360"/>
                    </a:lnTo>
                    <a:lnTo>
                      <a:pt x="447" y="356"/>
                    </a:lnTo>
                    <a:lnTo>
                      <a:pt x="447" y="356"/>
                    </a:lnTo>
                    <a:lnTo>
                      <a:pt x="447" y="356"/>
                    </a:lnTo>
                    <a:lnTo>
                      <a:pt x="449" y="354"/>
                    </a:lnTo>
                    <a:lnTo>
                      <a:pt x="459" y="352"/>
                    </a:lnTo>
                    <a:lnTo>
                      <a:pt x="465" y="350"/>
                    </a:lnTo>
                    <a:lnTo>
                      <a:pt x="467" y="350"/>
                    </a:lnTo>
                    <a:lnTo>
                      <a:pt x="467" y="350"/>
                    </a:lnTo>
                    <a:lnTo>
                      <a:pt x="469" y="350"/>
                    </a:lnTo>
                    <a:lnTo>
                      <a:pt x="471" y="352"/>
                    </a:lnTo>
                    <a:lnTo>
                      <a:pt x="473" y="354"/>
                    </a:lnTo>
                    <a:lnTo>
                      <a:pt x="475" y="356"/>
                    </a:lnTo>
                    <a:lnTo>
                      <a:pt x="477" y="358"/>
                    </a:lnTo>
                    <a:lnTo>
                      <a:pt x="484" y="356"/>
                    </a:lnTo>
                    <a:lnTo>
                      <a:pt x="484" y="356"/>
                    </a:lnTo>
                    <a:lnTo>
                      <a:pt x="484" y="356"/>
                    </a:lnTo>
                    <a:lnTo>
                      <a:pt x="484" y="356"/>
                    </a:lnTo>
                    <a:lnTo>
                      <a:pt x="488" y="356"/>
                    </a:lnTo>
                    <a:lnTo>
                      <a:pt x="488" y="358"/>
                    </a:lnTo>
                    <a:lnTo>
                      <a:pt x="490" y="360"/>
                    </a:lnTo>
                    <a:lnTo>
                      <a:pt x="490" y="362"/>
                    </a:lnTo>
                    <a:lnTo>
                      <a:pt x="490" y="362"/>
                    </a:lnTo>
                    <a:lnTo>
                      <a:pt x="490" y="364"/>
                    </a:lnTo>
                    <a:lnTo>
                      <a:pt x="490" y="366"/>
                    </a:lnTo>
                    <a:lnTo>
                      <a:pt x="490" y="366"/>
                    </a:lnTo>
                    <a:lnTo>
                      <a:pt x="490" y="368"/>
                    </a:lnTo>
                    <a:lnTo>
                      <a:pt x="490" y="368"/>
                    </a:lnTo>
                    <a:lnTo>
                      <a:pt x="490" y="369"/>
                    </a:lnTo>
                    <a:lnTo>
                      <a:pt x="492" y="369"/>
                    </a:lnTo>
                    <a:lnTo>
                      <a:pt x="492" y="369"/>
                    </a:lnTo>
                    <a:lnTo>
                      <a:pt x="496" y="368"/>
                    </a:lnTo>
                    <a:lnTo>
                      <a:pt x="498" y="368"/>
                    </a:lnTo>
                    <a:lnTo>
                      <a:pt x="498" y="368"/>
                    </a:lnTo>
                    <a:lnTo>
                      <a:pt x="498" y="368"/>
                    </a:lnTo>
                    <a:lnTo>
                      <a:pt x="500" y="368"/>
                    </a:lnTo>
                    <a:lnTo>
                      <a:pt x="502" y="368"/>
                    </a:lnTo>
                    <a:lnTo>
                      <a:pt x="510" y="373"/>
                    </a:lnTo>
                    <a:lnTo>
                      <a:pt x="512" y="375"/>
                    </a:lnTo>
                    <a:lnTo>
                      <a:pt x="516" y="373"/>
                    </a:lnTo>
                    <a:lnTo>
                      <a:pt x="520" y="371"/>
                    </a:lnTo>
                    <a:lnTo>
                      <a:pt x="523" y="368"/>
                    </a:lnTo>
                    <a:lnTo>
                      <a:pt x="527" y="366"/>
                    </a:lnTo>
                    <a:lnTo>
                      <a:pt x="527" y="366"/>
                    </a:lnTo>
                    <a:lnTo>
                      <a:pt x="527" y="366"/>
                    </a:lnTo>
                    <a:lnTo>
                      <a:pt x="531" y="364"/>
                    </a:lnTo>
                    <a:lnTo>
                      <a:pt x="535" y="362"/>
                    </a:lnTo>
                    <a:lnTo>
                      <a:pt x="535" y="362"/>
                    </a:lnTo>
                    <a:lnTo>
                      <a:pt x="535" y="362"/>
                    </a:lnTo>
                    <a:lnTo>
                      <a:pt x="541" y="358"/>
                    </a:lnTo>
                    <a:lnTo>
                      <a:pt x="543" y="358"/>
                    </a:lnTo>
                    <a:lnTo>
                      <a:pt x="545" y="358"/>
                    </a:lnTo>
                    <a:lnTo>
                      <a:pt x="547" y="356"/>
                    </a:lnTo>
                    <a:lnTo>
                      <a:pt x="547" y="356"/>
                    </a:lnTo>
                    <a:lnTo>
                      <a:pt x="547" y="354"/>
                    </a:lnTo>
                    <a:lnTo>
                      <a:pt x="549" y="350"/>
                    </a:lnTo>
                    <a:lnTo>
                      <a:pt x="549" y="348"/>
                    </a:lnTo>
                    <a:lnTo>
                      <a:pt x="549" y="348"/>
                    </a:lnTo>
                    <a:lnTo>
                      <a:pt x="549" y="346"/>
                    </a:lnTo>
                    <a:lnTo>
                      <a:pt x="551" y="344"/>
                    </a:lnTo>
                    <a:lnTo>
                      <a:pt x="553" y="344"/>
                    </a:lnTo>
                    <a:lnTo>
                      <a:pt x="553" y="344"/>
                    </a:lnTo>
                    <a:lnTo>
                      <a:pt x="553" y="344"/>
                    </a:lnTo>
                    <a:lnTo>
                      <a:pt x="553" y="344"/>
                    </a:lnTo>
                    <a:lnTo>
                      <a:pt x="553" y="344"/>
                    </a:lnTo>
                    <a:lnTo>
                      <a:pt x="555" y="346"/>
                    </a:lnTo>
                    <a:lnTo>
                      <a:pt x="557" y="346"/>
                    </a:lnTo>
                    <a:lnTo>
                      <a:pt x="557" y="346"/>
                    </a:lnTo>
                    <a:lnTo>
                      <a:pt x="561" y="344"/>
                    </a:lnTo>
                    <a:lnTo>
                      <a:pt x="563" y="342"/>
                    </a:lnTo>
                    <a:lnTo>
                      <a:pt x="564" y="340"/>
                    </a:lnTo>
                    <a:lnTo>
                      <a:pt x="566" y="340"/>
                    </a:lnTo>
                    <a:lnTo>
                      <a:pt x="566" y="338"/>
                    </a:lnTo>
                    <a:lnTo>
                      <a:pt x="568" y="340"/>
                    </a:lnTo>
                    <a:lnTo>
                      <a:pt x="570" y="340"/>
                    </a:lnTo>
                    <a:lnTo>
                      <a:pt x="572" y="342"/>
                    </a:lnTo>
                    <a:lnTo>
                      <a:pt x="574" y="344"/>
                    </a:lnTo>
                    <a:lnTo>
                      <a:pt x="578" y="342"/>
                    </a:lnTo>
                    <a:lnTo>
                      <a:pt x="578" y="340"/>
                    </a:lnTo>
                    <a:lnTo>
                      <a:pt x="582" y="336"/>
                    </a:lnTo>
                    <a:lnTo>
                      <a:pt x="586" y="330"/>
                    </a:lnTo>
                    <a:lnTo>
                      <a:pt x="590" y="325"/>
                    </a:lnTo>
                    <a:lnTo>
                      <a:pt x="590" y="323"/>
                    </a:lnTo>
                    <a:lnTo>
                      <a:pt x="592" y="317"/>
                    </a:lnTo>
                    <a:lnTo>
                      <a:pt x="598" y="303"/>
                    </a:lnTo>
                    <a:lnTo>
                      <a:pt x="598" y="301"/>
                    </a:lnTo>
                    <a:lnTo>
                      <a:pt x="600" y="299"/>
                    </a:lnTo>
                    <a:lnTo>
                      <a:pt x="600" y="297"/>
                    </a:lnTo>
                    <a:lnTo>
                      <a:pt x="602" y="295"/>
                    </a:lnTo>
                    <a:lnTo>
                      <a:pt x="602" y="295"/>
                    </a:lnTo>
                    <a:lnTo>
                      <a:pt x="606" y="289"/>
                    </a:lnTo>
                    <a:lnTo>
                      <a:pt x="607" y="289"/>
                    </a:lnTo>
                    <a:lnTo>
                      <a:pt x="607" y="289"/>
                    </a:lnTo>
                    <a:lnTo>
                      <a:pt x="609" y="287"/>
                    </a:lnTo>
                    <a:lnTo>
                      <a:pt x="609" y="286"/>
                    </a:lnTo>
                    <a:lnTo>
                      <a:pt x="609" y="286"/>
                    </a:lnTo>
                    <a:lnTo>
                      <a:pt x="609" y="284"/>
                    </a:lnTo>
                    <a:lnTo>
                      <a:pt x="609" y="284"/>
                    </a:lnTo>
                    <a:lnTo>
                      <a:pt x="609" y="284"/>
                    </a:lnTo>
                    <a:lnTo>
                      <a:pt x="609" y="280"/>
                    </a:lnTo>
                    <a:lnTo>
                      <a:pt x="609" y="280"/>
                    </a:lnTo>
                    <a:lnTo>
                      <a:pt x="609" y="276"/>
                    </a:lnTo>
                    <a:lnTo>
                      <a:pt x="609" y="274"/>
                    </a:lnTo>
                    <a:lnTo>
                      <a:pt x="609" y="274"/>
                    </a:lnTo>
                    <a:lnTo>
                      <a:pt x="609" y="274"/>
                    </a:lnTo>
                    <a:lnTo>
                      <a:pt x="613" y="272"/>
                    </a:lnTo>
                    <a:lnTo>
                      <a:pt x="613" y="272"/>
                    </a:lnTo>
                    <a:lnTo>
                      <a:pt x="613" y="272"/>
                    </a:lnTo>
                    <a:lnTo>
                      <a:pt x="615" y="272"/>
                    </a:lnTo>
                    <a:lnTo>
                      <a:pt x="625" y="272"/>
                    </a:lnTo>
                    <a:lnTo>
                      <a:pt x="639" y="268"/>
                    </a:lnTo>
                    <a:lnTo>
                      <a:pt x="660" y="264"/>
                    </a:lnTo>
                    <a:lnTo>
                      <a:pt x="662" y="264"/>
                    </a:lnTo>
                    <a:lnTo>
                      <a:pt x="664" y="266"/>
                    </a:lnTo>
                    <a:lnTo>
                      <a:pt x="666" y="268"/>
                    </a:lnTo>
                    <a:lnTo>
                      <a:pt x="670" y="270"/>
                    </a:lnTo>
                    <a:lnTo>
                      <a:pt x="672" y="270"/>
                    </a:lnTo>
                    <a:lnTo>
                      <a:pt x="678" y="272"/>
                    </a:lnTo>
                    <a:lnTo>
                      <a:pt x="688" y="276"/>
                    </a:lnTo>
                    <a:lnTo>
                      <a:pt x="693" y="278"/>
                    </a:lnTo>
                    <a:lnTo>
                      <a:pt x="697" y="276"/>
                    </a:lnTo>
                    <a:lnTo>
                      <a:pt x="701" y="278"/>
                    </a:lnTo>
                    <a:lnTo>
                      <a:pt x="707" y="280"/>
                    </a:lnTo>
                    <a:lnTo>
                      <a:pt x="707" y="280"/>
                    </a:lnTo>
                    <a:lnTo>
                      <a:pt x="707" y="280"/>
                    </a:lnTo>
                    <a:lnTo>
                      <a:pt x="707" y="280"/>
                    </a:lnTo>
                    <a:lnTo>
                      <a:pt x="709" y="284"/>
                    </a:lnTo>
                    <a:lnTo>
                      <a:pt x="711" y="284"/>
                    </a:lnTo>
                    <a:lnTo>
                      <a:pt x="715" y="284"/>
                    </a:lnTo>
                    <a:lnTo>
                      <a:pt x="727" y="278"/>
                    </a:lnTo>
                    <a:lnTo>
                      <a:pt x="731" y="278"/>
                    </a:lnTo>
                    <a:lnTo>
                      <a:pt x="732" y="276"/>
                    </a:lnTo>
                    <a:lnTo>
                      <a:pt x="736" y="278"/>
                    </a:lnTo>
                    <a:lnTo>
                      <a:pt x="738" y="280"/>
                    </a:lnTo>
                    <a:lnTo>
                      <a:pt x="738" y="280"/>
                    </a:lnTo>
                    <a:lnTo>
                      <a:pt x="738" y="280"/>
                    </a:lnTo>
                    <a:lnTo>
                      <a:pt x="740" y="280"/>
                    </a:lnTo>
                    <a:lnTo>
                      <a:pt x="742" y="280"/>
                    </a:lnTo>
                    <a:lnTo>
                      <a:pt x="742" y="280"/>
                    </a:lnTo>
                    <a:lnTo>
                      <a:pt x="744" y="276"/>
                    </a:lnTo>
                    <a:lnTo>
                      <a:pt x="744" y="274"/>
                    </a:lnTo>
                    <a:lnTo>
                      <a:pt x="746" y="272"/>
                    </a:lnTo>
                    <a:lnTo>
                      <a:pt x="746" y="272"/>
                    </a:lnTo>
                    <a:lnTo>
                      <a:pt x="748" y="270"/>
                    </a:lnTo>
                    <a:lnTo>
                      <a:pt x="750" y="270"/>
                    </a:lnTo>
                    <a:lnTo>
                      <a:pt x="752" y="268"/>
                    </a:lnTo>
                    <a:lnTo>
                      <a:pt x="754" y="268"/>
                    </a:lnTo>
                    <a:lnTo>
                      <a:pt x="758" y="268"/>
                    </a:lnTo>
                    <a:lnTo>
                      <a:pt x="766" y="266"/>
                    </a:lnTo>
                    <a:lnTo>
                      <a:pt x="768" y="266"/>
                    </a:lnTo>
                    <a:lnTo>
                      <a:pt x="768" y="266"/>
                    </a:lnTo>
                    <a:lnTo>
                      <a:pt x="770" y="266"/>
                    </a:lnTo>
                    <a:lnTo>
                      <a:pt x="772" y="268"/>
                    </a:lnTo>
                    <a:lnTo>
                      <a:pt x="775" y="270"/>
                    </a:lnTo>
                    <a:lnTo>
                      <a:pt x="777" y="272"/>
                    </a:lnTo>
                    <a:lnTo>
                      <a:pt x="779" y="272"/>
                    </a:lnTo>
                    <a:lnTo>
                      <a:pt x="781" y="274"/>
                    </a:lnTo>
                    <a:lnTo>
                      <a:pt x="781" y="276"/>
                    </a:lnTo>
                    <a:lnTo>
                      <a:pt x="781" y="280"/>
                    </a:lnTo>
                    <a:lnTo>
                      <a:pt x="783" y="282"/>
                    </a:lnTo>
                    <a:lnTo>
                      <a:pt x="785" y="282"/>
                    </a:lnTo>
                    <a:lnTo>
                      <a:pt x="789" y="282"/>
                    </a:lnTo>
                    <a:lnTo>
                      <a:pt x="791" y="282"/>
                    </a:lnTo>
                    <a:lnTo>
                      <a:pt x="795" y="284"/>
                    </a:lnTo>
                    <a:lnTo>
                      <a:pt x="797" y="286"/>
                    </a:lnTo>
                    <a:lnTo>
                      <a:pt x="797" y="293"/>
                    </a:lnTo>
                    <a:lnTo>
                      <a:pt x="799" y="295"/>
                    </a:lnTo>
                    <a:lnTo>
                      <a:pt x="799" y="299"/>
                    </a:lnTo>
                    <a:lnTo>
                      <a:pt x="803" y="303"/>
                    </a:lnTo>
                    <a:lnTo>
                      <a:pt x="809" y="313"/>
                    </a:lnTo>
                    <a:lnTo>
                      <a:pt x="813" y="319"/>
                    </a:lnTo>
                    <a:lnTo>
                      <a:pt x="813" y="319"/>
                    </a:lnTo>
                    <a:lnTo>
                      <a:pt x="816" y="321"/>
                    </a:lnTo>
                    <a:lnTo>
                      <a:pt x="818" y="321"/>
                    </a:lnTo>
                    <a:lnTo>
                      <a:pt x="822" y="323"/>
                    </a:lnTo>
                    <a:lnTo>
                      <a:pt x="828" y="323"/>
                    </a:lnTo>
                    <a:lnTo>
                      <a:pt x="832" y="321"/>
                    </a:lnTo>
                    <a:lnTo>
                      <a:pt x="836" y="319"/>
                    </a:lnTo>
                    <a:lnTo>
                      <a:pt x="838" y="319"/>
                    </a:lnTo>
                    <a:lnTo>
                      <a:pt x="844" y="317"/>
                    </a:lnTo>
                    <a:lnTo>
                      <a:pt x="848" y="315"/>
                    </a:lnTo>
                    <a:lnTo>
                      <a:pt x="850" y="315"/>
                    </a:lnTo>
                    <a:lnTo>
                      <a:pt x="852" y="313"/>
                    </a:lnTo>
                    <a:lnTo>
                      <a:pt x="859" y="313"/>
                    </a:lnTo>
                    <a:lnTo>
                      <a:pt x="863" y="311"/>
                    </a:lnTo>
                    <a:lnTo>
                      <a:pt x="865" y="311"/>
                    </a:lnTo>
                    <a:lnTo>
                      <a:pt x="871" y="313"/>
                    </a:lnTo>
                    <a:lnTo>
                      <a:pt x="877" y="313"/>
                    </a:lnTo>
                    <a:lnTo>
                      <a:pt x="879" y="311"/>
                    </a:lnTo>
                    <a:lnTo>
                      <a:pt x="883" y="309"/>
                    </a:lnTo>
                    <a:lnTo>
                      <a:pt x="883" y="307"/>
                    </a:lnTo>
                    <a:lnTo>
                      <a:pt x="885" y="305"/>
                    </a:lnTo>
                    <a:lnTo>
                      <a:pt x="885" y="301"/>
                    </a:lnTo>
                    <a:lnTo>
                      <a:pt x="885" y="287"/>
                    </a:lnTo>
                    <a:lnTo>
                      <a:pt x="887" y="284"/>
                    </a:lnTo>
                    <a:lnTo>
                      <a:pt x="887" y="282"/>
                    </a:lnTo>
                    <a:lnTo>
                      <a:pt x="889" y="280"/>
                    </a:lnTo>
                    <a:lnTo>
                      <a:pt x="887" y="268"/>
                    </a:lnTo>
                    <a:lnTo>
                      <a:pt x="887" y="266"/>
                    </a:lnTo>
                    <a:lnTo>
                      <a:pt x="887" y="264"/>
                    </a:lnTo>
                    <a:lnTo>
                      <a:pt x="887" y="264"/>
                    </a:lnTo>
                    <a:lnTo>
                      <a:pt x="889" y="260"/>
                    </a:lnTo>
                    <a:lnTo>
                      <a:pt x="900" y="250"/>
                    </a:lnTo>
                    <a:lnTo>
                      <a:pt x="900" y="250"/>
                    </a:lnTo>
                    <a:lnTo>
                      <a:pt x="900" y="248"/>
                    </a:lnTo>
                    <a:lnTo>
                      <a:pt x="902" y="245"/>
                    </a:lnTo>
                    <a:lnTo>
                      <a:pt x="904" y="243"/>
                    </a:lnTo>
                    <a:lnTo>
                      <a:pt x="906" y="243"/>
                    </a:lnTo>
                    <a:lnTo>
                      <a:pt x="906" y="243"/>
                    </a:lnTo>
                    <a:lnTo>
                      <a:pt x="910" y="241"/>
                    </a:lnTo>
                    <a:lnTo>
                      <a:pt x="912" y="239"/>
                    </a:lnTo>
                    <a:lnTo>
                      <a:pt x="914" y="237"/>
                    </a:lnTo>
                    <a:lnTo>
                      <a:pt x="914" y="235"/>
                    </a:lnTo>
                    <a:lnTo>
                      <a:pt x="916" y="231"/>
                    </a:lnTo>
                    <a:lnTo>
                      <a:pt x="916" y="231"/>
                    </a:lnTo>
                    <a:lnTo>
                      <a:pt x="918" y="225"/>
                    </a:lnTo>
                    <a:lnTo>
                      <a:pt x="918" y="219"/>
                    </a:lnTo>
                    <a:lnTo>
                      <a:pt x="918" y="217"/>
                    </a:lnTo>
                    <a:lnTo>
                      <a:pt x="920" y="215"/>
                    </a:lnTo>
                    <a:lnTo>
                      <a:pt x="920" y="215"/>
                    </a:lnTo>
                    <a:lnTo>
                      <a:pt x="922" y="213"/>
                    </a:lnTo>
                    <a:lnTo>
                      <a:pt x="922" y="213"/>
                    </a:lnTo>
                    <a:lnTo>
                      <a:pt x="922" y="211"/>
                    </a:lnTo>
                    <a:lnTo>
                      <a:pt x="924" y="211"/>
                    </a:lnTo>
                    <a:lnTo>
                      <a:pt x="924" y="209"/>
                    </a:lnTo>
                    <a:lnTo>
                      <a:pt x="924" y="207"/>
                    </a:lnTo>
                    <a:lnTo>
                      <a:pt x="924" y="207"/>
                    </a:lnTo>
                    <a:lnTo>
                      <a:pt x="924" y="205"/>
                    </a:lnTo>
                    <a:lnTo>
                      <a:pt x="924" y="198"/>
                    </a:lnTo>
                    <a:lnTo>
                      <a:pt x="924" y="198"/>
                    </a:lnTo>
                    <a:lnTo>
                      <a:pt x="924" y="196"/>
                    </a:lnTo>
                    <a:lnTo>
                      <a:pt x="924" y="196"/>
                    </a:lnTo>
                    <a:lnTo>
                      <a:pt x="924" y="194"/>
                    </a:lnTo>
                    <a:lnTo>
                      <a:pt x="924" y="192"/>
                    </a:lnTo>
                    <a:lnTo>
                      <a:pt x="926" y="192"/>
                    </a:lnTo>
                    <a:lnTo>
                      <a:pt x="926" y="192"/>
                    </a:lnTo>
                    <a:lnTo>
                      <a:pt x="926" y="190"/>
                    </a:lnTo>
                    <a:lnTo>
                      <a:pt x="926" y="190"/>
                    </a:lnTo>
                    <a:lnTo>
                      <a:pt x="930" y="186"/>
                    </a:lnTo>
                    <a:lnTo>
                      <a:pt x="930" y="186"/>
                    </a:lnTo>
                    <a:lnTo>
                      <a:pt x="932" y="184"/>
                    </a:lnTo>
                    <a:lnTo>
                      <a:pt x="932" y="184"/>
                    </a:lnTo>
                    <a:lnTo>
                      <a:pt x="932" y="182"/>
                    </a:lnTo>
                    <a:lnTo>
                      <a:pt x="932" y="182"/>
                    </a:lnTo>
                    <a:lnTo>
                      <a:pt x="932" y="178"/>
                    </a:lnTo>
                    <a:lnTo>
                      <a:pt x="932" y="178"/>
                    </a:lnTo>
                    <a:lnTo>
                      <a:pt x="932" y="178"/>
                    </a:lnTo>
                    <a:lnTo>
                      <a:pt x="932" y="178"/>
                    </a:lnTo>
                    <a:lnTo>
                      <a:pt x="934" y="172"/>
                    </a:lnTo>
                    <a:lnTo>
                      <a:pt x="936" y="170"/>
                    </a:lnTo>
                    <a:lnTo>
                      <a:pt x="938" y="163"/>
                    </a:lnTo>
                    <a:lnTo>
                      <a:pt x="942" y="161"/>
                    </a:lnTo>
                    <a:lnTo>
                      <a:pt x="942" y="161"/>
                    </a:lnTo>
                    <a:lnTo>
                      <a:pt x="947" y="159"/>
                    </a:lnTo>
                    <a:lnTo>
                      <a:pt x="949" y="157"/>
                    </a:lnTo>
                    <a:lnTo>
                      <a:pt x="949" y="155"/>
                    </a:lnTo>
                    <a:lnTo>
                      <a:pt x="949" y="153"/>
                    </a:lnTo>
                    <a:lnTo>
                      <a:pt x="951" y="151"/>
                    </a:lnTo>
                    <a:lnTo>
                      <a:pt x="951" y="147"/>
                    </a:lnTo>
                    <a:lnTo>
                      <a:pt x="951" y="143"/>
                    </a:lnTo>
                    <a:lnTo>
                      <a:pt x="951" y="141"/>
                    </a:lnTo>
                    <a:lnTo>
                      <a:pt x="953" y="139"/>
                    </a:lnTo>
                    <a:lnTo>
                      <a:pt x="953" y="137"/>
                    </a:lnTo>
                    <a:lnTo>
                      <a:pt x="951" y="13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34" name="Freeform 749">
                <a:extLst>
                  <a:ext uri="{FF2B5EF4-FFF2-40B4-BE49-F238E27FC236}">
                    <a16:creationId xmlns:a16="http://schemas.microsoft.com/office/drawing/2014/main" id="{8C269DF4-978C-443B-AEB3-D4CAB54BC7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9" y="3482"/>
                <a:ext cx="1086" cy="334"/>
              </a:xfrm>
              <a:custGeom>
                <a:avLst/>
                <a:gdLst>
                  <a:gd name="T0" fmla="*/ 1063 w 1086"/>
                  <a:gd name="T1" fmla="*/ 305 h 334"/>
                  <a:gd name="T2" fmla="*/ 1041 w 1086"/>
                  <a:gd name="T3" fmla="*/ 287 h 334"/>
                  <a:gd name="T4" fmla="*/ 1035 w 1086"/>
                  <a:gd name="T5" fmla="*/ 272 h 334"/>
                  <a:gd name="T6" fmla="*/ 1018 w 1086"/>
                  <a:gd name="T7" fmla="*/ 244 h 334"/>
                  <a:gd name="T8" fmla="*/ 1000 w 1086"/>
                  <a:gd name="T9" fmla="*/ 225 h 334"/>
                  <a:gd name="T10" fmla="*/ 998 w 1086"/>
                  <a:gd name="T11" fmla="*/ 205 h 334"/>
                  <a:gd name="T12" fmla="*/ 985 w 1086"/>
                  <a:gd name="T13" fmla="*/ 197 h 334"/>
                  <a:gd name="T14" fmla="*/ 975 w 1086"/>
                  <a:gd name="T15" fmla="*/ 184 h 334"/>
                  <a:gd name="T16" fmla="*/ 967 w 1086"/>
                  <a:gd name="T17" fmla="*/ 170 h 334"/>
                  <a:gd name="T18" fmla="*/ 949 w 1086"/>
                  <a:gd name="T19" fmla="*/ 133 h 334"/>
                  <a:gd name="T20" fmla="*/ 940 w 1086"/>
                  <a:gd name="T21" fmla="*/ 117 h 334"/>
                  <a:gd name="T22" fmla="*/ 936 w 1086"/>
                  <a:gd name="T23" fmla="*/ 98 h 334"/>
                  <a:gd name="T24" fmla="*/ 930 w 1086"/>
                  <a:gd name="T25" fmla="*/ 82 h 334"/>
                  <a:gd name="T26" fmla="*/ 920 w 1086"/>
                  <a:gd name="T27" fmla="*/ 65 h 334"/>
                  <a:gd name="T28" fmla="*/ 914 w 1086"/>
                  <a:gd name="T29" fmla="*/ 57 h 334"/>
                  <a:gd name="T30" fmla="*/ 908 w 1086"/>
                  <a:gd name="T31" fmla="*/ 37 h 334"/>
                  <a:gd name="T32" fmla="*/ 901 w 1086"/>
                  <a:gd name="T33" fmla="*/ 30 h 334"/>
                  <a:gd name="T34" fmla="*/ 885 w 1086"/>
                  <a:gd name="T35" fmla="*/ 22 h 334"/>
                  <a:gd name="T36" fmla="*/ 858 w 1086"/>
                  <a:gd name="T37" fmla="*/ 4 h 334"/>
                  <a:gd name="T38" fmla="*/ 828 w 1086"/>
                  <a:gd name="T39" fmla="*/ 6 h 334"/>
                  <a:gd name="T40" fmla="*/ 789 w 1086"/>
                  <a:gd name="T41" fmla="*/ 16 h 334"/>
                  <a:gd name="T42" fmla="*/ 781 w 1086"/>
                  <a:gd name="T43" fmla="*/ 37 h 334"/>
                  <a:gd name="T44" fmla="*/ 766 w 1086"/>
                  <a:gd name="T45" fmla="*/ 65 h 334"/>
                  <a:gd name="T46" fmla="*/ 738 w 1086"/>
                  <a:gd name="T47" fmla="*/ 74 h 334"/>
                  <a:gd name="T48" fmla="*/ 707 w 1086"/>
                  <a:gd name="T49" fmla="*/ 80 h 334"/>
                  <a:gd name="T50" fmla="*/ 586 w 1086"/>
                  <a:gd name="T51" fmla="*/ 127 h 334"/>
                  <a:gd name="T52" fmla="*/ 547 w 1086"/>
                  <a:gd name="T53" fmla="*/ 139 h 334"/>
                  <a:gd name="T54" fmla="*/ 518 w 1086"/>
                  <a:gd name="T55" fmla="*/ 112 h 334"/>
                  <a:gd name="T56" fmla="*/ 504 w 1086"/>
                  <a:gd name="T57" fmla="*/ 92 h 334"/>
                  <a:gd name="T58" fmla="*/ 471 w 1086"/>
                  <a:gd name="T59" fmla="*/ 80 h 334"/>
                  <a:gd name="T60" fmla="*/ 438 w 1086"/>
                  <a:gd name="T61" fmla="*/ 94 h 334"/>
                  <a:gd name="T62" fmla="*/ 414 w 1086"/>
                  <a:gd name="T63" fmla="*/ 84 h 334"/>
                  <a:gd name="T64" fmla="*/ 375 w 1086"/>
                  <a:gd name="T65" fmla="*/ 84 h 334"/>
                  <a:gd name="T66" fmla="*/ 350 w 1086"/>
                  <a:gd name="T67" fmla="*/ 72 h 334"/>
                  <a:gd name="T68" fmla="*/ 326 w 1086"/>
                  <a:gd name="T69" fmla="*/ 67 h 334"/>
                  <a:gd name="T70" fmla="*/ 312 w 1086"/>
                  <a:gd name="T71" fmla="*/ 74 h 334"/>
                  <a:gd name="T72" fmla="*/ 297 w 1086"/>
                  <a:gd name="T73" fmla="*/ 71 h 334"/>
                  <a:gd name="T74" fmla="*/ 293 w 1086"/>
                  <a:gd name="T75" fmla="*/ 71 h 334"/>
                  <a:gd name="T76" fmla="*/ 266 w 1086"/>
                  <a:gd name="T77" fmla="*/ 47 h 334"/>
                  <a:gd name="T78" fmla="*/ 244 w 1086"/>
                  <a:gd name="T79" fmla="*/ 65 h 334"/>
                  <a:gd name="T80" fmla="*/ 227 w 1086"/>
                  <a:gd name="T81" fmla="*/ 71 h 334"/>
                  <a:gd name="T82" fmla="*/ 217 w 1086"/>
                  <a:gd name="T83" fmla="*/ 78 h 334"/>
                  <a:gd name="T84" fmla="*/ 209 w 1086"/>
                  <a:gd name="T85" fmla="*/ 84 h 334"/>
                  <a:gd name="T86" fmla="*/ 195 w 1086"/>
                  <a:gd name="T87" fmla="*/ 98 h 334"/>
                  <a:gd name="T88" fmla="*/ 191 w 1086"/>
                  <a:gd name="T89" fmla="*/ 110 h 334"/>
                  <a:gd name="T90" fmla="*/ 176 w 1086"/>
                  <a:gd name="T91" fmla="*/ 121 h 334"/>
                  <a:gd name="T92" fmla="*/ 135 w 1086"/>
                  <a:gd name="T93" fmla="*/ 123 h 334"/>
                  <a:gd name="T94" fmla="*/ 117 w 1086"/>
                  <a:gd name="T95" fmla="*/ 135 h 334"/>
                  <a:gd name="T96" fmla="*/ 103 w 1086"/>
                  <a:gd name="T97" fmla="*/ 145 h 334"/>
                  <a:gd name="T98" fmla="*/ 98 w 1086"/>
                  <a:gd name="T99" fmla="*/ 156 h 334"/>
                  <a:gd name="T100" fmla="*/ 92 w 1086"/>
                  <a:gd name="T101" fmla="*/ 170 h 334"/>
                  <a:gd name="T102" fmla="*/ 70 w 1086"/>
                  <a:gd name="T103" fmla="*/ 182 h 334"/>
                  <a:gd name="T104" fmla="*/ 64 w 1086"/>
                  <a:gd name="T105" fmla="*/ 219 h 334"/>
                  <a:gd name="T106" fmla="*/ 41 w 1086"/>
                  <a:gd name="T107" fmla="*/ 242 h 334"/>
                  <a:gd name="T108" fmla="*/ 35 w 1086"/>
                  <a:gd name="T109" fmla="*/ 262 h 334"/>
                  <a:gd name="T110" fmla="*/ 29 w 1086"/>
                  <a:gd name="T111" fmla="*/ 277 h 334"/>
                  <a:gd name="T112" fmla="*/ 25 w 1086"/>
                  <a:gd name="T113" fmla="*/ 287 h 334"/>
                  <a:gd name="T114" fmla="*/ 4 w 1086"/>
                  <a:gd name="T115" fmla="*/ 311 h 334"/>
                  <a:gd name="T116" fmla="*/ 6 w 1086"/>
                  <a:gd name="T117" fmla="*/ 313 h 334"/>
                  <a:gd name="T118" fmla="*/ 10 w 1086"/>
                  <a:gd name="T119" fmla="*/ 317 h 334"/>
                  <a:gd name="T120" fmla="*/ 1086 w 1086"/>
                  <a:gd name="T121" fmla="*/ 334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86" h="334">
                    <a:moveTo>
                      <a:pt x="1082" y="322"/>
                    </a:moveTo>
                    <a:lnTo>
                      <a:pt x="1080" y="318"/>
                    </a:lnTo>
                    <a:lnTo>
                      <a:pt x="1074" y="311"/>
                    </a:lnTo>
                    <a:lnTo>
                      <a:pt x="1074" y="311"/>
                    </a:lnTo>
                    <a:lnTo>
                      <a:pt x="1072" y="307"/>
                    </a:lnTo>
                    <a:lnTo>
                      <a:pt x="1069" y="309"/>
                    </a:lnTo>
                    <a:lnTo>
                      <a:pt x="1067" y="307"/>
                    </a:lnTo>
                    <a:lnTo>
                      <a:pt x="1063" y="305"/>
                    </a:lnTo>
                    <a:lnTo>
                      <a:pt x="1059" y="305"/>
                    </a:lnTo>
                    <a:lnTo>
                      <a:pt x="1059" y="301"/>
                    </a:lnTo>
                    <a:lnTo>
                      <a:pt x="1055" y="299"/>
                    </a:lnTo>
                    <a:lnTo>
                      <a:pt x="1051" y="295"/>
                    </a:lnTo>
                    <a:lnTo>
                      <a:pt x="1045" y="289"/>
                    </a:lnTo>
                    <a:lnTo>
                      <a:pt x="1045" y="289"/>
                    </a:lnTo>
                    <a:lnTo>
                      <a:pt x="1043" y="287"/>
                    </a:lnTo>
                    <a:lnTo>
                      <a:pt x="1041" y="287"/>
                    </a:lnTo>
                    <a:lnTo>
                      <a:pt x="1043" y="285"/>
                    </a:lnTo>
                    <a:lnTo>
                      <a:pt x="1043" y="283"/>
                    </a:lnTo>
                    <a:lnTo>
                      <a:pt x="1035" y="279"/>
                    </a:lnTo>
                    <a:lnTo>
                      <a:pt x="1033" y="277"/>
                    </a:lnTo>
                    <a:lnTo>
                      <a:pt x="1035" y="276"/>
                    </a:lnTo>
                    <a:lnTo>
                      <a:pt x="1035" y="276"/>
                    </a:lnTo>
                    <a:lnTo>
                      <a:pt x="1035" y="274"/>
                    </a:lnTo>
                    <a:lnTo>
                      <a:pt x="1035" y="272"/>
                    </a:lnTo>
                    <a:lnTo>
                      <a:pt x="1035" y="272"/>
                    </a:lnTo>
                    <a:lnTo>
                      <a:pt x="1033" y="266"/>
                    </a:lnTo>
                    <a:lnTo>
                      <a:pt x="1027" y="260"/>
                    </a:lnTo>
                    <a:lnTo>
                      <a:pt x="1027" y="256"/>
                    </a:lnTo>
                    <a:lnTo>
                      <a:pt x="1027" y="254"/>
                    </a:lnTo>
                    <a:lnTo>
                      <a:pt x="1024" y="248"/>
                    </a:lnTo>
                    <a:lnTo>
                      <a:pt x="1022" y="246"/>
                    </a:lnTo>
                    <a:lnTo>
                      <a:pt x="1018" y="244"/>
                    </a:lnTo>
                    <a:lnTo>
                      <a:pt x="1016" y="244"/>
                    </a:lnTo>
                    <a:lnTo>
                      <a:pt x="1016" y="242"/>
                    </a:lnTo>
                    <a:lnTo>
                      <a:pt x="1014" y="242"/>
                    </a:lnTo>
                    <a:lnTo>
                      <a:pt x="1008" y="240"/>
                    </a:lnTo>
                    <a:lnTo>
                      <a:pt x="1008" y="240"/>
                    </a:lnTo>
                    <a:lnTo>
                      <a:pt x="1006" y="236"/>
                    </a:lnTo>
                    <a:lnTo>
                      <a:pt x="1002" y="227"/>
                    </a:lnTo>
                    <a:lnTo>
                      <a:pt x="1000" y="225"/>
                    </a:lnTo>
                    <a:lnTo>
                      <a:pt x="998" y="225"/>
                    </a:lnTo>
                    <a:lnTo>
                      <a:pt x="996" y="223"/>
                    </a:lnTo>
                    <a:lnTo>
                      <a:pt x="998" y="215"/>
                    </a:lnTo>
                    <a:lnTo>
                      <a:pt x="994" y="213"/>
                    </a:lnTo>
                    <a:lnTo>
                      <a:pt x="996" y="211"/>
                    </a:lnTo>
                    <a:lnTo>
                      <a:pt x="996" y="207"/>
                    </a:lnTo>
                    <a:lnTo>
                      <a:pt x="996" y="205"/>
                    </a:lnTo>
                    <a:lnTo>
                      <a:pt x="998" y="205"/>
                    </a:lnTo>
                    <a:lnTo>
                      <a:pt x="996" y="201"/>
                    </a:lnTo>
                    <a:lnTo>
                      <a:pt x="994" y="199"/>
                    </a:lnTo>
                    <a:lnTo>
                      <a:pt x="992" y="199"/>
                    </a:lnTo>
                    <a:lnTo>
                      <a:pt x="990" y="197"/>
                    </a:lnTo>
                    <a:lnTo>
                      <a:pt x="990" y="197"/>
                    </a:lnTo>
                    <a:lnTo>
                      <a:pt x="986" y="197"/>
                    </a:lnTo>
                    <a:lnTo>
                      <a:pt x="985" y="197"/>
                    </a:lnTo>
                    <a:lnTo>
                      <a:pt x="985" y="197"/>
                    </a:lnTo>
                    <a:lnTo>
                      <a:pt x="983" y="195"/>
                    </a:lnTo>
                    <a:lnTo>
                      <a:pt x="983" y="195"/>
                    </a:lnTo>
                    <a:lnTo>
                      <a:pt x="981" y="194"/>
                    </a:lnTo>
                    <a:lnTo>
                      <a:pt x="979" y="192"/>
                    </a:lnTo>
                    <a:lnTo>
                      <a:pt x="977" y="184"/>
                    </a:lnTo>
                    <a:lnTo>
                      <a:pt x="977" y="184"/>
                    </a:lnTo>
                    <a:lnTo>
                      <a:pt x="975" y="184"/>
                    </a:lnTo>
                    <a:lnTo>
                      <a:pt x="975" y="184"/>
                    </a:lnTo>
                    <a:lnTo>
                      <a:pt x="975" y="182"/>
                    </a:lnTo>
                    <a:lnTo>
                      <a:pt x="975" y="180"/>
                    </a:lnTo>
                    <a:lnTo>
                      <a:pt x="975" y="180"/>
                    </a:lnTo>
                    <a:lnTo>
                      <a:pt x="973" y="178"/>
                    </a:lnTo>
                    <a:lnTo>
                      <a:pt x="973" y="174"/>
                    </a:lnTo>
                    <a:lnTo>
                      <a:pt x="973" y="174"/>
                    </a:lnTo>
                    <a:lnTo>
                      <a:pt x="973" y="172"/>
                    </a:lnTo>
                    <a:lnTo>
                      <a:pt x="967" y="170"/>
                    </a:lnTo>
                    <a:lnTo>
                      <a:pt x="963" y="166"/>
                    </a:lnTo>
                    <a:lnTo>
                      <a:pt x="951" y="151"/>
                    </a:lnTo>
                    <a:lnTo>
                      <a:pt x="947" y="145"/>
                    </a:lnTo>
                    <a:lnTo>
                      <a:pt x="945" y="139"/>
                    </a:lnTo>
                    <a:lnTo>
                      <a:pt x="949" y="139"/>
                    </a:lnTo>
                    <a:lnTo>
                      <a:pt x="949" y="137"/>
                    </a:lnTo>
                    <a:lnTo>
                      <a:pt x="949" y="135"/>
                    </a:lnTo>
                    <a:lnTo>
                      <a:pt x="949" y="133"/>
                    </a:lnTo>
                    <a:lnTo>
                      <a:pt x="949" y="131"/>
                    </a:lnTo>
                    <a:lnTo>
                      <a:pt x="949" y="129"/>
                    </a:lnTo>
                    <a:lnTo>
                      <a:pt x="947" y="129"/>
                    </a:lnTo>
                    <a:lnTo>
                      <a:pt x="945" y="127"/>
                    </a:lnTo>
                    <a:lnTo>
                      <a:pt x="943" y="125"/>
                    </a:lnTo>
                    <a:lnTo>
                      <a:pt x="943" y="123"/>
                    </a:lnTo>
                    <a:lnTo>
                      <a:pt x="942" y="119"/>
                    </a:lnTo>
                    <a:lnTo>
                      <a:pt x="940" y="117"/>
                    </a:lnTo>
                    <a:lnTo>
                      <a:pt x="938" y="115"/>
                    </a:lnTo>
                    <a:lnTo>
                      <a:pt x="943" y="112"/>
                    </a:lnTo>
                    <a:lnTo>
                      <a:pt x="942" y="110"/>
                    </a:lnTo>
                    <a:lnTo>
                      <a:pt x="940" y="108"/>
                    </a:lnTo>
                    <a:lnTo>
                      <a:pt x="938" y="108"/>
                    </a:lnTo>
                    <a:lnTo>
                      <a:pt x="936" y="106"/>
                    </a:lnTo>
                    <a:lnTo>
                      <a:pt x="936" y="106"/>
                    </a:lnTo>
                    <a:lnTo>
                      <a:pt x="936" y="98"/>
                    </a:lnTo>
                    <a:lnTo>
                      <a:pt x="936" y="96"/>
                    </a:lnTo>
                    <a:lnTo>
                      <a:pt x="934" y="92"/>
                    </a:lnTo>
                    <a:lnTo>
                      <a:pt x="930" y="90"/>
                    </a:lnTo>
                    <a:lnTo>
                      <a:pt x="928" y="88"/>
                    </a:lnTo>
                    <a:lnTo>
                      <a:pt x="930" y="84"/>
                    </a:lnTo>
                    <a:lnTo>
                      <a:pt x="930" y="82"/>
                    </a:lnTo>
                    <a:lnTo>
                      <a:pt x="930" y="82"/>
                    </a:lnTo>
                    <a:lnTo>
                      <a:pt x="930" y="82"/>
                    </a:lnTo>
                    <a:lnTo>
                      <a:pt x="926" y="78"/>
                    </a:lnTo>
                    <a:lnTo>
                      <a:pt x="928" y="76"/>
                    </a:lnTo>
                    <a:lnTo>
                      <a:pt x="930" y="74"/>
                    </a:lnTo>
                    <a:lnTo>
                      <a:pt x="930" y="72"/>
                    </a:lnTo>
                    <a:lnTo>
                      <a:pt x="928" y="71"/>
                    </a:lnTo>
                    <a:lnTo>
                      <a:pt x="924" y="72"/>
                    </a:lnTo>
                    <a:lnTo>
                      <a:pt x="924" y="69"/>
                    </a:lnTo>
                    <a:lnTo>
                      <a:pt x="920" y="65"/>
                    </a:lnTo>
                    <a:lnTo>
                      <a:pt x="916" y="67"/>
                    </a:lnTo>
                    <a:lnTo>
                      <a:pt x="916" y="67"/>
                    </a:lnTo>
                    <a:lnTo>
                      <a:pt x="916" y="65"/>
                    </a:lnTo>
                    <a:lnTo>
                      <a:pt x="916" y="65"/>
                    </a:lnTo>
                    <a:lnTo>
                      <a:pt x="916" y="63"/>
                    </a:lnTo>
                    <a:lnTo>
                      <a:pt x="918" y="63"/>
                    </a:lnTo>
                    <a:lnTo>
                      <a:pt x="918" y="61"/>
                    </a:lnTo>
                    <a:lnTo>
                      <a:pt x="914" y="57"/>
                    </a:lnTo>
                    <a:lnTo>
                      <a:pt x="910" y="55"/>
                    </a:lnTo>
                    <a:lnTo>
                      <a:pt x="908" y="49"/>
                    </a:lnTo>
                    <a:lnTo>
                      <a:pt x="906" y="43"/>
                    </a:lnTo>
                    <a:lnTo>
                      <a:pt x="906" y="41"/>
                    </a:lnTo>
                    <a:lnTo>
                      <a:pt x="908" y="39"/>
                    </a:lnTo>
                    <a:lnTo>
                      <a:pt x="908" y="37"/>
                    </a:lnTo>
                    <a:lnTo>
                      <a:pt x="908" y="37"/>
                    </a:lnTo>
                    <a:lnTo>
                      <a:pt x="908" y="37"/>
                    </a:lnTo>
                    <a:lnTo>
                      <a:pt x="906" y="35"/>
                    </a:lnTo>
                    <a:lnTo>
                      <a:pt x="904" y="35"/>
                    </a:lnTo>
                    <a:lnTo>
                      <a:pt x="902" y="37"/>
                    </a:lnTo>
                    <a:lnTo>
                      <a:pt x="901" y="35"/>
                    </a:lnTo>
                    <a:lnTo>
                      <a:pt x="895" y="33"/>
                    </a:lnTo>
                    <a:lnTo>
                      <a:pt x="895" y="31"/>
                    </a:lnTo>
                    <a:lnTo>
                      <a:pt x="899" y="31"/>
                    </a:lnTo>
                    <a:lnTo>
                      <a:pt x="901" y="30"/>
                    </a:lnTo>
                    <a:lnTo>
                      <a:pt x="901" y="28"/>
                    </a:lnTo>
                    <a:lnTo>
                      <a:pt x="895" y="26"/>
                    </a:lnTo>
                    <a:lnTo>
                      <a:pt x="893" y="22"/>
                    </a:lnTo>
                    <a:lnTo>
                      <a:pt x="893" y="20"/>
                    </a:lnTo>
                    <a:lnTo>
                      <a:pt x="891" y="18"/>
                    </a:lnTo>
                    <a:lnTo>
                      <a:pt x="889" y="18"/>
                    </a:lnTo>
                    <a:lnTo>
                      <a:pt x="887" y="22"/>
                    </a:lnTo>
                    <a:lnTo>
                      <a:pt x="885" y="22"/>
                    </a:lnTo>
                    <a:lnTo>
                      <a:pt x="885" y="18"/>
                    </a:lnTo>
                    <a:lnTo>
                      <a:pt x="883" y="16"/>
                    </a:lnTo>
                    <a:lnTo>
                      <a:pt x="877" y="10"/>
                    </a:lnTo>
                    <a:lnTo>
                      <a:pt x="875" y="10"/>
                    </a:lnTo>
                    <a:lnTo>
                      <a:pt x="871" y="6"/>
                    </a:lnTo>
                    <a:lnTo>
                      <a:pt x="867" y="4"/>
                    </a:lnTo>
                    <a:lnTo>
                      <a:pt x="861" y="6"/>
                    </a:lnTo>
                    <a:lnTo>
                      <a:pt x="858" y="4"/>
                    </a:lnTo>
                    <a:lnTo>
                      <a:pt x="856" y="0"/>
                    </a:lnTo>
                    <a:lnTo>
                      <a:pt x="854" y="4"/>
                    </a:lnTo>
                    <a:lnTo>
                      <a:pt x="852" y="4"/>
                    </a:lnTo>
                    <a:lnTo>
                      <a:pt x="848" y="0"/>
                    </a:lnTo>
                    <a:lnTo>
                      <a:pt x="844" y="0"/>
                    </a:lnTo>
                    <a:lnTo>
                      <a:pt x="836" y="4"/>
                    </a:lnTo>
                    <a:lnTo>
                      <a:pt x="832" y="6"/>
                    </a:lnTo>
                    <a:lnTo>
                      <a:pt x="828" y="6"/>
                    </a:lnTo>
                    <a:lnTo>
                      <a:pt x="811" y="10"/>
                    </a:lnTo>
                    <a:lnTo>
                      <a:pt x="809" y="12"/>
                    </a:lnTo>
                    <a:lnTo>
                      <a:pt x="809" y="12"/>
                    </a:lnTo>
                    <a:lnTo>
                      <a:pt x="801" y="12"/>
                    </a:lnTo>
                    <a:lnTo>
                      <a:pt x="799" y="12"/>
                    </a:lnTo>
                    <a:lnTo>
                      <a:pt x="797" y="12"/>
                    </a:lnTo>
                    <a:lnTo>
                      <a:pt x="791" y="16"/>
                    </a:lnTo>
                    <a:lnTo>
                      <a:pt x="789" y="16"/>
                    </a:lnTo>
                    <a:lnTo>
                      <a:pt x="787" y="16"/>
                    </a:lnTo>
                    <a:lnTo>
                      <a:pt x="785" y="16"/>
                    </a:lnTo>
                    <a:lnTo>
                      <a:pt x="785" y="16"/>
                    </a:lnTo>
                    <a:lnTo>
                      <a:pt x="783" y="16"/>
                    </a:lnTo>
                    <a:lnTo>
                      <a:pt x="783" y="18"/>
                    </a:lnTo>
                    <a:lnTo>
                      <a:pt x="783" y="24"/>
                    </a:lnTo>
                    <a:lnTo>
                      <a:pt x="783" y="30"/>
                    </a:lnTo>
                    <a:lnTo>
                      <a:pt x="781" y="37"/>
                    </a:lnTo>
                    <a:lnTo>
                      <a:pt x="779" y="45"/>
                    </a:lnTo>
                    <a:lnTo>
                      <a:pt x="777" y="47"/>
                    </a:lnTo>
                    <a:lnTo>
                      <a:pt x="775" y="51"/>
                    </a:lnTo>
                    <a:lnTo>
                      <a:pt x="774" y="53"/>
                    </a:lnTo>
                    <a:lnTo>
                      <a:pt x="770" y="57"/>
                    </a:lnTo>
                    <a:lnTo>
                      <a:pt x="770" y="57"/>
                    </a:lnTo>
                    <a:lnTo>
                      <a:pt x="768" y="59"/>
                    </a:lnTo>
                    <a:lnTo>
                      <a:pt x="766" y="65"/>
                    </a:lnTo>
                    <a:lnTo>
                      <a:pt x="764" y="69"/>
                    </a:lnTo>
                    <a:lnTo>
                      <a:pt x="762" y="71"/>
                    </a:lnTo>
                    <a:lnTo>
                      <a:pt x="762" y="71"/>
                    </a:lnTo>
                    <a:lnTo>
                      <a:pt x="762" y="71"/>
                    </a:lnTo>
                    <a:lnTo>
                      <a:pt x="754" y="74"/>
                    </a:lnTo>
                    <a:lnTo>
                      <a:pt x="750" y="74"/>
                    </a:lnTo>
                    <a:lnTo>
                      <a:pt x="744" y="74"/>
                    </a:lnTo>
                    <a:lnTo>
                      <a:pt x="738" y="74"/>
                    </a:lnTo>
                    <a:lnTo>
                      <a:pt x="729" y="76"/>
                    </a:lnTo>
                    <a:lnTo>
                      <a:pt x="723" y="76"/>
                    </a:lnTo>
                    <a:lnTo>
                      <a:pt x="719" y="76"/>
                    </a:lnTo>
                    <a:lnTo>
                      <a:pt x="719" y="76"/>
                    </a:lnTo>
                    <a:lnTo>
                      <a:pt x="717" y="76"/>
                    </a:lnTo>
                    <a:lnTo>
                      <a:pt x="715" y="78"/>
                    </a:lnTo>
                    <a:lnTo>
                      <a:pt x="711" y="78"/>
                    </a:lnTo>
                    <a:lnTo>
                      <a:pt x="707" y="80"/>
                    </a:lnTo>
                    <a:lnTo>
                      <a:pt x="703" y="80"/>
                    </a:lnTo>
                    <a:lnTo>
                      <a:pt x="691" y="84"/>
                    </a:lnTo>
                    <a:lnTo>
                      <a:pt x="623" y="92"/>
                    </a:lnTo>
                    <a:lnTo>
                      <a:pt x="609" y="94"/>
                    </a:lnTo>
                    <a:lnTo>
                      <a:pt x="604" y="98"/>
                    </a:lnTo>
                    <a:lnTo>
                      <a:pt x="590" y="121"/>
                    </a:lnTo>
                    <a:lnTo>
                      <a:pt x="586" y="125"/>
                    </a:lnTo>
                    <a:lnTo>
                      <a:pt x="586" y="127"/>
                    </a:lnTo>
                    <a:lnTo>
                      <a:pt x="580" y="133"/>
                    </a:lnTo>
                    <a:lnTo>
                      <a:pt x="580" y="133"/>
                    </a:lnTo>
                    <a:lnTo>
                      <a:pt x="580" y="133"/>
                    </a:lnTo>
                    <a:lnTo>
                      <a:pt x="568" y="137"/>
                    </a:lnTo>
                    <a:lnTo>
                      <a:pt x="557" y="139"/>
                    </a:lnTo>
                    <a:lnTo>
                      <a:pt x="555" y="139"/>
                    </a:lnTo>
                    <a:lnTo>
                      <a:pt x="549" y="141"/>
                    </a:lnTo>
                    <a:lnTo>
                      <a:pt x="547" y="139"/>
                    </a:lnTo>
                    <a:lnTo>
                      <a:pt x="545" y="139"/>
                    </a:lnTo>
                    <a:lnTo>
                      <a:pt x="541" y="133"/>
                    </a:lnTo>
                    <a:lnTo>
                      <a:pt x="535" y="121"/>
                    </a:lnTo>
                    <a:lnTo>
                      <a:pt x="533" y="119"/>
                    </a:lnTo>
                    <a:lnTo>
                      <a:pt x="531" y="117"/>
                    </a:lnTo>
                    <a:lnTo>
                      <a:pt x="531" y="117"/>
                    </a:lnTo>
                    <a:lnTo>
                      <a:pt x="518" y="112"/>
                    </a:lnTo>
                    <a:lnTo>
                      <a:pt x="518" y="112"/>
                    </a:lnTo>
                    <a:lnTo>
                      <a:pt x="518" y="112"/>
                    </a:lnTo>
                    <a:lnTo>
                      <a:pt x="512" y="108"/>
                    </a:lnTo>
                    <a:lnTo>
                      <a:pt x="510" y="106"/>
                    </a:lnTo>
                    <a:lnTo>
                      <a:pt x="508" y="102"/>
                    </a:lnTo>
                    <a:lnTo>
                      <a:pt x="508" y="98"/>
                    </a:lnTo>
                    <a:lnTo>
                      <a:pt x="508" y="94"/>
                    </a:lnTo>
                    <a:lnTo>
                      <a:pt x="506" y="92"/>
                    </a:lnTo>
                    <a:lnTo>
                      <a:pt x="504" y="92"/>
                    </a:lnTo>
                    <a:lnTo>
                      <a:pt x="500" y="88"/>
                    </a:lnTo>
                    <a:lnTo>
                      <a:pt x="494" y="84"/>
                    </a:lnTo>
                    <a:lnTo>
                      <a:pt x="494" y="84"/>
                    </a:lnTo>
                    <a:lnTo>
                      <a:pt x="492" y="84"/>
                    </a:lnTo>
                    <a:lnTo>
                      <a:pt x="490" y="82"/>
                    </a:lnTo>
                    <a:lnTo>
                      <a:pt x="480" y="82"/>
                    </a:lnTo>
                    <a:lnTo>
                      <a:pt x="475" y="80"/>
                    </a:lnTo>
                    <a:lnTo>
                      <a:pt x="471" y="80"/>
                    </a:lnTo>
                    <a:lnTo>
                      <a:pt x="469" y="80"/>
                    </a:lnTo>
                    <a:lnTo>
                      <a:pt x="467" y="80"/>
                    </a:lnTo>
                    <a:lnTo>
                      <a:pt x="463" y="82"/>
                    </a:lnTo>
                    <a:lnTo>
                      <a:pt x="463" y="82"/>
                    </a:lnTo>
                    <a:lnTo>
                      <a:pt x="457" y="88"/>
                    </a:lnTo>
                    <a:lnTo>
                      <a:pt x="449" y="88"/>
                    </a:lnTo>
                    <a:lnTo>
                      <a:pt x="439" y="94"/>
                    </a:lnTo>
                    <a:lnTo>
                      <a:pt x="438" y="94"/>
                    </a:lnTo>
                    <a:lnTo>
                      <a:pt x="434" y="94"/>
                    </a:lnTo>
                    <a:lnTo>
                      <a:pt x="424" y="90"/>
                    </a:lnTo>
                    <a:lnTo>
                      <a:pt x="424" y="90"/>
                    </a:lnTo>
                    <a:lnTo>
                      <a:pt x="424" y="90"/>
                    </a:lnTo>
                    <a:lnTo>
                      <a:pt x="424" y="90"/>
                    </a:lnTo>
                    <a:lnTo>
                      <a:pt x="422" y="90"/>
                    </a:lnTo>
                    <a:lnTo>
                      <a:pt x="420" y="90"/>
                    </a:lnTo>
                    <a:lnTo>
                      <a:pt x="414" y="84"/>
                    </a:lnTo>
                    <a:lnTo>
                      <a:pt x="414" y="84"/>
                    </a:lnTo>
                    <a:lnTo>
                      <a:pt x="412" y="82"/>
                    </a:lnTo>
                    <a:lnTo>
                      <a:pt x="402" y="80"/>
                    </a:lnTo>
                    <a:lnTo>
                      <a:pt x="400" y="78"/>
                    </a:lnTo>
                    <a:lnTo>
                      <a:pt x="398" y="78"/>
                    </a:lnTo>
                    <a:lnTo>
                      <a:pt x="395" y="78"/>
                    </a:lnTo>
                    <a:lnTo>
                      <a:pt x="379" y="84"/>
                    </a:lnTo>
                    <a:lnTo>
                      <a:pt x="375" y="84"/>
                    </a:lnTo>
                    <a:lnTo>
                      <a:pt x="375" y="84"/>
                    </a:lnTo>
                    <a:lnTo>
                      <a:pt x="375" y="84"/>
                    </a:lnTo>
                    <a:lnTo>
                      <a:pt x="373" y="82"/>
                    </a:lnTo>
                    <a:lnTo>
                      <a:pt x="373" y="80"/>
                    </a:lnTo>
                    <a:lnTo>
                      <a:pt x="365" y="72"/>
                    </a:lnTo>
                    <a:lnTo>
                      <a:pt x="361" y="72"/>
                    </a:lnTo>
                    <a:lnTo>
                      <a:pt x="352" y="72"/>
                    </a:lnTo>
                    <a:lnTo>
                      <a:pt x="350" y="72"/>
                    </a:lnTo>
                    <a:lnTo>
                      <a:pt x="350" y="72"/>
                    </a:lnTo>
                    <a:lnTo>
                      <a:pt x="346" y="72"/>
                    </a:lnTo>
                    <a:lnTo>
                      <a:pt x="346" y="71"/>
                    </a:lnTo>
                    <a:lnTo>
                      <a:pt x="340" y="69"/>
                    </a:lnTo>
                    <a:lnTo>
                      <a:pt x="330" y="69"/>
                    </a:lnTo>
                    <a:lnTo>
                      <a:pt x="328" y="69"/>
                    </a:lnTo>
                    <a:lnTo>
                      <a:pt x="328" y="69"/>
                    </a:lnTo>
                    <a:lnTo>
                      <a:pt x="326" y="67"/>
                    </a:lnTo>
                    <a:lnTo>
                      <a:pt x="320" y="69"/>
                    </a:lnTo>
                    <a:lnTo>
                      <a:pt x="318" y="69"/>
                    </a:lnTo>
                    <a:lnTo>
                      <a:pt x="316" y="71"/>
                    </a:lnTo>
                    <a:lnTo>
                      <a:pt x="316" y="71"/>
                    </a:lnTo>
                    <a:lnTo>
                      <a:pt x="314" y="72"/>
                    </a:lnTo>
                    <a:lnTo>
                      <a:pt x="314" y="72"/>
                    </a:lnTo>
                    <a:lnTo>
                      <a:pt x="314" y="72"/>
                    </a:lnTo>
                    <a:lnTo>
                      <a:pt x="312" y="74"/>
                    </a:lnTo>
                    <a:lnTo>
                      <a:pt x="312" y="74"/>
                    </a:lnTo>
                    <a:lnTo>
                      <a:pt x="312" y="74"/>
                    </a:lnTo>
                    <a:lnTo>
                      <a:pt x="309" y="76"/>
                    </a:lnTo>
                    <a:lnTo>
                      <a:pt x="299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5" y="71"/>
                    </a:lnTo>
                    <a:lnTo>
                      <a:pt x="295" y="71"/>
                    </a:lnTo>
                    <a:lnTo>
                      <a:pt x="295" y="71"/>
                    </a:lnTo>
                    <a:lnTo>
                      <a:pt x="293" y="71"/>
                    </a:lnTo>
                    <a:lnTo>
                      <a:pt x="293" y="71"/>
                    </a:lnTo>
                    <a:lnTo>
                      <a:pt x="291" y="71"/>
                    </a:lnTo>
                    <a:lnTo>
                      <a:pt x="287" y="67"/>
                    </a:lnTo>
                    <a:lnTo>
                      <a:pt x="283" y="63"/>
                    </a:lnTo>
                    <a:lnTo>
                      <a:pt x="279" y="59"/>
                    </a:lnTo>
                    <a:lnTo>
                      <a:pt x="273" y="51"/>
                    </a:lnTo>
                    <a:lnTo>
                      <a:pt x="271" y="51"/>
                    </a:lnTo>
                    <a:lnTo>
                      <a:pt x="270" y="49"/>
                    </a:lnTo>
                    <a:lnTo>
                      <a:pt x="266" y="47"/>
                    </a:lnTo>
                    <a:lnTo>
                      <a:pt x="258" y="45"/>
                    </a:lnTo>
                    <a:lnTo>
                      <a:pt x="258" y="45"/>
                    </a:lnTo>
                    <a:lnTo>
                      <a:pt x="254" y="43"/>
                    </a:lnTo>
                    <a:lnTo>
                      <a:pt x="252" y="45"/>
                    </a:lnTo>
                    <a:lnTo>
                      <a:pt x="248" y="51"/>
                    </a:lnTo>
                    <a:lnTo>
                      <a:pt x="246" y="55"/>
                    </a:lnTo>
                    <a:lnTo>
                      <a:pt x="244" y="63"/>
                    </a:lnTo>
                    <a:lnTo>
                      <a:pt x="244" y="65"/>
                    </a:lnTo>
                    <a:lnTo>
                      <a:pt x="242" y="67"/>
                    </a:lnTo>
                    <a:lnTo>
                      <a:pt x="238" y="71"/>
                    </a:lnTo>
                    <a:lnTo>
                      <a:pt x="234" y="72"/>
                    </a:lnTo>
                    <a:lnTo>
                      <a:pt x="232" y="72"/>
                    </a:lnTo>
                    <a:lnTo>
                      <a:pt x="232" y="72"/>
                    </a:lnTo>
                    <a:lnTo>
                      <a:pt x="230" y="72"/>
                    </a:lnTo>
                    <a:lnTo>
                      <a:pt x="228" y="71"/>
                    </a:lnTo>
                    <a:lnTo>
                      <a:pt x="227" y="71"/>
                    </a:lnTo>
                    <a:lnTo>
                      <a:pt x="227" y="71"/>
                    </a:lnTo>
                    <a:lnTo>
                      <a:pt x="225" y="69"/>
                    </a:lnTo>
                    <a:lnTo>
                      <a:pt x="223" y="69"/>
                    </a:lnTo>
                    <a:lnTo>
                      <a:pt x="221" y="67"/>
                    </a:lnTo>
                    <a:lnTo>
                      <a:pt x="219" y="67"/>
                    </a:lnTo>
                    <a:lnTo>
                      <a:pt x="217" y="71"/>
                    </a:lnTo>
                    <a:lnTo>
                      <a:pt x="219" y="74"/>
                    </a:lnTo>
                    <a:lnTo>
                      <a:pt x="217" y="78"/>
                    </a:lnTo>
                    <a:lnTo>
                      <a:pt x="217" y="78"/>
                    </a:lnTo>
                    <a:lnTo>
                      <a:pt x="217" y="78"/>
                    </a:lnTo>
                    <a:lnTo>
                      <a:pt x="215" y="80"/>
                    </a:lnTo>
                    <a:lnTo>
                      <a:pt x="215" y="80"/>
                    </a:lnTo>
                    <a:lnTo>
                      <a:pt x="215" y="80"/>
                    </a:lnTo>
                    <a:lnTo>
                      <a:pt x="211" y="82"/>
                    </a:lnTo>
                    <a:lnTo>
                      <a:pt x="211" y="82"/>
                    </a:lnTo>
                    <a:lnTo>
                      <a:pt x="209" y="84"/>
                    </a:lnTo>
                    <a:lnTo>
                      <a:pt x="207" y="86"/>
                    </a:lnTo>
                    <a:lnTo>
                      <a:pt x="203" y="92"/>
                    </a:lnTo>
                    <a:lnTo>
                      <a:pt x="201" y="94"/>
                    </a:lnTo>
                    <a:lnTo>
                      <a:pt x="201" y="96"/>
                    </a:lnTo>
                    <a:lnTo>
                      <a:pt x="201" y="96"/>
                    </a:lnTo>
                    <a:lnTo>
                      <a:pt x="201" y="96"/>
                    </a:lnTo>
                    <a:lnTo>
                      <a:pt x="199" y="96"/>
                    </a:lnTo>
                    <a:lnTo>
                      <a:pt x="195" y="98"/>
                    </a:lnTo>
                    <a:lnTo>
                      <a:pt x="191" y="100"/>
                    </a:lnTo>
                    <a:lnTo>
                      <a:pt x="191" y="102"/>
                    </a:lnTo>
                    <a:lnTo>
                      <a:pt x="189" y="104"/>
                    </a:lnTo>
                    <a:lnTo>
                      <a:pt x="189" y="106"/>
                    </a:lnTo>
                    <a:lnTo>
                      <a:pt x="191" y="108"/>
                    </a:lnTo>
                    <a:lnTo>
                      <a:pt x="191" y="108"/>
                    </a:lnTo>
                    <a:lnTo>
                      <a:pt x="191" y="108"/>
                    </a:lnTo>
                    <a:lnTo>
                      <a:pt x="191" y="110"/>
                    </a:lnTo>
                    <a:lnTo>
                      <a:pt x="189" y="112"/>
                    </a:lnTo>
                    <a:lnTo>
                      <a:pt x="189" y="112"/>
                    </a:lnTo>
                    <a:lnTo>
                      <a:pt x="186" y="112"/>
                    </a:lnTo>
                    <a:lnTo>
                      <a:pt x="186" y="113"/>
                    </a:lnTo>
                    <a:lnTo>
                      <a:pt x="182" y="113"/>
                    </a:lnTo>
                    <a:lnTo>
                      <a:pt x="182" y="115"/>
                    </a:lnTo>
                    <a:lnTo>
                      <a:pt x="180" y="115"/>
                    </a:lnTo>
                    <a:lnTo>
                      <a:pt x="176" y="121"/>
                    </a:lnTo>
                    <a:lnTo>
                      <a:pt x="172" y="123"/>
                    </a:lnTo>
                    <a:lnTo>
                      <a:pt x="170" y="125"/>
                    </a:lnTo>
                    <a:lnTo>
                      <a:pt x="164" y="127"/>
                    </a:lnTo>
                    <a:lnTo>
                      <a:pt x="158" y="129"/>
                    </a:lnTo>
                    <a:lnTo>
                      <a:pt x="152" y="127"/>
                    </a:lnTo>
                    <a:lnTo>
                      <a:pt x="141" y="121"/>
                    </a:lnTo>
                    <a:lnTo>
                      <a:pt x="139" y="121"/>
                    </a:lnTo>
                    <a:lnTo>
                      <a:pt x="135" y="123"/>
                    </a:lnTo>
                    <a:lnTo>
                      <a:pt x="133" y="133"/>
                    </a:lnTo>
                    <a:lnTo>
                      <a:pt x="131" y="133"/>
                    </a:lnTo>
                    <a:lnTo>
                      <a:pt x="131" y="135"/>
                    </a:lnTo>
                    <a:lnTo>
                      <a:pt x="129" y="135"/>
                    </a:lnTo>
                    <a:lnTo>
                      <a:pt x="129" y="135"/>
                    </a:lnTo>
                    <a:lnTo>
                      <a:pt x="125" y="135"/>
                    </a:lnTo>
                    <a:lnTo>
                      <a:pt x="121" y="135"/>
                    </a:lnTo>
                    <a:lnTo>
                      <a:pt x="117" y="135"/>
                    </a:lnTo>
                    <a:lnTo>
                      <a:pt x="115" y="135"/>
                    </a:lnTo>
                    <a:lnTo>
                      <a:pt x="113" y="135"/>
                    </a:lnTo>
                    <a:lnTo>
                      <a:pt x="111" y="137"/>
                    </a:lnTo>
                    <a:lnTo>
                      <a:pt x="109" y="137"/>
                    </a:lnTo>
                    <a:lnTo>
                      <a:pt x="109" y="139"/>
                    </a:lnTo>
                    <a:lnTo>
                      <a:pt x="107" y="139"/>
                    </a:lnTo>
                    <a:lnTo>
                      <a:pt x="103" y="145"/>
                    </a:lnTo>
                    <a:lnTo>
                      <a:pt x="103" y="145"/>
                    </a:lnTo>
                    <a:lnTo>
                      <a:pt x="103" y="147"/>
                    </a:lnTo>
                    <a:lnTo>
                      <a:pt x="101" y="147"/>
                    </a:lnTo>
                    <a:lnTo>
                      <a:pt x="100" y="149"/>
                    </a:lnTo>
                    <a:lnTo>
                      <a:pt x="100" y="149"/>
                    </a:lnTo>
                    <a:lnTo>
                      <a:pt x="100" y="149"/>
                    </a:lnTo>
                    <a:lnTo>
                      <a:pt x="98" y="151"/>
                    </a:lnTo>
                    <a:lnTo>
                      <a:pt x="98" y="153"/>
                    </a:lnTo>
                    <a:lnTo>
                      <a:pt x="98" y="156"/>
                    </a:lnTo>
                    <a:lnTo>
                      <a:pt x="98" y="156"/>
                    </a:lnTo>
                    <a:lnTo>
                      <a:pt x="98" y="158"/>
                    </a:lnTo>
                    <a:lnTo>
                      <a:pt x="96" y="160"/>
                    </a:lnTo>
                    <a:lnTo>
                      <a:pt x="94" y="164"/>
                    </a:lnTo>
                    <a:lnTo>
                      <a:pt x="92" y="166"/>
                    </a:lnTo>
                    <a:lnTo>
                      <a:pt x="92" y="168"/>
                    </a:lnTo>
                    <a:lnTo>
                      <a:pt x="92" y="168"/>
                    </a:lnTo>
                    <a:lnTo>
                      <a:pt x="92" y="170"/>
                    </a:lnTo>
                    <a:lnTo>
                      <a:pt x="92" y="172"/>
                    </a:lnTo>
                    <a:lnTo>
                      <a:pt x="90" y="172"/>
                    </a:lnTo>
                    <a:lnTo>
                      <a:pt x="90" y="172"/>
                    </a:lnTo>
                    <a:lnTo>
                      <a:pt x="90" y="172"/>
                    </a:lnTo>
                    <a:lnTo>
                      <a:pt x="84" y="174"/>
                    </a:lnTo>
                    <a:lnTo>
                      <a:pt x="80" y="174"/>
                    </a:lnTo>
                    <a:lnTo>
                      <a:pt x="80" y="176"/>
                    </a:lnTo>
                    <a:lnTo>
                      <a:pt x="70" y="182"/>
                    </a:lnTo>
                    <a:lnTo>
                      <a:pt x="66" y="188"/>
                    </a:lnTo>
                    <a:lnTo>
                      <a:pt x="66" y="188"/>
                    </a:lnTo>
                    <a:lnTo>
                      <a:pt x="64" y="192"/>
                    </a:lnTo>
                    <a:lnTo>
                      <a:pt x="62" y="194"/>
                    </a:lnTo>
                    <a:lnTo>
                      <a:pt x="62" y="201"/>
                    </a:lnTo>
                    <a:lnTo>
                      <a:pt x="64" y="211"/>
                    </a:lnTo>
                    <a:lnTo>
                      <a:pt x="64" y="217"/>
                    </a:lnTo>
                    <a:lnTo>
                      <a:pt x="64" y="219"/>
                    </a:lnTo>
                    <a:lnTo>
                      <a:pt x="64" y="219"/>
                    </a:lnTo>
                    <a:lnTo>
                      <a:pt x="64" y="219"/>
                    </a:lnTo>
                    <a:lnTo>
                      <a:pt x="62" y="225"/>
                    </a:lnTo>
                    <a:lnTo>
                      <a:pt x="60" y="225"/>
                    </a:lnTo>
                    <a:lnTo>
                      <a:pt x="53" y="227"/>
                    </a:lnTo>
                    <a:lnTo>
                      <a:pt x="51" y="229"/>
                    </a:lnTo>
                    <a:lnTo>
                      <a:pt x="47" y="233"/>
                    </a:lnTo>
                    <a:lnTo>
                      <a:pt x="41" y="242"/>
                    </a:lnTo>
                    <a:lnTo>
                      <a:pt x="41" y="244"/>
                    </a:lnTo>
                    <a:lnTo>
                      <a:pt x="41" y="244"/>
                    </a:lnTo>
                    <a:lnTo>
                      <a:pt x="39" y="250"/>
                    </a:lnTo>
                    <a:lnTo>
                      <a:pt x="39" y="254"/>
                    </a:lnTo>
                    <a:lnTo>
                      <a:pt x="37" y="256"/>
                    </a:lnTo>
                    <a:lnTo>
                      <a:pt x="35" y="260"/>
                    </a:lnTo>
                    <a:lnTo>
                      <a:pt x="35" y="262"/>
                    </a:lnTo>
                    <a:lnTo>
                      <a:pt x="35" y="262"/>
                    </a:lnTo>
                    <a:lnTo>
                      <a:pt x="35" y="266"/>
                    </a:lnTo>
                    <a:lnTo>
                      <a:pt x="35" y="268"/>
                    </a:lnTo>
                    <a:lnTo>
                      <a:pt x="35" y="268"/>
                    </a:lnTo>
                    <a:lnTo>
                      <a:pt x="35" y="270"/>
                    </a:lnTo>
                    <a:lnTo>
                      <a:pt x="33" y="274"/>
                    </a:lnTo>
                    <a:lnTo>
                      <a:pt x="33" y="276"/>
                    </a:lnTo>
                    <a:lnTo>
                      <a:pt x="29" y="277"/>
                    </a:lnTo>
                    <a:lnTo>
                      <a:pt x="29" y="277"/>
                    </a:lnTo>
                    <a:lnTo>
                      <a:pt x="29" y="279"/>
                    </a:lnTo>
                    <a:lnTo>
                      <a:pt x="27" y="281"/>
                    </a:lnTo>
                    <a:lnTo>
                      <a:pt x="27" y="281"/>
                    </a:lnTo>
                    <a:lnTo>
                      <a:pt x="27" y="283"/>
                    </a:lnTo>
                    <a:lnTo>
                      <a:pt x="25" y="287"/>
                    </a:lnTo>
                    <a:lnTo>
                      <a:pt x="25" y="287"/>
                    </a:lnTo>
                    <a:lnTo>
                      <a:pt x="25" y="287"/>
                    </a:lnTo>
                    <a:lnTo>
                      <a:pt x="25" y="287"/>
                    </a:lnTo>
                    <a:lnTo>
                      <a:pt x="25" y="289"/>
                    </a:lnTo>
                    <a:lnTo>
                      <a:pt x="21" y="293"/>
                    </a:lnTo>
                    <a:lnTo>
                      <a:pt x="19" y="293"/>
                    </a:lnTo>
                    <a:lnTo>
                      <a:pt x="14" y="299"/>
                    </a:lnTo>
                    <a:lnTo>
                      <a:pt x="10" y="303"/>
                    </a:lnTo>
                    <a:lnTo>
                      <a:pt x="2" y="311"/>
                    </a:lnTo>
                    <a:lnTo>
                      <a:pt x="2" y="311"/>
                    </a:lnTo>
                    <a:lnTo>
                      <a:pt x="4" y="311"/>
                    </a:lnTo>
                    <a:lnTo>
                      <a:pt x="4" y="311"/>
                    </a:lnTo>
                    <a:lnTo>
                      <a:pt x="4" y="313"/>
                    </a:lnTo>
                    <a:lnTo>
                      <a:pt x="4" y="313"/>
                    </a:lnTo>
                    <a:lnTo>
                      <a:pt x="4" y="313"/>
                    </a:lnTo>
                    <a:lnTo>
                      <a:pt x="6" y="313"/>
                    </a:lnTo>
                    <a:lnTo>
                      <a:pt x="6" y="313"/>
                    </a:lnTo>
                    <a:lnTo>
                      <a:pt x="6" y="313"/>
                    </a:lnTo>
                    <a:lnTo>
                      <a:pt x="6" y="313"/>
                    </a:lnTo>
                    <a:lnTo>
                      <a:pt x="8" y="315"/>
                    </a:lnTo>
                    <a:lnTo>
                      <a:pt x="8" y="315"/>
                    </a:lnTo>
                    <a:lnTo>
                      <a:pt x="8" y="315"/>
                    </a:lnTo>
                    <a:lnTo>
                      <a:pt x="10" y="317"/>
                    </a:lnTo>
                    <a:lnTo>
                      <a:pt x="10" y="317"/>
                    </a:lnTo>
                    <a:lnTo>
                      <a:pt x="10" y="317"/>
                    </a:lnTo>
                    <a:lnTo>
                      <a:pt x="10" y="317"/>
                    </a:lnTo>
                    <a:lnTo>
                      <a:pt x="10" y="317"/>
                    </a:lnTo>
                    <a:lnTo>
                      <a:pt x="10" y="317"/>
                    </a:lnTo>
                    <a:lnTo>
                      <a:pt x="8" y="317"/>
                    </a:lnTo>
                    <a:lnTo>
                      <a:pt x="6" y="328"/>
                    </a:lnTo>
                    <a:lnTo>
                      <a:pt x="6" y="328"/>
                    </a:lnTo>
                    <a:lnTo>
                      <a:pt x="6" y="328"/>
                    </a:lnTo>
                    <a:lnTo>
                      <a:pt x="4" y="330"/>
                    </a:lnTo>
                    <a:lnTo>
                      <a:pt x="0" y="334"/>
                    </a:lnTo>
                    <a:lnTo>
                      <a:pt x="1086" y="334"/>
                    </a:lnTo>
                    <a:lnTo>
                      <a:pt x="1086" y="330"/>
                    </a:lnTo>
                    <a:lnTo>
                      <a:pt x="1082" y="32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35" name="Freeform 750">
                <a:extLst>
                  <a:ext uri="{FF2B5EF4-FFF2-40B4-BE49-F238E27FC236}">
                    <a16:creationId xmlns:a16="http://schemas.microsoft.com/office/drawing/2014/main" id="{16FCC157-0325-4269-AC2C-61D0257FAB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3430"/>
                <a:ext cx="401" cy="386"/>
              </a:xfrm>
              <a:custGeom>
                <a:avLst/>
                <a:gdLst>
                  <a:gd name="T0" fmla="*/ 379 w 401"/>
                  <a:gd name="T1" fmla="*/ 126 h 386"/>
                  <a:gd name="T2" fmla="*/ 371 w 401"/>
                  <a:gd name="T3" fmla="*/ 115 h 386"/>
                  <a:gd name="T4" fmla="*/ 367 w 401"/>
                  <a:gd name="T5" fmla="*/ 97 h 386"/>
                  <a:gd name="T6" fmla="*/ 359 w 401"/>
                  <a:gd name="T7" fmla="*/ 89 h 386"/>
                  <a:gd name="T8" fmla="*/ 320 w 401"/>
                  <a:gd name="T9" fmla="*/ 83 h 386"/>
                  <a:gd name="T10" fmla="*/ 315 w 401"/>
                  <a:gd name="T11" fmla="*/ 105 h 386"/>
                  <a:gd name="T12" fmla="*/ 305 w 401"/>
                  <a:gd name="T13" fmla="*/ 87 h 386"/>
                  <a:gd name="T14" fmla="*/ 297 w 401"/>
                  <a:gd name="T15" fmla="*/ 78 h 386"/>
                  <a:gd name="T16" fmla="*/ 285 w 401"/>
                  <a:gd name="T17" fmla="*/ 87 h 386"/>
                  <a:gd name="T18" fmla="*/ 289 w 401"/>
                  <a:gd name="T19" fmla="*/ 78 h 386"/>
                  <a:gd name="T20" fmla="*/ 293 w 401"/>
                  <a:gd name="T21" fmla="*/ 62 h 386"/>
                  <a:gd name="T22" fmla="*/ 275 w 401"/>
                  <a:gd name="T23" fmla="*/ 66 h 386"/>
                  <a:gd name="T24" fmla="*/ 266 w 401"/>
                  <a:gd name="T25" fmla="*/ 68 h 386"/>
                  <a:gd name="T26" fmla="*/ 252 w 401"/>
                  <a:gd name="T27" fmla="*/ 62 h 386"/>
                  <a:gd name="T28" fmla="*/ 246 w 401"/>
                  <a:gd name="T29" fmla="*/ 42 h 386"/>
                  <a:gd name="T30" fmla="*/ 219 w 401"/>
                  <a:gd name="T31" fmla="*/ 35 h 386"/>
                  <a:gd name="T32" fmla="*/ 215 w 401"/>
                  <a:gd name="T33" fmla="*/ 29 h 386"/>
                  <a:gd name="T34" fmla="*/ 195 w 401"/>
                  <a:gd name="T35" fmla="*/ 9 h 386"/>
                  <a:gd name="T36" fmla="*/ 166 w 401"/>
                  <a:gd name="T37" fmla="*/ 0 h 386"/>
                  <a:gd name="T38" fmla="*/ 135 w 401"/>
                  <a:gd name="T39" fmla="*/ 15 h 386"/>
                  <a:gd name="T40" fmla="*/ 121 w 401"/>
                  <a:gd name="T41" fmla="*/ 11 h 386"/>
                  <a:gd name="T42" fmla="*/ 100 w 401"/>
                  <a:gd name="T43" fmla="*/ 31 h 386"/>
                  <a:gd name="T44" fmla="*/ 70 w 401"/>
                  <a:gd name="T45" fmla="*/ 21 h 386"/>
                  <a:gd name="T46" fmla="*/ 68 w 401"/>
                  <a:gd name="T47" fmla="*/ 27 h 386"/>
                  <a:gd name="T48" fmla="*/ 70 w 401"/>
                  <a:gd name="T49" fmla="*/ 31 h 386"/>
                  <a:gd name="T50" fmla="*/ 66 w 401"/>
                  <a:gd name="T51" fmla="*/ 31 h 386"/>
                  <a:gd name="T52" fmla="*/ 55 w 401"/>
                  <a:gd name="T53" fmla="*/ 33 h 386"/>
                  <a:gd name="T54" fmla="*/ 35 w 401"/>
                  <a:gd name="T55" fmla="*/ 25 h 386"/>
                  <a:gd name="T56" fmla="*/ 29 w 401"/>
                  <a:gd name="T57" fmla="*/ 27 h 386"/>
                  <a:gd name="T58" fmla="*/ 29 w 401"/>
                  <a:gd name="T59" fmla="*/ 41 h 386"/>
                  <a:gd name="T60" fmla="*/ 22 w 401"/>
                  <a:gd name="T61" fmla="*/ 48 h 386"/>
                  <a:gd name="T62" fmla="*/ 10 w 401"/>
                  <a:gd name="T63" fmla="*/ 42 h 386"/>
                  <a:gd name="T64" fmla="*/ 2 w 401"/>
                  <a:gd name="T65" fmla="*/ 52 h 386"/>
                  <a:gd name="T66" fmla="*/ 20 w 401"/>
                  <a:gd name="T67" fmla="*/ 52 h 386"/>
                  <a:gd name="T68" fmla="*/ 47 w 401"/>
                  <a:gd name="T69" fmla="*/ 68 h 386"/>
                  <a:gd name="T70" fmla="*/ 57 w 401"/>
                  <a:gd name="T71" fmla="*/ 74 h 386"/>
                  <a:gd name="T72" fmla="*/ 65 w 401"/>
                  <a:gd name="T73" fmla="*/ 87 h 386"/>
                  <a:gd name="T74" fmla="*/ 72 w 401"/>
                  <a:gd name="T75" fmla="*/ 91 h 386"/>
                  <a:gd name="T76" fmla="*/ 82 w 401"/>
                  <a:gd name="T77" fmla="*/ 115 h 386"/>
                  <a:gd name="T78" fmla="*/ 88 w 401"/>
                  <a:gd name="T79" fmla="*/ 121 h 386"/>
                  <a:gd name="T80" fmla="*/ 94 w 401"/>
                  <a:gd name="T81" fmla="*/ 134 h 386"/>
                  <a:gd name="T82" fmla="*/ 100 w 401"/>
                  <a:gd name="T83" fmla="*/ 148 h 386"/>
                  <a:gd name="T84" fmla="*/ 107 w 401"/>
                  <a:gd name="T85" fmla="*/ 164 h 386"/>
                  <a:gd name="T86" fmla="*/ 111 w 401"/>
                  <a:gd name="T87" fmla="*/ 181 h 386"/>
                  <a:gd name="T88" fmla="*/ 109 w 401"/>
                  <a:gd name="T89" fmla="*/ 191 h 386"/>
                  <a:gd name="T90" fmla="*/ 137 w 401"/>
                  <a:gd name="T91" fmla="*/ 226 h 386"/>
                  <a:gd name="T92" fmla="*/ 141 w 401"/>
                  <a:gd name="T93" fmla="*/ 236 h 386"/>
                  <a:gd name="T94" fmla="*/ 149 w 401"/>
                  <a:gd name="T95" fmla="*/ 249 h 386"/>
                  <a:gd name="T96" fmla="*/ 162 w 401"/>
                  <a:gd name="T97" fmla="*/ 257 h 386"/>
                  <a:gd name="T98" fmla="*/ 162 w 401"/>
                  <a:gd name="T99" fmla="*/ 277 h 386"/>
                  <a:gd name="T100" fmla="*/ 180 w 401"/>
                  <a:gd name="T101" fmla="*/ 294 h 386"/>
                  <a:gd name="T102" fmla="*/ 191 w 401"/>
                  <a:gd name="T103" fmla="*/ 312 h 386"/>
                  <a:gd name="T104" fmla="*/ 197 w 401"/>
                  <a:gd name="T105" fmla="*/ 329 h 386"/>
                  <a:gd name="T106" fmla="*/ 209 w 401"/>
                  <a:gd name="T107" fmla="*/ 341 h 386"/>
                  <a:gd name="T108" fmla="*/ 233 w 401"/>
                  <a:gd name="T109" fmla="*/ 361 h 386"/>
                  <a:gd name="T110" fmla="*/ 250 w 401"/>
                  <a:gd name="T111" fmla="*/ 386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01" h="386">
                    <a:moveTo>
                      <a:pt x="401" y="138"/>
                    </a:moveTo>
                    <a:lnTo>
                      <a:pt x="397" y="138"/>
                    </a:lnTo>
                    <a:lnTo>
                      <a:pt x="391" y="136"/>
                    </a:lnTo>
                    <a:lnTo>
                      <a:pt x="391" y="136"/>
                    </a:lnTo>
                    <a:lnTo>
                      <a:pt x="389" y="134"/>
                    </a:lnTo>
                    <a:lnTo>
                      <a:pt x="385" y="132"/>
                    </a:lnTo>
                    <a:lnTo>
                      <a:pt x="379" y="126"/>
                    </a:lnTo>
                    <a:lnTo>
                      <a:pt x="377" y="123"/>
                    </a:lnTo>
                    <a:lnTo>
                      <a:pt x="377" y="121"/>
                    </a:lnTo>
                    <a:lnTo>
                      <a:pt x="375" y="121"/>
                    </a:lnTo>
                    <a:lnTo>
                      <a:pt x="375" y="119"/>
                    </a:lnTo>
                    <a:lnTo>
                      <a:pt x="373" y="117"/>
                    </a:lnTo>
                    <a:lnTo>
                      <a:pt x="373" y="117"/>
                    </a:lnTo>
                    <a:lnTo>
                      <a:pt x="371" y="115"/>
                    </a:lnTo>
                    <a:lnTo>
                      <a:pt x="371" y="113"/>
                    </a:lnTo>
                    <a:lnTo>
                      <a:pt x="371" y="107"/>
                    </a:lnTo>
                    <a:lnTo>
                      <a:pt x="371" y="107"/>
                    </a:lnTo>
                    <a:lnTo>
                      <a:pt x="369" y="105"/>
                    </a:lnTo>
                    <a:lnTo>
                      <a:pt x="367" y="99"/>
                    </a:lnTo>
                    <a:lnTo>
                      <a:pt x="367" y="99"/>
                    </a:lnTo>
                    <a:lnTo>
                      <a:pt x="367" y="97"/>
                    </a:lnTo>
                    <a:lnTo>
                      <a:pt x="367" y="97"/>
                    </a:lnTo>
                    <a:lnTo>
                      <a:pt x="367" y="95"/>
                    </a:lnTo>
                    <a:lnTo>
                      <a:pt x="367" y="95"/>
                    </a:lnTo>
                    <a:lnTo>
                      <a:pt x="365" y="93"/>
                    </a:lnTo>
                    <a:lnTo>
                      <a:pt x="363" y="91"/>
                    </a:lnTo>
                    <a:lnTo>
                      <a:pt x="361" y="89"/>
                    </a:lnTo>
                    <a:lnTo>
                      <a:pt x="359" y="89"/>
                    </a:lnTo>
                    <a:lnTo>
                      <a:pt x="356" y="89"/>
                    </a:lnTo>
                    <a:lnTo>
                      <a:pt x="344" y="87"/>
                    </a:lnTo>
                    <a:lnTo>
                      <a:pt x="342" y="87"/>
                    </a:lnTo>
                    <a:lnTo>
                      <a:pt x="328" y="82"/>
                    </a:lnTo>
                    <a:lnTo>
                      <a:pt x="322" y="82"/>
                    </a:lnTo>
                    <a:lnTo>
                      <a:pt x="322" y="82"/>
                    </a:lnTo>
                    <a:lnTo>
                      <a:pt x="320" y="83"/>
                    </a:lnTo>
                    <a:lnTo>
                      <a:pt x="318" y="83"/>
                    </a:lnTo>
                    <a:lnTo>
                      <a:pt x="317" y="93"/>
                    </a:lnTo>
                    <a:lnTo>
                      <a:pt x="317" y="93"/>
                    </a:lnTo>
                    <a:lnTo>
                      <a:pt x="315" y="95"/>
                    </a:lnTo>
                    <a:lnTo>
                      <a:pt x="315" y="97"/>
                    </a:lnTo>
                    <a:lnTo>
                      <a:pt x="315" y="101"/>
                    </a:lnTo>
                    <a:lnTo>
                      <a:pt x="315" y="105"/>
                    </a:lnTo>
                    <a:lnTo>
                      <a:pt x="313" y="105"/>
                    </a:lnTo>
                    <a:lnTo>
                      <a:pt x="309" y="101"/>
                    </a:lnTo>
                    <a:lnTo>
                      <a:pt x="307" y="99"/>
                    </a:lnTo>
                    <a:lnTo>
                      <a:pt x="303" y="89"/>
                    </a:lnTo>
                    <a:lnTo>
                      <a:pt x="303" y="89"/>
                    </a:lnTo>
                    <a:lnTo>
                      <a:pt x="303" y="87"/>
                    </a:lnTo>
                    <a:lnTo>
                      <a:pt x="305" y="87"/>
                    </a:lnTo>
                    <a:lnTo>
                      <a:pt x="305" y="85"/>
                    </a:lnTo>
                    <a:lnTo>
                      <a:pt x="305" y="83"/>
                    </a:lnTo>
                    <a:lnTo>
                      <a:pt x="305" y="82"/>
                    </a:lnTo>
                    <a:lnTo>
                      <a:pt x="303" y="80"/>
                    </a:lnTo>
                    <a:lnTo>
                      <a:pt x="303" y="80"/>
                    </a:lnTo>
                    <a:lnTo>
                      <a:pt x="301" y="78"/>
                    </a:lnTo>
                    <a:lnTo>
                      <a:pt x="297" y="78"/>
                    </a:lnTo>
                    <a:lnTo>
                      <a:pt x="295" y="80"/>
                    </a:lnTo>
                    <a:lnTo>
                      <a:pt x="295" y="82"/>
                    </a:lnTo>
                    <a:lnTo>
                      <a:pt x="293" y="85"/>
                    </a:lnTo>
                    <a:lnTo>
                      <a:pt x="293" y="85"/>
                    </a:lnTo>
                    <a:lnTo>
                      <a:pt x="291" y="87"/>
                    </a:lnTo>
                    <a:lnTo>
                      <a:pt x="287" y="89"/>
                    </a:lnTo>
                    <a:lnTo>
                      <a:pt x="285" y="87"/>
                    </a:lnTo>
                    <a:lnTo>
                      <a:pt x="285" y="87"/>
                    </a:lnTo>
                    <a:lnTo>
                      <a:pt x="285" y="83"/>
                    </a:lnTo>
                    <a:lnTo>
                      <a:pt x="285" y="83"/>
                    </a:lnTo>
                    <a:lnTo>
                      <a:pt x="285" y="83"/>
                    </a:lnTo>
                    <a:lnTo>
                      <a:pt x="285" y="83"/>
                    </a:lnTo>
                    <a:lnTo>
                      <a:pt x="285" y="80"/>
                    </a:lnTo>
                    <a:lnTo>
                      <a:pt x="289" y="78"/>
                    </a:lnTo>
                    <a:lnTo>
                      <a:pt x="289" y="78"/>
                    </a:lnTo>
                    <a:lnTo>
                      <a:pt x="289" y="78"/>
                    </a:lnTo>
                    <a:lnTo>
                      <a:pt x="289" y="76"/>
                    </a:lnTo>
                    <a:lnTo>
                      <a:pt x="291" y="76"/>
                    </a:lnTo>
                    <a:lnTo>
                      <a:pt x="293" y="74"/>
                    </a:lnTo>
                    <a:lnTo>
                      <a:pt x="293" y="68"/>
                    </a:lnTo>
                    <a:lnTo>
                      <a:pt x="293" y="62"/>
                    </a:lnTo>
                    <a:lnTo>
                      <a:pt x="293" y="62"/>
                    </a:lnTo>
                    <a:lnTo>
                      <a:pt x="291" y="60"/>
                    </a:lnTo>
                    <a:lnTo>
                      <a:pt x="289" y="60"/>
                    </a:lnTo>
                    <a:lnTo>
                      <a:pt x="285" y="60"/>
                    </a:lnTo>
                    <a:lnTo>
                      <a:pt x="281" y="62"/>
                    </a:lnTo>
                    <a:lnTo>
                      <a:pt x="279" y="64"/>
                    </a:lnTo>
                    <a:lnTo>
                      <a:pt x="275" y="66"/>
                    </a:lnTo>
                    <a:lnTo>
                      <a:pt x="274" y="68"/>
                    </a:lnTo>
                    <a:lnTo>
                      <a:pt x="272" y="68"/>
                    </a:lnTo>
                    <a:lnTo>
                      <a:pt x="268" y="68"/>
                    </a:lnTo>
                    <a:lnTo>
                      <a:pt x="268" y="68"/>
                    </a:lnTo>
                    <a:lnTo>
                      <a:pt x="268" y="68"/>
                    </a:lnTo>
                    <a:lnTo>
                      <a:pt x="268" y="68"/>
                    </a:lnTo>
                    <a:lnTo>
                      <a:pt x="266" y="68"/>
                    </a:lnTo>
                    <a:lnTo>
                      <a:pt x="264" y="64"/>
                    </a:lnTo>
                    <a:lnTo>
                      <a:pt x="264" y="60"/>
                    </a:lnTo>
                    <a:lnTo>
                      <a:pt x="262" y="56"/>
                    </a:lnTo>
                    <a:lnTo>
                      <a:pt x="260" y="56"/>
                    </a:lnTo>
                    <a:lnTo>
                      <a:pt x="254" y="60"/>
                    </a:lnTo>
                    <a:lnTo>
                      <a:pt x="252" y="62"/>
                    </a:lnTo>
                    <a:lnTo>
                      <a:pt x="252" y="62"/>
                    </a:lnTo>
                    <a:lnTo>
                      <a:pt x="252" y="62"/>
                    </a:lnTo>
                    <a:lnTo>
                      <a:pt x="248" y="62"/>
                    </a:lnTo>
                    <a:lnTo>
                      <a:pt x="246" y="60"/>
                    </a:lnTo>
                    <a:lnTo>
                      <a:pt x="248" y="52"/>
                    </a:lnTo>
                    <a:lnTo>
                      <a:pt x="248" y="50"/>
                    </a:lnTo>
                    <a:lnTo>
                      <a:pt x="248" y="44"/>
                    </a:lnTo>
                    <a:lnTo>
                      <a:pt x="246" y="42"/>
                    </a:lnTo>
                    <a:lnTo>
                      <a:pt x="244" y="42"/>
                    </a:lnTo>
                    <a:lnTo>
                      <a:pt x="242" y="41"/>
                    </a:lnTo>
                    <a:lnTo>
                      <a:pt x="233" y="39"/>
                    </a:lnTo>
                    <a:lnTo>
                      <a:pt x="231" y="39"/>
                    </a:lnTo>
                    <a:lnTo>
                      <a:pt x="227" y="39"/>
                    </a:lnTo>
                    <a:lnTo>
                      <a:pt x="223" y="37"/>
                    </a:lnTo>
                    <a:lnTo>
                      <a:pt x="219" y="35"/>
                    </a:lnTo>
                    <a:lnTo>
                      <a:pt x="219" y="35"/>
                    </a:lnTo>
                    <a:lnTo>
                      <a:pt x="219" y="35"/>
                    </a:lnTo>
                    <a:lnTo>
                      <a:pt x="219" y="33"/>
                    </a:lnTo>
                    <a:lnTo>
                      <a:pt x="217" y="31"/>
                    </a:lnTo>
                    <a:lnTo>
                      <a:pt x="215" y="29"/>
                    </a:lnTo>
                    <a:lnTo>
                      <a:pt x="215" y="29"/>
                    </a:lnTo>
                    <a:lnTo>
                      <a:pt x="215" y="29"/>
                    </a:lnTo>
                    <a:lnTo>
                      <a:pt x="215" y="27"/>
                    </a:lnTo>
                    <a:lnTo>
                      <a:pt x="213" y="25"/>
                    </a:lnTo>
                    <a:lnTo>
                      <a:pt x="211" y="23"/>
                    </a:lnTo>
                    <a:lnTo>
                      <a:pt x="209" y="21"/>
                    </a:lnTo>
                    <a:lnTo>
                      <a:pt x="207" y="19"/>
                    </a:lnTo>
                    <a:lnTo>
                      <a:pt x="207" y="17"/>
                    </a:lnTo>
                    <a:lnTo>
                      <a:pt x="195" y="9"/>
                    </a:lnTo>
                    <a:lnTo>
                      <a:pt x="190" y="7"/>
                    </a:lnTo>
                    <a:lnTo>
                      <a:pt x="176" y="7"/>
                    </a:lnTo>
                    <a:lnTo>
                      <a:pt x="170" y="7"/>
                    </a:lnTo>
                    <a:lnTo>
                      <a:pt x="168" y="7"/>
                    </a:lnTo>
                    <a:lnTo>
                      <a:pt x="166" y="5"/>
                    </a:lnTo>
                    <a:lnTo>
                      <a:pt x="166" y="3"/>
                    </a:lnTo>
                    <a:lnTo>
                      <a:pt x="166" y="0"/>
                    </a:lnTo>
                    <a:lnTo>
                      <a:pt x="162" y="0"/>
                    </a:lnTo>
                    <a:lnTo>
                      <a:pt x="158" y="1"/>
                    </a:lnTo>
                    <a:lnTo>
                      <a:pt x="156" y="1"/>
                    </a:lnTo>
                    <a:lnTo>
                      <a:pt x="149" y="1"/>
                    </a:lnTo>
                    <a:lnTo>
                      <a:pt x="145" y="7"/>
                    </a:lnTo>
                    <a:lnTo>
                      <a:pt x="141" y="11"/>
                    </a:lnTo>
                    <a:lnTo>
                      <a:pt x="135" y="15"/>
                    </a:lnTo>
                    <a:lnTo>
                      <a:pt x="133" y="17"/>
                    </a:lnTo>
                    <a:lnTo>
                      <a:pt x="131" y="17"/>
                    </a:lnTo>
                    <a:lnTo>
                      <a:pt x="131" y="17"/>
                    </a:lnTo>
                    <a:lnTo>
                      <a:pt x="131" y="17"/>
                    </a:lnTo>
                    <a:lnTo>
                      <a:pt x="129" y="15"/>
                    </a:lnTo>
                    <a:lnTo>
                      <a:pt x="125" y="11"/>
                    </a:lnTo>
                    <a:lnTo>
                      <a:pt x="121" y="11"/>
                    </a:lnTo>
                    <a:lnTo>
                      <a:pt x="119" y="13"/>
                    </a:lnTo>
                    <a:lnTo>
                      <a:pt x="115" y="15"/>
                    </a:lnTo>
                    <a:lnTo>
                      <a:pt x="109" y="21"/>
                    </a:lnTo>
                    <a:lnTo>
                      <a:pt x="107" y="25"/>
                    </a:lnTo>
                    <a:lnTo>
                      <a:pt x="106" y="27"/>
                    </a:lnTo>
                    <a:lnTo>
                      <a:pt x="106" y="27"/>
                    </a:lnTo>
                    <a:lnTo>
                      <a:pt x="100" y="31"/>
                    </a:lnTo>
                    <a:lnTo>
                      <a:pt x="100" y="31"/>
                    </a:lnTo>
                    <a:lnTo>
                      <a:pt x="100" y="31"/>
                    </a:lnTo>
                    <a:lnTo>
                      <a:pt x="98" y="31"/>
                    </a:lnTo>
                    <a:lnTo>
                      <a:pt x="94" y="31"/>
                    </a:lnTo>
                    <a:lnTo>
                      <a:pt x="76" y="23"/>
                    </a:lnTo>
                    <a:lnTo>
                      <a:pt x="72" y="21"/>
                    </a:lnTo>
                    <a:lnTo>
                      <a:pt x="70" y="21"/>
                    </a:lnTo>
                    <a:lnTo>
                      <a:pt x="68" y="21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70" y="25"/>
                    </a:lnTo>
                    <a:lnTo>
                      <a:pt x="70" y="25"/>
                    </a:lnTo>
                    <a:lnTo>
                      <a:pt x="70" y="25"/>
                    </a:lnTo>
                    <a:lnTo>
                      <a:pt x="68" y="27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70" y="29"/>
                    </a:lnTo>
                    <a:lnTo>
                      <a:pt x="70" y="29"/>
                    </a:lnTo>
                    <a:lnTo>
                      <a:pt x="70" y="31"/>
                    </a:lnTo>
                    <a:lnTo>
                      <a:pt x="70" y="31"/>
                    </a:lnTo>
                    <a:lnTo>
                      <a:pt x="70" y="31"/>
                    </a:lnTo>
                    <a:lnTo>
                      <a:pt x="70" y="31"/>
                    </a:lnTo>
                    <a:lnTo>
                      <a:pt x="68" y="31"/>
                    </a:lnTo>
                    <a:lnTo>
                      <a:pt x="68" y="31"/>
                    </a:lnTo>
                    <a:lnTo>
                      <a:pt x="68" y="31"/>
                    </a:lnTo>
                    <a:lnTo>
                      <a:pt x="66" y="31"/>
                    </a:lnTo>
                    <a:lnTo>
                      <a:pt x="66" y="31"/>
                    </a:lnTo>
                    <a:lnTo>
                      <a:pt x="66" y="31"/>
                    </a:lnTo>
                    <a:lnTo>
                      <a:pt x="66" y="31"/>
                    </a:lnTo>
                    <a:lnTo>
                      <a:pt x="65" y="31"/>
                    </a:lnTo>
                    <a:lnTo>
                      <a:pt x="63" y="31"/>
                    </a:lnTo>
                    <a:lnTo>
                      <a:pt x="63" y="31"/>
                    </a:lnTo>
                    <a:lnTo>
                      <a:pt x="61" y="31"/>
                    </a:lnTo>
                    <a:lnTo>
                      <a:pt x="59" y="33"/>
                    </a:lnTo>
                    <a:lnTo>
                      <a:pt x="55" y="33"/>
                    </a:lnTo>
                    <a:lnTo>
                      <a:pt x="53" y="31"/>
                    </a:lnTo>
                    <a:lnTo>
                      <a:pt x="49" y="29"/>
                    </a:lnTo>
                    <a:lnTo>
                      <a:pt x="43" y="25"/>
                    </a:lnTo>
                    <a:lnTo>
                      <a:pt x="39" y="23"/>
                    </a:lnTo>
                    <a:lnTo>
                      <a:pt x="37" y="23"/>
                    </a:lnTo>
                    <a:lnTo>
                      <a:pt x="37" y="23"/>
                    </a:lnTo>
                    <a:lnTo>
                      <a:pt x="35" y="25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3" y="27"/>
                    </a:lnTo>
                    <a:lnTo>
                      <a:pt x="33" y="27"/>
                    </a:lnTo>
                    <a:lnTo>
                      <a:pt x="33" y="27"/>
                    </a:lnTo>
                    <a:lnTo>
                      <a:pt x="29" y="27"/>
                    </a:lnTo>
                    <a:lnTo>
                      <a:pt x="29" y="27"/>
                    </a:lnTo>
                    <a:lnTo>
                      <a:pt x="29" y="27"/>
                    </a:lnTo>
                    <a:lnTo>
                      <a:pt x="27" y="29"/>
                    </a:lnTo>
                    <a:lnTo>
                      <a:pt x="27" y="31"/>
                    </a:lnTo>
                    <a:lnTo>
                      <a:pt x="29" y="35"/>
                    </a:lnTo>
                    <a:lnTo>
                      <a:pt x="29" y="39"/>
                    </a:lnTo>
                    <a:lnTo>
                      <a:pt x="29" y="41"/>
                    </a:lnTo>
                    <a:lnTo>
                      <a:pt x="29" y="44"/>
                    </a:lnTo>
                    <a:lnTo>
                      <a:pt x="29" y="46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25" y="48"/>
                    </a:lnTo>
                    <a:lnTo>
                      <a:pt x="23" y="48"/>
                    </a:lnTo>
                    <a:lnTo>
                      <a:pt x="22" y="48"/>
                    </a:lnTo>
                    <a:lnTo>
                      <a:pt x="18" y="44"/>
                    </a:lnTo>
                    <a:lnTo>
                      <a:pt x="18" y="42"/>
                    </a:lnTo>
                    <a:lnTo>
                      <a:pt x="14" y="39"/>
                    </a:lnTo>
                    <a:lnTo>
                      <a:pt x="12" y="39"/>
                    </a:lnTo>
                    <a:lnTo>
                      <a:pt x="12" y="39"/>
                    </a:lnTo>
                    <a:lnTo>
                      <a:pt x="10" y="41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2" y="50"/>
                    </a:lnTo>
                    <a:lnTo>
                      <a:pt x="2" y="52"/>
                    </a:lnTo>
                    <a:lnTo>
                      <a:pt x="0" y="54"/>
                    </a:lnTo>
                    <a:lnTo>
                      <a:pt x="0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6" y="56"/>
                    </a:lnTo>
                    <a:lnTo>
                      <a:pt x="18" y="56"/>
                    </a:lnTo>
                    <a:lnTo>
                      <a:pt x="20" y="52"/>
                    </a:lnTo>
                    <a:lnTo>
                      <a:pt x="22" y="56"/>
                    </a:lnTo>
                    <a:lnTo>
                      <a:pt x="25" y="58"/>
                    </a:lnTo>
                    <a:lnTo>
                      <a:pt x="31" y="56"/>
                    </a:lnTo>
                    <a:lnTo>
                      <a:pt x="35" y="58"/>
                    </a:lnTo>
                    <a:lnTo>
                      <a:pt x="39" y="62"/>
                    </a:lnTo>
                    <a:lnTo>
                      <a:pt x="41" y="62"/>
                    </a:lnTo>
                    <a:lnTo>
                      <a:pt x="47" y="68"/>
                    </a:lnTo>
                    <a:lnTo>
                      <a:pt x="49" y="70"/>
                    </a:lnTo>
                    <a:lnTo>
                      <a:pt x="49" y="74"/>
                    </a:lnTo>
                    <a:lnTo>
                      <a:pt x="51" y="74"/>
                    </a:lnTo>
                    <a:lnTo>
                      <a:pt x="53" y="70"/>
                    </a:lnTo>
                    <a:lnTo>
                      <a:pt x="55" y="70"/>
                    </a:lnTo>
                    <a:lnTo>
                      <a:pt x="57" y="72"/>
                    </a:lnTo>
                    <a:lnTo>
                      <a:pt x="57" y="74"/>
                    </a:lnTo>
                    <a:lnTo>
                      <a:pt x="59" y="78"/>
                    </a:lnTo>
                    <a:lnTo>
                      <a:pt x="65" y="80"/>
                    </a:lnTo>
                    <a:lnTo>
                      <a:pt x="65" y="82"/>
                    </a:lnTo>
                    <a:lnTo>
                      <a:pt x="63" y="83"/>
                    </a:lnTo>
                    <a:lnTo>
                      <a:pt x="59" y="83"/>
                    </a:lnTo>
                    <a:lnTo>
                      <a:pt x="59" y="85"/>
                    </a:lnTo>
                    <a:lnTo>
                      <a:pt x="65" y="87"/>
                    </a:lnTo>
                    <a:lnTo>
                      <a:pt x="66" y="89"/>
                    </a:lnTo>
                    <a:lnTo>
                      <a:pt x="68" y="87"/>
                    </a:lnTo>
                    <a:lnTo>
                      <a:pt x="70" y="87"/>
                    </a:lnTo>
                    <a:lnTo>
                      <a:pt x="72" y="89"/>
                    </a:lnTo>
                    <a:lnTo>
                      <a:pt x="72" y="89"/>
                    </a:lnTo>
                    <a:lnTo>
                      <a:pt x="72" y="89"/>
                    </a:lnTo>
                    <a:lnTo>
                      <a:pt x="72" y="91"/>
                    </a:lnTo>
                    <a:lnTo>
                      <a:pt x="70" y="93"/>
                    </a:lnTo>
                    <a:lnTo>
                      <a:pt x="70" y="95"/>
                    </a:lnTo>
                    <a:lnTo>
                      <a:pt x="72" y="101"/>
                    </a:lnTo>
                    <a:lnTo>
                      <a:pt x="74" y="107"/>
                    </a:lnTo>
                    <a:lnTo>
                      <a:pt x="78" y="109"/>
                    </a:lnTo>
                    <a:lnTo>
                      <a:pt x="82" y="113"/>
                    </a:lnTo>
                    <a:lnTo>
                      <a:pt x="82" y="115"/>
                    </a:lnTo>
                    <a:lnTo>
                      <a:pt x="80" y="115"/>
                    </a:lnTo>
                    <a:lnTo>
                      <a:pt x="80" y="117"/>
                    </a:lnTo>
                    <a:lnTo>
                      <a:pt x="80" y="117"/>
                    </a:lnTo>
                    <a:lnTo>
                      <a:pt x="80" y="119"/>
                    </a:lnTo>
                    <a:lnTo>
                      <a:pt x="80" y="119"/>
                    </a:lnTo>
                    <a:lnTo>
                      <a:pt x="84" y="117"/>
                    </a:lnTo>
                    <a:lnTo>
                      <a:pt x="88" y="121"/>
                    </a:lnTo>
                    <a:lnTo>
                      <a:pt x="88" y="124"/>
                    </a:lnTo>
                    <a:lnTo>
                      <a:pt x="92" y="123"/>
                    </a:lnTo>
                    <a:lnTo>
                      <a:pt x="94" y="124"/>
                    </a:lnTo>
                    <a:lnTo>
                      <a:pt x="94" y="126"/>
                    </a:lnTo>
                    <a:lnTo>
                      <a:pt x="92" y="128"/>
                    </a:lnTo>
                    <a:lnTo>
                      <a:pt x="90" y="130"/>
                    </a:lnTo>
                    <a:lnTo>
                      <a:pt x="94" y="134"/>
                    </a:lnTo>
                    <a:lnTo>
                      <a:pt x="94" y="134"/>
                    </a:lnTo>
                    <a:lnTo>
                      <a:pt x="94" y="134"/>
                    </a:lnTo>
                    <a:lnTo>
                      <a:pt x="94" y="136"/>
                    </a:lnTo>
                    <a:lnTo>
                      <a:pt x="92" y="140"/>
                    </a:lnTo>
                    <a:lnTo>
                      <a:pt x="94" y="142"/>
                    </a:lnTo>
                    <a:lnTo>
                      <a:pt x="98" y="144"/>
                    </a:lnTo>
                    <a:lnTo>
                      <a:pt x="100" y="148"/>
                    </a:lnTo>
                    <a:lnTo>
                      <a:pt x="100" y="150"/>
                    </a:lnTo>
                    <a:lnTo>
                      <a:pt x="100" y="158"/>
                    </a:lnTo>
                    <a:lnTo>
                      <a:pt x="100" y="158"/>
                    </a:lnTo>
                    <a:lnTo>
                      <a:pt x="102" y="160"/>
                    </a:lnTo>
                    <a:lnTo>
                      <a:pt x="104" y="160"/>
                    </a:lnTo>
                    <a:lnTo>
                      <a:pt x="106" y="162"/>
                    </a:lnTo>
                    <a:lnTo>
                      <a:pt x="107" y="164"/>
                    </a:lnTo>
                    <a:lnTo>
                      <a:pt x="102" y="167"/>
                    </a:lnTo>
                    <a:lnTo>
                      <a:pt x="104" y="169"/>
                    </a:lnTo>
                    <a:lnTo>
                      <a:pt x="106" y="171"/>
                    </a:lnTo>
                    <a:lnTo>
                      <a:pt x="107" y="175"/>
                    </a:lnTo>
                    <a:lnTo>
                      <a:pt x="107" y="177"/>
                    </a:lnTo>
                    <a:lnTo>
                      <a:pt x="109" y="179"/>
                    </a:lnTo>
                    <a:lnTo>
                      <a:pt x="111" y="181"/>
                    </a:lnTo>
                    <a:lnTo>
                      <a:pt x="113" y="181"/>
                    </a:lnTo>
                    <a:lnTo>
                      <a:pt x="113" y="183"/>
                    </a:lnTo>
                    <a:lnTo>
                      <a:pt x="113" y="185"/>
                    </a:lnTo>
                    <a:lnTo>
                      <a:pt x="113" y="187"/>
                    </a:lnTo>
                    <a:lnTo>
                      <a:pt x="113" y="189"/>
                    </a:lnTo>
                    <a:lnTo>
                      <a:pt x="113" y="191"/>
                    </a:lnTo>
                    <a:lnTo>
                      <a:pt x="109" y="191"/>
                    </a:lnTo>
                    <a:lnTo>
                      <a:pt x="111" y="197"/>
                    </a:lnTo>
                    <a:lnTo>
                      <a:pt x="115" y="203"/>
                    </a:lnTo>
                    <a:lnTo>
                      <a:pt x="127" y="218"/>
                    </a:lnTo>
                    <a:lnTo>
                      <a:pt x="131" y="222"/>
                    </a:lnTo>
                    <a:lnTo>
                      <a:pt x="137" y="224"/>
                    </a:lnTo>
                    <a:lnTo>
                      <a:pt x="137" y="226"/>
                    </a:lnTo>
                    <a:lnTo>
                      <a:pt x="137" y="226"/>
                    </a:lnTo>
                    <a:lnTo>
                      <a:pt x="137" y="230"/>
                    </a:lnTo>
                    <a:lnTo>
                      <a:pt x="139" y="232"/>
                    </a:lnTo>
                    <a:lnTo>
                      <a:pt x="139" y="232"/>
                    </a:lnTo>
                    <a:lnTo>
                      <a:pt x="139" y="234"/>
                    </a:lnTo>
                    <a:lnTo>
                      <a:pt x="139" y="236"/>
                    </a:lnTo>
                    <a:lnTo>
                      <a:pt x="139" y="236"/>
                    </a:lnTo>
                    <a:lnTo>
                      <a:pt x="141" y="236"/>
                    </a:lnTo>
                    <a:lnTo>
                      <a:pt x="141" y="236"/>
                    </a:lnTo>
                    <a:lnTo>
                      <a:pt x="143" y="244"/>
                    </a:lnTo>
                    <a:lnTo>
                      <a:pt x="145" y="246"/>
                    </a:lnTo>
                    <a:lnTo>
                      <a:pt x="147" y="247"/>
                    </a:lnTo>
                    <a:lnTo>
                      <a:pt x="147" y="247"/>
                    </a:lnTo>
                    <a:lnTo>
                      <a:pt x="149" y="249"/>
                    </a:lnTo>
                    <a:lnTo>
                      <a:pt x="149" y="249"/>
                    </a:lnTo>
                    <a:lnTo>
                      <a:pt x="150" y="249"/>
                    </a:lnTo>
                    <a:lnTo>
                      <a:pt x="154" y="249"/>
                    </a:lnTo>
                    <a:lnTo>
                      <a:pt x="154" y="249"/>
                    </a:lnTo>
                    <a:lnTo>
                      <a:pt x="156" y="251"/>
                    </a:lnTo>
                    <a:lnTo>
                      <a:pt x="158" y="251"/>
                    </a:lnTo>
                    <a:lnTo>
                      <a:pt x="160" y="253"/>
                    </a:lnTo>
                    <a:lnTo>
                      <a:pt x="162" y="257"/>
                    </a:lnTo>
                    <a:lnTo>
                      <a:pt x="160" y="257"/>
                    </a:lnTo>
                    <a:lnTo>
                      <a:pt x="160" y="259"/>
                    </a:lnTo>
                    <a:lnTo>
                      <a:pt x="160" y="263"/>
                    </a:lnTo>
                    <a:lnTo>
                      <a:pt x="158" y="265"/>
                    </a:lnTo>
                    <a:lnTo>
                      <a:pt x="162" y="267"/>
                    </a:lnTo>
                    <a:lnTo>
                      <a:pt x="160" y="275"/>
                    </a:lnTo>
                    <a:lnTo>
                      <a:pt x="162" y="277"/>
                    </a:lnTo>
                    <a:lnTo>
                      <a:pt x="164" y="277"/>
                    </a:lnTo>
                    <a:lnTo>
                      <a:pt x="166" y="279"/>
                    </a:lnTo>
                    <a:lnTo>
                      <a:pt x="170" y="288"/>
                    </a:lnTo>
                    <a:lnTo>
                      <a:pt x="172" y="292"/>
                    </a:lnTo>
                    <a:lnTo>
                      <a:pt x="172" y="292"/>
                    </a:lnTo>
                    <a:lnTo>
                      <a:pt x="178" y="294"/>
                    </a:lnTo>
                    <a:lnTo>
                      <a:pt x="180" y="294"/>
                    </a:lnTo>
                    <a:lnTo>
                      <a:pt x="180" y="296"/>
                    </a:lnTo>
                    <a:lnTo>
                      <a:pt x="182" y="296"/>
                    </a:lnTo>
                    <a:lnTo>
                      <a:pt x="186" y="298"/>
                    </a:lnTo>
                    <a:lnTo>
                      <a:pt x="188" y="300"/>
                    </a:lnTo>
                    <a:lnTo>
                      <a:pt x="191" y="306"/>
                    </a:lnTo>
                    <a:lnTo>
                      <a:pt x="191" y="308"/>
                    </a:lnTo>
                    <a:lnTo>
                      <a:pt x="191" y="312"/>
                    </a:lnTo>
                    <a:lnTo>
                      <a:pt x="197" y="318"/>
                    </a:lnTo>
                    <a:lnTo>
                      <a:pt x="199" y="324"/>
                    </a:lnTo>
                    <a:lnTo>
                      <a:pt x="199" y="324"/>
                    </a:lnTo>
                    <a:lnTo>
                      <a:pt x="199" y="326"/>
                    </a:lnTo>
                    <a:lnTo>
                      <a:pt x="199" y="328"/>
                    </a:lnTo>
                    <a:lnTo>
                      <a:pt x="199" y="328"/>
                    </a:lnTo>
                    <a:lnTo>
                      <a:pt x="197" y="329"/>
                    </a:lnTo>
                    <a:lnTo>
                      <a:pt x="199" y="331"/>
                    </a:lnTo>
                    <a:lnTo>
                      <a:pt x="207" y="335"/>
                    </a:lnTo>
                    <a:lnTo>
                      <a:pt x="207" y="337"/>
                    </a:lnTo>
                    <a:lnTo>
                      <a:pt x="205" y="339"/>
                    </a:lnTo>
                    <a:lnTo>
                      <a:pt x="207" y="339"/>
                    </a:lnTo>
                    <a:lnTo>
                      <a:pt x="209" y="341"/>
                    </a:lnTo>
                    <a:lnTo>
                      <a:pt x="209" y="341"/>
                    </a:lnTo>
                    <a:lnTo>
                      <a:pt x="215" y="347"/>
                    </a:lnTo>
                    <a:lnTo>
                      <a:pt x="219" y="351"/>
                    </a:lnTo>
                    <a:lnTo>
                      <a:pt x="223" y="353"/>
                    </a:lnTo>
                    <a:lnTo>
                      <a:pt x="223" y="357"/>
                    </a:lnTo>
                    <a:lnTo>
                      <a:pt x="227" y="357"/>
                    </a:lnTo>
                    <a:lnTo>
                      <a:pt x="231" y="359"/>
                    </a:lnTo>
                    <a:lnTo>
                      <a:pt x="233" y="361"/>
                    </a:lnTo>
                    <a:lnTo>
                      <a:pt x="236" y="359"/>
                    </a:lnTo>
                    <a:lnTo>
                      <a:pt x="238" y="363"/>
                    </a:lnTo>
                    <a:lnTo>
                      <a:pt x="238" y="363"/>
                    </a:lnTo>
                    <a:lnTo>
                      <a:pt x="244" y="370"/>
                    </a:lnTo>
                    <a:lnTo>
                      <a:pt x="246" y="374"/>
                    </a:lnTo>
                    <a:lnTo>
                      <a:pt x="250" y="382"/>
                    </a:lnTo>
                    <a:lnTo>
                      <a:pt x="250" y="386"/>
                    </a:lnTo>
                    <a:lnTo>
                      <a:pt x="401" y="386"/>
                    </a:lnTo>
                    <a:lnTo>
                      <a:pt x="401" y="13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36" name="Freeform 751">
                <a:extLst>
                  <a:ext uri="{FF2B5EF4-FFF2-40B4-BE49-F238E27FC236}">
                    <a16:creationId xmlns:a16="http://schemas.microsoft.com/office/drawing/2014/main" id="{87B2E669-C911-452A-A54B-9BF9D25F1C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1" y="739"/>
                <a:ext cx="1212" cy="736"/>
              </a:xfrm>
              <a:custGeom>
                <a:avLst/>
                <a:gdLst>
                  <a:gd name="T0" fmla="*/ 73 w 1212"/>
                  <a:gd name="T1" fmla="*/ 566 h 736"/>
                  <a:gd name="T2" fmla="*/ 206 w 1212"/>
                  <a:gd name="T3" fmla="*/ 517 h 736"/>
                  <a:gd name="T4" fmla="*/ 315 w 1212"/>
                  <a:gd name="T5" fmla="*/ 517 h 736"/>
                  <a:gd name="T6" fmla="*/ 368 w 1212"/>
                  <a:gd name="T7" fmla="*/ 529 h 736"/>
                  <a:gd name="T8" fmla="*/ 460 w 1212"/>
                  <a:gd name="T9" fmla="*/ 531 h 736"/>
                  <a:gd name="T10" fmla="*/ 520 w 1212"/>
                  <a:gd name="T11" fmla="*/ 555 h 736"/>
                  <a:gd name="T12" fmla="*/ 587 w 1212"/>
                  <a:gd name="T13" fmla="*/ 556 h 736"/>
                  <a:gd name="T14" fmla="*/ 649 w 1212"/>
                  <a:gd name="T15" fmla="*/ 512 h 736"/>
                  <a:gd name="T16" fmla="*/ 676 w 1212"/>
                  <a:gd name="T17" fmla="*/ 556 h 736"/>
                  <a:gd name="T18" fmla="*/ 782 w 1212"/>
                  <a:gd name="T19" fmla="*/ 594 h 736"/>
                  <a:gd name="T20" fmla="*/ 844 w 1212"/>
                  <a:gd name="T21" fmla="*/ 656 h 736"/>
                  <a:gd name="T22" fmla="*/ 944 w 1212"/>
                  <a:gd name="T23" fmla="*/ 728 h 736"/>
                  <a:gd name="T24" fmla="*/ 1005 w 1212"/>
                  <a:gd name="T25" fmla="*/ 687 h 736"/>
                  <a:gd name="T26" fmla="*/ 1077 w 1212"/>
                  <a:gd name="T27" fmla="*/ 695 h 736"/>
                  <a:gd name="T28" fmla="*/ 1139 w 1212"/>
                  <a:gd name="T29" fmla="*/ 631 h 736"/>
                  <a:gd name="T30" fmla="*/ 1184 w 1212"/>
                  <a:gd name="T31" fmla="*/ 594 h 736"/>
                  <a:gd name="T32" fmla="*/ 1212 w 1212"/>
                  <a:gd name="T33" fmla="*/ 560 h 736"/>
                  <a:gd name="T34" fmla="*/ 1192 w 1212"/>
                  <a:gd name="T35" fmla="*/ 488 h 736"/>
                  <a:gd name="T36" fmla="*/ 1175 w 1212"/>
                  <a:gd name="T37" fmla="*/ 449 h 736"/>
                  <a:gd name="T38" fmla="*/ 1151 w 1212"/>
                  <a:gd name="T39" fmla="*/ 379 h 736"/>
                  <a:gd name="T40" fmla="*/ 1130 w 1212"/>
                  <a:gd name="T41" fmla="*/ 338 h 736"/>
                  <a:gd name="T42" fmla="*/ 1141 w 1212"/>
                  <a:gd name="T43" fmla="*/ 291 h 736"/>
                  <a:gd name="T44" fmla="*/ 1116 w 1212"/>
                  <a:gd name="T45" fmla="*/ 215 h 736"/>
                  <a:gd name="T46" fmla="*/ 1063 w 1212"/>
                  <a:gd name="T47" fmla="*/ 176 h 736"/>
                  <a:gd name="T48" fmla="*/ 1010 w 1212"/>
                  <a:gd name="T49" fmla="*/ 148 h 736"/>
                  <a:gd name="T50" fmla="*/ 991 w 1212"/>
                  <a:gd name="T51" fmla="*/ 144 h 736"/>
                  <a:gd name="T52" fmla="*/ 979 w 1212"/>
                  <a:gd name="T53" fmla="*/ 150 h 736"/>
                  <a:gd name="T54" fmla="*/ 948 w 1212"/>
                  <a:gd name="T55" fmla="*/ 162 h 736"/>
                  <a:gd name="T56" fmla="*/ 936 w 1212"/>
                  <a:gd name="T57" fmla="*/ 174 h 736"/>
                  <a:gd name="T58" fmla="*/ 917 w 1212"/>
                  <a:gd name="T59" fmla="*/ 164 h 736"/>
                  <a:gd name="T60" fmla="*/ 885 w 1212"/>
                  <a:gd name="T61" fmla="*/ 143 h 736"/>
                  <a:gd name="T62" fmla="*/ 846 w 1212"/>
                  <a:gd name="T63" fmla="*/ 78 h 736"/>
                  <a:gd name="T64" fmla="*/ 801 w 1212"/>
                  <a:gd name="T65" fmla="*/ 62 h 736"/>
                  <a:gd name="T66" fmla="*/ 778 w 1212"/>
                  <a:gd name="T67" fmla="*/ 51 h 736"/>
                  <a:gd name="T68" fmla="*/ 766 w 1212"/>
                  <a:gd name="T69" fmla="*/ 37 h 736"/>
                  <a:gd name="T70" fmla="*/ 731 w 1212"/>
                  <a:gd name="T71" fmla="*/ 12 h 736"/>
                  <a:gd name="T72" fmla="*/ 723 w 1212"/>
                  <a:gd name="T73" fmla="*/ 2 h 736"/>
                  <a:gd name="T74" fmla="*/ 717 w 1212"/>
                  <a:gd name="T75" fmla="*/ 25 h 736"/>
                  <a:gd name="T76" fmla="*/ 706 w 1212"/>
                  <a:gd name="T77" fmla="*/ 14 h 736"/>
                  <a:gd name="T78" fmla="*/ 680 w 1212"/>
                  <a:gd name="T79" fmla="*/ 8 h 736"/>
                  <a:gd name="T80" fmla="*/ 643 w 1212"/>
                  <a:gd name="T81" fmla="*/ 31 h 736"/>
                  <a:gd name="T82" fmla="*/ 626 w 1212"/>
                  <a:gd name="T83" fmla="*/ 31 h 736"/>
                  <a:gd name="T84" fmla="*/ 588 w 1212"/>
                  <a:gd name="T85" fmla="*/ 49 h 736"/>
                  <a:gd name="T86" fmla="*/ 575 w 1212"/>
                  <a:gd name="T87" fmla="*/ 64 h 736"/>
                  <a:gd name="T88" fmla="*/ 557 w 1212"/>
                  <a:gd name="T89" fmla="*/ 103 h 736"/>
                  <a:gd name="T90" fmla="*/ 571 w 1212"/>
                  <a:gd name="T91" fmla="*/ 189 h 736"/>
                  <a:gd name="T92" fmla="*/ 547 w 1212"/>
                  <a:gd name="T93" fmla="*/ 289 h 736"/>
                  <a:gd name="T94" fmla="*/ 495 w 1212"/>
                  <a:gd name="T95" fmla="*/ 332 h 736"/>
                  <a:gd name="T96" fmla="*/ 397 w 1212"/>
                  <a:gd name="T97" fmla="*/ 316 h 736"/>
                  <a:gd name="T98" fmla="*/ 368 w 1212"/>
                  <a:gd name="T99" fmla="*/ 242 h 736"/>
                  <a:gd name="T100" fmla="*/ 331 w 1212"/>
                  <a:gd name="T101" fmla="*/ 201 h 736"/>
                  <a:gd name="T102" fmla="*/ 274 w 1212"/>
                  <a:gd name="T103" fmla="*/ 100 h 736"/>
                  <a:gd name="T104" fmla="*/ 165 w 1212"/>
                  <a:gd name="T105" fmla="*/ 150 h 736"/>
                  <a:gd name="T106" fmla="*/ 75 w 1212"/>
                  <a:gd name="T107" fmla="*/ 246 h 736"/>
                  <a:gd name="T108" fmla="*/ 73 w 1212"/>
                  <a:gd name="T109" fmla="*/ 322 h 736"/>
                  <a:gd name="T110" fmla="*/ 30 w 1212"/>
                  <a:gd name="T111" fmla="*/ 371 h 736"/>
                  <a:gd name="T112" fmla="*/ 4 w 1212"/>
                  <a:gd name="T113" fmla="*/ 471 h 736"/>
                  <a:gd name="T114" fmla="*/ 16 w 1212"/>
                  <a:gd name="T115" fmla="*/ 488 h 736"/>
                  <a:gd name="T116" fmla="*/ 14 w 1212"/>
                  <a:gd name="T117" fmla="*/ 519 h 736"/>
                  <a:gd name="T118" fmla="*/ 8 w 1212"/>
                  <a:gd name="T119" fmla="*/ 482 h 736"/>
                  <a:gd name="T120" fmla="*/ 0 w 1212"/>
                  <a:gd name="T121" fmla="*/ 515 h 736"/>
                  <a:gd name="T122" fmla="*/ 0 w 1212"/>
                  <a:gd name="T123" fmla="*/ 566 h 7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212" h="736">
                    <a:moveTo>
                      <a:pt x="30" y="613"/>
                    </a:moveTo>
                    <a:lnTo>
                      <a:pt x="38" y="611"/>
                    </a:lnTo>
                    <a:lnTo>
                      <a:pt x="40" y="605"/>
                    </a:lnTo>
                    <a:lnTo>
                      <a:pt x="40" y="597"/>
                    </a:lnTo>
                    <a:lnTo>
                      <a:pt x="43" y="588"/>
                    </a:lnTo>
                    <a:lnTo>
                      <a:pt x="47" y="582"/>
                    </a:lnTo>
                    <a:lnTo>
                      <a:pt x="53" y="574"/>
                    </a:lnTo>
                    <a:lnTo>
                      <a:pt x="59" y="570"/>
                    </a:lnTo>
                    <a:lnTo>
                      <a:pt x="65" y="566"/>
                    </a:lnTo>
                    <a:lnTo>
                      <a:pt x="73" y="566"/>
                    </a:lnTo>
                    <a:lnTo>
                      <a:pt x="75" y="566"/>
                    </a:lnTo>
                    <a:lnTo>
                      <a:pt x="98" y="547"/>
                    </a:lnTo>
                    <a:lnTo>
                      <a:pt x="104" y="545"/>
                    </a:lnTo>
                    <a:lnTo>
                      <a:pt x="120" y="543"/>
                    </a:lnTo>
                    <a:lnTo>
                      <a:pt x="167" y="521"/>
                    </a:lnTo>
                    <a:lnTo>
                      <a:pt x="168" y="519"/>
                    </a:lnTo>
                    <a:lnTo>
                      <a:pt x="188" y="512"/>
                    </a:lnTo>
                    <a:lnTo>
                      <a:pt x="196" y="512"/>
                    </a:lnTo>
                    <a:lnTo>
                      <a:pt x="198" y="514"/>
                    </a:lnTo>
                    <a:lnTo>
                      <a:pt x="206" y="517"/>
                    </a:lnTo>
                    <a:lnTo>
                      <a:pt x="208" y="519"/>
                    </a:lnTo>
                    <a:lnTo>
                      <a:pt x="258" y="517"/>
                    </a:lnTo>
                    <a:lnTo>
                      <a:pt x="268" y="519"/>
                    </a:lnTo>
                    <a:lnTo>
                      <a:pt x="268" y="521"/>
                    </a:lnTo>
                    <a:lnTo>
                      <a:pt x="274" y="523"/>
                    </a:lnTo>
                    <a:lnTo>
                      <a:pt x="280" y="531"/>
                    </a:lnTo>
                    <a:lnTo>
                      <a:pt x="284" y="531"/>
                    </a:lnTo>
                    <a:lnTo>
                      <a:pt x="286" y="531"/>
                    </a:lnTo>
                    <a:lnTo>
                      <a:pt x="309" y="521"/>
                    </a:lnTo>
                    <a:lnTo>
                      <a:pt x="315" y="517"/>
                    </a:lnTo>
                    <a:lnTo>
                      <a:pt x="321" y="514"/>
                    </a:lnTo>
                    <a:lnTo>
                      <a:pt x="327" y="514"/>
                    </a:lnTo>
                    <a:lnTo>
                      <a:pt x="333" y="515"/>
                    </a:lnTo>
                    <a:lnTo>
                      <a:pt x="336" y="525"/>
                    </a:lnTo>
                    <a:lnTo>
                      <a:pt x="342" y="539"/>
                    </a:lnTo>
                    <a:lnTo>
                      <a:pt x="350" y="545"/>
                    </a:lnTo>
                    <a:lnTo>
                      <a:pt x="358" y="543"/>
                    </a:lnTo>
                    <a:lnTo>
                      <a:pt x="366" y="535"/>
                    </a:lnTo>
                    <a:lnTo>
                      <a:pt x="366" y="531"/>
                    </a:lnTo>
                    <a:lnTo>
                      <a:pt x="368" y="529"/>
                    </a:lnTo>
                    <a:lnTo>
                      <a:pt x="387" y="525"/>
                    </a:lnTo>
                    <a:lnTo>
                      <a:pt x="391" y="525"/>
                    </a:lnTo>
                    <a:lnTo>
                      <a:pt x="403" y="529"/>
                    </a:lnTo>
                    <a:lnTo>
                      <a:pt x="420" y="537"/>
                    </a:lnTo>
                    <a:lnTo>
                      <a:pt x="426" y="537"/>
                    </a:lnTo>
                    <a:lnTo>
                      <a:pt x="436" y="531"/>
                    </a:lnTo>
                    <a:lnTo>
                      <a:pt x="442" y="531"/>
                    </a:lnTo>
                    <a:lnTo>
                      <a:pt x="454" y="531"/>
                    </a:lnTo>
                    <a:lnTo>
                      <a:pt x="458" y="531"/>
                    </a:lnTo>
                    <a:lnTo>
                      <a:pt x="460" y="531"/>
                    </a:lnTo>
                    <a:lnTo>
                      <a:pt x="460" y="533"/>
                    </a:lnTo>
                    <a:lnTo>
                      <a:pt x="462" y="535"/>
                    </a:lnTo>
                    <a:lnTo>
                      <a:pt x="460" y="537"/>
                    </a:lnTo>
                    <a:lnTo>
                      <a:pt x="462" y="537"/>
                    </a:lnTo>
                    <a:lnTo>
                      <a:pt x="465" y="539"/>
                    </a:lnTo>
                    <a:lnTo>
                      <a:pt x="477" y="537"/>
                    </a:lnTo>
                    <a:lnTo>
                      <a:pt x="483" y="537"/>
                    </a:lnTo>
                    <a:lnTo>
                      <a:pt x="485" y="537"/>
                    </a:lnTo>
                    <a:lnTo>
                      <a:pt x="504" y="543"/>
                    </a:lnTo>
                    <a:lnTo>
                      <a:pt x="520" y="555"/>
                    </a:lnTo>
                    <a:lnTo>
                      <a:pt x="524" y="558"/>
                    </a:lnTo>
                    <a:lnTo>
                      <a:pt x="530" y="558"/>
                    </a:lnTo>
                    <a:lnTo>
                      <a:pt x="530" y="558"/>
                    </a:lnTo>
                    <a:lnTo>
                      <a:pt x="534" y="558"/>
                    </a:lnTo>
                    <a:lnTo>
                      <a:pt x="555" y="549"/>
                    </a:lnTo>
                    <a:lnTo>
                      <a:pt x="559" y="547"/>
                    </a:lnTo>
                    <a:lnTo>
                      <a:pt x="565" y="549"/>
                    </a:lnTo>
                    <a:lnTo>
                      <a:pt x="577" y="556"/>
                    </a:lnTo>
                    <a:lnTo>
                      <a:pt x="581" y="558"/>
                    </a:lnTo>
                    <a:lnTo>
                      <a:pt x="587" y="556"/>
                    </a:lnTo>
                    <a:lnTo>
                      <a:pt x="596" y="551"/>
                    </a:lnTo>
                    <a:lnTo>
                      <a:pt x="600" y="547"/>
                    </a:lnTo>
                    <a:lnTo>
                      <a:pt x="614" y="529"/>
                    </a:lnTo>
                    <a:lnTo>
                      <a:pt x="620" y="523"/>
                    </a:lnTo>
                    <a:lnTo>
                      <a:pt x="626" y="521"/>
                    </a:lnTo>
                    <a:lnTo>
                      <a:pt x="641" y="514"/>
                    </a:lnTo>
                    <a:lnTo>
                      <a:pt x="643" y="514"/>
                    </a:lnTo>
                    <a:lnTo>
                      <a:pt x="647" y="515"/>
                    </a:lnTo>
                    <a:lnTo>
                      <a:pt x="649" y="515"/>
                    </a:lnTo>
                    <a:lnTo>
                      <a:pt x="649" y="512"/>
                    </a:lnTo>
                    <a:lnTo>
                      <a:pt x="649" y="510"/>
                    </a:lnTo>
                    <a:lnTo>
                      <a:pt x="651" y="506"/>
                    </a:lnTo>
                    <a:lnTo>
                      <a:pt x="653" y="504"/>
                    </a:lnTo>
                    <a:lnTo>
                      <a:pt x="657" y="506"/>
                    </a:lnTo>
                    <a:lnTo>
                      <a:pt x="659" y="510"/>
                    </a:lnTo>
                    <a:lnTo>
                      <a:pt x="663" y="523"/>
                    </a:lnTo>
                    <a:lnTo>
                      <a:pt x="669" y="541"/>
                    </a:lnTo>
                    <a:lnTo>
                      <a:pt x="671" y="547"/>
                    </a:lnTo>
                    <a:lnTo>
                      <a:pt x="671" y="549"/>
                    </a:lnTo>
                    <a:lnTo>
                      <a:pt x="676" y="556"/>
                    </a:lnTo>
                    <a:lnTo>
                      <a:pt x="678" y="558"/>
                    </a:lnTo>
                    <a:lnTo>
                      <a:pt x="682" y="568"/>
                    </a:lnTo>
                    <a:lnTo>
                      <a:pt x="686" y="578"/>
                    </a:lnTo>
                    <a:lnTo>
                      <a:pt x="692" y="582"/>
                    </a:lnTo>
                    <a:lnTo>
                      <a:pt x="733" y="588"/>
                    </a:lnTo>
                    <a:lnTo>
                      <a:pt x="751" y="592"/>
                    </a:lnTo>
                    <a:lnTo>
                      <a:pt x="762" y="590"/>
                    </a:lnTo>
                    <a:lnTo>
                      <a:pt x="770" y="594"/>
                    </a:lnTo>
                    <a:lnTo>
                      <a:pt x="772" y="594"/>
                    </a:lnTo>
                    <a:lnTo>
                      <a:pt x="782" y="594"/>
                    </a:lnTo>
                    <a:lnTo>
                      <a:pt x="784" y="594"/>
                    </a:lnTo>
                    <a:lnTo>
                      <a:pt x="786" y="597"/>
                    </a:lnTo>
                    <a:lnTo>
                      <a:pt x="790" y="607"/>
                    </a:lnTo>
                    <a:lnTo>
                      <a:pt x="790" y="611"/>
                    </a:lnTo>
                    <a:lnTo>
                      <a:pt x="794" y="613"/>
                    </a:lnTo>
                    <a:lnTo>
                      <a:pt x="801" y="619"/>
                    </a:lnTo>
                    <a:lnTo>
                      <a:pt x="807" y="625"/>
                    </a:lnTo>
                    <a:lnTo>
                      <a:pt x="819" y="638"/>
                    </a:lnTo>
                    <a:lnTo>
                      <a:pt x="835" y="648"/>
                    </a:lnTo>
                    <a:lnTo>
                      <a:pt x="844" y="656"/>
                    </a:lnTo>
                    <a:lnTo>
                      <a:pt x="854" y="666"/>
                    </a:lnTo>
                    <a:lnTo>
                      <a:pt x="872" y="681"/>
                    </a:lnTo>
                    <a:lnTo>
                      <a:pt x="876" y="687"/>
                    </a:lnTo>
                    <a:lnTo>
                      <a:pt x="880" y="697"/>
                    </a:lnTo>
                    <a:lnTo>
                      <a:pt x="887" y="713"/>
                    </a:lnTo>
                    <a:lnTo>
                      <a:pt x="899" y="720"/>
                    </a:lnTo>
                    <a:lnTo>
                      <a:pt x="923" y="732"/>
                    </a:lnTo>
                    <a:lnTo>
                      <a:pt x="930" y="734"/>
                    </a:lnTo>
                    <a:lnTo>
                      <a:pt x="940" y="736"/>
                    </a:lnTo>
                    <a:lnTo>
                      <a:pt x="944" y="728"/>
                    </a:lnTo>
                    <a:lnTo>
                      <a:pt x="948" y="726"/>
                    </a:lnTo>
                    <a:lnTo>
                      <a:pt x="954" y="728"/>
                    </a:lnTo>
                    <a:lnTo>
                      <a:pt x="962" y="730"/>
                    </a:lnTo>
                    <a:lnTo>
                      <a:pt x="966" y="730"/>
                    </a:lnTo>
                    <a:lnTo>
                      <a:pt x="979" y="724"/>
                    </a:lnTo>
                    <a:lnTo>
                      <a:pt x="983" y="720"/>
                    </a:lnTo>
                    <a:lnTo>
                      <a:pt x="993" y="703"/>
                    </a:lnTo>
                    <a:lnTo>
                      <a:pt x="1001" y="691"/>
                    </a:lnTo>
                    <a:lnTo>
                      <a:pt x="1005" y="687"/>
                    </a:lnTo>
                    <a:lnTo>
                      <a:pt x="1005" y="687"/>
                    </a:lnTo>
                    <a:lnTo>
                      <a:pt x="1028" y="685"/>
                    </a:lnTo>
                    <a:lnTo>
                      <a:pt x="1034" y="685"/>
                    </a:lnTo>
                    <a:lnTo>
                      <a:pt x="1038" y="689"/>
                    </a:lnTo>
                    <a:lnTo>
                      <a:pt x="1048" y="697"/>
                    </a:lnTo>
                    <a:lnTo>
                      <a:pt x="1053" y="699"/>
                    </a:lnTo>
                    <a:lnTo>
                      <a:pt x="1055" y="699"/>
                    </a:lnTo>
                    <a:lnTo>
                      <a:pt x="1063" y="691"/>
                    </a:lnTo>
                    <a:lnTo>
                      <a:pt x="1067" y="687"/>
                    </a:lnTo>
                    <a:lnTo>
                      <a:pt x="1071" y="691"/>
                    </a:lnTo>
                    <a:lnTo>
                      <a:pt x="1077" y="695"/>
                    </a:lnTo>
                    <a:lnTo>
                      <a:pt x="1083" y="697"/>
                    </a:lnTo>
                    <a:lnTo>
                      <a:pt x="1102" y="699"/>
                    </a:lnTo>
                    <a:lnTo>
                      <a:pt x="1108" y="697"/>
                    </a:lnTo>
                    <a:lnTo>
                      <a:pt x="1110" y="693"/>
                    </a:lnTo>
                    <a:lnTo>
                      <a:pt x="1110" y="687"/>
                    </a:lnTo>
                    <a:lnTo>
                      <a:pt x="1112" y="672"/>
                    </a:lnTo>
                    <a:lnTo>
                      <a:pt x="1116" y="660"/>
                    </a:lnTo>
                    <a:lnTo>
                      <a:pt x="1134" y="648"/>
                    </a:lnTo>
                    <a:lnTo>
                      <a:pt x="1139" y="638"/>
                    </a:lnTo>
                    <a:lnTo>
                      <a:pt x="1139" y="631"/>
                    </a:lnTo>
                    <a:lnTo>
                      <a:pt x="1145" y="627"/>
                    </a:lnTo>
                    <a:lnTo>
                      <a:pt x="1157" y="617"/>
                    </a:lnTo>
                    <a:lnTo>
                      <a:pt x="1159" y="613"/>
                    </a:lnTo>
                    <a:lnTo>
                      <a:pt x="1159" y="609"/>
                    </a:lnTo>
                    <a:lnTo>
                      <a:pt x="1161" y="607"/>
                    </a:lnTo>
                    <a:lnTo>
                      <a:pt x="1165" y="603"/>
                    </a:lnTo>
                    <a:lnTo>
                      <a:pt x="1167" y="603"/>
                    </a:lnTo>
                    <a:lnTo>
                      <a:pt x="1173" y="601"/>
                    </a:lnTo>
                    <a:lnTo>
                      <a:pt x="1180" y="597"/>
                    </a:lnTo>
                    <a:lnTo>
                      <a:pt x="1184" y="594"/>
                    </a:lnTo>
                    <a:lnTo>
                      <a:pt x="1188" y="592"/>
                    </a:lnTo>
                    <a:lnTo>
                      <a:pt x="1194" y="590"/>
                    </a:lnTo>
                    <a:lnTo>
                      <a:pt x="1202" y="594"/>
                    </a:lnTo>
                    <a:lnTo>
                      <a:pt x="1204" y="588"/>
                    </a:lnTo>
                    <a:lnTo>
                      <a:pt x="1206" y="582"/>
                    </a:lnTo>
                    <a:lnTo>
                      <a:pt x="1208" y="574"/>
                    </a:lnTo>
                    <a:lnTo>
                      <a:pt x="1208" y="568"/>
                    </a:lnTo>
                    <a:lnTo>
                      <a:pt x="1210" y="564"/>
                    </a:lnTo>
                    <a:lnTo>
                      <a:pt x="1212" y="562"/>
                    </a:lnTo>
                    <a:lnTo>
                      <a:pt x="1212" y="560"/>
                    </a:lnTo>
                    <a:lnTo>
                      <a:pt x="1212" y="555"/>
                    </a:lnTo>
                    <a:lnTo>
                      <a:pt x="1212" y="553"/>
                    </a:lnTo>
                    <a:lnTo>
                      <a:pt x="1206" y="531"/>
                    </a:lnTo>
                    <a:lnTo>
                      <a:pt x="1204" y="525"/>
                    </a:lnTo>
                    <a:lnTo>
                      <a:pt x="1204" y="519"/>
                    </a:lnTo>
                    <a:lnTo>
                      <a:pt x="1204" y="508"/>
                    </a:lnTo>
                    <a:lnTo>
                      <a:pt x="1204" y="506"/>
                    </a:lnTo>
                    <a:lnTo>
                      <a:pt x="1202" y="502"/>
                    </a:lnTo>
                    <a:lnTo>
                      <a:pt x="1194" y="492"/>
                    </a:lnTo>
                    <a:lnTo>
                      <a:pt x="1192" y="488"/>
                    </a:lnTo>
                    <a:lnTo>
                      <a:pt x="1192" y="486"/>
                    </a:lnTo>
                    <a:lnTo>
                      <a:pt x="1192" y="482"/>
                    </a:lnTo>
                    <a:lnTo>
                      <a:pt x="1198" y="478"/>
                    </a:lnTo>
                    <a:lnTo>
                      <a:pt x="1198" y="474"/>
                    </a:lnTo>
                    <a:lnTo>
                      <a:pt x="1198" y="472"/>
                    </a:lnTo>
                    <a:lnTo>
                      <a:pt x="1194" y="469"/>
                    </a:lnTo>
                    <a:lnTo>
                      <a:pt x="1180" y="463"/>
                    </a:lnTo>
                    <a:lnTo>
                      <a:pt x="1178" y="459"/>
                    </a:lnTo>
                    <a:lnTo>
                      <a:pt x="1177" y="455"/>
                    </a:lnTo>
                    <a:lnTo>
                      <a:pt x="1175" y="449"/>
                    </a:lnTo>
                    <a:lnTo>
                      <a:pt x="1175" y="435"/>
                    </a:lnTo>
                    <a:lnTo>
                      <a:pt x="1173" y="430"/>
                    </a:lnTo>
                    <a:lnTo>
                      <a:pt x="1157" y="418"/>
                    </a:lnTo>
                    <a:lnTo>
                      <a:pt x="1153" y="412"/>
                    </a:lnTo>
                    <a:lnTo>
                      <a:pt x="1155" y="408"/>
                    </a:lnTo>
                    <a:lnTo>
                      <a:pt x="1159" y="400"/>
                    </a:lnTo>
                    <a:lnTo>
                      <a:pt x="1163" y="392"/>
                    </a:lnTo>
                    <a:lnTo>
                      <a:pt x="1161" y="389"/>
                    </a:lnTo>
                    <a:lnTo>
                      <a:pt x="1157" y="387"/>
                    </a:lnTo>
                    <a:lnTo>
                      <a:pt x="1151" y="379"/>
                    </a:lnTo>
                    <a:lnTo>
                      <a:pt x="1147" y="375"/>
                    </a:lnTo>
                    <a:lnTo>
                      <a:pt x="1139" y="373"/>
                    </a:lnTo>
                    <a:lnTo>
                      <a:pt x="1134" y="375"/>
                    </a:lnTo>
                    <a:lnTo>
                      <a:pt x="1120" y="383"/>
                    </a:lnTo>
                    <a:lnTo>
                      <a:pt x="1116" y="383"/>
                    </a:lnTo>
                    <a:lnTo>
                      <a:pt x="1114" y="381"/>
                    </a:lnTo>
                    <a:lnTo>
                      <a:pt x="1118" y="371"/>
                    </a:lnTo>
                    <a:lnTo>
                      <a:pt x="1128" y="348"/>
                    </a:lnTo>
                    <a:lnTo>
                      <a:pt x="1130" y="344"/>
                    </a:lnTo>
                    <a:lnTo>
                      <a:pt x="1130" y="338"/>
                    </a:lnTo>
                    <a:lnTo>
                      <a:pt x="1130" y="334"/>
                    </a:lnTo>
                    <a:lnTo>
                      <a:pt x="1132" y="332"/>
                    </a:lnTo>
                    <a:lnTo>
                      <a:pt x="1134" y="324"/>
                    </a:lnTo>
                    <a:lnTo>
                      <a:pt x="1134" y="320"/>
                    </a:lnTo>
                    <a:lnTo>
                      <a:pt x="1134" y="312"/>
                    </a:lnTo>
                    <a:lnTo>
                      <a:pt x="1130" y="310"/>
                    </a:lnTo>
                    <a:lnTo>
                      <a:pt x="1126" y="308"/>
                    </a:lnTo>
                    <a:lnTo>
                      <a:pt x="1124" y="303"/>
                    </a:lnTo>
                    <a:lnTo>
                      <a:pt x="1126" y="297"/>
                    </a:lnTo>
                    <a:lnTo>
                      <a:pt x="1141" y="291"/>
                    </a:lnTo>
                    <a:lnTo>
                      <a:pt x="1147" y="285"/>
                    </a:lnTo>
                    <a:lnTo>
                      <a:pt x="1149" y="279"/>
                    </a:lnTo>
                    <a:lnTo>
                      <a:pt x="1149" y="269"/>
                    </a:lnTo>
                    <a:lnTo>
                      <a:pt x="1151" y="252"/>
                    </a:lnTo>
                    <a:lnTo>
                      <a:pt x="1149" y="244"/>
                    </a:lnTo>
                    <a:lnTo>
                      <a:pt x="1147" y="240"/>
                    </a:lnTo>
                    <a:lnTo>
                      <a:pt x="1143" y="238"/>
                    </a:lnTo>
                    <a:lnTo>
                      <a:pt x="1128" y="226"/>
                    </a:lnTo>
                    <a:lnTo>
                      <a:pt x="1126" y="225"/>
                    </a:lnTo>
                    <a:lnTo>
                      <a:pt x="1116" y="215"/>
                    </a:lnTo>
                    <a:lnTo>
                      <a:pt x="1098" y="205"/>
                    </a:lnTo>
                    <a:lnTo>
                      <a:pt x="1094" y="201"/>
                    </a:lnTo>
                    <a:lnTo>
                      <a:pt x="1094" y="195"/>
                    </a:lnTo>
                    <a:lnTo>
                      <a:pt x="1096" y="189"/>
                    </a:lnTo>
                    <a:lnTo>
                      <a:pt x="1096" y="182"/>
                    </a:lnTo>
                    <a:lnTo>
                      <a:pt x="1096" y="172"/>
                    </a:lnTo>
                    <a:lnTo>
                      <a:pt x="1067" y="172"/>
                    </a:lnTo>
                    <a:lnTo>
                      <a:pt x="1067" y="172"/>
                    </a:lnTo>
                    <a:lnTo>
                      <a:pt x="1063" y="174"/>
                    </a:lnTo>
                    <a:lnTo>
                      <a:pt x="1063" y="176"/>
                    </a:lnTo>
                    <a:lnTo>
                      <a:pt x="1063" y="176"/>
                    </a:lnTo>
                    <a:lnTo>
                      <a:pt x="1063" y="176"/>
                    </a:lnTo>
                    <a:lnTo>
                      <a:pt x="1036" y="166"/>
                    </a:lnTo>
                    <a:lnTo>
                      <a:pt x="1022" y="164"/>
                    </a:lnTo>
                    <a:lnTo>
                      <a:pt x="1018" y="162"/>
                    </a:lnTo>
                    <a:lnTo>
                      <a:pt x="1018" y="162"/>
                    </a:lnTo>
                    <a:lnTo>
                      <a:pt x="1018" y="162"/>
                    </a:lnTo>
                    <a:lnTo>
                      <a:pt x="1018" y="160"/>
                    </a:lnTo>
                    <a:lnTo>
                      <a:pt x="1016" y="158"/>
                    </a:lnTo>
                    <a:lnTo>
                      <a:pt x="1010" y="148"/>
                    </a:lnTo>
                    <a:lnTo>
                      <a:pt x="1009" y="148"/>
                    </a:lnTo>
                    <a:lnTo>
                      <a:pt x="1005" y="146"/>
                    </a:lnTo>
                    <a:lnTo>
                      <a:pt x="1003" y="144"/>
                    </a:lnTo>
                    <a:lnTo>
                      <a:pt x="1001" y="144"/>
                    </a:lnTo>
                    <a:lnTo>
                      <a:pt x="997" y="144"/>
                    </a:lnTo>
                    <a:lnTo>
                      <a:pt x="997" y="144"/>
                    </a:lnTo>
                    <a:lnTo>
                      <a:pt x="997" y="144"/>
                    </a:lnTo>
                    <a:lnTo>
                      <a:pt x="995" y="144"/>
                    </a:lnTo>
                    <a:lnTo>
                      <a:pt x="991" y="144"/>
                    </a:lnTo>
                    <a:lnTo>
                      <a:pt x="991" y="144"/>
                    </a:lnTo>
                    <a:lnTo>
                      <a:pt x="991" y="144"/>
                    </a:lnTo>
                    <a:lnTo>
                      <a:pt x="989" y="143"/>
                    </a:lnTo>
                    <a:lnTo>
                      <a:pt x="989" y="143"/>
                    </a:lnTo>
                    <a:lnTo>
                      <a:pt x="987" y="141"/>
                    </a:lnTo>
                    <a:lnTo>
                      <a:pt x="987" y="141"/>
                    </a:lnTo>
                    <a:lnTo>
                      <a:pt x="985" y="143"/>
                    </a:lnTo>
                    <a:lnTo>
                      <a:pt x="983" y="144"/>
                    </a:lnTo>
                    <a:lnTo>
                      <a:pt x="981" y="146"/>
                    </a:lnTo>
                    <a:lnTo>
                      <a:pt x="981" y="148"/>
                    </a:lnTo>
                    <a:lnTo>
                      <a:pt x="979" y="150"/>
                    </a:lnTo>
                    <a:lnTo>
                      <a:pt x="977" y="154"/>
                    </a:lnTo>
                    <a:lnTo>
                      <a:pt x="975" y="158"/>
                    </a:lnTo>
                    <a:lnTo>
                      <a:pt x="973" y="158"/>
                    </a:lnTo>
                    <a:lnTo>
                      <a:pt x="971" y="158"/>
                    </a:lnTo>
                    <a:lnTo>
                      <a:pt x="960" y="158"/>
                    </a:lnTo>
                    <a:lnTo>
                      <a:pt x="958" y="158"/>
                    </a:lnTo>
                    <a:lnTo>
                      <a:pt x="958" y="158"/>
                    </a:lnTo>
                    <a:lnTo>
                      <a:pt x="954" y="160"/>
                    </a:lnTo>
                    <a:lnTo>
                      <a:pt x="948" y="162"/>
                    </a:lnTo>
                    <a:lnTo>
                      <a:pt x="948" y="162"/>
                    </a:lnTo>
                    <a:lnTo>
                      <a:pt x="942" y="168"/>
                    </a:lnTo>
                    <a:lnTo>
                      <a:pt x="942" y="170"/>
                    </a:lnTo>
                    <a:lnTo>
                      <a:pt x="940" y="172"/>
                    </a:lnTo>
                    <a:lnTo>
                      <a:pt x="940" y="174"/>
                    </a:lnTo>
                    <a:lnTo>
                      <a:pt x="940" y="174"/>
                    </a:lnTo>
                    <a:lnTo>
                      <a:pt x="938" y="174"/>
                    </a:lnTo>
                    <a:lnTo>
                      <a:pt x="936" y="174"/>
                    </a:lnTo>
                    <a:lnTo>
                      <a:pt x="936" y="174"/>
                    </a:lnTo>
                    <a:lnTo>
                      <a:pt x="936" y="174"/>
                    </a:lnTo>
                    <a:lnTo>
                      <a:pt x="936" y="174"/>
                    </a:lnTo>
                    <a:lnTo>
                      <a:pt x="934" y="172"/>
                    </a:lnTo>
                    <a:lnTo>
                      <a:pt x="932" y="172"/>
                    </a:lnTo>
                    <a:lnTo>
                      <a:pt x="930" y="172"/>
                    </a:lnTo>
                    <a:lnTo>
                      <a:pt x="928" y="174"/>
                    </a:lnTo>
                    <a:lnTo>
                      <a:pt x="928" y="174"/>
                    </a:lnTo>
                    <a:lnTo>
                      <a:pt x="924" y="176"/>
                    </a:lnTo>
                    <a:lnTo>
                      <a:pt x="924" y="176"/>
                    </a:lnTo>
                    <a:lnTo>
                      <a:pt x="924" y="176"/>
                    </a:lnTo>
                    <a:lnTo>
                      <a:pt x="923" y="172"/>
                    </a:lnTo>
                    <a:lnTo>
                      <a:pt x="917" y="164"/>
                    </a:lnTo>
                    <a:lnTo>
                      <a:pt x="915" y="162"/>
                    </a:lnTo>
                    <a:lnTo>
                      <a:pt x="913" y="160"/>
                    </a:lnTo>
                    <a:lnTo>
                      <a:pt x="907" y="158"/>
                    </a:lnTo>
                    <a:lnTo>
                      <a:pt x="901" y="154"/>
                    </a:lnTo>
                    <a:lnTo>
                      <a:pt x="897" y="154"/>
                    </a:lnTo>
                    <a:lnTo>
                      <a:pt x="891" y="148"/>
                    </a:lnTo>
                    <a:lnTo>
                      <a:pt x="891" y="148"/>
                    </a:lnTo>
                    <a:lnTo>
                      <a:pt x="891" y="148"/>
                    </a:lnTo>
                    <a:lnTo>
                      <a:pt x="891" y="148"/>
                    </a:lnTo>
                    <a:lnTo>
                      <a:pt x="885" y="143"/>
                    </a:lnTo>
                    <a:lnTo>
                      <a:pt x="870" y="117"/>
                    </a:lnTo>
                    <a:lnTo>
                      <a:pt x="868" y="115"/>
                    </a:lnTo>
                    <a:lnTo>
                      <a:pt x="864" y="109"/>
                    </a:lnTo>
                    <a:lnTo>
                      <a:pt x="846" y="94"/>
                    </a:lnTo>
                    <a:lnTo>
                      <a:pt x="844" y="92"/>
                    </a:lnTo>
                    <a:lnTo>
                      <a:pt x="844" y="90"/>
                    </a:lnTo>
                    <a:lnTo>
                      <a:pt x="844" y="84"/>
                    </a:lnTo>
                    <a:lnTo>
                      <a:pt x="844" y="82"/>
                    </a:lnTo>
                    <a:lnTo>
                      <a:pt x="844" y="80"/>
                    </a:lnTo>
                    <a:lnTo>
                      <a:pt x="846" y="78"/>
                    </a:lnTo>
                    <a:lnTo>
                      <a:pt x="844" y="74"/>
                    </a:lnTo>
                    <a:lnTo>
                      <a:pt x="844" y="74"/>
                    </a:lnTo>
                    <a:lnTo>
                      <a:pt x="844" y="72"/>
                    </a:lnTo>
                    <a:lnTo>
                      <a:pt x="842" y="72"/>
                    </a:lnTo>
                    <a:lnTo>
                      <a:pt x="842" y="72"/>
                    </a:lnTo>
                    <a:lnTo>
                      <a:pt x="837" y="70"/>
                    </a:lnTo>
                    <a:lnTo>
                      <a:pt x="807" y="68"/>
                    </a:lnTo>
                    <a:lnTo>
                      <a:pt x="803" y="66"/>
                    </a:lnTo>
                    <a:lnTo>
                      <a:pt x="803" y="64"/>
                    </a:lnTo>
                    <a:lnTo>
                      <a:pt x="801" y="62"/>
                    </a:lnTo>
                    <a:lnTo>
                      <a:pt x="799" y="59"/>
                    </a:lnTo>
                    <a:lnTo>
                      <a:pt x="799" y="53"/>
                    </a:lnTo>
                    <a:lnTo>
                      <a:pt x="798" y="49"/>
                    </a:lnTo>
                    <a:lnTo>
                      <a:pt x="796" y="47"/>
                    </a:lnTo>
                    <a:lnTo>
                      <a:pt x="796" y="47"/>
                    </a:lnTo>
                    <a:lnTo>
                      <a:pt x="794" y="47"/>
                    </a:lnTo>
                    <a:lnTo>
                      <a:pt x="792" y="49"/>
                    </a:lnTo>
                    <a:lnTo>
                      <a:pt x="782" y="51"/>
                    </a:lnTo>
                    <a:lnTo>
                      <a:pt x="778" y="51"/>
                    </a:lnTo>
                    <a:lnTo>
                      <a:pt x="778" y="51"/>
                    </a:lnTo>
                    <a:lnTo>
                      <a:pt x="774" y="51"/>
                    </a:lnTo>
                    <a:lnTo>
                      <a:pt x="772" y="49"/>
                    </a:lnTo>
                    <a:lnTo>
                      <a:pt x="770" y="49"/>
                    </a:lnTo>
                    <a:lnTo>
                      <a:pt x="768" y="45"/>
                    </a:lnTo>
                    <a:lnTo>
                      <a:pt x="766" y="41"/>
                    </a:lnTo>
                    <a:lnTo>
                      <a:pt x="766" y="41"/>
                    </a:lnTo>
                    <a:lnTo>
                      <a:pt x="766" y="39"/>
                    </a:lnTo>
                    <a:lnTo>
                      <a:pt x="766" y="39"/>
                    </a:lnTo>
                    <a:lnTo>
                      <a:pt x="766" y="39"/>
                    </a:lnTo>
                    <a:lnTo>
                      <a:pt x="766" y="37"/>
                    </a:lnTo>
                    <a:lnTo>
                      <a:pt x="764" y="35"/>
                    </a:lnTo>
                    <a:lnTo>
                      <a:pt x="764" y="35"/>
                    </a:lnTo>
                    <a:lnTo>
                      <a:pt x="762" y="33"/>
                    </a:lnTo>
                    <a:lnTo>
                      <a:pt x="756" y="33"/>
                    </a:lnTo>
                    <a:lnTo>
                      <a:pt x="751" y="29"/>
                    </a:lnTo>
                    <a:lnTo>
                      <a:pt x="751" y="29"/>
                    </a:lnTo>
                    <a:lnTo>
                      <a:pt x="741" y="16"/>
                    </a:lnTo>
                    <a:lnTo>
                      <a:pt x="733" y="12"/>
                    </a:lnTo>
                    <a:lnTo>
                      <a:pt x="733" y="12"/>
                    </a:lnTo>
                    <a:lnTo>
                      <a:pt x="731" y="12"/>
                    </a:lnTo>
                    <a:lnTo>
                      <a:pt x="731" y="14"/>
                    </a:lnTo>
                    <a:lnTo>
                      <a:pt x="731" y="14"/>
                    </a:lnTo>
                    <a:lnTo>
                      <a:pt x="731" y="14"/>
                    </a:lnTo>
                    <a:lnTo>
                      <a:pt x="729" y="14"/>
                    </a:lnTo>
                    <a:lnTo>
                      <a:pt x="729" y="14"/>
                    </a:lnTo>
                    <a:lnTo>
                      <a:pt x="729" y="12"/>
                    </a:lnTo>
                    <a:lnTo>
                      <a:pt x="727" y="10"/>
                    </a:lnTo>
                    <a:lnTo>
                      <a:pt x="725" y="4"/>
                    </a:lnTo>
                    <a:lnTo>
                      <a:pt x="725" y="4"/>
                    </a:lnTo>
                    <a:lnTo>
                      <a:pt x="723" y="2"/>
                    </a:lnTo>
                    <a:lnTo>
                      <a:pt x="721" y="0"/>
                    </a:lnTo>
                    <a:lnTo>
                      <a:pt x="717" y="0"/>
                    </a:lnTo>
                    <a:lnTo>
                      <a:pt x="717" y="0"/>
                    </a:lnTo>
                    <a:lnTo>
                      <a:pt x="715" y="2"/>
                    </a:lnTo>
                    <a:lnTo>
                      <a:pt x="715" y="8"/>
                    </a:lnTo>
                    <a:lnTo>
                      <a:pt x="719" y="16"/>
                    </a:lnTo>
                    <a:lnTo>
                      <a:pt x="721" y="16"/>
                    </a:lnTo>
                    <a:lnTo>
                      <a:pt x="721" y="18"/>
                    </a:lnTo>
                    <a:lnTo>
                      <a:pt x="721" y="21"/>
                    </a:lnTo>
                    <a:lnTo>
                      <a:pt x="717" y="25"/>
                    </a:lnTo>
                    <a:lnTo>
                      <a:pt x="717" y="25"/>
                    </a:lnTo>
                    <a:lnTo>
                      <a:pt x="717" y="25"/>
                    </a:lnTo>
                    <a:lnTo>
                      <a:pt x="717" y="25"/>
                    </a:lnTo>
                    <a:lnTo>
                      <a:pt x="714" y="27"/>
                    </a:lnTo>
                    <a:lnTo>
                      <a:pt x="710" y="27"/>
                    </a:lnTo>
                    <a:lnTo>
                      <a:pt x="710" y="27"/>
                    </a:lnTo>
                    <a:lnTo>
                      <a:pt x="708" y="25"/>
                    </a:lnTo>
                    <a:lnTo>
                      <a:pt x="708" y="23"/>
                    </a:lnTo>
                    <a:lnTo>
                      <a:pt x="706" y="20"/>
                    </a:lnTo>
                    <a:lnTo>
                      <a:pt x="706" y="14"/>
                    </a:lnTo>
                    <a:lnTo>
                      <a:pt x="704" y="12"/>
                    </a:lnTo>
                    <a:lnTo>
                      <a:pt x="702" y="4"/>
                    </a:lnTo>
                    <a:lnTo>
                      <a:pt x="698" y="2"/>
                    </a:lnTo>
                    <a:lnTo>
                      <a:pt x="690" y="2"/>
                    </a:lnTo>
                    <a:lnTo>
                      <a:pt x="686" y="4"/>
                    </a:lnTo>
                    <a:lnTo>
                      <a:pt x="686" y="4"/>
                    </a:lnTo>
                    <a:lnTo>
                      <a:pt x="686" y="4"/>
                    </a:lnTo>
                    <a:lnTo>
                      <a:pt x="682" y="6"/>
                    </a:lnTo>
                    <a:lnTo>
                      <a:pt x="680" y="6"/>
                    </a:lnTo>
                    <a:lnTo>
                      <a:pt x="680" y="8"/>
                    </a:lnTo>
                    <a:lnTo>
                      <a:pt x="671" y="18"/>
                    </a:lnTo>
                    <a:lnTo>
                      <a:pt x="665" y="21"/>
                    </a:lnTo>
                    <a:lnTo>
                      <a:pt x="661" y="21"/>
                    </a:lnTo>
                    <a:lnTo>
                      <a:pt x="653" y="23"/>
                    </a:lnTo>
                    <a:lnTo>
                      <a:pt x="649" y="25"/>
                    </a:lnTo>
                    <a:lnTo>
                      <a:pt x="649" y="25"/>
                    </a:lnTo>
                    <a:lnTo>
                      <a:pt x="645" y="29"/>
                    </a:lnTo>
                    <a:lnTo>
                      <a:pt x="643" y="29"/>
                    </a:lnTo>
                    <a:lnTo>
                      <a:pt x="643" y="31"/>
                    </a:lnTo>
                    <a:lnTo>
                      <a:pt x="643" y="31"/>
                    </a:lnTo>
                    <a:lnTo>
                      <a:pt x="639" y="29"/>
                    </a:lnTo>
                    <a:lnTo>
                      <a:pt x="639" y="29"/>
                    </a:lnTo>
                    <a:lnTo>
                      <a:pt x="639" y="29"/>
                    </a:lnTo>
                    <a:lnTo>
                      <a:pt x="639" y="29"/>
                    </a:lnTo>
                    <a:lnTo>
                      <a:pt x="635" y="27"/>
                    </a:lnTo>
                    <a:lnTo>
                      <a:pt x="631" y="25"/>
                    </a:lnTo>
                    <a:lnTo>
                      <a:pt x="630" y="25"/>
                    </a:lnTo>
                    <a:lnTo>
                      <a:pt x="628" y="27"/>
                    </a:lnTo>
                    <a:lnTo>
                      <a:pt x="628" y="29"/>
                    </a:lnTo>
                    <a:lnTo>
                      <a:pt x="626" y="31"/>
                    </a:lnTo>
                    <a:lnTo>
                      <a:pt x="624" y="37"/>
                    </a:lnTo>
                    <a:lnTo>
                      <a:pt x="624" y="37"/>
                    </a:lnTo>
                    <a:lnTo>
                      <a:pt x="624" y="37"/>
                    </a:lnTo>
                    <a:lnTo>
                      <a:pt x="622" y="39"/>
                    </a:lnTo>
                    <a:lnTo>
                      <a:pt x="616" y="41"/>
                    </a:lnTo>
                    <a:lnTo>
                      <a:pt x="612" y="41"/>
                    </a:lnTo>
                    <a:lnTo>
                      <a:pt x="604" y="41"/>
                    </a:lnTo>
                    <a:lnTo>
                      <a:pt x="600" y="39"/>
                    </a:lnTo>
                    <a:lnTo>
                      <a:pt x="596" y="41"/>
                    </a:lnTo>
                    <a:lnTo>
                      <a:pt x="588" y="49"/>
                    </a:lnTo>
                    <a:lnTo>
                      <a:pt x="587" y="49"/>
                    </a:lnTo>
                    <a:lnTo>
                      <a:pt x="587" y="49"/>
                    </a:lnTo>
                    <a:lnTo>
                      <a:pt x="587" y="49"/>
                    </a:lnTo>
                    <a:lnTo>
                      <a:pt x="581" y="53"/>
                    </a:lnTo>
                    <a:lnTo>
                      <a:pt x="579" y="55"/>
                    </a:lnTo>
                    <a:lnTo>
                      <a:pt x="577" y="59"/>
                    </a:lnTo>
                    <a:lnTo>
                      <a:pt x="575" y="62"/>
                    </a:lnTo>
                    <a:lnTo>
                      <a:pt x="575" y="64"/>
                    </a:lnTo>
                    <a:lnTo>
                      <a:pt x="575" y="64"/>
                    </a:lnTo>
                    <a:lnTo>
                      <a:pt x="575" y="64"/>
                    </a:lnTo>
                    <a:lnTo>
                      <a:pt x="571" y="68"/>
                    </a:lnTo>
                    <a:lnTo>
                      <a:pt x="567" y="68"/>
                    </a:lnTo>
                    <a:lnTo>
                      <a:pt x="565" y="68"/>
                    </a:lnTo>
                    <a:lnTo>
                      <a:pt x="557" y="64"/>
                    </a:lnTo>
                    <a:lnTo>
                      <a:pt x="557" y="68"/>
                    </a:lnTo>
                    <a:lnTo>
                      <a:pt x="555" y="72"/>
                    </a:lnTo>
                    <a:lnTo>
                      <a:pt x="555" y="76"/>
                    </a:lnTo>
                    <a:lnTo>
                      <a:pt x="555" y="84"/>
                    </a:lnTo>
                    <a:lnTo>
                      <a:pt x="557" y="98"/>
                    </a:lnTo>
                    <a:lnTo>
                      <a:pt x="557" y="103"/>
                    </a:lnTo>
                    <a:lnTo>
                      <a:pt x="559" y="109"/>
                    </a:lnTo>
                    <a:lnTo>
                      <a:pt x="567" y="121"/>
                    </a:lnTo>
                    <a:lnTo>
                      <a:pt x="567" y="127"/>
                    </a:lnTo>
                    <a:lnTo>
                      <a:pt x="569" y="144"/>
                    </a:lnTo>
                    <a:lnTo>
                      <a:pt x="567" y="156"/>
                    </a:lnTo>
                    <a:lnTo>
                      <a:pt x="567" y="164"/>
                    </a:lnTo>
                    <a:lnTo>
                      <a:pt x="567" y="168"/>
                    </a:lnTo>
                    <a:lnTo>
                      <a:pt x="569" y="172"/>
                    </a:lnTo>
                    <a:lnTo>
                      <a:pt x="571" y="178"/>
                    </a:lnTo>
                    <a:lnTo>
                      <a:pt x="571" y="189"/>
                    </a:lnTo>
                    <a:lnTo>
                      <a:pt x="575" y="228"/>
                    </a:lnTo>
                    <a:lnTo>
                      <a:pt x="575" y="242"/>
                    </a:lnTo>
                    <a:lnTo>
                      <a:pt x="573" y="254"/>
                    </a:lnTo>
                    <a:lnTo>
                      <a:pt x="571" y="264"/>
                    </a:lnTo>
                    <a:lnTo>
                      <a:pt x="559" y="275"/>
                    </a:lnTo>
                    <a:lnTo>
                      <a:pt x="555" y="279"/>
                    </a:lnTo>
                    <a:lnTo>
                      <a:pt x="553" y="281"/>
                    </a:lnTo>
                    <a:lnTo>
                      <a:pt x="553" y="285"/>
                    </a:lnTo>
                    <a:lnTo>
                      <a:pt x="551" y="285"/>
                    </a:lnTo>
                    <a:lnTo>
                      <a:pt x="547" y="289"/>
                    </a:lnTo>
                    <a:lnTo>
                      <a:pt x="544" y="291"/>
                    </a:lnTo>
                    <a:lnTo>
                      <a:pt x="542" y="297"/>
                    </a:lnTo>
                    <a:lnTo>
                      <a:pt x="526" y="307"/>
                    </a:lnTo>
                    <a:lnTo>
                      <a:pt x="520" y="310"/>
                    </a:lnTo>
                    <a:lnTo>
                      <a:pt x="512" y="312"/>
                    </a:lnTo>
                    <a:lnTo>
                      <a:pt x="510" y="316"/>
                    </a:lnTo>
                    <a:lnTo>
                      <a:pt x="508" y="320"/>
                    </a:lnTo>
                    <a:lnTo>
                      <a:pt x="504" y="324"/>
                    </a:lnTo>
                    <a:lnTo>
                      <a:pt x="499" y="330"/>
                    </a:lnTo>
                    <a:lnTo>
                      <a:pt x="495" y="332"/>
                    </a:lnTo>
                    <a:lnTo>
                      <a:pt x="485" y="338"/>
                    </a:lnTo>
                    <a:lnTo>
                      <a:pt x="456" y="344"/>
                    </a:lnTo>
                    <a:lnTo>
                      <a:pt x="446" y="344"/>
                    </a:lnTo>
                    <a:lnTo>
                      <a:pt x="438" y="340"/>
                    </a:lnTo>
                    <a:lnTo>
                      <a:pt x="436" y="340"/>
                    </a:lnTo>
                    <a:lnTo>
                      <a:pt x="434" y="338"/>
                    </a:lnTo>
                    <a:lnTo>
                      <a:pt x="426" y="326"/>
                    </a:lnTo>
                    <a:lnTo>
                      <a:pt x="424" y="324"/>
                    </a:lnTo>
                    <a:lnTo>
                      <a:pt x="411" y="322"/>
                    </a:lnTo>
                    <a:lnTo>
                      <a:pt x="397" y="316"/>
                    </a:lnTo>
                    <a:lnTo>
                      <a:pt x="389" y="307"/>
                    </a:lnTo>
                    <a:lnTo>
                      <a:pt x="385" y="307"/>
                    </a:lnTo>
                    <a:lnTo>
                      <a:pt x="383" y="305"/>
                    </a:lnTo>
                    <a:lnTo>
                      <a:pt x="381" y="299"/>
                    </a:lnTo>
                    <a:lnTo>
                      <a:pt x="378" y="269"/>
                    </a:lnTo>
                    <a:lnTo>
                      <a:pt x="376" y="267"/>
                    </a:lnTo>
                    <a:lnTo>
                      <a:pt x="374" y="266"/>
                    </a:lnTo>
                    <a:lnTo>
                      <a:pt x="372" y="260"/>
                    </a:lnTo>
                    <a:lnTo>
                      <a:pt x="370" y="248"/>
                    </a:lnTo>
                    <a:lnTo>
                      <a:pt x="368" y="242"/>
                    </a:lnTo>
                    <a:lnTo>
                      <a:pt x="368" y="238"/>
                    </a:lnTo>
                    <a:lnTo>
                      <a:pt x="366" y="236"/>
                    </a:lnTo>
                    <a:lnTo>
                      <a:pt x="362" y="228"/>
                    </a:lnTo>
                    <a:lnTo>
                      <a:pt x="362" y="225"/>
                    </a:lnTo>
                    <a:lnTo>
                      <a:pt x="362" y="223"/>
                    </a:lnTo>
                    <a:lnTo>
                      <a:pt x="362" y="221"/>
                    </a:lnTo>
                    <a:lnTo>
                      <a:pt x="360" y="219"/>
                    </a:lnTo>
                    <a:lnTo>
                      <a:pt x="354" y="217"/>
                    </a:lnTo>
                    <a:lnTo>
                      <a:pt x="344" y="213"/>
                    </a:lnTo>
                    <a:lnTo>
                      <a:pt x="331" y="201"/>
                    </a:lnTo>
                    <a:lnTo>
                      <a:pt x="319" y="185"/>
                    </a:lnTo>
                    <a:lnTo>
                      <a:pt x="282" y="152"/>
                    </a:lnTo>
                    <a:lnTo>
                      <a:pt x="272" y="139"/>
                    </a:lnTo>
                    <a:lnTo>
                      <a:pt x="270" y="135"/>
                    </a:lnTo>
                    <a:lnTo>
                      <a:pt x="270" y="129"/>
                    </a:lnTo>
                    <a:lnTo>
                      <a:pt x="270" y="115"/>
                    </a:lnTo>
                    <a:lnTo>
                      <a:pt x="272" y="103"/>
                    </a:lnTo>
                    <a:lnTo>
                      <a:pt x="274" y="102"/>
                    </a:lnTo>
                    <a:lnTo>
                      <a:pt x="274" y="102"/>
                    </a:lnTo>
                    <a:lnTo>
                      <a:pt x="274" y="100"/>
                    </a:lnTo>
                    <a:lnTo>
                      <a:pt x="272" y="100"/>
                    </a:lnTo>
                    <a:lnTo>
                      <a:pt x="270" y="100"/>
                    </a:lnTo>
                    <a:lnTo>
                      <a:pt x="268" y="100"/>
                    </a:lnTo>
                    <a:lnTo>
                      <a:pt x="266" y="102"/>
                    </a:lnTo>
                    <a:lnTo>
                      <a:pt x="264" y="102"/>
                    </a:lnTo>
                    <a:lnTo>
                      <a:pt x="260" y="102"/>
                    </a:lnTo>
                    <a:lnTo>
                      <a:pt x="252" y="103"/>
                    </a:lnTo>
                    <a:lnTo>
                      <a:pt x="206" y="131"/>
                    </a:lnTo>
                    <a:lnTo>
                      <a:pt x="172" y="148"/>
                    </a:lnTo>
                    <a:lnTo>
                      <a:pt x="165" y="150"/>
                    </a:lnTo>
                    <a:lnTo>
                      <a:pt x="133" y="152"/>
                    </a:lnTo>
                    <a:lnTo>
                      <a:pt x="127" y="156"/>
                    </a:lnTo>
                    <a:lnTo>
                      <a:pt x="122" y="162"/>
                    </a:lnTo>
                    <a:lnTo>
                      <a:pt x="104" y="199"/>
                    </a:lnTo>
                    <a:lnTo>
                      <a:pt x="92" y="215"/>
                    </a:lnTo>
                    <a:lnTo>
                      <a:pt x="84" y="230"/>
                    </a:lnTo>
                    <a:lnTo>
                      <a:pt x="83" y="234"/>
                    </a:lnTo>
                    <a:lnTo>
                      <a:pt x="81" y="236"/>
                    </a:lnTo>
                    <a:lnTo>
                      <a:pt x="77" y="240"/>
                    </a:lnTo>
                    <a:lnTo>
                      <a:pt x="75" y="246"/>
                    </a:lnTo>
                    <a:lnTo>
                      <a:pt x="75" y="250"/>
                    </a:lnTo>
                    <a:lnTo>
                      <a:pt x="75" y="258"/>
                    </a:lnTo>
                    <a:lnTo>
                      <a:pt x="75" y="277"/>
                    </a:lnTo>
                    <a:lnTo>
                      <a:pt x="75" y="279"/>
                    </a:lnTo>
                    <a:lnTo>
                      <a:pt x="73" y="285"/>
                    </a:lnTo>
                    <a:lnTo>
                      <a:pt x="73" y="287"/>
                    </a:lnTo>
                    <a:lnTo>
                      <a:pt x="73" y="295"/>
                    </a:lnTo>
                    <a:lnTo>
                      <a:pt x="75" y="299"/>
                    </a:lnTo>
                    <a:lnTo>
                      <a:pt x="75" y="312"/>
                    </a:lnTo>
                    <a:lnTo>
                      <a:pt x="73" y="322"/>
                    </a:lnTo>
                    <a:lnTo>
                      <a:pt x="69" y="332"/>
                    </a:lnTo>
                    <a:lnTo>
                      <a:pt x="65" y="338"/>
                    </a:lnTo>
                    <a:lnTo>
                      <a:pt x="59" y="342"/>
                    </a:lnTo>
                    <a:lnTo>
                      <a:pt x="55" y="346"/>
                    </a:lnTo>
                    <a:lnTo>
                      <a:pt x="53" y="348"/>
                    </a:lnTo>
                    <a:lnTo>
                      <a:pt x="51" y="349"/>
                    </a:lnTo>
                    <a:lnTo>
                      <a:pt x="45" y="359"/>
                    </a:lnTo>
                    <a:lnTo>
                      <a:pt x="41" y="363"/>
                    </a:lnTo>
                    <a:lnTo>
                      <a:pt x="32" y="369"/>
                    </a:lnTo>
                    <a:lnTo>
                      <a:pt x="30" y="371"/>
                    </a:lnTo>
                    <a:lnTo>
                      <a:pt x="16" y="381"/>
                    </a:lnTo>
                    <a:lnTo>
                      <a:pt x="14" y="387"/>
                    </a:lnTo>
                    <a:lnTo>
                      <a:pt x="14" y="392"/>
                    </a:lnTo>
                    <a:lnTo>
                      <a:pt x="14" y="396"/>
                    </a:lnTo>
                    <a:lnTo>
                      <a:pt x="16" y="402"/>
                    </a:lnTo>
                    <a:lnTo>
                      <a:pt x="14" y="430"/>
                    </a:lnTo>
                    <a:lnTo>
                      <a:pt x="12" y="439"/>
                    </a:lnTo>
                    <a:lnTo>
                      <a:pt x="6" y="457"/>
                    </a:lnTo>
                    <a:lnTo>
                      <a:pt x="4" y="469"/>
                    </a:lnTo>
                    <a:lnTo>
                      <a:pt x="4" y="471"/>
                    </a:lnTo>
                    <a:lnTo>
                      <a:pt x="4" y="471"/>
                    </a:lnTo>
                    <a:lnTo>
                      <a:pt x="4" y="474"/>
                    </a:lnTo>
                    <a:lnTo>
                      <a:pt x="4" y="476"/>
                    </a:lnTo>
                    <a:lnTo>
                      <a:pt x="6" y="478"/>
                    </a:lnTo>
                    <a:lnTo>
                      <a:pt x="8" y="478"/>
                    </a:lnTo>
                    <a:lnTo>
                      <a:pt x="10" y="478"/>
                    </a:lnTo>
                    <a:lnTo>
                      <a:pt x="12" y="482"/>
                    </a:lnTo>
                    <a:lnTo>
                      <a:pt x="14" y="482"/>
                    </a:lnTo>
                    <a:lnTo>
                      <a:pt x="14" y="484"/>
                    </a:lnTo>
                    <a:lnTo>
                      <a:pt x="16" y="488"/>
                    </a:lnTo>
                    <a:lnTo>
                      <a:pt x="16" y="494"/>
                    </a:lnTo>
                    <a:lnTo>
                      <a:pt x="16" y="496"/>
                    </a:lnTo>
                    <a:lnTo>
                      <a:pt x="16" y="498"/>
                    </a:lnTo>
                    <a:lnTo>
                      <a:pt x="16" y="504"/>
                    </a:lnTo>
                    <a:lnTo>
                      <a:pt x="16" y="510"/>
                    </a:lnTo>
                    <a:lnTo>
                      <a:pt x="18" y="515"/>
                    </a:lnTo>
                    <a:lnTo>
                      <a:pt x="18" y="517"/>
                    </a:lnTo>
                    <a:lnTo>
                      <a:pt x="16" y="519"/>
                    </a:lnTo>
                    <a:lnTo>
                      <a:pt x="16" y="519"/>
                    </a:lnTo>
                    <a:lnTo>
                      <a:pt x="14" y="519"/>
                    </a:lnTo>
                    <a:lnTo>
                      <a:pt x="10" y="514"/>
                    </a:lnTo>
                    <a:lnTo>
                      <a:pt x="12" y="510"/>
                    </a:lnTo>
                    <a:lnTo>
                      <a:pt x="12" y="508"/>
                    </a:lnTo>
                    <a:lnTo>
                      <a:pt x="12" y="504"/>
                    </a:lnTo>
                    <a:lnTo>
                      <a:pt x="10" y="504"/>
                    </a:lnTo>
                    <a:lnTo>
                      <a:pt x="10" y="502"/>
                    </a:lnTo>
                    <a:lnTo>
                      <a:pt x="12" y="498"/>
                    </a:lnTo>
                    <a:lnTo>
                      <a:pt x="10" y="494"/>
                    </a:lnTo>
                    <a:lnTo>
                      <a:pt x="10" y="486"/>
                    </a:lnTo>
                    <a:lnTo>
                      <a:pt x="8" y="482"/>
                    </a:lnTo>
                    <a:lnTo>
                      <a:pt x="6" y="480"/>
                    </a:lnTo>
                    <a:lnTo>
                      <a:pt x="4" y="482"/>
                    </a:lnTo>
                    <a:lnTo>
                      <a:pt x="6" y="488"/>
                    </a:lnTo>
                    <a:lnTo>
                      <a:pt x="6" y="494"/>
                    </a:lnTo>
                    <a:lnTo>
                      <a:pt x="6" y="496"/>
                    </a:lnTo>
                    <a:lnTo>
                      <a:pt x="6" y="502"/>
                    </a:lnTo>
                    <a:lnTo>
                      <a:pt x="4" y="506"/>
                    </a:lnTo>
                    <a:lnTo>
                      <a:pt x="4" y="510"/>
                    </a:lnTo>
                    <a:lnTo>
                      <a:pt x="4" y="512"/>
                    </a:lnTo>
                    <a:lnTo>
                      <a:pt x="0" y="515"/>
                    </a:lnTo>
                    <a:lnTo>
                      <a:pt x="0" y="519"/>
                    </a:lnTo>
                    <a:lnTo>
                      <a:pt x="0" y="525"/>
                    </a:lnTo>
                    <a:lnTo>
                      <a:pt x="0" y="531"/>
                    </a:lnTo>
                    <a:lnTo>
                      <a:pt x="2" y="543"/>
                    </a:lnTo>
                    <a:lnTo>
                      <a:pt x="2" y="547"/>
                    </a:lnTo>
                    <a:lnTo>
                      <a:pt x="2" y="549"/>
                    </a:lnTo>
                    <a:lnTo>
                      <a:pt x="2" y="553"/>
                    </a:lnTo>
                    <a:lnTo>
                      <a:pt x="0" y="558"/>
                    </a:lnTo>
                    <a:lnTo>
                      <a:pt x="0" y="560"/>
                    </a:lnTo>
                    <a:lnTo>
                      <a:pt x="0" y="566"/>
                    </a:lnTo>
                    <a:lnTo>
                      <a:pt x="2" y="574"/>
                    </a:lnTo>
                    <a:lnTo>
                      <a:pt x="10" y="592"/>
                    </a:lnTo>
                    <a:lnTo>
                      <a:pt x="12" y="601"/>
                    </a:lnTo>
                    <a:lnTo>
                      <a:pt x="14" y="613"/>
                    </a:lnTo>
                    <a:lnTo>
                      <a:pt x="14" y="615"/>
                    </a:lnTo>
                    <a:lnTo>
                      <a:pt x="14" y="615"/>
                    </a:lnTo>
                    <a:lnTo>
                      <a:pt x="20" y="613"/>
                    </a:lnTo>
                    <a:lnTo>
                      <a:pt x="30" y="61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37" name="Freeform 752">
                <a:extLst>
                  <a:ext uri="{FF2B5EF4-FFF2-40B4-BE49-F238E27FC236}">
                    <a16:creationId xmlns:a16="http://schemas.microsoft.com/office/drawing/2014/main" id="{6BEC7A6B-4E3D-4DE1-97C7-081FF4289D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3084"/>
                <a:ext cx="29" cy="99"/>
              </a:xfrm>
              <a:custGeom>
                <a:avLst/>
                <a:gdLst>
                  <a:gd name="T0" fmla="*/ 4 w 29"/>
                  <a:gd name="T1" fmla="*/ 84 h 99"/>
                  <a:gd name="T2" fmla="*/ 4 w 29"/>
                  <a:gd name="T3" fmla="*/ 78 h 99"/>
                  <a:gd name="T4" fmla="*/ 6 w 29"/>
                  <a:gd name="T5" fmla="*/ 66 h 99"/>
                  <a:gd name="T6" fmla="*/ 8 w 29"/>
                  <a:gd name="T7" fmla="*/ 62 h 99"/>
                  <a:gd name="T8" fmla="*/ 13 w 29"/>
                  <a:gd name="T9" fmla="*/ 58 h 99"/>
                  <a:gd name="T10" fmla="*/ 13 w 29"/>
                  <a:gd name="T11" fmla="*/ 55 h 99"/>
                  <a:gd name="T12" fmla="*/ 15 w 29"/>
                  <a:gd name="T13" fmla="*/ 53 h 99"/>
                  <a:gd name="T14" fmla="*/ 15 w 29"/>
                  <a:gd name="T15" fmla="*/ 51 h 99"/>
                  <a:gd name="T16" fmla="*/ 15 w 29"/>
                  <a:gd name="T17" fmla="*/ 49 h 99"/>
                  <a:gd name="T18" fmla="*/ 13 w 29"/>
                  <a:gd name="T19" fmla="*/ 49 h 99"/>
                  <a:gd name="T20" fmla="*/ 13 w 29"/>
                  <a:gd name="T21" fmla="*/ 47 h 99"/>
                  <a:gd name="T22" fmla="*/ 15 w 29"/>
                  <a:gd name="T23" fmla="*/ 43 h 99"/>
                  <a:gd name="T24" fmla="*/ 15 w 29"/>
                  <a:gd name="T25" fmla="*/ 43 h 99"/>
                  <a:gd name="T26" fmla="*/ 27 w 29"/>
                  <a:gd name="T27" fmla="*/ 35 h 99"/>
                  <a:gd name="T28" fmla="*/ 27 w 29"/>
                  <a:gd name="T29" fmla="*/ 33 h 99"/>
                  <a:gd name="T30" fmla="*/ 27 w 29"/>
                  <a:gd name="T31" fmla="*/ 31 h 99"/>
                  <a:gd name="T32" fmla="*/ 29 w 29"/>
                  <a:gd name="T33" fmla="*/ 31 h 99"/>
                  <a:gd name="T34" fmla="*/ 29 w 29"/>
                  <a:gd name="T35" fmla="*/ 33 h 99"/>
                  <a:gd name="T36" fmla="*/ 29 w 29"/>
                  <a:gd name="T37" fmla="*/ 31 h 99"/>
                  <a:gd name="T38" fmla="*/ 27 w 29"/>
                  <a:gd name="T39" fmla="*/ 27 h 99"/>
                  <a:gd name="T40" fmla="*/ 29 w 29"/>
                  <a:gd name="T41" fmla="*/ 23 h 99"/>
                  <a:gd name="T42" fmla="*/ 29 w 29"/>
                  <a:gd name="T43" fmla="*/ 21 h 99"/>
                  <a:gd name="T44" fmla="*/ 29 w 29"/>
                  <a:gd name="T45" fmla="*/ 21 h 99"/>
                  <a:gd name="T46" fmla="*/ 29 w 29"/>
                  <a:gd name="T47" fmla="*/ 14 h 99"/>
                  <a:gd name="T48" fmla="*/ 29 w 29"/>
                  <a:gd name="T49" fmla="*/ 14 h 99"/>
                  <a:gd name="T50" fmla="*/ 29 w 29"/>
                  <a:gd name="T51" fmla="*/ 14 h 99"/>
                  <a:gd name="T52" fmla="*/ 29 w 29"/>
                  <a:gd name="T53" fmla="*/ 12 h 99"/>
                  <a:gd name="T54" fmla="*/ 29 w 29"/>
                  <a:gd name="T55" fmla="*/ 12 h 99"/>
                  <a:gd name="T56" fmla="*/ 29 w 29"/>
                  <a:gd name="T57" fmla="*/ 12 h 99"/>
                  <a:gd name="T58" fmla="*/ 29 w 29"/>
                  <a:gd name="T59" fmla="*/ 10 h 99"/>
                  <a:gd name="T60" fmla="*/ 29 w 29"/>
                  <a:gd name="T61" fmla="*/ 10 h 99"/>
                  <a:gd name="T62" fmla="*/ 15 w 29"/>
                  <a:gd name="T63" fmla="*/ 8 h 99"/>
                  <a:gd name="T64" fmla="*/ 11 w 29"/>
                  <a:gd name="T65" fmla="*/ 6 h 99"/>
                  <a:gd name="T66" fmla="*/ 6 w 29"/>
                  <a:gd name="T67" fmla="*/ 2 h 99"/>
                  <a:gd name="T68" fmla="*/ 0 w 29"/>
                  <a:gd name="T69" fmla="*/ 0 h 99"/>
                  <a:gd name="T70" fmla="*/ 0 w 29"/>
                  <a:gd name="T71" fmla="*/ 98 h 99"/>
                  <a:gd name="T72" fmla="*/ 4 w 29"/>
                  <a:gd name="T73" fmla="*/ 99 h 99"/>
                  <a:gd name="T74" fmla="*/ 4 w 29"/>
                  <a:gd name="T75" fmla="*/ 9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9" h="99">
                    <a:moveTo>
                      <a:pt x="4" y="90"/>
                    </a:moveTo>
                    <a:lnTo>
                      <a:pt x="4" y="84"/>
                    </a:lnTo>
                    <a:lnTo>
                      <a:pt x="4" y="80"/>
                    </a:lnTo>
                    <a:lnTo>
                      <a:pt x="4" y="78"/>
                    </a:lnTo>
                    <a:lnTo>
                      <a:pt x="4" y="70"/>
                    </a:lnTo>
                    <a:lnTo>
                      <a:pt x="6" y="66"/>
                    </a:lnTo>
                    <a:lnTo>
                      <a:pt x="6" y="66"/>
                    </a:lnTo>
                    <a:lnTo>
                      <a:pt x="8" y="62"/>
                    </a:lnTo>
                    <a:lnTo>
                      <a:pt x="11" y="58"/>
                    </a:lnTo>
                    <a:lnTo>
                      <a:pt x="13" y="58"/>
                    </a:lnTo>
                    <a:lnTo>
                      <a:pt x="13" y="57"/>
                    </a:lnTo>
                    <a:lnTo>
                      <a:pt x="13" y="55"/>
                    </a:lnTo>
                    <a:lnTo>
                      <a:pt x="15" y="53"/>
                    </a:lnTo>
                    <a:lnTo>
                      <a:pt x="15" y="53"/>
                    </a:lnTo>
                    <a:lnTo>
                      <a:pt x="15" y="53"/>
                    </a:lnTo>
                    <a:lnTo>
                      <a:pt x="15" y="51"/>
                    </a:lnTo>
                    <a:lnTo>
                      <a:pt x="15" y="49"/>
                    </a:lnTo>
                    <a:lnTo>
                      <a:pt x="15" y="49"/>
                    </a:lnTo>
                    <a:lnTo>
                      <a:pt x="15" y="49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5" y="43"/>
                    </a:lnTo>
                    <a:lnTo>
                      <a:pt x="15" y="43"/>
                    </a:lnTo>
                    <a:lnTo>
                      <a:pt x="15" y="43"/>
                    </a:lnTo>
                    <a:lnTo>
                      <a:pt x="29" y="35"/>
                    </a:lnTo>
                    <a:lnTo>
                      <a:pt x="27" y="35"/>
                    </a:lnTo>
                    <a:lnTo>
                      <a:pt x="27" y="35"/>
                    </a:lnTo>
                    <a:lnTo>
                      <a:pt x="27" y="33"/>
                    </a:lnTo>
                    <a:lnTo>
                      <a:pt x="27" y="33"/>
                    </a:lnTo>
                    <a:lnTo>
                      <a:pt x="27" y="31"/>
                    </a:lnTo>
                    <a:lnTo>
                      <a:pt x="27" y="31"/>
                    </a:lnTo>
                    <a:lnTo>
                      <a:pt x="29" y="31"/>
                    </a:lnTo>
                    <a:lnTo>
                      <a:pt x="29" y="31"/>
                    </a:lnTo>
                    <a:lnTo>
                      <a:pt x="29" y="33"/>
                    </a:lnTo>
                    <a:lnTo>
                      <a:pt x="29" y="31"/>
                    </a:lnTo>
                    <a:lnTo>
                      <a:pt x="29" y="31"/>
                    </a:lnTo>
                    <a:lnTo>
                      <a:pt x="27" y="29"/>
                    </a:lnTo>
                    <a:lnTo>
                      <a:pt x="27" y="27"/>
                    </a:lnTo>
                    <a:lnTo>
                      <a:pt x="27" y="25"/>
                    </a:lnTo>
                    <a:lnTo>
                      <a:pt x="29" y="23"/>
                    </a:lnTo>
                    <a:lnTo>
                      <a:pt x="29" y="23"/>
                    </a:lnTo>
                    <a:lnTo>
                      <a:pt x="29" y="21"/>
                    </a:lnTo>
                    <a:lnTo>
                      <a:pt x="29" y="21"/>
                    </a:lnTo>
                    <a:lnTo>
                      <a:pt x="29" y="21"/>
                    </a:lnTo>
                    <a:lnTo>
                      <a:pt x="29" y="19"/>
                    </a:lnTo>
                    <a:lnTo>
                      <a:pt x="29" y="14"/>
                    </a:lnTo>
                    <a:lnTo>
                      <a:pt x="29" y="14"/>
                    </a:lnTo>
                    <a:lnTo>
                      <a:pt x="29" y="14"/>
                    </a:lnTo>
                    <a:lnTo>
                      <a:pt x="29" y="14"/>
                    </a:lnTo>
                    <a:lnTo>
                      <a:pt x="29" y="14"/>
                    </a:lnTo>
                    <a:lnTo>
                      <a:pt x="29" y="12"/>
                    </a:lnTo>
                    <a:lnTo>
                      <a:pt x="29" y="12"/>
                    </a:lnTo>
                    <a:lnTo>
                      <a:pt x="29" y="12"/>
                    </a:lnTo>
                    <a:lnTo>
                      <a:pt x="29" y="12"/>
                    </a:lnTo>
                    <a:lnTo>
                      <a:pt x="29" y="12"/>
                    </a:lnTo>
                    <a:lnTo>
                      <a:pt x="29" y="12"/>
                    </a:lnTo>
                    <a:lnTo>
                      <a:pt x="29" y="10"/>
                    </a:lnTo>
                    <a:lnTo>
                      <a:pt x="29" y="10"/>
                    </a:lnTo>
                    <a:lnTo>
                      <a:pt x="29" y="10"/>
                    </a:lnTo>
                    <a:lnTo>
                      <a:pt x="29" y="10"/>
                    </a:lnTo>
                    <a:lnTo>
                      <a:pt x="23" y="8"/>
                    </a:lnTo>
                    <a:lnTo>
                      <a:pt x="15" y="8"/>
                    </a:lnTo>
                    <a:lnTo>
                      <a:pt x="11" y="8"/>
                    </a:lnTo>
                    <a:lnTo>
                      <a:pt x="11" y="6"/>
                    </a:lnTo>
                    <a:lnTo>
                      <a:pt x="10" y="6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4" y="99"/>
                    </a:lnTo>
                    <a:lnTo>
                      <a:pt x="4" y="98"/>
                    </a:lnTo>
                    <a:lnTo>
                      <a:pt x="4" y="9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38" name="Freeform 753">
                <a:extLst>
                  <a:ext uri="{FF2B5EF4-FFF2-40B4-BE49-F238E27FC236}">
                    <a16:creationId xmlns:a16="http://schemas.microsoft.com/office/drawing/2014/main" id="{1FC31BCA-AAE3-4BC9-B749-CDCE9E216C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3" y="1243"/>
                <a:ext cx="963" cy="746"/>
              </a:xfrm>
              <a:custGeom>
                <a:avLst/>
                <a:gdLst>
                  <a:gd name="T0" fmla="*/ 94 w 963"/>
                  <a:gd name="T1" fmla="*/ 371 h 746"/>
                  <a:gd name="T2" fmla="*/ 139 w 963"/>
                  <a:gd name="T3" fmla="*/ 400 h 746"/>
                  <a:gd name="T4" fmla="*/ 162 w 963"/>
                  <a:gd name="T5" fmla="*/ 410 h 746"/>
                  <a:gd name="T6" fmla="*/ 182 w 963"/>
                  <a:gd name="T7" fmla="*/ 414 h 746"/>
                  <a:gd name="T8" fmla="*/ 250 w 963"/>
                  <a:gd name="T9" fmla="*/ 406 h 746"/>
                  <a:gd name="T10" fmla="*/ 264 w 963"/>
                  <a:gd name="T11" fmla="*/ 433 h 746"/>
                  <a:gd name="T12" fmla="*/ 282 w 963"/>
                  <a:gd name="T13" fmla="*/ 443 h 746"/>
                  <a:gd name="T14" fmla="*/ 285 w 963"/>
                  <a:gd name="T15" fmla="*/ 453 h 746"/>
                  <a:gd name="T16" fmla="*/ 301 w 963"/>
                  <a:gd name="T17" fmla="*/ 482 h 746"/>
                  <a:gd name="T18" fmla="*/ 285 w 963"/>
                  <a:gd name="T19" fmla="*/ 505 h 746"/>
                  <a:gd name="T20" fmla="*/ 282 w 963"/>
                  <a:gd name="T21" fmla="*/ 513 h 746"/>
                  <a:gd name="T22" fmla="*/ 274 w 963"/>
                  <a:gd name="T23" fmla="*/ 574 h 746"/>
                  <a:gd name="T24" fmla="*/ 295 w 963"/>
                  <a:gd name="T25" fmla="*/ 601 h 746"/>
                  <a:gd name="T26" fmla="*/ 323 w 963"/>
                  <a:gd name="T27" fmla="*/ 607 h 746"/>
                  <a:gd name="T28" fmla="*/ 326 w 963"/>
                  <a:gd name="T29" fmla="*/ 615 h 746"/>
                  <a:gd name="T30" fmla="*/ 332 w 963"/>
                  <a:gd name="T31" fmla="*/ 626 h 746"/>
                  <a:gd name="T32" fmla="*/ 373 w 963"/>
                  <a:gd name="T33" fmla="*/ 644 h 746"/>
                  <a:gd name="T34" fmla="*/ 395 w 963"/>
                  <a:gd name="T35" fmla="*/ 664 h 746"/>
                  <a:gd name="T36" fmla="*/ 410 w 963"/>
                  <a:gd name="T37" fmla="*/ 708 h 746"/>
                  <a:gd name="T38" fmla="*/ 405 w 963"/>
                  <a:gd name="T39" fmla="*/ 720 h 746"/>
                  <a:gd name="T40" fmla="*/ 408 w 963"/>
                  <a:gd name="T41" fmla="*/ 730 h 746"/>
                  <a:gd name="T42" fmla="*/ 459 w 963"/>
                  <a:gd name="T43" fmla="*/ 734 h 746"/>
                  <a:gd name="T44" fmla="*/ 502 w 963"/>
                  <a:gd name="T45" fmla="*/ 734 h 746"/>
                  <a:gd name="T46" fmla="*/ 551 w 963"/>
                  <a:gd name="T47" fmla="*/ 746 h 746"/>
                  <a:gd name="T48" fmla="*/ 610 w 963"/>
                  <a:gd name="T49" fmla="*/ 722 h 746"/>
                  <a:gd name="T50" fmla="*/ 627 w 963"/>
                  <a:gd name="T51" fmla="*/ 693 h 746"/>
                  <a:gd name="T52" fmla="*/ 637 w 963"/>
                  <a:gd name="T53" fmla="*/ 673 h 746"/>
                  <a:gd name="T54" fmla="*/ 696 w 963"/>
                  <a:gd name="T55" fmla="*/ 642 h 746"/>
                  <a:gd name="T56" fmla="*/ 754 w 963"/>
                  <a:gd name="T57" fmla="*/ 648 h 746"/>
                  <a:gd name="T58" fmla="*/ 744 w 963"/>
                  <a:gd name="T59" fmla="*/ 669 h 746"/>
                  <a:gd name="T60" fmla="*/ 789 w 963"/>
                  <a:gd name="T61" fmla="*/ 669 h 746"/>
                  <a:gd name="T62" fmla="*/ 789 w 963"/>
                  <a:gd name="T63" fmla="*/ 640 h 746"/>
                  <a:gd name="T64" fmla="*/ 778 w 963"/>
                  <a:gd name="T65" fmla="*/ 623 h 746"/>
                  <a:gd name="T66" fmla="*/ 764 w 963"/>
                  <a:gd name="T67" fmla="*/ 593 h 746"/>
                  <a:gd name="T68" fmla="*/ 786 w 963"/>
                  <a:gd name="T69" fmla="*/ 541 h 746"/>
                  <a:gd name="T70" fmla="*/ 786 w 963"/>
                  <a:gd name="T71" fmla="*/ 488 h 746"/>
                  <a:gd name="T72" fmla="*/ 797 w 963"/>
                  <a:gd name="T73" fmla="*/ 461 h 746"/>
                  <a:gd name="T74" fmla="*/ 827 w 963"/>
                  <a:gd name="T75" fmla="*/ 443 h 746"/>
                  <a:gd name="T76" fmla="*/ 868 w 963"/>
                  <a:gd name="T77" fmla="*/ 394 h 746"/>
                  <a:gd name="T78" fmla="*/ 926 w 963"/>
                  <a:gd name="T79" fmla="*/ 392 h 746"/>
                  <a:gd name="T80" fmla="*/ 957 w 963"/>
                  <a:gd name="T81" fmla="*/ 355 h 746"/>
                  <a:gd name="T82" fmla="*/ 905 w 963"/>
                  <a:gd name="T83" fmla="*/ 328 h 746"/>
                  <a:gd name="T84" fmla="*/ 922 w 963"/>
                  <a:gd name="T85" fmla="*/ 271 h 746"/>
                  <a:gd name="T86" fmla="*/ 875 w 963"/>
                  <a:gd name="T87" fmla="*/ 209 h 746"/>
                  <a:gd name="T88" fmla="*/ 782 w 963"/>
                  <a:gd name="T89" fmla="*/ 109 h 746"/>
                  <a:gd name="T90" fmla="*/ 721 w 963"/>
                  <a:gd name="T91" fmla="*/ 84 h 746"/>
                  <a:gd name="T92" fmla="*/ 647 w 963"/>
                  <a:gd name="T93" fmla="*/ 6 h 746"/>
                  <a:gd name="T94" fmla="*/ 614 w 963"/>
                  <a:gd name="T95" fmla="*/ 17 h 746"/>
                  <a:gd name="T96" fmla="*/ 543 w 963"/>
                  <a:gd name="T97" fmla="*/ 45 h 746"/>
                  <a:gd name="T98" fmla="*/ 453 w 963"/>
                  <a:gd name="T99" fmla="*/ 35 h 746"/>
                  <a:gd name="T100" fmla="*/ 414 w 963"/>
                  <a:gd name="T101" fmla="*/ 33 h 746"/>
                  <a:gd name="T102" fmla="*/ 330 w 963"/>
                  <a:gd name="T103" fmla="*/ 35 h 746"/>
                  <a:gd name="T104" fmla="*/ 262 w 963"/>
                  <a:gd name="T105" fmla="*/ 19 h 746"/>
                  <a:gd name="T106" fmla="*/ 155 w 963"/>
                  <a:gd name="T107" fmla="*/ 17 h 746"/>
                  <a:gd name="T108" fmla="*/ 31 w 963"/>
                  <a:gd name="T109" fmla="*/ 84 h 746"/>
                  <a:gd name="T110" fmla="*/ 0 w 963"/>
                  <a:gd name="T111" fmla="*/ 154 h 746"/>
                  <a:gd name="T112" fmla="*/ 18 w 963"/>
                  <a:gd name="T113" fmla="*/ 228 h 746"/>
                  <a:gd name="T114" fmla="*/ 29 w 963"/>
                  <a:gd name="T115" fmla="*/ 273 h 746"/>
                  <a:gd name="T116" fmla="*/ 24 w 963"/>
                  <a:gd name="T117" fmla="*/ 326 h 746"/>
                  <a:gd name="T118" fmla="*/ 41 w 963"/>
                  <a:gd name="T119" fmla="*/ 339 h 746"/>
                  <a:gd name="T120" fmla="*/ 53 w 963"/>
                  <a:gd name="T121" fmla="*/ 343 h 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63" h="746">
                    <a:moveTo>
                      <a:pt x="53" y="343"/>
                    </a:moveTo>
                    <a:lnTo>
                      <a:pt x="55" y="341"/>
                    </a:lnTo>
                    <a:lnTo>
                      <a:pt x="61" y="347"/>
                    </a:lnTo>
                    <a:lnTo>
                      <a:pt x="61" y="347"/>
                    </a:lnTo>
                    <a:lnTo>
                      <a:pt x="61" y="347"/>
                    </a:lnTo>
                    <a:lnTo>
                      <a:pt x="61" y="347"/>
                    </a:lnTo>
                    <a:lnTo>
                      <a:pt x="71" y="365"/>
                    </a:lnTo>
                    <a:lnTo>
                      <a:pt x="76" y="371"/>
                    </a:lnTo>
                    <a:lnTo>
                      <a:pt x="88" y="371"/>
                    </a:lnTo>
                    <a:lnTo>
                      <a:pt x="94" y="371"/>
                    </a:lnTo>
                    <a:lnTo>
                      <a:pt x="98" y="373"/>
                    </a:lnTo>
                    <a:lnTo>
                      <a:pt x="102" y="375"/>
                    </a:lnTo>
                    <a:lnTo>
                      <a:pt x="108" y="379"/>
                    </a:lnTo>
                    <a:lnTo>
                      <a:pt x="113" y="384"/>
                    </a:lnTo>
                    <a:lnTo>
                      <a:pt x="115" y="386"/>
                    </a:lnTo>
                    <a:lnTo>
                      <a:pt x="117" y="390"/>
                    </a:lnTo>
                    <a:lnTo>
                      <a:pt x="121" y="390"/>
                    </a:lnTo>
                    <a:lnTo>
                      <a:pt x="129" y="392"/>
                    </a:lnTo>
                    <a:lnTo>
                      <a:pt x="135" y="398"/>
                    </a:lnTo>
                    <a:lnTo>
                      <a:pt x="139" y="400"/>
                    </a:lnTo>
                    <a:lnTo>
                      <a:pt x="145" y="400"/>
                    </a:lnTo>
                    <a:lnTo>
                      <a:pt x="149" y="404"/>
                    </a:lnTo>
                    <a:lnTo>
                      <a:pt x="151" y="404"/>
                    </a:lnTo>
                    <a:lnTo>
                      <a:pt x="153" y="404"/>
                    </a:lnTo>
                    <a:lnTo>
                      <a:pt x="156" y="400"/>
                    </a:lnTo>
                    <a:lnTo>
                      <a:pt x="160" y="400"/>
                    </a:lnTo>
                    <a:lnTo>
                      <a:pt x="162" y="402"/>
                    </a:lnTo>
                    <a:lnTo>
                      <a:pt x="162" y="402"/>
                    </a:lnTo>
                    <a:lnTo>
                      <a:pt x="162" y="404"/>
                    </a:lnTo>
                    <a:lnTo>
                      <a:pt x="162" y="410"/>
                    </a:lnTo>
                    <a:lnTo>
                      <a:pt x="164" y="414"/>
                    </a:lnTo>
                    <a:lnTo>
                      <a:pt x="166" y="416"/>
                    </a:lnTo>
                    <a:lnTo>
                      <a:pt x="168" y="418"/>
                    </a:lnTo>
                    <a:lnTo>
                      <a:pt x="172" y="418"/>
                    </a:lnTo>
                    <a:lnTo>
                      <a:pt x="172" y="420"/>
                    </a:lnTo>
                    <a:lnTo>
                      <a:pt x="176" y="418"/>
                    </a:lnTo>
                    <a:lnTo>
                      <a:pt x="180" y="416"/>
                    </a:lnTo>
                    <a:lnTo>
                      <a:pt x="182" y="414"/>
                    </a:lnTo>
                    <a:lnTo>
                      <a:pt x="182" y="414"/>
                    </a:lnTo>
                    <a:lnTo>
                      <a:pt x="182" y="414"/>
                    </a:lnTo>
                    <a:lnTo>
                      <a:pt x="182" y="414"/>
                    </a:lnTo>
                    <a:lnTo>
                      <a:pt x="182" y="414"/>
                    </a:lnTo>
                    <a:lnTo>
                      <a:pt x="184" y="412"/>
                    </a:lnTo>
                    <a:lnTo>
                      <a:pt x="194" y="408"/>
                    </a:lnTo>
                    <a:lnTo>
                      <a:pt x="201" y="406"/>
                    </a:lnTo>
                    <a:lnTo>
                      <a:pt x="205" y="406"/>
                    </a:lnTo>
                    <a:lnTo>
                      <a:pt x="205" y="406"/>
                    </a:lnTo>
                    <a:lnTo>
                      <a:pt x="233" y="410"/>
                    </a:lnTo>
                    <a:lnTo>
                      <a:pt x="250" y="406"/>
                    </a:lnTo>
                    <a:lnTo>
                      <a:pt x="250" y="406"/>
                    </a:lnTo>
                    <a:lnTo>
                      <a:pt x="250" y="406"/>
                    </a:lnTo>
                    <a:lnTo>
                      <a:pt x="254" y="408"/>
                    </a:lnTo>
                    <a:lnTo>
                      <a:pt x="256" y="408"/>
                    </a:lnTo>
                    <a:lnTo>
                      <a:pt x="256" y="410"/>
                    </a:lnTo>
                    <a:lnTo>
                      <a:pt x="258" y="410"/>
                    </a:lnTo>
                    <a:lnTo>
                      <a:pt x="258" y="414"/>
                    </a:lnTo>
                    <a:lnTo>
                      <a:pt x="260" y="416"/>
                    </a:lnTo>
                    <a:lnTo>
                      <a:pt x="260" y="423"/>
                    </a:lnTo>
                    <a:lnTo>
                      <a:pt x="262" y="429"/>
                    </a:lnTo>
                    <a:lnTo>
                      <a:pt x="264" y="433"/>
                    </a:lnTo>
                    <a:lnTo>
                      <a:pt x="264" y="435"/>
                    </a:lnTo>
                    <a:lnTo>
                      <a:pt x="264" y="437"/>
                    </a:lnTo>
                    <a:lnTo>
                      <a:pt x="266" y="439"/>
                    </a:lnTo>
                    <a:lnTo>
                      <a:pt x="270" y="441"/>
                    </a:lnTo>
                    <a:lnTo>
                      <a:pt x="270" y="441"/>
                    </a:lnTo>
                    <a:lnTo>
                      <a:pt x="278" y="441"/>
                    </a:lnTo>
                    <a:lnTo>
                      <a:pt x="280" y="441"/>
                    </a:lnTo>
                    <a:lnTo>
                      <a:pt x="280" y="441"/>
                    </a:lnTo>
                    <a:lnTo>
                      <a:pt x="280" y="441"/>
                    </a:lnTo>
                    <a:lnTo>
                      <a:pt x="282" y="443"/>
                    </a:lnTo>
                    <a:lnTo>
                      <a:pt x="282" y="445"/>
                    </a:lnTo>
                    <a:lnTo>
                      <a:pt x="283" y="445"/>
                    </a:lnTo>
                    <a:lnTo>
                      <a:pt x="283" y="447"/>
                    </a:lnTo>
                    <a:lnTo>
                      <a:pt x="285" y="447"/>
                    </a:lnTo>
                    <a:lnTo>
                      <a:pt x="285" y="447"/>
                    </a:lnTo>
                    <a:lnTo>
                      <a:pt x="285" y="447"/>
                    </a:lnTo>
                    <a:lnTo>
                      <a:pt x="285" y="447"/>
                    </a:lnTo>
                    <a:lnTo>
                      <a:pt x="285" y="449"/>
                    </a:lnTo>
                    <a:lnTo>
                      <a:pt x="283" y="451"/>
                    </a:lnTo>
                    <a:lnTo>
                      <a:pt x="285" y="453"/>
                    </a:lnTo>
                    <a:lnTo>
                      <a:pt x="285" y="453"/>
                    </a:lnTo>
                    <a:lnTo>
                      <a:pt x="295" y="459"/>
                    </a:lnTo>
                    <a:lnTo>
                      <a:pt x="297" y="459"/>
                    </a:lnTo>
                    <a:lnTo>
                      <a:pt x="297" y="461"/>
                    </a:lnTo>
                    <a:lnTo>
                      <a:pt x="299" y="462"/>
                    </a:lnTo>
                    <a:lnTo>
                      <a:pt x="299" y="464"/>
                    </a:lnTo>
                    <a:lnTo>
                      <a:pt x="301" y="472"/>
                    </a:lnTo>
                    <a:lnTo>
                      <a:pt x="301" y="476"/>
                    </a:lnTo>
                    <a:lnTo>
                      <a:pt x="301" y="476"/>
                    </a:lnTo>
                    <a:lnTo>
                      <a:pt x="301" y="482"/>
                    </a:lnTo>
                    <a:lnTo>
                      <a:pt x="301" y="484"/>
                    </a:lnTo>
                    <a:lnTo>
                      <a:pt x="301" y="486"/>
                    </a:lnTo>
                    <a:lnTo>
                      <a:pt x="301" y="488"/>
                    </a:lnTo>
                    <a:lnTo>
                      <a:pt x="299" y="492"/>
                    </a:lnTo>
                    <a:lnTo>
                      <a:pt x="297" y="494"/>
                    </a:lnTo>
                    <a:lnTo>
                      <a:pt x="293" y="496"/>
                    </a:lnTo>
                    <a:lnTo>
                      <a:pt x="291" y="498"/>
                    </a:lnTo>
                    <a:lnTo>
                      <a:pt x="289" y="502"/>
                    </a:lnTo>
                    <a:lnTo>
                      <a:pt x="287" y="503"/>
                    </a:lnTo>
                    <a:lnTo>
                      <a:pt x="285" y="505"/>
                    </a:lnTo>
                    <a:lnTo>
                      <a:pt x="283" y="505"/>
                    </a:lnTo>
                    <a:lnTo>
                      <a:pt x="283" y="507"/>
                    </a:lnTo>
                    <a:lnTo>
                      <a:pt x="282" y="507"/>
                    </a:lnTo>
                    <a:lnTo>
                      <a:pt x="282" y="507"/>
                    </a:lnTo>
                    <a:lnTo>
                      <a:pt x="282" y="507"/>
                    </a:lnTo>
                    <a:lnTo>
                      <a:pt x="282" y="509"/>
                    </a:lnTo>
                    <a:lnTo>
                      <a:pt x="282" y="509"/>
                    </a:lnTo>
                    <a:lnTo>
                      <a:pt x="282" y="511"/>
                    </a:lnTo>
                    <a:lnTo>
                      <a:pt x="282" y="513"/>
                    </a:lnTo>
                    <a:lnTo>
                      <a:pt x="282" y="513"/>
                    </a:lnTo>
                    <a:lnTo>
                      <a:pt x="278" y="517"/>
                    </a:lnTo>
                    <a:lnTo>
                      <a:pt x="278" y="519"/>
                    </a:lnTo>
                    <a:lnTo>
                      <a:pt x="278" y="523"/>
                    </a:lnTo>
                    <a:lnTo>
                      <a:pt x="278" y="529"/>
                    </a:lnTo>
                    <a:lnTo>
                      <a:pt x="278" y="531"/>
                    </a:lnTo>
                    <a:lnTo>
                      <a:pt x="280" y="533"/>
                    </a:lnTo>
                    <a:lnTo>
                      <a:pt x="278" y="539"/>
                    </a:lnTo>
                    <a:lnTo>
                      <a:pt x="276" y="544"/>
                    </a:lnTo>
                    <a:lnTo>
                      <a:pt x="274" y="552"/>
                    </a:lnTo>
                    <a:lnTo>
                      <a:pt x="274" y="574"/>
                    </a:lnTo>
                    <a:lnTo>
                      <a:pt x="274" y="580"/>
                    </a:lnTo>
                    <a:lnTo>
                      <a:pt x="274" y="585"/>
                    </a:lnTo>
                    <a:lnTo>
                      <a:pt x="276" y="589"/>
                    </a:lnTo>
                    <a:lnTo>
                      <a:pt x="278" y="595"/>
                    </a:lnTo>
                    <a:lnTo>
                      <a:pt x="283" y="603"/>
                    </a:lnTo>
                    <a:lnTo>
                      <a:pt x="289" y="613"/>
                    </a:lnTo>
                    <a:lnTo>
                      <a:pt x="291" y="611"/>
                    </a:lnTo>
                    <a:lnTo>
                      <a:pt x="295" y="603"/>
                    </a:lnTo>
                    <a:lnTo>
                      <a:pt x="295" y="601"/>
                    </a:lnTo>
                    <a:lnTo>
                      <a:pt x="295" y="601"/>
                    </a:lnTo>
                    <a:lnTo>
                      <a:pt x="301" y="599"/>
                    </a:lnTo>
                    <a:lnTo>
                      <a:pt x="303" y="601"/>
                    </a:lnTo>
                    <a:lnTo>
                      <a:pt x="303" y="601"/>
                    </a:lnTo>
                    <a:lnTo>
                      <a:pt x="315" y="605"/>
                    </a:lnTo>
                    <a:lnTo>
                      <a:pt x="315" y="605"/>
                    </a:lnTo>
                    <a:lnTo>
                      <a:pt x="315" y="605"/>
                    </a:lnTo>
                    <a:lnTo>
                      <a:pt x="317" y="605"/>
                    </a:lnTo>
                    <a:lnTo>
                      <a:pt x="319" y="605"/>
                    </a:lnTo>
                    <a:lnTo>
                      <a:pt x="321" y="605"/>
                    </a:lnTo>
                    <a:lnTo>
                      <a:pt x="323" y="607"/>
                    </a:lnTo>
                    <a:lnTo>
                      <a:pt x="323" y="607"/>
                    </a:lnTo>
                    <a:lnTo>
                      <a:pt x="323" y="607"/>
                    </a:lnTo>
                    <a:lnTo>
                      <a:pt x="323" y="607"/>
                    </a:lnTo>
                    <a:lnTo>
                      <a:pt x="324" y="609"/>
                    </a:lnTo>
                    <a:lnTo>
                      <a:pt x="324" y="609"/>
                    </a:lnTo>
                    <a:lnTo>
                      <a:pt x="324" y="609"/>
                    </a:lnTo>
                    <a:lnTo>
                      <a:pt x="324" y="611"/>
                    </a:lnTo>
                    <a:lnTo>
                      <a:pt x="324" y="613"/>
                    </a:lnTo>
                    <a:lnTo>
                      <a:pt x="326" y="613"/>
                    </a:lnTo>
                    <a:lnTo>
                      <a:pt x="326" y="615"/>
                    </a:lnTo>
                    <a:lnTo>
                      <a:pt x="328" y="615"/>
                    </a:lnTo>
                    <a:lnTo>
                      <a:pt x="332" y="615"/>
                    </a:lnTo>
                    <a:lnTo>
                      <a:pt x="334" y="615"/>
                    </a:lnTo>
                    <a:lnTo>
                      <a:pt x="334" y="617"/>
                    </a:lnTo>
                    <a:lnTo>
                      <a:pt x="334" y="617"/>
                    </a:lnTo>
                    <a:lnTo>
                      <a:pt x="334" y="617"/>
                    </a:lnTo>
                    <a:lnTo>
                      <a:pt x="334" y="617"/>
                    </a:lnTo>
                    <a:lnTo>
                      <a:pt x="334" y="621"/>
                    </a:lnTo>
                    <a:lnTo>
                      <a:pt x="332" y="623"/>
                    </a:lnTo>
                    <a:lnTo>
                      <a:pt x="332" y="626"/>
                    </a:lnTo>
                    <a:lnTo>
                      <a:pt x="336" y="630"/>
                    </a:lnTo>
                    <a:lnTo>
                      <a:pt x="340" y="630"/>
                    </a:lnTo>
                    <a:lnTo>
                      <a:pt x="340" y="630"/>
                    </a:lnTo>
                    <a:lnTo>
                      <a:pt x="344" y="628"/>
                    </a:lnTo>
                    <a:lnTo>
                      <a:pt x="346" y="628"/>
                    </a:lnTo>
                    <a:lnTo>
                      <a:pt x="348" y="628"/>
                    </a:lnTo>
                    <a:lnTo>
                      <a:pt x="350" y="630"/>
                    </a:lnTo>
                    <a:lnTo>
                      <a:pt x="360" y="638"/>
                    </a:lnTo>
                    <a:lnTo>
                      <a:pt x="367" y="642"/>
                    </a:lnTo>
                    <a:lnTo>
                      <a:pt x="373" y="644"/>
                    </a:lnTo>
                    <a:lnTo>
                      <a:pt x="381" y="648"/>
                    </a:lnTo>
                    <a:lnTo>
                      <a:pt x="383" y="650"/>
                    </a:lnTo>
                    <a:lnTo>
                      <a:pt x="385" y="652"/>
                    </a:lnTo>
                    <a:lnTo>
                      <a:pt x="387" y="652"/>
                    </a:lnTo>
                    <a:lnTo>
                      <a:pt x="387" y="654"/>
                    </a:lnTo>
                    <a:lnTo>
                      <a:pt x="389" y="656"/>
                    </a:lnTo>
                    <a:lnTo>
                      <a:pt x="391" y="662"/>
                    </a:lnTo>
                    <a:lnTo>
                      <a:pt x="393" y="664"/>
                    </a:lnTo>
                    <a:lnTo>
                      <a:pt x="393" y="664"/>
                    </a:lnTo>
                    <a:lnTo>
                      <a:pt x="395" y="664"/>
                    </a:lnTo>
                    <a:lnTo>
                      <a:pt x="399" y="666"/>
                    </a:lnTo>
                    <a:lnTo>
                      <a:pt x="401" y="666"/>
                    </a:lnTo>
                    <a:lnTo>
                      <a:pt x="403" y="669"/>
                    </a:lnTo>
                    <a:lnTo>
                      <a:pt x="403" y="671"/>
                    </a:lnTo>
                    <a:lnTo>
                      <a:pt x="405" y="675"/>
                    </a:lnTo>
                    <a:lnTo>
                      <a:pt x="407" y="679"/>
                    </a:lnTo>
                    <a:lnTo>
                      <a:pt x="407" y="683"/>
                    </a:lnTo>
                    <a:lnTo>
                      <a:pt x="408" y="689"/>
                    </a:lnTo>
                    <a:lnTo>
                      <a:pt x="410" y="703"/>
                    </a:lnTo>
                    <a:lnTo>
                      <a:pt x="410" y="708"/>
                    </a:lnTo>
                    <a:lnTo>
                      <a:pt x="408" y="712"/>
                    </a:lnTo>
                    <a:lnTo>
                      <a:pt x="408" y="712"/>
                    </a:lnTo>
                    <a:lnTo>
                      <a:pt x="407" y="714"/>
                    </a:lnTo>
                    <a:lnTo>
                      <a:pt x="407" y="714"/>
                    </a:lnTo>
                    <a:lnTo>
                      <a:pt x="405" y="714"/>
                    </a:lnTo>
                    <a:lnTo>
                      <a:pt x="405" y="716"/>
                    </a:lnTo>
                    <a:lnTo>
                      <a:pt x="405" y="716"/>
                    </a:lnTo>
                    <a:lnTo>
                      <a:pt x="405" y="718"/>
                    </a:lnTo>
                    <a:lnTo>
                      <a:pt x="405" y="720"/>
                    </a:lnTo>
                    <a:lnTo>
                      <a:pt x="405" y="720"/>
                    </a:lnTo>
                    <a:lnTo>
                      <a:pt x="405" y="722"/>
                    </a:lnTo>
                    <a:lnTo>
                      <a:pt x="405" y="722"/>
                    </a:lnTo>
                    <a:lnTo>
                      <a:pt x="407" y="724"/>
                    </a:lnTo>
                    <a:lnTo>
                      <a:pt x="408" y="726"/>
                    </a:lnTo>
                    <a:lnTo>
                      <a:pt x="408" y="726"/>
                    </a:lnTo>
                    <a:lnTo>
                      <a:pt x="408" y="726"/>
                    </a:lnTo>
                    <a:lnTo>
                      <a:pt x="408" y="728"/>
                    </a:lnTo>
                    <a:lnTo>
                      <a:pt x="410" y="728"/>
                    </a:lnTo>
                    <a:lnTo>
                      <a:pt x="410" y="728"/>
                    </a:lnTo>
                    <a:lnTo>
                      <a:pt x="408" y="730"/>
                    </a:lnTo>
                    <a:lnTo>
                      <a:pt x="408" y="732"/>
                    </a:lnTo>
                    <a:lnTo>
                      <a:pt x="408" y="732"/>
                    </a:lnTo>
                    <a:lnTo>
                      <a:pt x="414" y="734"/>
                    </a:lnTo>
                    <a:lnTo>
                      <a:pt x="430" y="742"/>
                    </a:lnTo>
                    <a:lnTo>
                      <a:pt x="432" y="744"/>
                    </a:lnTo>
                    <a:lnTo>
                      <a:pt x="436" y="744"/>
                    </a:lnTo>
                    <a:lnTo>
                      <a:pt x="444" y="740"/>
                    </a:lnTo>
                    <a:lnTo>
                      <a:pt x="453" y="738"/>
                    </a:lnTo>
                    <a:lnTo>
                      <a:pt x="457" y="736"/>
                    </a:lnTo>
                    <a:lnTo>
                      <a:pt x="459" y="734"/>
                    </a:lnTo>
                    <a:lnTo>
                      <a:pt x="461" y="736"/>
                    </a:lnTo>
                    <a:lnTo>
                      <a:pt x="463" y="738"/>
                    </a:lnTo>
                    <a:lnTo>
                      <a:pt x="465" y="738"/>
                    </a:lnTo>
                    <a:lnTo>
                      <a:pt x="465" y="738"/>
                    </a:lnTo>
                    <a:lnTo>
                      <a:pt x="479" y="730"/>
                    </a:lnTo>
                    <a:lnTo>
                      <a:pt x="481" y="730"/>
                    </a:lnTo>
                    <a:lnTo>
                      <a:pt x="485" y="730"/>
                    </a:lnTo>
                    <a:lnTo>
                      <a:pt x="489" y="734"/>
                    </a:lnTo>
                    <a:lnTo>
                      <a:pt x="492" y="734"/>
                    </a:lnTo>
                    <a:lnTo>
                      <a:pt x="502" y="734"/>
                    </a:lnTo>
                    <a:lnTo>
                      <a:pt x="508" y="732"/>
                    </a:lnTo>
                    <a:lnTo>
                      <a:pt x="518" y="726"/>
                    </a:lnTo>
                    <a:lnTo>
                      <a:pt x="524" y="726"/>
                    </a:lnTo>
                    <a:lnTo>
                      <a:pt x="528" y="728"/>
                    </a:lnTo>
                    <a:lnTo>
                      <a:pt x="534" y="734"/>
                    </a:lnTo>
                    <a:lnTo>
                      <a:pt x="535" y="742"/>
                    </a:lnTo>
                    <a:lnTo>
                      <a:pt x="537" y="744"/>
                    </a:lnTo>
                    <a:lnTo>
                      <a:pt x="541" y="746"/>
                    </a:lnTo>
                    <a:lnTo>
                      <a:pt x="547" y="746"/>
                    </a:lnTo>
                    <a:lnTo>
                      <a:pt x="551" y="746"/>
                    </a:lnTo>
                    <a:lnTo>
                      <a:pt x="559" y="746"/>
                    </a:lnTo>
                    <a:lnTo>
                      <a:pt x="565" y="744"/>
                    </a:lnTo>
                    <a:lnTo>
                      <a:pt x="582" y="726"/>
                    </a:lnTo>
                    <a:lnTo>
                      <a:pt x="592" y="722"/>
                    </a:lnTo>
                    <a:lnTo>
                      <a:pt x="602" y="718"/>
                    </a:lnTo>
                    <a:lnTo>
                      <a:pt x="606" y="716"/>
                    </a:lnTo>
                    <a:lnTo>
                      <a:pt x="608" y="716"/>
                    </a:lnTo>
                    <a:lnTo>
                      <a:pt x="608" y="716"/>
                    </a:lnTo>
                    <a:lnTo>
                      <a:pt x="608" y="716"/>
                    </a:lnTo>
                    <a:lnTo>
                      <a:pt x="610" y="722"/>
                    </a:lnTo>
                    <a:lnTo>
                      <a:pt x="614" y="724"/>
                    </a:lnTo>
                    <a:lnTo>
                      <a:pt x="616" y="724"/>
                    </a:lnTo>
                    <a:lnTo>
                      <a:pt x="627" y="722"/>
                    </a:lnTo>
                    <a:lnTo>
                      <a:pt x="629" y="722"/>
                    </a:lnTo>
                    <a:lnTo>
                      <a:pt x="631" y="716"/>
                    </a:lnTo>
                    <a:lnTo>
                      <a:pt x="631" y="716"/>
                    </a:lnTo>
                    <a:lnTo>
                      <a:pt x="631" y="708"/>
                    </a:lnTo>
                    <a:lnTo>
                      <a:pt x="631" y="703"/>
                    </a:lnTo>
                    <a:lnTo>
                      <a:pt x="629" y="699"/>
                    </a:lnTo>
                    <a:lnTo>
                      <a:pt x="627" y="693"/>
                    </a:lnTo>
                    <a:lnTo>
                      <a:pt x="625" y="687"/>
                    </a:lnTo>
                    <a:lnTo>
                      <a:pt x="625" y="687"/>
                    </a:lnTo>
                    <a:lnTo>
                      <a:pt x="627" y="687"/>
                    </a:lnTo>
                    <a:lnTo>
                      <a:pt x="629" y="685"/>
                    </a:lnTo>
                    <a:lnTo>
                      <a:pt x="631" y="683"/>
                    </a:lnTo>
                    <a:lnTo>
                      <a:pt x="631" y="681"/>
                    </a:lnTo>
                    <a:lnTo>
                      <a:pt x="631" y="679"/>
                    </a:lnTo>
                    <a:lnTo>
                      <a:pt x="631" y="677"/>
                    </a:lnTo>
                    <a:lnTo>
                      <a:pt x="633" y="675"/>
                    </a:lnTo>
                    <a:lnTo>
                      <a:pt x="637" y="673"/>
                    </a:lnTo>
                    <a:lnTo>
                      <a:pt x="637" y="673"/>
                    </a:lnTo>
                    <a:lnTo>
                      <a:pt x="645" y="671"/>
                    </a:lnTo>
                    <a:lnTo>
                      <a:pt x="653" y="673"/>
                    </a:lnTo>
                    <a:lnTo>
                      <a:pt x="666" y="677"/>
                    </a:lnTo>
                    <a:lnTo>
                      <a:pt x="674" y="677"/>
                    </a:lnTo>
                    <a:lnTo>
                      <a:pt x="682" y="671"/>
                    </a:lnTo>
                    <a:lnTo>
                      <a:pt x="688" y="664"/>
                    </a:lnTo>
                    <a:lnTo>
                      <a:pt x="692" y="658"/>
                    </a:lnTo>
                    <a:lnTo>
                      <a:pt x="694" y="646"/>
                    </a:lnTo>
                    <a:lnTo>
                      <a:pt x="696" y="642"/>
                    </a:lnTo>
                    <a:lnTo>
                      <a:pt x="700" y="640"/>
                    </a:lnTo>
                    <a:lnTo>
                      <a:pt x="709" y="644"/>
                    </a:lnTo>
                    <a:lnTo>
                      <a:pt x="723" y="644"/>
                    </a:lnTo>
                    <a:lnTo>
                      <a:pt x="729" y="642"/>
                    </a:lnTo>
                    <a:lnTo>
                      <a:pt x="735" y="630"/>
                    </a:lnTo>
                    <a:lnTo>
                      <a:pt x="739" y="628"/>
                    </a:lnTo>
                    <a:lnTo>
                      <a:pt x="741" y="630"/>
                    </a:lnTo>
                    <a:lnTo>
                      <a:pt x="743" y="630"/>
                    </a:lnTo>
                    <a:lnTo>
                      <a:pt x="743" y="632"/>
                    </a:lnTo>
                    <a:lnTo>
                      <a:pt x="754" y="648"/>
                    </a:lnTo>
                    <a:lnTo>
                      <a:pt x="754" y="650"/>
                    </a:lnTo>
                    <a:lnTo>
                      <a:pt x="750" y="650"/>
                    </a:lnTo>
                    <a:lnTo>
                      <a:pt x="746" y="652"/>
                    </a:lnTo>
                    <a:lnTo>
                      <a:pt x="746" y="654"/>
                    </a:lnTo>
                    <a:lnTo>
                      <a:pt x="750" y="656"/>
                    </a:lnTo>
                    <a:lnTo>
                      <a:pt x="750" y="660"/>
                    </a:lnTo>
                    <a:lnTo>
                      <a:pt x="750" y="662"/>
                    </a:lnTo>
                    <a:lnTo>
                      <a:pt x="744" y="662"/>
                    </a:lnTo>
                    <a:lnTo>
                      <a:pt x="743" y="664"/>
                    </a:lnTo>
                    <a:lnTo>
                      <a:pt x="744" y="669"/>
                    </a:lnTo>
                    <a:lnTo>
                      <a:pt x="748" y="673"/>
                    </a:lnTo>
                    <a:lnTo>
                      <a:pt x="752" y="675"/>
                    </a:lnTo>
                    <a:lnTo>
                      <a:pt x="768" y="677"/>
                    </a:lnTo>
                    <a:lnTo>
                      <a:pt x="772" y="677"/>
                    </a:lnTo>
                    <a:lnTo>
                      <a:pt x="774" y="677"/>
                    </a:lnTo>
                    <a:lnTo>
                      <a:pt x="776" y="673"/>
                    </a:lnTo>
                    <a:lnTo>
                      <a:pt x="778" y="671"/>
                    </a:lnTo>
                    <a:lnTo>
                      <a:pt x="784" y="673"/>
                    </a:lnTo>
                    <a:lnTo>
                      <a:pt x="786" y="673"/>
                    </a:lnTo>
                    <a:lnTo>
                      <a:pt x="789" y="669"/>
                    </a:lnTo>
                    <a:lnTo>
                      <a:pt x="791" y="666"/>
                    </a:lnTo>
                    <a:lnTo>
                      <a:pt x="791" y="652"/>
                    </a:lnTo>
                    <a:lnTo>
                      <a:pt x="791" y="652"/>
                    </a:lnTo>
                    <a:lnTo>
                      <a:pt x="793" y="648"/>
                    </a:lnTo>
                    <a:lnTo>
                      <a:pt x="793" y="648"/>
                    </a:lnTo>
                    <a:lnTo>
                      <a:pt x="793" y="646"/>
                    </a:lnTo>
                    <a:lnTo>
                      <a:pt x="793" y="644"/>
                    </a:lnTo>
                    <a:lnTo>
                      <a:pt x="791" y="644"/>
                    </a:lnTo>
                    <a:lnTo>
                      <a:pt x="791" y="644"/>
                    </a:lnTo>
                    <a:lnTo>
                      <a:pt x="789" y="640"/>
                    </a:lnTo>
                    <a:lnTo>
                      <a:pt x="789" y="638"/>
                    </a:lnTo>
                    <a:lnTo>
                      <a:pt x="787" y="636"/>
                    </a:lnTo>
                    <a:lnTo>
                      <a:pt x="786" y="634"/>
                    </a:lnTo>
                    <a:lnTo>
                      <a:pt x="786" y="634"/>
                    </a:lnTo>
                    <a:lnTo>
                      <a:pt x="784" y="634"/>
                    </a:lnTo>
                    <a:lnTo>
                      <a:pt x="782" y="634"/>
                    </a:lnTo>
                    <a:lnTo>
                      <a:pt x="782" y="632"/>
                    </a:lnTo>
                    <a:lnTo>
                      <a:pt x="780" y="628"/>
                    </a:lnTo>
                    <a:lnTo>
                      <a:pt x="780" y="625"/>
                    </a:lnTo>
                    <a:lnTo>
                      <a:pt x="778" y="623"/>
                    </a:lnTo>
                    <a:lnTo>
                      <a:pt x="776" y="621"/>
                    </a:lnTo>
                    <a:lnTo>
                      <a:pt x="774" y="623"/>
                    </a:lnTo>
                    <a:lnTo>
                      <a:pt x="764" y="628"/>
                    </a:lnTo>
                    <a:lnTo>
                      <a:pt x="756" y="628"/>
                    </a:lnTo>
                    <a:lnTo>
                      <a:pt x="752" y="626"/>
                    </a:lnTo>
                    <a:lnTo>
                      <a:pt x="750" y="623"/>
                    </a:lnTo>
                    <a:lnTo>
                      <a:pt x="750" y="615"/>
                    </a:lnTo>
                    <a:lnTo>
                      <a:pt x="754" y="609"/>
                    </a:lnTo>
                    <a:lnTo>
                      <a:pt x="762" y="601"/>
                    </a:lnTo>
                    <a:lnTo>
                      <a:pt x="764" y="593"/>
                    </a:lnTo>
                    <a:lnTo>
                      <a:pt x="766" y="589"/>
                    </a:lnTo>
                    <a:lnTo>
                      <a:pt x="766" y="582"/>
                    </a:lnTo>
                    <a:lnTo>
                      <a:pt x="766" y="576"/>
                    </a:lnTo>
                    <a:lnTo>
                      <a:pt x="768" y="570"/>
                    </a:lnTo>
                    <a:lnTo>
                      <a:pt x="770" y="566"/>
                    </a:lnTo>
                    <a:lnTo>
                      <a:pt x="780" y="560"/>
                    </a:lnTo>
                    <a:lnTo>
                      <a:pt x="784" y="556"/>
                    </a:lnTo>
                    <a:lnTo>
                      <a:pt x="786" y="552"/>
                    </a:lnTo>
                    <a:lnTo>
                      <a:pt x="787" y="546"/>
                    </a:lnTo>
                    <a:lnTo>
                      <a:pt x="786" y="541"/>
                    </a:lnTo>
                    <a:lnTo>
                      <a:pt x="782" y="531"/>
                    </a:lnTo>
                    <a:lnTo>
                      <a:pt x="780" y="525"/>
                    </a:lnTo>
                    <a:lnTo>
                      <a:pt x="782" y="521"/>
                    </a:lnTo>
                    <a:lnTo>
                      <a:pt x="782" y="519"/>
                    </a:lnTo>
                    <a:lnTo>
                      <a:pt x="782" y="515"/>
                    </a:lnTo>
                    <a:lnTo>
                      <a:pt x="784" y="513"/>
                    </a:lnTo>
                    <a:lnTo>
                      <a:pt x="784" y="509"/>
                    </a:lnTo>
                    <a:lnTo>
                      <a:pt x="784" y="496"/>
                    </a:lnTo>
                    <a:lnTo>
                      <a:pt x="784" y="492"/>
                    </a:lnTo>
                    <a:lnTo>
                      <a:pt x="786" y="488"/>
                    </a:lnTo>
                    <a:lnTo>
                      <a:pt x="789" y="486"/>
                    </a:lnTo>
                    <a:lnTo>
                      <a:pt x="789" y="484"/>
                    </a:lnTo>
                    <a:lnTo>
                      <a:pt x="791" y="484"/>
                    </a:lnTo>
                    <a:lnTo>
                      <a:pt x="793" y="484"/>
                    </a:lnTo>
                    <a:lnTo>
                      <a:pt x="793" y="482"/>
                    </a:lnTo>
                    <a:lnTo>
                      <a:pt x="793" y="478"/>
                    </a:lnTo>
                    <a:lnTo>
                      <a:pt x="791" y="472"/>
                    </a:lnTo>
                    <a:lnTo>
                      <a:pt x="791" y="470"/>
                    </a:lnTo>
                    <a:lnTo>
                      <a:pt x="793" y="464"/>
                    </a:lnTo>
                    <a:lnTo>
                      <a:pt x="797" y="461"/>
                    </a:lnTo>
                    <a:lnTo>
                      <a:pt x="801" y="459"/>
                    </a:lnTo>
                    <a:lnTo>
                      <a:pt x="803" y="455"/>
                    </a:lnTo>
                    <a:lnTo>
                      <a:pt x="805" y="451"/>
                    </a:lnTo>
                    <a:lnTo>
                      <a:pt x="805" y="449"/>
                    </a:lnTo>
                    <a:lnTo>
                      <a:pt x="805" y="447"/>
                    </a:lnTo>
                    <a:lnTo>
                      <a:pt x="807" y="445"/>
                    </a:lnTo>
                    <a:lnTo>
                      <a:pt x="815" y="443"/>
                    </a:lnTo>
                    <a:lnTo>
                      <a:pt x="817" y="443"/>
                    </a:lnTo>
                    <a:lnTo>
                      <a:pt x="823" y="443"/>
                    </a:lnTo>
                    <a:lnTo>
                      <a:pt x="827" y="443"/>
                    </a:lnTo>
                    <a:lnTo>
                      <a:pt x="846" y="439"/>
                    </a:lnTo>
                    <a:lnTo>
                      <a:pt x="852" y="435"/>
                    </a:lnTo>
                    <a:lnTo>
                      <a:pt x="856" y="433"/>
                    </a:lnTo>
                    <a:lnTo>
                      <a:pt x="858" y="429"/>
                    </a:lnTo>
                    <a:lnTo>
                      <a:pt x="862" y="425"/>
                    </a:lnTo>
                    <a:lnTo>
                      <a:pt x="868" y="412"/>
                    </a:lnTo>
                    <a:lnTo>
                      <a:pt x="868" y="408"/>
                    </a:lnTo>
                    <a:lnTo>
                      <a:pt x="868" y="406"/>
                    </a:lnTo>
                    <a:lnTo>
                      <a:pt x="868" y="398"/>
                    </a:lnTo>
                    <a:lnTo>
                      <a:pt x="868" y="394"/>
                    </a:lnTo>
                    <a:lnTo>
                      <a:pt x="873" y="386"/>
                    </a:lnTo>
                    <a:lnTo>
                      <a:pt x="881" y="384"/>
                    </a:lnTo>
                    <a:lnTo>
                      <a:pt x="899" y="390"/>
                    </a:lnTo>
                    <a:lnTo>
                      <a:pt x="901" y="390"/>
                    </a:lnTo>
                    <a:lnTo>
                      <a:pt x="903" y="388"/>
                    </a:lnTo>
                    <a:lnTo>
                      <a:pt x="905" y="388"/>
                    </a:lnTo>
                    <a:lnTo>
                      <a:pt x="905" y="386"/>
                    </a:lnTo>
                    <a:lnTo>
                      <a:pt x="907" y="384"/>
                    </a:lnTo>
                    <a:lnTo>
                      <a:pt x="909" y="384"/>
                    </a:lnTo>
                    <a:lnTo>
                      <a:pt x="926" y="392"/>
                    </a:lnTo>
                    <a:lnTo>
                      <a:pt x="930" y="392"/>
                    </a:lnTo>
                    <a:lnTo>
                      <a:pt x="932" y="388"/>
                    </a:lnTo>
                    <a:lnTo>
                      <a:pt x="934" y="379"/>
                    </a:lnTo>
                    <a:lnTo>
                      <a:pt x="936" y="371"/>
                    </a:lnTo>
                    <a:lnTo>
                      <a:pt x="936" y="369"/>
                    </a:lnTo>
                    <a:lnTo>
                      <a:pt x="940" y="365"/>
                    </a:lnTo>
                    <a:lnTo>
                      <a:pt x="944" y="359"/>
                    </a:lnTo>
                    <a:lnTo>
                      <a:pt x="948" y="357"/>
                    </a:lnTo>
                    <a:lnTo>
                      <a:pt x="954" y="357"/>
                    </a:lnTo>
                    <a:lnTo>
                      <a:pt x="957" y="355"/>
                    </a:lnTo>
                    <a:lnTo>
                      <a:pt x="961" y="351"/>
                    </a:lnTo>
                    <a:lnTo>
                      <a:pt x="963" y="347"/>
                    </a:lnTo>
                    <a:lnTo>
                      <a:pt x="961" y="341"/>
                    </a:lnTo>
                    <a:lnTo>
                      <a:pt x="957" y="339"/>
                    </a:lnTo>
                    <a:lnTo>
                      <a:pt x="930" y="334"/>
                    </a:lnTo>
                    <a:lnTo>
                      <a:pt x="920" y="338"/>
                    </a:lnTo>
                    <a:lnTo>
                      <a:pt x="916" y="338"/>
                    </a:lnTo>
                    <a:lnTo>
                      <a:pt x="907" y="334"/>
                    </a:lnTo>
                    <a:lnTo>
                      <a:pt x="905" y="332"/>
                    </a:lnTo>
                    <a:lnTo>
                      <a:pt x="905" y="328"/>
                    </a:lnTo>
                    <a:lnTo>
                      <a:pt x="905" y="324"/>
                    </a:lnTo>
                    <a:lnTo>
                      <a:pt x="911" y="316"/>
                    </a:lnTo>
                    <a:lnTo>
                      <a:pt x="911" y="312"/>
                    </a:lnTo>
                    <a:lnTo>
                      <a:pt x="912" y="302"/>
                    </a:lnTo>
                    <a:lnTo>
                      <a:pt x="914" y="298"/>
                    </a:lnTo>
                    <a:lnTo>
                      <a:pt x="920" y="293"/>
                    </a:lnTo>
                    <a:lnTo>
                      <a:pt x="920" y="289"/>
                    </a:lnTo>
                    <a:lnTo>
                      <a:pt x="918" y="283"/>
                    </a:lnTo>
                    <a:lnTo>
                      <a:pt x="918" y="275"/>
                    </a:lnTo>
                    <a:lnTo>
                      <a:pt x="922" y="271"/>
                    </a:lnTo>
                    <a:lnTo>
                      <a:pt x="926" y="265"/>
                    </a:lnTo>
                    <a:lnTo>
                      <a:pt x="928" y="261"/>
                    </a:lnTo>
                    <a:lnTo>
                      <a:pt x="930" y="254"/>
                    </a:lnTo>
                    <a:lnTo>
                      <a:pt x="932" y="246"/>
                    </a:lnTo>
                    <a:lnTo>
                      <a:pt x="930" y="238"/>
                    </a:lnTo>
                    <a:lnTo>
                      <a:pt x="928" y="232"/>
                    </a:lnTo>
                    <a:lnTo>
                      <a:pt x="918" y="230"/>
                    </a:lnTo>
                    <a:lnTo>
                      <a:pt x="911" y="228"/>
                    </a:lnTo>
                    <a:lnTo>
                      <a:pt x="887" y="216"/>
                    </a:lnTo>
                    <a:lnTo>
                      <a:pt x="875" y="209"/>
                    </a:lnTo>
                    <a:lnTo>
                      <a:pt x="868" y="193"/>
                    </a:lnTo>
                    <a:lnTo>
                      <a:pt x="864" y="183"/>
                    </a:lnTo>
                    <a:lnTo>
                      <a:pt x="860" y="177"/>
                    </a:lnTo>
                    <a:lnTo>
                      <a:pt x="842" y="162"/>
                    </a:lnTo>
                    <a:lnTo>
                      <a:pt x="832" y="152"/>
                    </a:lnTo>
                    <a:lnTo>
                      <a:pt x="823" y="144"/>
                    </a:lnTo>
                    <a:lnTo>
                      <a:pt x="807" y="134"/>
                    </a:lnTo>
                    <a:lnTo>
                      <a:pt x="795" y="121"/>
                    </a:lnTo>
                    <a:lnTo>
                      <a:pt x="789" y="115"/>
                    </a:lnTo>
                    <a:lnTo>
                      <a:pt x="782" y="109"/>
                    </a:lnTo>
                    <a:lnTo>
                      <a:pt x="778" y="107"/>
                    </a:lnTo>
                    <a:lnTo>
                      <a:pt x="778" y="103"/>
                    </a:lnTo>
                    <a:lnTo>
                      <a:pt x="774" y="93"/>
                    </a:lnTo>
                    <a:lnTo>
                      <a:pt x="772" y="90"/>
                    </a:lnTo>
                    <a:lnTo>
                      <a:pt x="770" y="90"/>
                    </a:lnTo>
                    <a:lnTo>
                      <a:pt x="760" y="90"/>
                    </a:lnTo>
                    <a:lnTo>
                      <a:pt x="758" y="90"/>
                    </a:lnTo>
                    <a:lnTo>
                      <a:pt x="750" y="86"/>
                    </a:lnTo>
                    <a:lnTo>
                      <a:pt x="739" y="88"/>
                    </a:lnTo>
                    <a:lnTo>
                      <a:pt x="721" y="84"/>
                    </a:lnTo>
                    <a:lnTo>
                      <a:pt x="680" y="78"/>
                    </a:lnTo>
                    <a:lnTo>
                      <a:pt x="674" y="74"/>
                    </a:lnTo>
                    <a:lnTo>
                      <a:pt x="670" y="64"/>
                    </a:lnTo>
                    <a:lnTo>
                      <a:pt x="666" y="54"/>
                    </a:lnTo>
                    <a:lnTo>
                      <a:pt x="664" y="52"/>
                    </a:lnTo>
                    <a:lnTo>
                      <a:pt x="659" y="45"/>
                    </a:lnTo>
                    <a:lnTo>
                      <a:pt x="659" y="43"/>
                    </a:lnTo>
                    <a:lnTo>
                      <a:pt x="657" y="37"/>
                    </a:lnTo>
                    <a:lnTo>
                      <a:pt x="651" y="19"/>
                    </a:lnTo>
                    <a:lnTo>
                      <a:pt x="647" y="6"/>
                    </a:lnTo>
                    <a:lnTo>
                      <a:pt x="645" y="2"/>
                    </a:lnTo>
                    <a:lnTo>
                      <a:pt x="641" y="0"/>
                    </a:lnTo>
                    <a:lnTo>
                      <a:pt x="639" y="2"/>
                    </a:lnTo>
                    <a:lnTo>
                      <a:pt x="637" y="6"/>
                    </a:lnTo>
                    <a:lnTo>
                      <a:pt x="637" y="8"/>
                    </a:lnTo>
                    <a:lnTo>
                      <a:pt x="637" y="11"/>
                    </a:lnTo>
                    <a:lnTo>
                      <a:pt x="635" y="11"/>
                    </a:lnTo>
                    <a:lnTo>
                      <a:pt x="631" y="10"/>
                    </a:lnTo>
                    <a:lnTo>
                      <a:pt x="629" y="10"/>
                    </a:lnTo>
                    <a:lnTo>
                      <a:pt x="614" y="17"/>
                    </a:lnTo>
                    <a:lnTo>
                      <a:pt x="608" y="19"/>
                    </a:lnTo>
                    <a:lnTo>
                      <a:pt x="602" y="25"/>
                    </a:lnTo>
                    <a:lnTo>
                      <a:pt x="588" y="43"/>
                    </a:lnTo>
                    <a:lnTo>
                      <a:pt x="584" y="47"/>
                    </a:lnTo>
                    <a:lnTo>
                      <a:pt x="575" y="52"/>
                    </a:lnTo>
                    <a:lnTo>
                      <a:pt x="569" y="54"/>
                    </a:lnTo>
                    <a:lnTo>
                      <a:pt x="565" y="52"/>
                    </a:lnTo>
                    <a:lnTo>
                      <a:pt x="553" y="45"/>
                    </a:lnTo>
                    <a:lnTo>
                      <a:pt x="547" y="43"/>
                    </a:lnTo>
                    <a:lnTo>
                      <a:pt x="543" y="45"/>
                    </a:lnTo>
                    <a:lnTo>
                      <a:pt x="522" y="54"/>
                    </a:lnTo>
                    <a:lnTo>
                      <a:pt x="518" y="54"/>
                    </a:lnTo>
                    <a:lnTo>
                      <a:pt x="518" y="54"/>
                    </a:lnTo>
                    <a:lnTo>
                      <a:pt x="512" y="54"/>
                    </a:lnTo>
                    <a:lnTo>
                      <a:pt x="508" y="51"/>
                    </a:lnTo>
                    <a:lnTo>
                      <a:pt x="492" y="39"/>
                    </a:lnTo>
                    <a:lnTo>
                      <a:pt x="473" y="33"/>
                    </a:lnTo>
                    <a:lnTo>
                      <a:pt x="471" y="33"/>
                    </a:lnTo>
                    <a:lnTo>
                      <a:pt x="465" y="33"/>
                    </a:lnTo>
                    <a:lnTo>
                      <a:pt x="453" y="35"/>
                    </a:lnTo>
                    <a:lnTo>
                      <a:pt x="450" y="33"/>
                    </a:lnTo>
                    <a:lnTo>
                      <a:pt x="448" y="33"/>
                    </a:lnTo>
                    <a:lnTo>
                      <a:pt x="450" y="31"/>
                    </a:lnTo>
                    <a:lnTo>
                      <a:pt x="448" y="29"/>
                    </a:lnTo>
                    <a:lnTo>
                      <a:pt x="448" y="27"/>
                    </a:lnTo>
                    <a:lnTo>
                      <a:pt x="446" y="27"/>
                    </a:lnTo>
                    <a:lnTo>
                      <a:pt x="442" y="27"/>
                    </a:lnTo>
                    <a:lnTo>
                      <a:pt x="430" y="27"/>
                    </a:lnTo>
                    <a:lnTo>
                      <a:pt x="424" y="27"/>
                    </a:lnTo>
                    <a:lnTo>
                      <a:pt x="414" y="33"/>
                    </a:lnTo>
                    <a:lnTo>
                      <a:pt x="408" y="33"/>
                    </a:lnTo>
                    <a:lnTo>
                      <a:pt x="391" y="25"/>
                    </a:lnTo>
                    <a:lnTo>
                      <a:pt x="379" y="21"/>
                    </a:lnTo>
                    <a:lnTo>
                      <a:pt x="375" y="21"/>
                    </a:lnTo>
                    <a:lnTo>
                      <a:pt x="356" y="25"/>
                    </a:lnTo>
                    <a:lnTo>
                      <a:pt x="354" y="27"/>
                    </a:lnTo>
                    <a:lnTo>
                      <a:pt x="354" y="31"/>
                    </a:lnTo>
                    <a:lnTo>
                      <a:pt x="346" y="39"/>
                    </a:lnTo>
                    <a:lnTo>
                      <a:pt x="338" y="41"/>
                    </a:lnTo>
                    <a:lnTo>
                      <a:pt x="330" y="35"/>
                    </a:lnTo>
                    <a:lnTo>
                      <a:pt x="324" y="21"/>
                    </a:lnTo>
                    <a:lnTo>
                      <a:pt x="321" y="11"/>
                    </a:lnTo>
                    <a:lnTo>
                      <a:pt x="315" y="10"/>
                    </a:lnTo>
                    <a:lnTo>
                      <a:pt x="309" y="10"/>
                    </a:lnTo>
                    <a:lnTo>
                      <a:pt x="303" y="13"/>
                    </a:lnTo>
                    <a:lnTo>
                      <a:pt x="297" y="17"/>
                    </a:lnTo>
                    <a:lnTo>
                      <a:pt x="274" y="27"/>
                    </a:lnTo>
                    <a:lnTo>
                      <a:pt x="272" y="27"/>
                    </a:lnTo>
                    <a:lnTo>
                      <a:pt x="268" y="27"/>
                    </a:lnTo>
                    <a:lnTo>
                      <a:pt x="262" y="19"/>
                    </a:lnTo>
                    <a:lnTo>
                      <a:pt x="256" y="17"/>
                    </a:lnTo>
                    <a:lnTo>
                      <a:pt x="256" y="15"/>
                    </a:lnTo>
                    <a:lnTo>
                      <a:pt x="246" y="13"/>
                    </a:lnTo>
                    <a:lnTo>
                      <a:pt x="196" y="15"/>
                    </a:lnTo>
                    <a:lnTo>
                      <a:pt x="194" y="13"/>
                    </a:lnTo>
                    <a:lnTo>
                      <a:pt x="186" y="10"/>
                    </a:lnTo>
                    <a:lnTo>
                      <a:pt x="184" y="8"/>
                    </a:lnTo>
                    <a:lnTo>
                      <a:pt x="176" y="8"/>
                    </a:lnTo>
                    <a:lnTo>
                      <a:pt x="156" y="15"/>
                    </a:lnTo>
                    <a:lnTo>
                      <a:pt x="155" y="17"/>
                    </a:lnTo>
                    <a:lnTo>
                      <a:pt x="108" y="39"/>
                    </a:lnTo>
                    <a:lnTo>
                      <a:pt x="92" y="41"/>
                    </a:lnTo>
                    <a:lnTo>
                      <a:pt x="86" y="43"/>
                    </a:lnTo>
                    <a:lnTo>
                      <a:pt x="63" y="62"/>
                    </a:lnTo>
                    <a:lnTo>
                      <a:pt x="61" y="62"/>
                    </a:lnTo>
                    <a:lnTo>
                      <a:pt x="53" y="62"/>
                    </a:lnTo>
                    <a:lnTo>
                      <a:pt x="47" y="66"/>
                    </a:lnTo>
                    <a:lnTo>
                      <a:pt x="41" y="70"/>
                    </a:lnTo>
                    <a:lnTo>
                      <a:pt x="35" y="78"/>
                    </a:lnTo>
                    <a:lnTo>
                      <a:pt x="31" y="84"/>
                    </a:lnTo>
                    <a:lnTo>
                      <a:pt x="28" y="93"/>
                    </a:lnTo>
                    <a:lnTo>
                      <a:pt x="28" y="101"/>
                    </a:lnTo>
                    <a:lnTo>
                      <a:pt x="26" y="107"/>
                    </a:lnTo>
                    <a:lnTo>
                      <a:pt x="18" y="109"/>
                    </a:lnTo>
                    <a:lnTo>
                      <a:pt x="8" y="109"/>
                    </a:lnTo>
                    <a:lnTo>
                      <a:pt x="2" y="111"/>
                    </a:lnTo>
                    <a:lnTo>
                      <a:pt x="2" y="121"/>
                    </a:lnTo>
                    <a:lnTo>
                      <a:pt x="2" y="146"/>
                    </a:lnTo>
                    <a:lnTo>
                      <a:pt x="2" y="150"/>
                    </a:lnTo>
                    <a:lnTo>
                      <a:pt x="0" y="154"/>
                    </a:lnTo>
                    <a:lnTo>
                      <a:pt x="0" y="158"/>
                    </a:lnTo>
                    <a:lnTo>
                      <a:pt x="0" y="170"/>
                    </a:lnTo>
                    <a:lnTo>
                      <a:pt x="2" y="195"/>
                    </a:lnTo>
                    <a:lnTo>
                      <a:pt x="4" y="201"/>
                    </a:lnTo>
                    <a:lnTo>
                      <a:pt x="6" y="209"/>
                    </a:lnTo>
                    <a:lnTo>
                      <a:pt x="6" y="211"/>
                    </a:lnTo>
                    <a:lnTo>
                      <a:pt x="8" y="211"/>
                    </a:lnTo>
                    <a:lnTo>
                      <a:pt x="10" y="213"/>
                    </a:lnTo>
                    <a:lnTo>
                      <a:pt x="16" y="224"/>
                    </a:lnTo>
                    <a:lnTo>
                      <a:pt x="18" y="228"/>
                    </a:lnTo>
                    <a:lnTo>
                      <a:pt x="18" y="234"/>
                    </a:lnTo>
                    <a:lnTo>
                      <a:pt x="20" y="238"/>
                    </a:lnTo>
                    <a:lnTo>
                      <a:pt x="26" y="256"/>
                    </a:lnTo>
                    <a:lnTo>
                      <a:pt x="26" y="259"/>
                    </a:lnTo>
                    <a:lnTo>
                      <a:pt x="26" y="261"/>
                    </a:lnTo>
                    <a:lnTo>
                      <a:pt x="26" y="263"/>
                    </a:lnTo>
                    <a:lnTo>
                      <a:pt x="26" y="267"/>
                    </a:lnTo>
                    <a:lnTo>
                      <a:pt x="26" y="269"/>
                    </a:lnTo>
                    <a:lnTo>
                      <a:pt x="28" y="271"/>
                    </a:lnTo>
                    <a:lnTo>
                      <a:pt x="29" y="273"/>
                    </a:lnTo>
                    <a:lnTo>
                      <a:pt x="29" y="275"/>
                    </a:lnTo>
                    <a:lnTo>
                      <a:pt x="29" y="277"/>
                    </a:lnTo>
                    <a:lnTo>
                      <a:pt x="31" y="285"/>
                    </a:lnTo>
                    <a:lnTo>
                      <a:pt x="35" y="298"/>
                    </a:lnTo>
                    <a:lnTo>
                      <a:pt x="33" y="304"/>
                    </a:lnTo>
                    <a:lnTo>
                      <a:pt x="31" y="308"/>
                    </a:lnTo>
                    <a:lnTo>
                      <a:pt x="29" y="310"/>
                    </a:lnTo>
                    <a:lnTo>
                      <a:pt x="24" y="326"/>
                    </a:lnTo>
                    <a:lnTo>
                      <a:pt x="24" y="326"/>
                    </a:lnTo>
                    <a:lnTo>
                      <a:pt x="24" y="326"/>
                    </a:lnTo>
                    <a:lnTo>
                      <a:pt x="24" y="328"/>
                    </a:lnTo>
                    <a:lnTo>
                      <a:pt x="33" y="318"/>
                    </a:lnTo>
                    <a:lnTo>
                      <a:pt x="35" y="320"/>
                    </a:lnTo>
                    <a:lnTo>
                      <a:pt x="35" y="326"/>
                    </a:lnTo>
                    <a:lnTo>
                      <a:pt x="35" y="330"/>
                    </a:lnTo>
                    <a:lnTo>
                      <a:pt x="37" y="330"/>
                    </a:lnTo>
                    <a:lnTo>
                      <a:pt x="39" y="332"/>
                    </a:lnTo>
                    <a:lnTo>
                      <a:pt x="39" y="334"/>
                    </a:lnTo>
                    <a:lnTo>
                      <a:pt x="41" y="338"/>
                    </a:lnTo>
                    <a:lnTo>
                      <a:pt x="41" y="339"/>
                    </a:lnTo>
                    <a:lnTo>
                      <a:pt x="41" y="343"/>
                    </a:lnTo>
                    <a:lnTo>
                      <a:pt x="39" y="343"/>
                    </a:lnTo>
                    <a:lnTo>
                      <a:pt x="37" y="343"/>
                    </a:lnTo>
                    <a:lnTo>
                      <a:pt x="37" y="343"/>
                    </a:lnTo>
                    <a:lnTo>
                      <a:pt x="37" y="345"/>
                    </a:lnTo>
                    <a:lnTo>
                      <a:pt x="37" y="353"/>
                    </a:lnTo>
                    <a:lnTo>
                      <a:pt x="37" y="355"/>
                    </a:lnTo>
                    <a:lnTo>
                      <a:pt x="49" y="345"/>
                    </a:lnTo>
                    <a:lnTo>
                      <a:pt x="51" y="343"/>
                    </a:lnTo>
                    <a:lnTo>
                      <a:pt x="53" y="34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39" name="Freeform 754">
                <a:extLst>
                  <a:ext uri="{FF2B5EF4-FFF2-40B4-BE49-F238E27FC236}">
                    <a16:creationId xmlns:a16="http://schemas.microsoft.com/office/drawing/2014/main" id="{66A82844-64EA-475C-91EF-B535C7DA6A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4" y="1458"/>
                <a:ext cx="35" cy="132"/>
              </a:xfrm>
              <a:custGeom>
                <a:avLst/>
                <a:gdLst>
                  <a:gd name="T0" fmla="*/ 9 w 35"/>
                  <a:gd name="T1" fmla="*/ 132 h 132"/>
                  <a:gd name="T2" fmla="*/ 9 w 35"/>
                  <a:gd name="T3" fmla="*/ 132 h 132"/>
                  <a:gd name="T4" fmla="*/ 9 w 35"/>
                  <a:gd name="T5" fmla="*/ 126 h 132"/>
                  <a:gd name="T6" fmla="*/ 17 w 35"/>
                  <a:gd name="T7" fmla="*/ 117 h 132"/>
                  <a:gd name="T8" fmla="*/ 21 w 35"/>
                  <a:gd name="T9" fmla="*/ 111 h 132"/>
                  <a:gd name="T10" fmla="*/ 21 w 35"/>
                  <a:gd name="T11" fmla="*/ 105 h 132"/>
                  <a:gd name="T12" fmla="*/ 23 w 35"/>
                  <a:gd name="T13" fmla="*/ 97 h 132"/>
                  <a:gd name="T14" fmla="*/ 27 w 35"/>
                  <a:gd name="T15" fmla="*/ 91 h 132"/>
                  <a:gd name="T16" fmla="*/ 29 w 35"/>
                  <a:gd name="T17" fmla="*/ 89 h 132"/>
                  <a:gd name="T18" fmla="*/ 29 w 35"/>
                  <a:gd name="T19" fmla="*/ 87 h 132"/>
                  <a:gd name="T20" fmla="*/ 27 w 35"/>
                  <a:gd name="T21" fmla="*/ 83 h 132"/>
                  <a:gd name="T22" fmla="*/ 27 w 35"/>
                  <a:gd name="T23" fmla="*/ 78 h 132"/>
                  <a:gd name="T24" fmla="*/ 31 w 35"/>
                  <a:gd name="T25" fmla="*/ 74 h 132"/>
                  <a:gd name="T26" fmla="*/ 31 w 35"/>
                  <a:gd name="T27" fmla="*/ 68 h 132"/>
                  <a:gd name="T28" fmla="*/ 31 w 35"/>
                  <a:gd name="T29" fmla="*/ 58 h 132"/>
                  <a:gd name="T30" fmla="*/ 33 w 35"/>
                  <a:gd name="T31" fmla="*/ 54 h 132"/>
                  <a:gd name="T32" fmla="*/ 33 w 35"/>
                  <a:gd name="T33" fmla="*/ 48 h 132"/>
                  <a:gd name="T34" fmla="*/ 35 w 35"/>
                  <a:gd name="T35" fmla="*/ 46 h 132"/>
                  <a:gd name="T36" fmla="*/ 33 w 35"/>
                  <a:gd name="T37" fmla="*/ 19 h 132"/>
                  <a:gd name="T38" fmla="*/ 31 w 35"/>
                  <a:gd name="T39" fmla="*/ 7 h 132"/>
                  <a:gd name="T40" fmla="*/ 27 w 35"/>
                  <a:gd name="T41" fmla="*/ 0 h 132"/>
                  <a:gd name="T42" fmla="*/ 27 w 35"/>
                  <a:gd name="T43" fmla="*/ 7 h 132"/>
                  <a:gd name="T44" fmla="*/ 27 w 35"/>
                  <a:gd name="T45" fmla="*/ 27 h 132"/>
                  <a:gd name="T46" fmla="*/ 29 w 35"/>
                  <a:gd name="T47" fmla="*/ 33 h 132"/>
                  <a:gd name="T48" fmla="*/ 27 w 35"/>
                  <a:gd name="T49" fmla="*/ 35 h 132"/>
                  <a:gd name="T50" fmla="*/ 29 w 35"/>
                  <a:gd name="T51" fmla="*/ 37 h 132"/>
                  <a:gd name="T52" fmla="*/ 27 w 35"/>
                  <a:gd name="T53" fmla="*/ 42 h 132"/>
                  <a:gd name="T54" fmla="*/ 25 w 35"/>
                  <a:gd name="T55" fmla="*/ 66 h 132"/>
                  <a:gd name="T56" fmla="*/ 19 w 35"/>
                  <a:gd name="T57" fmla="*/ 91 h 132"/>
                  <a:gd name="T58" fmla="*/ 11 w 35"/>
                  <a:gd name="T59" fmla="*/ 107 h 132"/>
                  <a:gd name="T60" fmla="*/ 0 w 35"/>
                  <a:gd name="T61" fmla="*/ 130 h 132"/>
                  <a:gd name="T62" fmla="*/ 0 w 35"/>
                  <a:gd name="T63" fmla="*/ 130 h 132"/>
                  <a:gd name="T64" fmla="*/ 0 w 35"/>
                  <a:gd name="T65" fmla="*/ 130 h 132"/>
                  <a:gd name="T66" fmla="*/ 9 w 35"/>
                  <a:gd name="T67" fmla="*/ 1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5" h="132">
                    <a:moveTo>
                      <a:pt x="9" y="132"/>
                    </a:moveTo>
                    <a:lnTo>
                      <a:pt x="9" y="132"/>
                    </a:lnTo>
                    <a:lnTo>
                      <a:pt x="9" y="126"/>
                    </a:lnTo>
                    <a:lnTo>
                      <a:pt x="17" y="117"/>
                    </a:lnTo>
                    <a:lnTo>
                      <a:pt x="21" y="111"/>
                    </a:lnTo>
                    <a:lnTo>
                      <a:pt x="21" y="105"/>
                    </a:lnTo>
                    <a:lnTo>
                      <a:pt x="23" y="97"/>
                    </a:lnTo>
                    <a:lnTo>
                      <a:pt x="27" y="91"/>
                    </a:lnTo>
                    <a:lnTo>
                      <a:pt x="29" y="89"/>
                    </a:lnTo>
                    <a:lnTo>
                      <a:pt x="29" y="87"/>
                    </a:lnTo>
                    <a:lnTo>
                      <a:pt x="27" y="83"/>
                    </a:lnTo>
                    <a:lnTo>
                      <a:pt x="27" y="78"/>
                    </a:lnTo>
                    <a:lnTo>
                      <a:pt x="31" y="74"/>
                    </a:lnTo>
                    <a:lnTo>
                      <a:pt x="31" y="68"/>
                    </a:lnTo>
                    <a:lnTo>
                      <a:pt x="31" y="58"/>
                    </a:lnTo>
                    <a:lnTo>
                      <a:pt x="33" y="54"/>
                    </a:lnTo>
                    <a:lnTo>
                      <a:pt x="33" y="48"/>
                    </a:lnTo>
                    <a:lnTo>
                      <a:pt x="35" y="46"/>
                    </a:lnTo>
                    <a:lnTo>
                      <a:pt x="33" y="19"/>
                    </a:lnTo>
                    <a:lnTo>
                      <a:pt x="31" y="7"/>
                    </a:lnTo>
                    <a:lnTo>
                      <a:pt x="27" y="0"/>
                    </a:lnTo>
                    <a:lnTo>
                      <a:pt x="27" y="7"/>
                    </a:lnTo>
                    <a:lnTo>
                      <a:pt x="27" y="27"/>
                    </a:lnTo>
                    <a:lnTo>
                      <a:pt x="29" y="33"/>
                    </a:lnTo>
                    <a:lnTo>
                      <a:pt x="27" y="35"/>
                    </a:lnTo>
                    <a:lnTo>
                      <a:pt x="29" y="37"/>
                    </a:lnTo>
                    <a:lnTo>
                      <a:pt x="27" y="42"/>
                    </a:lnTo>
                    <a:lnTo>
                      <a:pt x="25" y="66"/>
                    </a:lnTo>
                    <a:lnTo>
                      <a:pt x="19" y="91"/>
                    </a:lnTo>
                    <a:lnTo>
                      <a:pt x="11" y="107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9" y="13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40" name="Freeform 755">
                <a:extLst>
                  <a:ext uri="{FF2B5EF4-FFF2-40B4-BE49-F238E27FC236}">
                    <a16:creationId xmlns:a16="http://schemas.microsoft.com/office/drawing/2014/main" id="{E6CC1871-2D19-4A7F-B710-35DC0D53BB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" y="3732"/>
                <a:ext cx="24" cy="53"/>
              </a:xfrm>
              <a:custGeom>
                <a:avLst/>
                <a:gdLst>
                  <a:gd name="T0" fmla="*/ 2 w 24"/>
                  <a:gd name="T1" fmla="*/ 12 h 53"/>
                  <a:gd name="T2" fmla="*/ 2 w 24"/>
                  <a:gd name="T3" fmla="*/ 14 h 53"/>
                  <a:gd name="T4" fmla="*/ 2 w 24"/>
                  <a:gd name="T5" fmla="*/ 16 h 53"/>
                  <a:gd name="T6" fmla="*/ 2 w 24"/>
                  <a:gd name="T7" fmla="*/ 22 h 53"/>
                  <a:gd name="T8" fmla="*/ 2 w 24"/>
                  <a:gd name="T9" fmla="*/ 26 h 53"/>
                  <a:gd name="T10" fmla="*/ 4 w 24"/>
                  <a:gd name="T11" fmla="*/ 26 h 53"/>
                  <a:gd name="T12" fmla="*/ 6 w 24"/>
                  <a:gd name="T13" fmla="*/ 29 h 53"/>
                  <a:gd name="T14" fmla="*/ 6 w 24"/>
                  <a:gd name="T15" fmla="*/ 33 h 53"/>
                  <a:gd name="T16" fmla="*/ 6 w 24"/>
                  <a:gd name="T17" fmla="*/ 35 h 53"/>
                  <a:gd name="T18" fmla="*/ 6 w 24"/>
                  <a:gd name="T19" fmla="*/ 39 h 53"/>
                  <a:gd name="T20" fmla="*/ 6 w 24"/>
                  <a:gd name="T21" fmla="*/ 41 h 53"/>
                  <a:gd name="T22" fmla="*/ 4 w 24"/>
                  <a:gd name="T23" fmla="*/ 43 h 53"/>
                  <a:gd name="T24" fmla="*/ 2 w 24"/>
                  <a:gd name="T25" fmla="*/ 45 h 53"/>
                  <a:gd name="T26" fmla="*/ 0 w 24"/>
                  <a:gd name="T27" fmla="*/ 47 h 53"/>
                  <a:gd name="T28" fmla="*/ 0 w 24"/>
                  <a:gd name="T29" fmla="*/ 49 h 53"/>
                  <a:gd name="T30" fmla="*/ 4 w 24"/>
                  <a:gd name="T31" fmla="*/ 51 h 53"/>
                  <a:gd name="T32" fmla="*/ 4 w 24"/>
                  <a:gd name="T33" fmla="*/ 51 h 53"/>
                  <a:gd name="T34" fmla="*/ 14 w 24"/>
                  <a:gd name="T35" fmla="*/ 53 h 53"/>
                  <a:gd name="T36" fmla="*/ 16 w 24"/>
                  <a:gd name="T37" fmla="*/ 53 h 53"/>
                  <a:gd name="T38" fmla="*/ 18 w 24"/>
                  <a:gd name="T39" fmla="*/ 51 h 53"/>
                  <a:gd name="T40" fmla="*/ 24 w 24"/>
                  <a:gd name="T41" fmla="*/ 45 h 53"/>
                  <a:gd name="T42" fmla="*/ 24 w 24"/>
                  <a:gd name="T43" fmla="*/ 39 h 53"/>
                  <a:gd name="T44" fmla="*/ 24 w 24"/>
                  <a:gd name="T45" fmla="*/ 37 h 53"/>
                  <a:gd name="T46" fmla="*/ 22 w 24"/>
                  <a:gd name="T47" fmla="*/ 33 h 53"/>
                  <a:gd name="T48" fmla="*/ 18 w 24"/>
                  <a:gd name="T49" fmla="*/ 27 h 53"/>
                  <a:gd name="T50" fmla="*/ 14 w 24"/>
                  <a:gd name="T51" fmla="*/ 24 h 53"/>
                  <a:gd name="T52" fmla="*/ 14 w 24"/>
                  <a:gd name="T53" fmla="*/ 24 h 53"/>
                  <a:gd name="T54" fmla="*/ 14 w 24"/>
                  <a:gd name="T55" fmla="*/ 24 h 53"/>
                  <a:gd name="T56" fmla="*/ 14 w 24"/>
                  <a:gd name="T57" fmla="*/ 22 h 53"/>
                  <a:gd name="T58" fmla="*/ 14 w 24"/>
                  <a:gd name="T59" fmla="*/ 20 h 53"/>
                  <a:gd name="T60" fmla="*/ 16 w 24"/>
                  <a:gd name="T61" fmla="*/ 18 h 53"/>
                  <a:gd name="T62" fmla="*/ 16 w 24"/>
                  <a:gd name="T63" fmla="*/ 18 h 53"/>
                  <a:gd name="T64" fmla="*/ 14 w 24"/>
                  <a:gd name="T65" fmla="*/ 16 h 53"/>
                  <a:gd name="T66" fmla="*/ 14 w 24"/>
                  <a:gd name="T67" fmla="*/ 14 h 53"/>
                  <a:gd name="T68" fmla="*/ 12 w 24"/>
                  <a:gd name="T69" fmla="*/ 12 h 53"/>
                  <a:gd name="T70" fmla="*/ 12 w 24"/>
                  <a:gd name="T71" fmla="*/ 12 h 53"/>
                  <a:gd name="T72" fmla="*/ 12 w 24"/>
                  <a:gd name="T73" fmla="*/ 10 h 53"/>
                  <a:gd name="T74" fmla="*/ 12 w 24"/>
                  <a:gd name="T75" fmla="*/ 6 h 53"/>
                  <a:gd name="T76" fmla="*/ 12 w 24"/>
                  <a:gd name="T77" fmla="*/ 6 h 53"/>
                  <a:gd name="T78" fmla="*/ 10 w 24"/>
                  <a:gd name="T79" fmla="*/ 4 h 53"/>
                  <a:gd name="T80" fmla="*/ 8 w 24"/>
                  <a:gd name="T81" fmla="*/ 0 h 53"/>
                  <a:gd name="T82" fmla="*/ 6 w 24"/>
                  <a:gd name="T83" fmla="*/ 6 h 53"/>
                  <a:gd name="T84" fmla="*/ 2 w 24"/>
                  <a:gd name="T85" fmla="*/ 12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" h="53">
                    <a:moveTo>
                      <a:pt x="2" y="12"/>
                    </a:moveTo>
                    <a:lnTo>
                      <a:pt x="2" y="14"/>
                    </a:lnTo>
                    <a:lnTo>
                      <a:pt x="2" y="16"/>
                    </a:lnTo>
                    <a:lnTo>
                      <a:pt x="2" y="22"/>
                    </a:lnTo>
                    <a:lnTo>
                      <a:pt x="2" y="26"/>
                    </a:lnTo>
                    <a:lnTo>
                      <a:pt x="4" y="26"/>
                    </a:lnTo>
                    <a:lnTo>
                      <a:pt x="6" y="29"/>
                    </a:lnTo>
                    <a:lnTo>
                      <a:pt x="6" y="33"/>
                    </a:lnTo>
                    <a:lnTo>
                      <a:pt x="6" y="35"/>
                    </a:lnTo>
                    <a:lnTo>
                      <a:pt x="6" y="39"/>
                    </a:lnTo>
                    <a:lnTo>
                      <a:pt x="6" y="41"/>
                    </a:lnTo>
                    <a:lnTo>
                      <a:pt x="4" y="43"/>
                    </a:lnTo>
                    <a:lnTo>
                      <a:pt x="2" y="45"/>
                    </a:lnTo>
                    <a:lnTo>
                      <a:pt x="0" y="47"/>
                    </a:lnTo>
                    <a:lnTo>
                      <a:pt x="0" y="49"/>
                    </a:lnTo>
                    <a:lnTo>
                      <a:pt x="4" y="51"/>
                    </a:lnTo>
                    <a:lnTo>
                      <a:pt x="4" y="51"/>
                    </a:lnTo>
                    <a:lnTo>
                      <a:pt x="14" y="53"/>
                    </a:lnTo>
                    <a:lnTo>
                      <a:pt x="16" y="53"/>
                    </a:lnTo>
                    <a:lnTo>
                      <a:pt x="18" y="51"/>
                    </a:lnTo>
                    <a:lnTo>
                      <a:pt x="24" y="45"/>
                    </a:lnTo>
                    <a:lnTo>
                      <a:pt x="24" y="39"/>
                    </a:lnTo>
                    <a:lnTo>
                      <a:pt x="24" y="37"/>
                    </a:lnTo>
                    <a:lnTo>
                      <a:pt x="22" y="33"/>
                    </a:lnTo>
                    <a:lnTo>
                      <a:pt x="18" y="27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2"/>
                    </a:lnTo>
                    <a:lnTo>
                      <a:pt x="14" y="20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4" y="16"/>
                    </a:lnTo>
                    <a:lnTo>
                      <a:pt x="14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6" y="6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41" name="Freeform 756">
                <a:extLst>
                  <a:ext uri="{FF2B5EF4-FFF2-40B4-BE49-F238E27FC236}">
                    <a16:creationId xmlns:a16="http://schemas.microsoft.com/office/drawing/2014/main" id="{ED39FE9D-C3E7-4CEE-9BB5-A65C555AA1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7" y="1463"/>
                <a:ext cx="25" cy="45"/>
              </a:xfrm>
              <a:custGeom>
                <a:avLst/>
                <a:gdLst>
                  <a:gd name="T0" fmla="*/ 16 w 25"/>
                  <a:gd name="T1" fmla="*/ 4 h 45"/>
                  <a:gd name="T2" fmla="*/ 16 w 25"/>
                  <a:gd name="T3" fmla="*/ 2 h 45"/>
                  <a:gd name="T4" fmla="*/ 14 w 25"/>
                  <a:gd name="T5" fmla="*/ 0 h 45"/>
                  <a:gd name="T6" fmla="*/ 12 w 25"/>
                  <a:gd name="T7" fmla="*/ 4 h 45"/>
                  <a:gd name="T8" fmla="*/ 10 w 25"/>
                  <a:gd name="T9" fmla="*/ 12 h 45"/>
                  <a:gd name="T10" fmla="*/ 8 w 25"/>
                  <a:gd name="T11" fmla="*/ 16 h 45"/>
                  <a:gd name="T12" fmla="*/ 6 w 25"/>
                  <a:gd name="T13" fmla="*/ 18 h 45"/>
                  <a:gd name="T14" fmla="*/ 4 w 25"/>
                  <a:gd name="T15" fmla="*/ 20 h 45"/>
                  <a:gd name="T16" fmla="*/ 2 w 25"/>
                  <a:gd name="T17" fmla="*/ 22 h 45"/>
                  <a:gd name="T18" fmla="*/ 0 w 25"/>
                  <a:gd name="T19" fmla="*/ 26 h 45"/>
                  <a:gd name="T20" fmla="*/ 0 w 25"/>
                  <a:gd name="T21" fmla="*/ 32 h 45"/>
                  <a:gd name="T22" fmla="*/ 2 w 25"/>
                  <a:gd name="T23" fmla="*/ 39 h 45"/>
                  <a:gd name="T24" fmla="*/ 6 w 25"/>
                  <a:gd name="T25" fmla="*/ 45 h 45"/>
                  <a:gd name="T26" fmla="*/ 10 w 25"/>
                  <a:gd name="T27" fmla="*/ 45 h 45"/>
                  <a:gd name="T28" fmla="*/ 12 w 25"/>
                  <a:gd name="T29" fmla="*/ 43 h 45"/>
                  <a:gd name="T30" fmla="*/ 14 w 25"/>
                  <a:gd name="T31" fmla="*/ 39 h 45"/>
                  <a:gd name="T32" fmla="*/ 18 w 25"/>
                  <a:gd name="T33" fmla="*/ 37 h 45"/>
                  <a:gd name="T34" fmla="*/ 20 w 25"/>
                  <a:gd name="T35" fmla="*/ 37 h 45"/>
                  <a:gd name="T36" fmla="*/ 25 w 25"/>
                  <a:gd name="T37" fmla="*/ 32 h 45"/>
                  <a:gd name="T38" fmla="*/ 25 w 25"/>
                  <a:gd name="T39" fmla="*/ 30 h 45"/>
                  <a:gd name="T40" fmla="*/ 16 w 25"/>
                  <a:gd name="T41" fmla="*/ 4 h 45"/>
                  <a:gd name="T42" fmla="*/ 16 w 25"/>
                  <a:gd name="T43" fmla="*/ 4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" h="45">
                    <a:moveTo>
                      <a:pt x="16" y="4"/>
                    </a:moveTo>
                    <a:lnTo>
                      <a:pt x="16" y="2"/>
                    </a:lnTo>
                    <a:lnTo>
                      <a:pt x="14" y="0"/>
                    </a:lnTo>
                    <a:lnTo>
                      <a:pt x="12" y="4"/>
                    </a:lnTo>
                    <a:lnTo>
                      <a:pt x="10" y="12"/>
                    </a:lnTo>
                    <a:lnTo>
                      <a:pt x="8" y="16"/>
                    </a:lnTo>
                    <a:lnTo>
                      <a:pt x="6" y="18"/>
                    </a:lnTo>
                    <a:lnTo>
                      <a:pt x="4" y="20"/>
                    </a:lnTo>
                    <a:lnTo>
                      <a:pt x="2" y="22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2" y="39"/>
                    </a:lnTo>
                    <a:lnTo>
                      <a:pt x="6" y="45"/>
                    </a:lnTo>
                    <a:lnTo>
                      <a:pt x="10" y="45"/>
                    </a:lnTo>
                    <a:lnTo>
                      <a:pt x="12" y="43"/>
                    </a:lnTo>
                    <a:lnTo>
                      <a:pt x="14" y="39"/>
                    </a:lnTo>
                    <a:lnTo>
                      <a:pt x="18" y="37"/>
                    </a:lnTo>
                    <a:lnTo>
                      <a:pt x="20" y="37"/>
                    </a:lnTo>
                    <a:lnTo>
                      <a:pt x="25" y="32"/>
                    </a:lnTo>
                    <a:lnTo>
                      <a:pt x="25" y="30"/>
                    </a:lnTo>
                    <a:lnTo>
                      <a:pt x="16" y="4"/>
                    </a:lnTo>
                    <a:lnTo>
                      <a:pt x="1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42" name="Freeform 757">
                <a:extLst>
                  <a:ext uri="{FF2B5EF4-FFF2-40B4-BE49-F238E27FC236}">
                    <a16:creationId xmlns:a16="http://schemas.microsoft.com/office/drawing/2014/main" id="{18DFF895-4AF4-4F46-B0C2-DACC49BEB5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9" y="1651"/>
                <a:ext cx="74" cy="53"/>
              </a:xfrm>
              <a:custGeom>
                <a:avLst/>
                <a:gdLst>
                  <a:gd name="T0" fmla="*/ 66 w 74"/>
                  <a:gd name="T1" fmla="*/ 13 h 53"/>
                  <a:gd name="T2" fmla="*/ 51 w 74"/>
                  <a:gd name="T3" fmla="*/ 10 h 53"/>
                  <a:gd name="T4" fmla="*/ 37 w 74"/>
                  <a:gd name="T5" fmla="*/ 10 h 53"/>
                  <a:gd name="T6" fmla="*/ 31 w 74"/>
                  <a:gd name="T7" fmla="*/ 8 h 53"/>
                  <a:gd name="T8" fmla="*/ 27 w 74"/>
                  <a:gd name="T9" fmla="*/ 0 h 53"/>
                  <a:gd name="T10" fmla="*/ 25 w 74"/>
                  <a:gd name="T11" fmla="*/ 0 h 53"/>
                  <a:gd name="T12" fmla="*/ 23 w 74"/>
                  <a:gd name="T13" fmla="*/ 2 h 53"/>
                  <a:gd name="T14" fmla="*/ 23 w 74"/>
                  <a:gd name="T15" fmla="*/ 4 h 53"/>
                  <a:gd name="T16" fmla="*/ 23 w 74"/>
                  <a:gd name="T17" fmla="*/ 6 h 53"/>
                  <a:gd name="T18" fmla="*/ 25 w 74"/>
                  <a:gd name="T19" fmla="*/ 8 h 53"/>
                  <a:gd name="T20" fmla="*/ 31 w 74"/>
                  <a:gd name="T21" fmla="*/ 12 h 53"/>
                  <a:gd name="T22" fmla="*/ 31 w 74"/>
                  <a:gd name="T23" fmla="*/ 13 h 53"/>
                  <a:gd name="T24" fmla="*/ 29 w 74"/>
                  <a:gd name="T25" fmla="*/ 15 h 53"/>
                  <a:gd name="T26" fmla="*/ 27 w 74"/>
                  <a:gd name="T27" fmla="*/ 17 h 53"/>
                  <a:gd name="T28" fmla="*/ 27 w 74"/>
                  <a:gd name="T29" fmla="*/ 19 h 53"/>
                  <a:gd name="T30" fmla="*/ 29 w 74"/>
                  <a:gd name="T31" fmla="*/ 21 h 53"/>
                  <a:gd name="T32" fmla="*/ 27 w 74"/>
                  <a:gd name="T33" fmla="*/ 23 h 53"/>
                  <a:gd name="T34" fmla="*/ 21 w 74"/>
                  <a:gd name="T35" fmla="*/ 25 h 53"/>
                  <a:gd name="T36" fmla="*/ 19 w 74"/>
                  <a:gd name="T37" fmla="*/ 25 h 53"/>
                  <a:gd name="T38" fmla="*/ 17 w 74"/>
                  <a:gd name="T39" fmla="*/ 25 h 53"/>
                  <a:gd name="T40" fmla="*/ 13 w 74"/>
                  <a:gd name="T41" fmla="*/ 23 h 53"/>
                  <a:gd name="T42" fmla="*/ 11 w 74"/>
                  <a:gd name="T43" fmla="*/ 21 h 53"/>
                  <a:gd name="T44" fmla="*/ 11 w 74"/>
                  <a:gd name="T45" fmla="*/ 25 h 53"/>
                  <a:gd name="T46" fmla="*/ 11 w 74"/>
                  <a:gd name="T47" fmla="*/ 29 h 53"/>
                  <a:gd name="T48" fmla="*/ 8 w 74"/>
                  <a:gd name="T49" fmla="*/ 27 h 53"/>
                  <a:gd name="T50" fmla="*/ 6 w 74"/>
                  <a:gd name="T51" fmla="*/ 27 h 53"/>
                  <a:gd name="T52" fmla="*/ 2 w 74"/>
                  <a:gd name="T53" fmla="*/ 33 h 53"/>
                  <a:gd name="T54" fmla="*/ 4 w 74"/>
                  <a:gd name="T55" fmla="*/ 33 h 53"/>
                  <a:gd name="T56" fmla="*/ 6 w 74"/>
                  <a:gd name="T57" fmla="*/ 35 h 53"/>
                  <a:gd name="T58" fmla="*/ 6 w 74"/>
                  <a:gd name="T59" fmla="*/ 37 h 53"/>
                  <a:gd name="T60" fmla="*/ 4 w 74"/>
                  <a:gd name="T61" fmla="*/ 37 h 53"/>
                  <a:gd name="T62" fmla="*/ 2 w 74"/>
                  <a:gd name="T63" fmla="*/ 39 h 53"/>
                  <a:gd name="T64" fmla="*/ 2 w 74"/>
                  <a:gd name="T65" fmla="*/ 41 h 53"/>
                  <a:gd name="T66" fmla="*/ 2 w 74"/>
                  <a:gd name="T67" fmla="*/ 45 h 53"/>
                  <a:gd name="T68" fmla="*/ 0 w 74"/>
                  <a:gd name="T69" fmla="*/ 45 h 53"/>
                  <a:gd name="T70" fmla="*/ 0 w 74"/>
                  <a:gd name="T71" fmla="*/ 47 h 53"/>
                  <a:gd name="T72" fmla="*/ 11 w 74"/>
                  <a:gd name="T73" fmla="*/ 51 h 53"/>
                  <a:gd name="T74" fmla="*/ 15 w 74"/>
                  <a:gd name="T75" fmla="*/ 53 h 53"/>
                  <a:gd name="T76" fmla="*/ 19 w 74"/>
                  <a:gd name="T77" fmla="*/ 51 h 53"/>
                  <a:gd name="T78" fmla="*/ 27 w 74"/>
                  <a:gd name="T79" fmla="*/ 39 h 53"/>
                  <a:gd name="T80" fmla="*/ 33 w 74"/>
                  <a:gd name="T81" fmla="*/ 33 h 53"/>
                  <a:gd name="T82" fmla="*/ 39 w 74"/>
                  <a:gd name="T83" fmla="*/ 31 h 53"/>
                  <a:gd name="T84" fmla="*/ 45 w 74"/>
                  <a:gd name="T85" fmla="*/ 29 h 53"/>
                  <a:gd name="T86" fmla="*/ 64 w 74"/>
                  <a:gd name="T87" fmla="*/ 35 h 53"/>
                  <a:gd name="T88" fmla="*/ 68 w 74"/>
                  <a:gd name="T89" fmla="*/ 33 h 53"/>
                  <a:gd name="T90" fmla="*/ 72 w 74"/>
                  <a:gd name="T91" fmla="*/ 33 h 53"/>
                  <a:gd name="T92" fmla="*/ 74 w 74"/>
                  <a:gd name="T93" fmla="*/ 31 h 53"/>
                  <a:gd name="T94" fmla="*/ 74 w 74"/>
                  <a:gd name="T95" fmla="*/ 29 h 53"/>
                  <a:gd name="T96" fmla="*/ 70 w 74"/>
                  <a:gd name="T97" fmla="*/ 17 h 53"/>
                  <a:gd name="T98" fmla="*/ 66 w 74"/>
                  <a:gd name="T99" fmla="*/ 1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74" h="53">
                    <a:moveTo>
                      <a:pt x="66" y="13"/>
                    </a:moveTo>
                    <a:lnTo>
                      <a:pt x="51" y="10"/>
                    </a:lnTo>
                    <a:lnTo>
                      <a:pt x="37" y="10"/>
                    </a:lnTo>
                    <a:lnTo>
                      <a:pt x="31" y="8"/>
                    </a:lnTo>
                    <a:lnTo>
                      <a:pt x="27" y="0"/>
                    </a:lnTo>
                    <a:lnTo>
                      <a:pt x="25" y="0"/>
                    </a:lnTo>
                    <a:lnTo>
                      <a:pt x="23" y="2"/>
                    </a:lnTo>
                    <a:lnTo>
                      <a:pt x="23" y="4"/>
                    </a:lnTo>
                    <a:lnTo>
                      <a:pt x="23" y="6"/>
                    </a:lnTo>
                    <a:lnTo>
                      <a:pt x="25" y="8"/>
                    </a:lnTo>
                    <a:lnTo>
                      <a:pt x="31" y="12"/>
                    </a:lnTo>
                    <a:lnTo>
                      <a:pt x="31" y="13"/>
                    </a:lnTo>
                    <a:lnTo>
                      <a:pt x="29" y="15"/>
                    </a:lnTo>
                    <a:lnTo>
                      <a:pt x="27" y="17"/>
                    </a:lnTo>
                    <a:lnTo>
                      <a:pt x="27" y="19"/>
                    </a:lnTo>
                    <a:lnTo>
                      <a:pt x="29" y="21"/>
                    </a:lnTo>
                    <a:lnTo>
                      <a:pt x="27" y="23"/>
                    </a:lnTo>
                    <a:lnTo>
                      <a:pt x="21" y="25"/>
                    </a:lnTo>
                    <a:lnTo>
                      <a:pt x="19" y="25"/>
                    </a:lnTo>
                    <a:lnTo>
                      <a:pt x="17" y="25"/>
                    </a:lnTo>
                    <a:lnTo>
                      <a:pt x="13" y="23"/>
                    </a:lnTo>
                    <a:lnTo>
                      <a:pt x="11" y="21"/>
                    </a:lnTo>
                    <a:lnTo>
                      <a:pt x="11" y="25"/>
                    </a:lnTo>
                    <a:lnTo>
                      <a:pt x="11" y="29"/>
                    </a:lnTo>
                    <a:lnTo>
                      <a:pt x="8" y="27"/>
                    </a:lnTo>
                    <a:lnTo>
                      <a:pt x="6" y="27"/>
                    </a:lnTo>
                    <a:lnTo>
                      <a:pt x="2" y="33"/>
                    </a:lnTo>
                    <a:lnTo>
                      <a:pt x="4" y="33"/>
                    </a:lnTo>
                    <a:lnTo>
                      <a:pt x="6" y="35"/>
                    </a:lnTo>
                    <a:lnTo>
                      <a:pt x="6" y="37"/>
                    </a:lnTo>
                    <a:lnTo>
                      <a:pt x="4" y="37"/>
                    </a:lnTo>
                    <a:lnTo>
                      <a:pt x="2" y="39"/>
                    </a:lnTo>
                    <a:lnTo>
                      <a:pt x="2" y="41"/>
                    </a:lnTo>
                    <a:lnTo>
                      <a:pt x="2" y="45"/>
                    </a:lnTo>
                    <a:lnTo>
                      <a:pt x="0" y="45"/>
                    </a:lnTo>
                    <a:lnTo>
                      <a:pt x="0" y="47"/>
                    </a:lnTo>
                    <a:lnTo>
                      <a:pt x="11" y="51"/>
                    </a:lnTo>
                    <a:lnTo>
                      <a:pt x="15" y="53"/>
                    </a:lnTo>
                    <a:lnTo>
                      <a:pt x="19" y="51"/>
                    </a:lnTo>
                    <a:lnTo>
                      <a:pt x="27" y="39"/>
                    </a:lnTo>
                    <a:lnTo>
                      <a:pt x="33" y="33"/>
                    </a:lnTo>
                    <a:lnTo>
                      <a:pt x="39" y="31"/>
                    </a:lnTo>
                    <a:lnTo>
                      <a:pt x="45" y="29"/>
                    </a:lnTo>
                    <a:lnTo>
                      <a:pt x="64" y="35"/>
                    </a:lnTo>
                    <a:lnTo>
                      <a:pt x="68" y="33"/>
                    </a:lnTo>
                    <a:lnTo>
                      <a:pt x="72" y="33"/>
                    </a:lnTo>
                    <a:lnTo>
                      <a:pt x="74" y="31"/>
                    </a:lnTo>
                    <a:lnTo>
                      <a:pt x="74" y="29"/>
                    </a:lnTo>
                    <a:lnTo>
                      <a:pt x="70" y="17"/>
                    </a:lnTo>
                    <a:lnTo>
                      <a:pt x="66" y="1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43" name="Freeform 758">
                <a:extLst>
                  <a:ext uri="{FF2B5EF4-FFF2-40B4-BE49-F238E27FC236}">
                    <a16:creationId xmlns:a16="http://schemas.microsoft.com/office/drawing/2014/main" id="{D6324186-8A57-490B-927C-FF88A5B3C0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7" y="1155"/>
                <a:ext cx="24" cy="15"/>
              </a:xfrm>
              <a:custGeom>
                <a:avLst/>
                <a:gdLst>
                  <a:gd name="T0" fmla="*/ 2 w 24"/>
                  <a:gd name="T1" fmla="*/ 6 h 15"/>
                  <a:gd name="T2" fmla="*/ 0 w 24"/>
                  <a:gd name="T3" fmla="*/ 6 h 15"/>
                  <a:gd name="T4" fmla="*/ 2 w 24"/>
                  <a:gd name="T5" fmla="*/ 12 h 15"/>
                  <a:gd name="T6" fmla="*/ 4 w 24"/>
                  <a:gd name="T7" fmla="*/ 14 h 15"/>
                  <a:gd name="T8" fmla="*/ 6 w 24"/>
                  <a:gd name="T9" fmla="*/ 15 h 15"/>
                  <a:gd name="T10" fmla="*/ 10 w 24"/>
                  <a:gd name="T11" fmla="*/ 15 h 15"/>
                  <a:gd name="T12" fmla="*/ 14 w 24"/>
                  <a:gd name="T13" fmla="*/ 15 h 15"/>
                  <a:gd name="T14" fmla="*/ 14 w 24"/>
                  <a:gd name="T15" fmla="*/ 14 h 15"/>
                  <a:gd name="T16" fmla="*/ 16 w 24"/>
                  <a:gd name="T17" fmla="*/ 10 h 15"/>
                  <a:gd name="T18" fmla="*/ 20 w 24"/>
                  <a:gd name="T19" fmla="*/ 6 h 15"/>
                  <a:gd name="T20" fmla="*/ 22 w 24"/>
                  <a:gd name="T21" fmla="*/ 4 h 15"/>
                  <a:gd name="T22" fmla="*/ 24 w 24"/>
                  <a:gd name="T23" fmla="*/ 4 h 15"/>
                  <a:gd name="T24" fmla="*/ 24 w 24"/>
                  <a:gd name="T25" fmla="*/ 4 h 15"/>
                  <a:gd name="T26" fmla="*/ 24 w 24"/>
                  <a:gd name="T27" fmla="*/ 4 h 15"/>
                  <a:gd name="T28" fmla="*/ 24 w 24"/>
                  <a:gd name="T29" fmla="*/ 0 h 15"/>
                  <a:gd name="T30" fmla="*/ 18 w 24"/>
                  <a:gd name="T31" fmla="*/ 4 h 15"/>
                  <a:gd name="T32" fmla="*/ 2 w 24"/>
                  <a:gd name="T33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15">
                    <a:moveTo>
                      <a:pt x="2" y="6"/>
                    </a:moveTo>
                    <a:lnTo>
                      <a:pt x="0" y="6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5"/>
                    </a:lnTo>
                    <a:lnTo>
                      <a:pt x="10" y="15"/>
                    </a:lnTo>
                    <a:lnTo>
                      <a:pt x="14" y="15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20" y="6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0"/>
                    </a:lnTo>
                    <a:lnTo>
                      <a:pt x="18" y="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44" name="Freeform 759">
                <a:extLst>
                  <a:ext uri="{FF2B5EF4-FFF2-40B4-BE49-F238E27FC236}">
                    <a16:creationId xmlns:a16="http://schemas.microsoft.com/office/drawing/2014/main" id="{5D73027A-AEB9-4C5D-85E9-7BB03AC8F0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" y="1336"/>
                <a:ext cx="293" cy="459"/>
              </a:xfrm>
              <a:custGeom>
                <a:avLst/>
                <a:gdLst>
                  <a:gd name="T0" fmla="*/ 45 w 293"/>
                  <a:gd name="T1" fmla="*/ 116 h 459"/>
                  <a:gd name="T2" fmla="*/ 0 w 293"/>
                  <a:gd name="T3" fmla="*/ 118 h 459"/>
                  <a:gd name="T4" fmla="*/ 33 w 293"/>
                  <a:gd name="T5" fmla="*/ 135 h 459"/>
                  <a:gd name="T6" fmla="*/ 45 w 293"/>
                  <a:gd name="T7" fmla="*/ 170 h 459"/>
                  <a:gd name="T8" fmla="*/ 37 w 293"/>
                  <a:gd name="T9" fmla="*/ 184 h 459"/>
                  <a:gd name="T10" fmla="*/ 54 w 293"/>
                  <a:gd name="T11" fmla="*/ 211 h 459"/>
                  <a:gd name="T12" fmla="*/ 45 w 293"/>
                  <a:gd name="T13" fmla="*/ 227 h 459"/>
                  <a:gd name="T14" fmla="*/ 43 w 293"/>
                  <a:gd name="T15" fmla="*/ 235 h 459"/>
                  <a:gd name="T16" fmla="*/ 50 w 293"/>
                  <a:gd name="T17" fmla="*/ 237 h 459"/>
                  <a:gd name="T18" fmla="*/ 60 w 293"/>
                  <a:gd name="T19" fmla="*/ 262 h 459"/>
                  <a:gd name="T20" fmla="*/ 62 w 293"/>
                  <a:gd name="T21" fmla="*/ 272 h 459"/>
                  <a:gd name="T22" fmla="*/ 90 w 293"/>
                  <a:gd name="T23" fmla="*/ 270 h 459"/>
                  <a:gd name="T24" fmla="*/ 132 w 293"/>
                  <a:gd name="T25" fmla="*/ 280 h 459"/>
                  <a:gd name="T26" fmla="*/ 142 w 293"/>
                  <a:gd name="T27" fmla="*/ 289 h 459"/>
                  <a:gd name="T28" fmla="*/ 160 w 293"/>
                  <a:gd name="T29" fmla="*/ 319 h 459"/>
                  <a:gd name="T30" fmla="*/ 144 w 293"/>
                  <a:gd name="T31" fmla="*/ 317 h 459"/>
                  <a:gd name="T32" fmla="*/ 168 w 293"/>
                  <a:gd name="T33" fmla="*/ 340 h 459"/>
                  <a:gd name="T34" fmla="*/ 150 w 293"/>
                  <a:gd name="T35" fmla="*/ 344 h 459"/>
                  <a:gd name="T36" fmla="*/ 146 w 293"/>
                  <a:gd name="T37" fmla="*/ 366 h 459"/>
                  <a:gd name="T38" fmla="*/ 154 w 293"/>
                  <a:gd name="T39" fmla="*/ 387 h 459"/>
                  <a:gd name="T40" fmla="*/ 168 w 293"/>
                  <a:gd name="T41" fmla="*/ 412 h 459"/>
                  <a:gd name="T42" fmla="*/ 175 w 293"/>
                  <a:gd name="T43" fmla="*/ 450 h 459"/>
                  <a:gd name="T44" fmla="*/ 185 w 293"/>
                  <a:gd name="T45" fmla="*/ 418 h 459"/>
                  <a:gd name="T46" fmla="*/ 211 w 293"/>
                  <a:gd name="T47" fmla="*/ 373 h 459"/>
                  <a:gd name="T48" fmla="*/ 185 w 293"/>
                  <a:gd name="T49" fmla="*/ 358 h 459"/>
                  <a:gd name="T50" fmla="*/ 174 w 293"/>
                  <a:gd name="T51" fmla="*/ 356 h 459"/>
                  <a:gd name="T52" fmla="*/ 172 w 293"/>
                  <a:gd name="T53" fmla="*/ 334 h 459"/>
                  <a:gd name="T54" fmla="*/ 179 w 293"/>
                  <a:gd name="T55" fmla="*/ 332 h 459"/>
                  <a:gd name="T56" fmla="*/ 215 w 293"/>
                  <a:gd name="T57" fmla="*/ 332 h 459"/>
                  <a:gd name="T58" fmla="*/ 216 w 293"/>
                  <a:gd name="T59" fmla="*/ 307 h 459"/>
                  <a:gd name="T60" fmla="*/ 191 w 293"/>
                  <a:gd name="T61" fmla="*/ 284 h 459"/>
                  <a:gd name="T62" fmla="*/ 205 w 293"/>
                  <a:gd name="T63" fmla="*/ 293 h 459"/>
                  <a:gd name="T64" fmla="*/ 254 w 293"/>
                  <a:gd name="T65" fmla="*/ 260 h 459"/>
                  <a:gd name="T66" fmla="*/ 258 w 293"/>
                  <a:gd name="T67" fmla="*/ 223 h 459"/>
                  <a:gd name="T68" fmla="*/ 240 w 293"/>
                  <a:gd name="T69" fmla="*/ 163 h 459"/>
                  <a:gd name="T70" fmla="*/ 271 w 293"/>
                  <a:gd name="T71" fmla="*/ 151 h 459"/>
                  <a:gd name="T72" fmla="*/ 287 w 293"/>
                  <a:gd name="T73" fmla="*/ 118 h 459"/>
                  <a:gd name="T74" fmla="*/ 281 w 293"/>
                  <a:gd name="T75" fmla="*/ 79 h 459"/>
                  <a:gd name="T76" fmla="*/ 289 w 293"/>
                  <a:gd name="T77" fmla="*/ 32 h 459"/>
                  <a:gd name="T78" fmla="*/ 228 w 293"/>
                  <a:gd name="T79" fmla="*/ 0 h 459"/>
                  <a:gd name="T80" fmla="*/ 183 w 293"/>
                  <a:gd name="T81" fmla="*/ 51 h 459"/>
                  <a:gd name="T82" fmla="*/ 203 w 293"/>
                  <a:gd name="T83" fmla="*/ 127 h 459"/>
                  <a:gd name="T84" fmla="*/ 193 w 293"/>
                  <a:gd name="T85" fmla="*/ 133 h 459"/>
                  <a:gd name="T86" fmla="*/ 175 w 293"/>
                  <a:gd name="T87" fmla="*/ 137 h 459"/>
                  <a:gd name="T88" fmla="*/ 193 w 293"/>
                  <a:gd name="T89" fmla="*/ 94 h 459"/>
                  <a:gd name="T90" fmla="*/ 187 w 293"/>
                  <a:gd name="T91" fmla="*/ 69 h 459"/>
                  <a:gd name="T92" fmla="*/ 177 w 293"/>
                  <a:gd name="T93" fmla="*/ 92 h 459"/>
                  <a:gd name="T94" fmla="*/ 164 w 293"/>
                  <a:gd name="T95" fmla="*/ 118 h 459"/>
                  <a:gd name="T96" fmla="*/ 154 w 293"/>
                  <a:gd name="T97" fmla="*/ 133 h 459"/>
                  <a:gd name="T98" fmla="*/ 132 w 293"/>
                  <a:gd name="T99" fmla="*/ 122 h 459"/>
                  <a:gd name="T100" fmla="*/ 144 w 293"/>
                  <a:gd name="T101" fmla="*/ 100 h 459"/>
                  <a:gd name="T102" fmla="*/ 125 w 293"/>
                  <a:gd name="T103" fmla="*/ 102 h 459"/>
                  <a:gd name="T104" fmla="*/ 131 w 293"/>
                  <a:gd name="T105" fmla="*/ 67 h 459"/>
                  <a:gd name="T106" fmla="*/ 146 w 293"/>
                  <a:gd name="T107" fmla="*/ 67 h 459"/>
                  <a:gd name="T108" fmla="*/ 129 w 293"/>
                  <a:gd name="T109" fmla="*/ 57 h 459"/>
                  <a:gd name="T110" fmla="*/ 86 w 293"/>
                  <a:gd name="T111" fmla="*/ 53 h 459"/>
                  <a:gd name="T112" fmla="*/ 88 w 293"/>
                  <a:gd name="T113" fmla="*/ 90 h 459"/>
                  <a:gd name="T114" fmla="*/ 82 w 293"/>
                  <a:gd name="T115" fmla="*/ 104 h 459"/>
                  <a:gd name="T116" fmla="*/ 54 w 293"/>
                  <a:gd name="T117" fmla="*/ 120 h 4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3" h="459">
                    <a:moveTo>
                      <a:pt x="50" y="120"/>
                    </a:moveTo>
                    <a:lnTo>
                      <a:pt x="56" y="125"/>
                    </a:lnTo>
                    <a:lnTo>
                      <a:pt x="52" y="129"/>
                    </a:lnTo>
                    <a:lnTo>
                      <a:pt x="48" y="127"/>
                    </a:lnTo>
                    <a:lnTo>
                      <a:pt x="45" y="123"/>
                    </a:lnTo>
                    <a:lnTo>
                      <a:pt x="41" y="118"/>
                    </a:lnTo>
                    <a:lnTo>
                      <a:pt x="43" y="116"/>
                    </a:lnTo>
                    <a:lnTo>
                      <a:pt x="45" y="116"/>
                    </a:lnTo>
                    <a:lnTo>
                      <a:pt x="47" y="116"/>
                    </a:lnTo>
                    <a:lnTo>
                      <a:pt x="48" y="116"/>
                    </a:lnTo>
                    <a:lnTo>
                      <a:pt x="48" y="114"/>
                    </a:lnTo>
                    <a:lnTo>
                      <a:pt x="43" y="116"/>
                    </a:lnTo>
                    <a:lnTo>
                      <a:pt x="31" y="120"/>
                    </a:lnTo>
                    <a:lnTo>
                      <a:pt x="27" y="120"/>
                    </a:lnTo>
                    <a:lnTo>
                      <a:pt x="0" y="116"/>
                    </a:lnTo>
                    <a:lnTo>
                      <a:pt x="0" y="118"/>
                    </a:lnTo>
                    <a:lnTo>
                      <a:pt x="2" y="120"/>
                    </a:lnTo>
                    <a:lnTo>
                      <a:pt x="11" y="120"/>
                    </a:lnTo>
                    <a:lnTo>
                      <a:pt x="13" y="122"/>
                    </a:lnTo>
                    <a:lnTo>
                      <a:pt x="15" y="123"/>
                    </a:lnTo>
                    <a:lnTo>
                      <a:pt x="17" y="125"/>
                    </a:lnTo>
                    <a:lnTo>
                      <a:pt x="17" y="127"/>
                    </a:lnTo>
                    <a:lnTo>
                      <a:pt x="21" y="131"/>
                    </a:lnTo>
                    <a:lnTo>
                      <a:pt x="33" y="135"/>
                    </a:lnTo>
                    <a:lnTo>
                      <a:pt x="35" y="141"/>
                    </a:lnTo>
                    <a:lnTo>
                      <a:pt x="9" y="139"/>
                    </a:lnTo>
                    <a:lnTo>
                      <a:pt x="9" y="141"/>
                    </a:lnTo>
                    <a:lnTo>
                      <a:pt x="27" y="145"/>
                    </a:lnTo>
                    <a:lnTo>
                      <a:pt x="35" y="151"/>
                    </a:lnTo>
                    <a:lnTo>
                      <a:pt x="43" y="159"/>
                    </a:lnTo>
                    <a:lnTo>
                      <a:pt x="45" y="164"/>
                    </a:lnTo>
                    <a:lnTo>
                      <a:pt x="45" y="170"/>
                    </a:lnTo>
                    <a:lnTo>
                      <a:pt x="45" y="174"/>
                    </a:lnTo>
                    <a:lnTo>
                      <a:pt x="39" y="176"/>
                    </a:lnTo>
                    <a:lnTo>
                      <a:pt x="37" y="176"/>
                    </a:lnTo>
                    <a:lnTo>
                      <a:pt x="35" y="178"/>
                    </a:lnTo>
                    <a:lnTo>
                      <a:pt x="35" y="180"/>
                    </a:lnTo>
                    <a:lnTo>
                      <a:pt x="35" y="184"/>
                    </a:lnTo>
                    <a:lnTo>
                      <a:pt x="35" y="186"/>
                    </a:lnTo>
                    <a:lnTo>
                      <a:pt x="37" y="184"/>
                    </a:lnTo>
                    <a:lnTo>
                      <a:pt x="41" y="182"/>
                    </a:lnTo>
                    <a:lnTo>
                      <a:pt x="43" y="184"/>
                    </a:lnTo>
                    <a:lnTo>
                      <a:pt x="47" y="184"/>
                    </a:lnTo>
                    <a:lnTo>
                      <a:pt x="48" y="188"/>
                    </a:lnTo>
                    <a:lnTo>
                      <a:pt x="50" y="190"/>
                    </a:lnTo>
                    <a:lnTo>
                      <a:pt x="54" y="202"/>
                    </a:lnTo>
                    <a:lnTo>
                      <a:pt x="54" y="207"/>
                    </a:lnTo>
                    <a:lnTo>
                      <a:pt x="54" y="211"/>
                    </a:lnTo>
                    <a:lnTo>
                      <a:pt x="56" y="213"/>
                    </a:lnTo>
                    <a:lnTo>
                      <a:pt x="56" y="215"/>
                    </a:lnTo>
                    <a:lnTo>
                      <a:pt x="54" y="219"/>
                    </a:lnTo>
                    <a:lnTo>
                      <a:pt x="50" y="221"/>
                    </a:lnTo>
                    <a:lnTo>
                      <a:pt x="48" y="221"/>
                    </a:lnTo>
                    <a:lnTo>
                      <a:pt x="47" y="223"/>
                    </a:lnTo>
                    <a:lnTo>
                      <a:pt x="45" y="225"/>
                    </a:lnTo>
                    <a:lnTo>
                      <a:pt x="45" y="227"/>
                    </a:lnTo>
                    <a:lnTo>
                      <a:pt x="43" y="227"/>
                    </a:lnTo>
                    <a:lnTo>
                      <a:pt x="41" y="227"/>
                    </a:lnTo>
                    <a:lnTo>
                      <a:pt x="35" y="227"/>
                    </a:lnTo>
                    <a:lnTo>
                      <a:pt x="35" y="229"/>
                    </a:lnTo>
                    <a:lnTo>
                      <a:pt x="37" y="237"/>
                    </a:lnTo>
                    <a:lnTo>
                      <a:pt x="39" y="237"/>
                    </a:lnTo>
                    <a:lnTo>
                      <a:pt x="41" y="237"/>
                    </a:lnTo>
                    <a:lnTo>
                      <a:pt x="43" y="235"/>
                    </a:lnTo>
                    <a:lnTo>
                      <a:pt x="43" y="233"/>
                    </a:lnTo>
                    <a:lnTo>
                      <a:pt x="45" y="231"/>
                    </a:lnTo>
                    <a:lnTo>
                      <a:pt x="47" y="231"/>
                    </a:lnTo>
                    <a:lnTo>
                      <a:pt x="48" y="231"/>
                    </a:lnTo>
                    <a:lnTo>
                      <a:pt x="50" y="231"/>
                    </a:lnTo>
                    <a:lnTo>
                      <a:pt x="52" y="233"/>
                    </a:lnTo>
                    <a:lnTo>
                      <a:pt x="52" y="237"/>
                    </a:lnTo>
                    <a:lnTo>
                      <a:pt x="50" y="237"/>
                    </a:lnTo>
                    <a:lnTo>
                      <a:pt x="48" y="237"/>
                    </a:lnTo>
                    <a:lnTo>
                      <a:pt x="47" y="239"/>
                    </a:lnTo>
                    <a:lnTo>
                      <a:pt x="48" y="241"/>
                    </a:lnTo>
                    <a:lnTo>
                      <a:pt x="56" y="248"/>
                    </a:lnTo>
                    <a:lnTo>
                      <a:pt x="60" y="250"/>
                    </a:lnTo>
                    <a:lnTo>
                      <a:pt x="60" y="252"/>
                    </a:lnTo>
                    <a:lnTo>
                      <a:pt x="60" y="260"/>
                    </a:lnTo>
                    <a:lnTo>
                      <a:pt x="60" y="262"/>
                    </a:lnTo>
                    <a:lnTo>
                      <a:pt x="64" y="262"/>
                    </a:lnTo>
                    <a:lnTo>
                      <a:pt x="66" y="260"/>
                    </a:lnTo>
                    <a:lnTo>
                      <a:pt x="68" y="260"/>
                    </a:lnTo>
                    <a:lnTo>
                      <a:pt x="68" y="264"/>
                    </a:lnTo>
                    <a:lnTo>
                      <a:pt x="66" y="266"/>
                    </a:lnTo>
                    <a:lnTo>
                      <a:pt x="62" y="266"/>
                    </a:lnTo>
                    <a:lnTo>
                      <a:pt x="60" y="264"/>
                    </a:lnTo>
                    <a:lnTo>
                      <a:pt x="62" y="272"/>
                    </a:lnTo>
                    <a:lnTo>
                      <a:pt x="64" y="276"/>
                    </a:lnTo>
                    <a:lnTo>
                      <a:pt x="68" y="278"/>
                    </a:lnTo>
                    <a:lnTo>
                      <a:pt x="74" y="278"/>
                    </a:lnTo>
                    <a:lnTo>
                      <a:pt x="70" y="276"/>
                    </a:lnTo>
                    <a:lnTo>
                      <a:pt x="70" y="274"/>
                    </a:lnTo>
                    <a:lnTo>
                      <a:pt x="82" y="274"/>
                    </a:lnTo>
                    <a:lnTo>
                      <a:pt x="86" y="272"/>
                    </a:lnTo>
                    <a:lnTo>
                      <a:pt x="90" y="270"/>
                    </a:lnTo>
                    <a:lnTo>
                      <a:pt x="91" y="270"/>
                    </a:lnTo>
                    <a:lnTo>
                      <a:pt x="103" y="274"/>
                    </a:lnTo>
                    <a:lnTo>
                      <a:pt x="105" y="274"/>
                    </a:lnTo>
                    <a:lnTo>
                      <a:pt x="109" y="276"/>
                    </a:lnTo>
                    <a:lnTo>
                      <a:pt x="121" y="278"/>
                    </a:lnTo>
                    <a:lnTo>
                      <a:pt x="127" y="282"/>
                    </a:lnTo>
                    <a:lnTo>
                      <a:pt x="129" y="282"/>
                    </a:lnTo>
                    <a:lnTo>
                      <a:pt x="132" y="280"/>
                    </a:lnTo>
                    <a:lnTo>
                      <a:pt x="134" y="276"/>
                    </a:lnTo>
                    <a:lnTo>
                      <a:pt x="136" y="274"/>
                    </a:lnTo>
                    <a:lnTo>
                      <a:pt x="140" y="274"/>
                    </a:lnTo>
                    <a:lnTo>
                      <a:pt x="144" y="276"/>
                    </a:lnTo>
                    <a:lnTo>
                      <a:pt x="144" y="280"/>
                    </a:lnTo>
                    <a:lnTo>
                      <a:pt x="142" y="282"/>
                    </a:lnTo>
                    <a:lnTo>
                      <a:pt x="140" y="286"/>
                    </a:lnTo>
                    <a:lnTo>
                      <a:pt x="142" y="289"/>
                    </a:lnTo>
                    <a:lnTo>
                      <a:pt x="152" y="287"/>
                    </a:lnTo>
                    <a:lnTo>
                      <a:pt x="156" y="291"/>
                    </a:lnTo>
                    <a:lnTo>
                      <a:pt x="156" y="293"/>
                    </a:lnTo>
                    <a:lnTo>
                      <a:pt x="156" y="295"/>
                    </a:lnTo>
                    <a:lnTo>
                      <a:pt x="140" y="297"/>
                    </a:lnTo>
                    <a:lnTo>
                      <a:pt x="144" y="305"/>
                    </a:lnTo>
                    <a:lnTo>
                      <a:pt x="156" y="313"/>
                    </a:lnTo>
                    <a:lnTo>
                      <a:pt x="160" y="319"/>
                    </a:lnTo>
                    <a:lnTo>
                      <a:pt x="150" y="317"/>
                    </a:lnTo>
                    <a:lnTo>
                      <a:pt x="132" y="309"/>
                    </a:lnTo>
                    <a:lnTo>
                      <a:pt x="123" y="307"/>
                    </a:lnTo>
                    <a:lnTo>
                      <a:pt x="127" y="311"/>
                    </a:lnTo>
                    <a:lnTo>
                      <a:pt x="129" y="313"/>
                    </a:lnTo>
                    <a:lnTo>
                      <a:pt x="132" y="315"/>
                    </a:lnTo>
                    <a:lnTo>
                      <a:pt x="142" y="315"/>
                    </a:lnTo>
                    <a:lnTo>
                      <a:pt x="144" y="317"/>
                    </a:lnTo>
                    <a:lnTo>
                      <a:pt x="146" y="319"/>
                    </a:lnTo>
                    <a:lnTo>
                      <a:pt x="146" y="319"/>
                    </a:lnTo>
                    <a:lnTo>
                      <a:pt x="150" y="321"/>
                    </a:lnTo>
                    <a:lnTo>
                      <a:pt x="162" y="325"/>
                    </a:lnTo>
                    <a:lnTo>
                      <a:pt x="164" y="328"/>
                    </a:lnTo>
                    <a:lnTo>
                      <a:pt x="166" y="336"/>
                    </a:lnTo>
                    <a:lnTo>
                      <a:pt x="168" y="340"/>
                    </a:lnTo>
                    <a:lnTo>
                      <a:pt x="168" y="340"/>
                    </a:lnTo>
                    <a:lnTo>
                      <a:pt x="166" y="344"/>
                    </a:lnTo>
                    <a:lnTo>
                      <a:pt x="162" y="346"/>
                    </a:lnTo>
                    <a:lnTo>
                      <a:pt x="162" y="344"/>
                    </a:lnTo>
                    <a:lnTo>
                      <a:pt x="160" y="344"/>
                    </a:lnTo>
                    <a:lnTo>
                      <a:pt x="156" y="348"/>
                    </a:lnTo>
                    <a:lnTo>
                      <a:pt x="156" y="350"/>
                    </a:lnTo>
                    <a:lnTo>
                      <a:pt x="154" y="348"/>
                    </a:lnTo>
                    <a:lnTo>
                      <a:pt x="150" y="344"/>
                    </a:lnTo>
                    <a:lnTo>
                      <a:pt x="148" y="344"/>
                    </a:lnTo>
                    <a:lnTo>
                      <a:pt x="146" y="344"/>
                    </a:lnTo>
                    <a:lnTo>
                      <a:pt x="140" y="350"/>
                    </a:lnTo>
                    <a:lnTo>
                      <a:pt x="140" y="352"/>
                    </a:lnTo>
                    <a:lnTo>
                      <a:pt x="142" y="352"/>
                    </a:lnTo>
                    <a:lnTo>
                      <a:pt x="144" y="356"/>
                    </a:lnTo>
                    <a:lnTo>
                      <a:pt x="146" y="360"/>
                    </a:lnTo>
                    <a:lnTo>
                      <a:pt x="146" y="366"/>
                    </a:lnTo>
                    <a:lnTo>
                      <a:pt x="146" y="371"/>
                    </a:lnTo>
                    <a:lnTo>
                      <a:pt x="148" y="373"/>
                    </a:lnTo>
                    <a:lnTo>
                      <a:pt x="150" y="375"/>
                    </a:lnTo>
                    <a:lnTo>
                      <a:pt x="154" y="379"/>
                    </a:lnTo>
                    <a:lnTo>
                      <a:pt x="154" y="381"/>
                    </a:lnTo>
                    <a:lnTo>
                      <a:pt x="154" y="383"/>
                    </a:lnTo>
                    <a:lnTo>
                      <a:pt x="154" y="385"/>
                    </a:lnTo>
                    <a:lnTo>
                      <a:pt x="154" y="387"/>
                    </a:lnTo>
                    <a:lnTo>
                      <a:pt x="156" y="389"/>
                    </a:lnTo>
                    <a:lnTo>
                      <a:pt x="156" y="391"/>
                    </a:lnTo>
                    <a:lnTo>
                      <a:pt x="164" y="399"/>
                    </a:lnTo>
                    <a:lnTo>
                      <a:pt x="166" y="403"/>
                    </a:lnTo>
                    <a:lnTo>
                      <a:pt x="166" y="403"/>
                    </a:lnTo>
                    <a:lnTo>
                      <a:pt x="168" y="405"/>
                    </a:lnTo>
                    <a:lnTo>
                      <a:pt x="166" y="409"/>
                    </a:lnTo>
                    <a:lnTo>
                      <a:pt x="168" y="412"/>
                    </a:lnTo>
                    <a:lnTo>
                      <a:pt x="170" y="414"/>
                    </a:lnTo>
                    <a:lnTo>
                      <a:pt x="174" y="414"/>
                    </a:lnTo>
                    <a:lnTo>
                      <a:pt x="168" y="422"/>
                    </a:lnTo>
                    <a:lnTo>
                      <a:pt x="166" y="426"/>
                    </a:lnTo>
                    <a:lnTo>
                      <a:pt x="166" y="432"/>
                    </a:lnTo>
                    <a:lnTo>
                      <a:pt x="168" y="436"/>
                    </a:lnTo>
                    <a:lnTo>
                      <a:pt x="174" y="448"/>
                    </a:lnTo>
                    <a:lnTo>
                      <a:pt x="175" y="450"/>
                    </a:lnTo>
                    <a:lnTo>
                      <a:pt x="175" y="455"/>
                    </a:lnTo>
                    <a:lnTo>
                      <a:pt x="179" y="459"/>
                    </a:lnTo>
                    <a:lnTo>
                      <a:pt x="183" y="459"/>
                    </a:lnTo>
                    <a:lnTo>
                      <a:pt x="183" y="448"/>
                    </a:lnTo>
                    <a:lnTo>
                      <a:pt x="181" y="432"/>
                    </a:lnTo>
                    <a:lnTo>
                      <a:pt x="181" y="422"/>
                    </a:lnTo>
                    <a:lnTo>
                      <a:pt x="183" y="418"/>
                    </a:lnTo>
                    <a:lnTo>
                      <a:pt x="185" y="418"/>
                    </a:lnTo>
                    <a:lnTo>
                      <a:pt x="189" y="412"/>
                    </a:lnTo>
                    <a:lnTo>
                      <a:pt x="191" y="410"/>
                    </a:lnTo>
                    <a:lnTo>
                      <a:pt x="193" y="409"/>
                    </a:lnTo>
                    <a:lnTo>
                      <a:pt x="199" y="397"/>
                    </a:lnTo>
                    <a:lnTo>
                      <a:pt x="201" y="393"/>
                    </a:lnTo>
                    <a:lnTo>
                      <a:pt x="216" y="381"/>
                    </a:lnTo>
                    <a:lnTo>
                      <a:pt x="216" y="379"/>
                    </a:lnTo>
                    <a:lnTo>
                      <a:pt x="211" y="373"/>
                    </a:lnTo>
                    <a:lnTo>
                      <a:pt x="207" y="366"/>
                    </a:lnTo>
                    <a:lnTo>
                      <a:pt x="205" y="364"/>
                    </a:lnTo>
                    <a:lnTo>
                      <a:pt x="201" y="364"/>
                    </a:lnTo>
                    <a:lnTo>
                      <a:pt x="197" y="366"/>
                    </a:lnTo>
                    <a:lnTo>
                      <a:pt x="195" y="366"/>
                    </a:lnTo>
                    <a:lnTo>
                      <a:pt x="191" y="364"/>
                    </a:lnTo>
                    <a:lnTo>
                      <a:pt x="187" y="358"/>
                    </a:lnTo>
                    <a:lnTo>
                      <a:pt x="185" y="358"/>
                    </a:lnTo>
                    <a:lnTo>
                      <a:pt x="185" y="356"/>
                    </a:lnTo>
                    <a:lnTo>
                      <a:pt x="181" y="350"/>
                    </a:lnTo>
                    <a:lnTo>
                      <a:pt x="181" y="350"/>
                    </a:lnTo>
                    <a:lnTo>
                      <a:pt x="177" y="352"/>
                    </a:lnTo>
                    <a:lnTo>
                      <a:pt x="175" y="352"/>
                    </a:lnTo>
                    <a:lnTo>
                      <a:pt x="175" y="354"/>
                    </a:lnTo>
                    <a:lnTo>
                      <a:pt x="175" y="356"/>
                    </a:lnTo>
                    <a:lnTo>
                      <a:pt x="174" y="356"/>
                    </a:lnTo>
                    <a:lnTo>
                      <a:pt x="172" y="356"/>
                    </a:lnTo>
                    <a:lnTo>
                      <a:pt x="170" y="354"/>
                    </a:lnTo>
                    <a:lnTo>
                      <a:pt x="168" y="352"/>
                    </a:lnTo>
                    <a:lnTo>
                      <a:pt x="170" y="348"/>
                    </a:lnTo>
                    <a:lnTo>
                      <a:pt x="170" y="344"/>
                    </a:lnTo>
                    <a:lnTo>
                      <a:pt x="172" y="340"/>
                    </a:lnTo>
                    <a:lnTo>
                      <a:pt x="172" y="336"/>
                    </a:lnTo>
                    <a:lnTo>
                      <a:pt x="172" y="334"/>
                    </a:lnTo>
                    <a:lnTo>
                      <a:pt x="174" y="334"/>
                    </a:lnTo>
                    <a:lnTo>
                      <a:pt x="174" y="334"/>
                    </a:lnTo>
                    <a:lnTo>
                      <a:pt x="174" y="332"/>
                    </a:lnTo>
                    <a:lnTo>
                      <a:pt x="174" y="332"/>
                    </a:lnTo>
                    <a:lnTo>
                      <a:pt x="174" y="332"/>
                    </a:lnTo>
                    <a:lnTo>
                      <a:pt x="174" y="332"/>
                    </a:lnTo>
                    <a:lnTo>
                      <a:pt x="174" y="330"/>
                    </a:lnTo>
                    <a:lnTo>
                      <a:pt x="179" y="332"/>
                    </a:lnTo>
                    <a:lnTo>
                      <a:pt x="187" y="340"/>
                    </a:lnTo>
                    <a:lnTo>
                      <a:pt x="193" y="344"/>
                    </a:lnTo>
                    <a:lnTo>
                      <a:pt x="197" y="342"/>
                    </a:lnTo>
                    <a:lnTo>
                      <a:pt x="203" y="338"/>
                    </a:lnTo>
                    <a:lnTo>
                      <a:pt x="205" y="336"/>
                    </a:lnTo>
                    <a:lnTo>
                      <a:pt x="209" y="336"/>
                    </a:lnTo>
                    <a:lnTo>
                      <a:pt x="213" y="336"/>
                    </a:lnTo>
                    <a:lnTo>
                      <a:pt x="215" y="332"/>
                    </a:lnTo>
                    <a:lnTo>
                      <a:pt x="215" y="327"/>
                    </a:lnTo>
                    <a:lnTo>
                      <a:pt x="209" y="313"/>
                    </a:lnTo>
                    <a:lnTo>
                      <a:pt x="209" y="313"/>
                    </a:lnTo>
                    <a:lnTo>
                      <a:pt x="209" y="311"/>
                    </a:lnTo>
                    <a:lnTo>
                      <a:pt x="213" y="309"/>
                    </a:lnTo>
                    <a:lnTo>
                      <a:pt x="215" y="309"/>
                    </a:lnTo>
                    <a:lnTo>
                      <a:pt x="215" y="307"/>
                    </a:lnTo>
                    <a:lnTo>
                      <a:pt x="216" y="307"/>
                    </a:lnTo>
                    <a:lnTo>
                      <a:pt x="218" y="303"/>
                    </a:lnTo>
                    <a:lnTo>
                      <a:pt x="216" y="297"/>
                    </a:lnTo>
                    <a:lnTo>
                      <a:pt x="211" y="295"/>
                    </a:lnTo>
                    <a:lnTo>
                      <a:pt x="195" y="293"/>
                    </a:lnTo>
                    <a:lnTo>
                      <a:pt x="191" y="289"/>
                    </a:lnTo>
                    <a:lnTo>
                      <a:pt x="189" y="287"/>
                    </a:lnTo>
                    <a:lnTo>
                      <a:pt x="191" y="286"/>
                    </a:lnTo>
                    <a:lnTo>
                      <a:pt x="191" y="284"/>
                    </a:lnTo>
                    <a:lnTo>
                      <a:pt x="193" y="284"/>
                    </a:lnTo>
                    <a:lnTo>
                      <a:pt x="193" y="282"/>
                    </a:lnTo>
                    <a:lnTo>
                      <a:pt x="197" y="280"/>
                    </a:lnTo>
                    <a:lnTo>
                      <a:pt x="201" y="282"/>
                    </a:lnTo>
                    <a:lnTo>
                      <a:pt x="203" y="286"/>
                    </a:lnTo>
                    <a:lnTo>
                      <a:pt x="201" y="291"/>
                    </a:lnTo>
                    <a:lnTo>
                      <a:pt x="203" y="293"/>
                    </a:lnTo>
                    <a:lnTo>
                      <a:pt x="205" y="293"/>
                    </a:lnTo>
                    <a:lnTo>
                      <a:pt x="207" y="291"/>
                    </a:lnTo>
                    <a:lnTo>
                      <a:pt x="207" y="289"/>
                    </a:lnTo>
                    <a:lnTo>
                      <a:pt x="207" y="284"/>
                    </a:lnTo>
                    <a:lnTo>
                      <a:pt x="209" y="278"/>
                    </a:lnTo>
                    <a:lnTo>
                      <a:pt x="211" y="274"/>
                    </a:lnTo>
                    <a:lnTo>
                      <a:pt x="216" y="270"/>
                    </a:lnTo>
                    <a:lnTo>
                      <a:pt x="218" y="268"/>
                    </a:lnTo>
                    <a:lnTo>
                      <a:pt x="254" y="260"/>
                    </a:lnTo>
                    <a:lnTo>
                      <a:pt x="261" y="252"/>
                    </a:lnTo>
                    <a:lnTo>
                      <a:pt x="263" y="252"/>
                    </a:lnTo>
                    <a:lnTo>
                      <a:pt x="265" y="248"/>
                    </a:lnTo>
                    <a:lnTo>
                      <a:pt x="263" y="241"/>
                    </a:lnTo>
                    <a:lnTo>
                      <a:pt x="263" y="237"/>
                    </a:lnTo>
                    <a:lnTo>
                      <a:pt x="261" y="233"/>
                    </a:lnTo>
                    <a:lnTo>
                      <a:pt x="261" y="227"/>
                    </a:lnTo>
                    <a:lnTo>
                      <a:pt x="258" y="223"/>
                    </a:lnTo>
                    <a:lnTo>
                      <a:pt x="250" y="217"/>
                    </a:lnTo>
                    <a:lnTo>
                      <a:pt x="248" y="215"/>
                    </a:lnTo>
                    <a:lnTo>
                      <a:pt x="236" y="215"/>
                    </a:lnTo>
                    <a:lnTo>
                      <a:pt x="234" y="213"/>
                    </a:lnTo>
                    <a:lnTo>
                      <a:pt x="226" y="207"/>
                    </a:lnTo>
                    <a:lnTo>
                      <a:pt x="220" y="192"/>
                    </a:lnTo>
                    <a:lnTo>
                      <a:pt x="230" y="174"/>
                    </a:lnTo>
                    <a:lnTo>
                      <a:pt x="240" y="163"/>
                    </a:lnTo>
                    <a:lnTo>
                      <a:pt x="244" y="159"/>
                    </a:lnTo>
                    <a:lnTo>
                      <a:pt x="256" y="153"/>
                    </a:lnTo>
                    <a:lnTo>
                      <a:pt x="259" y="153"/>
                    </a:lnTo>
                    <a:lnTo>
                      <a:pt x="261" y="155"/>
                    </a:lnTo>
                    <a:lnTo>
                      <a:pt x="263" y="155"/>
                    </a:lnTo>
                    <a:lnTo>
                      <a:pt x="265" y="157"/>
                    </a:lnTo>
                    <a:lnTo>
                      <a:pt x="269" y="155"/>
                    </a:lnTo>
                    <a:lnTo>
                      <a:pt x="271" y="151"/>
                    </a:lnTo>
                    <a:lnTo>
                      <a:pt x="271" y="149"/>
                    </a:lnTo>
                    <a:lnTo>
                      <a:pt x="279" y="143"/>
                    </a:lnTo>
                    <a:lnTo>
                      <a:pt x="285" y="131"/>
                    </a:lnTo>
                    <a:lnTo>
                      <a:pt x="289" y="125"/>
                    </a:lnTo>
                    <a:lnTo>
                      <a:pt x="287" y="123"/>
                    </a:lnTo>
                    <a:lnTo>
                      <a:pt x="287" y="122"/>
                    </a:lnTo>
                    <a:lnTo>
                      <a:pt x="287" y="120"/>
                    </a:lnTo>
                    <a:lnTo>
                      <a:pt x="287" y="118"/>
                    </a:lnTo>
                    <a:lnTo>
                      <a:pt x="287" y="114"/>
                    </a:lnTo>
                    <a:lnTo>
                      <a:pt x="287" y="106"/>
                    </a:lnTo>
                    <a:lnTo>
                      <a:pt x="289" y="102"/>
                    </a:lnTo>
                    <a:lnTo>
                      <a:pt x="289" y="100"/>
                    </a:lnTo>
                    <a:lnTo>
                      <a:pt x="287" y="96"/>
                    </a:lnTo>
                    <a:lnTo>
                      <a:pt x="285" y="90"/>
                    </a:lnTo>
                    <a:lnTo>
                      <a:pt x="283" y="84"/>
                    </a:lnTo>
                    <a:lnTo>
                      <a:pt x="281" y="79"/>
                    </a:lnTo>
                    <a:lnTo>
                      <a:pt x="281" y="75"/>
                    </a:lnTo>
                    <a:lnTo>
                      <a:pt x="279" y="69"/>
                    </a:lnTo>
                    <a:lnTo>
                      <a:pt x="273" y="63"/>
                    </a:lnTo>
                    <a:lnTo>
                      <a:pt x="273" y="61"/>
                    </a:lnTo>
                    <a:lnTo>
                      <a:pt x="275" y="57"/>
                    </a:lnTo>
                    <a:lnTo>
                      <a:pt x="281" y="45"/>
                    </a:lnTo>
                    <a:lnTo>
                      <a:pt x="283" y="40"/>
                    </a:lnTo>
                    <a:lnTo>
                      <a:pt x="289" y="32"/>
                    </a:lnTo>
                    <a:lnTo>
                      <a:pt x="293" y="26"/>
                    </a:lnTo>
                    <a:lnTo>
                      <a:pt x="283" y="18"/>
                    </a:lnTo>
                    <a:lnTo>
                      <a:pt x="279" y="16"/>
                    </a:lnTo>
                    <a:lnTo>
                      <a:pt x="273" y="12"/>
                    </a:lnTo>
                    <a:lnTo>
                      <a:pt x="269" y="10"/>
                    </a:lnTo>
                    <a:lnTo>
                      <a:pt x="258" y="10"/>
                    </a:lnTo>
                    <a:lnTo>
                      <a:pt x="244" y="2"/>
                    </a:lnTo>
                    <a:lnTo>
                      <a:pt x="228" y="0"/>
                    </a:lnTo>
                    <a:lnTo>
                      <a:pt x="216" y="8"/>
                    </a:lnTo>
                    <a:lnTo>
                      <a:pt x="189" y="30"/>
                    </a:lnTo>
                    <a:lnTo>
                      <a:pt x="174" y="40"/>
                    </a:lnTo>
                    <a:lnTo>
                      <a:pt x="166" y="47"/>
                    </a:lnTo>
                    <a:lnTo>
                      <a:pt x="162" y="55"/>
                    </a:lnTo>
                    <a:lnTo>
                      <a:pt x="166" y="57"/>
                    </a:lnTo>
                    <a:lnTo>
                      <a:pt x="170" y="57"/>
                    </a:lnTo>
                    <a:lnTo>
                      <a:pt x="183" y="51"/>
                    </a:lnTo>
                    <a:lnTo>
                      <a:pt x="187" y="51"/>
                    </a:lnTo>
                    <a:lnTo>
                      <a:pt x="189" y="53"/>
                    </a:lnTo>
                    <a:lnTo>
                      <a:pt x="193" y="57"/>
                    </a:lnTo>
                    <a:lnTo>
                      <a:pt x="197" y="73"/>
                    </a:lnTo>
                    <a:lnTo>
                      <a:pt x="197" y="77"/>
                    </a:lnTo>
                    <a:lnTo>
                      <a:pt x="197" y="88"/>
                    </a:lnTo>
                    <a:lnTo>
                      <a:pt x="205" y="120"/>
                    </a:lnTo>
                    <a:lnTo>
                      <a:pt x="203" y="127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3" y="139"/>
                    </a:lnTo>
                    <a:lnTo>
                      <a:pt x="189" y="137"/>
                    </a:lnTo>
                    <a:lnTo>
                      <a:pt x="189" y="135"/>
                    </a:lnTo>
                    <a:lnTo>
                      <a:pt x="189" y="135"/>
                    </a:lnTo>
                    <a:lnTo>
                      <a:pt x="195" y="137"/>
                    </a:lnTo>
                    <a:lnTo>
                      <a:pt x="193" y="133"/>
                    </a:lnTo>
                    <a:lnTo>
                      <a:pt x="191" y="129"/>
                    </a:lnTo>
                    <a:lnTo>
                      <a:pt x="187" y="129"/>
                    </a:lnTo>
                    <a:lnTo>
                      <a:pt x="185" y="129"/>
                    </a:lnTo>
                    <a:lnTo>
                      <a:pt x="185" y="135"/>
                    </a:lnTo>
                    <a:lnTo>
                      <a:pt x="181" y="139"/>
                    </a:lnTo>
                    <a:lnTo>
                      <a:pt x="175" y="141"/>
                    </a:lnTo>
                    <a:lnTo>
                      <a:pt x="174" y="141"/>
                    </a:lnTo>
                    <a:lnTo>
                      <a:pt x="175" y="137"/>
                    </a:lnTo>
                    <a:lnTo>
                      <a:pt x="181" y="131"/>
                    </a:lnTo>
                    <a:lnTo>
                      <a:pt x="181" y="127"/>
                    </a:lnTo>
                    <a:lnTo>
                      <a:pt x="183" y="122"/>
                    </a:lnTo>
                    <a:lnTo>
                      <a:pt x="187" y="122"/>
                    </a:lnTo>
                    <a:lnTo>
                      <a:pt x="193" y="123"/>
                    </a:lnTo>
                    <a:lnTo>
                      <a:pt x="197" y="118"/>
                    </a:lnTo>
                    <a:lnTo>
                      <a:pt x="197" y="106"/>
                    </a:lnTo>
                    <a:lnTo>
                      <a:pt x="193" y="94"/>
                    </a:lnTo>
                    <a:lnTo>
                      <a:pt x="189" y="84"/>
                    </a:lnTo>
                    <a:lnTo>
                      <a:pt x="189" y="82"/>
                    </a:lnTo>
                    <a:lnTo>
                      <a:pt x="187" y="82"/>
                    </a:lnTo>
                    <a:lnTo>
                      <a:pt x="187" y="81"/>
                    </a:lnTo>
                    <a:lnTo>
                      <a:pt x="187" y="77"/>
                    </a:lnTo>
                    <a:lnTo>
                      <a:pt x="187" y="75"/>
                    </a:lnTo>
                    <a:lnTo>
                      <a:pt x="187" y="71"/>
                    </a:lnTo>
                    <a:lnTo>
                      <a:pt x="187" y="69"/>
                    </a:lnTo>
                    <a:lnTo>
                      <a:pt x="185" y="67"/>
                    </a:lnTo>
                    <a:lnTo>
                      <a:pt x="183" y="65"/>
                    </a:lnTo>
                    <a:lnTo>
                      <a:pt x="177" y="59"/>
                    </a:lnTo>
                    <a:lnTo>
                      <a:pt x="174" y="59"/>
                    </a:lnTo>
                    <a:lnTo>
                      <a:pt x="174" y="65"/>
                    </a:lnTo>
                    <a:lnTo>
                      <a:pt x="177" y="73"/>
                    </a:lnTo>
                    <a:lnTo>
                      <a:pt x="179" y="82"/>
                    </a:lnTo>
                    <a:lnTo>
                      <a:pt x="177" y="92"/>
                    </a:lnTo>
                    <a:lnTo>
                      <a:pt x="174" y="92"/>
                    </a:lnTo>
                    <a:lnTo>
                      <a:pt x="168" y="94"/>
                    </a:lnTo>
                    <a:lnTo>
                      <a:pt x="166" y="98"/>
                    </a:lnTo>
                    <a:lnTo>
                      <a:pt x="164" y="104"/>
                    </a:lnTo>
                    <a:lnTo>
                      <a:pt x="162" y="108"/>
                    </a:lnTo>
                    <a:lnTo>
                      <a:pt x="162" y="112"/>
                    </a:lnTo>
                    <a:lnTo>
                      <a:pt x="162" y="114"/>
                    </a:lnTo>
                    <a:lnTo>
                      <a:pt x="164" y="118"/>
                    </a:lnTo>
                    <a:lnTo>
                      <a:pt x="164" y="120"/>
                    </a:lnTo>
                    <a:lnTo>
                      <a:pt x="164" y="120"/>
                    </a:lnTo>
                    <a:lnTo>
                      <a:pt x="164" y="120"/>
                    </a:lnTo>
                    <a:lnTo>
                      <a:pt x="156" y="135"/>
                    </a:lnTo>
                    <a:lnTo>
                      <a:pt x="154" y="137"/>
                    </a:lnTo>
                    <a:lnTo>
                      <a:pt x="152" y="141"/>
                    </a:lnTo>
                    <a:lnTo>
                      <a:pt x="152" y="135"/>
                    </a:lnTo>
                    <a:lnTo>
                      <a:pt x="154" y="133"/>
                    </a:lnTo>
                    <a:lnTo>
                      <a:pt x="154" y="131"/>
                    </a:lnTo>
                    <a:lnTo>
                      <a:pt x="152" y="127"/>
                    </a:lnTo>
                    <a:lnTo>
                      <a:pt x="148" y="122"/>
                    </a:lnTo>
                    <a:lnTo>
                      <a:pt x="146" y="120"/>
                    </a:lnTo>
                    <a:lnTo>
                      <a:pt x="144" y="122"/>
                    </a:lnTo>
                    <a:lnTo>
                      <a:pt x="142" y="122"/>
                    </a:lnTo>
                    <a:lnTo>
                      <a:pt x="134" y="122"/>
                    </a:lnTo>
                    <a:lnTo>
                      <a:pt x="132" y="122"/>
                    </a:lnTo>
                    <a:lnTo>
                      <a:pt x="131" y="120"/>
                    </a:lnTo>
                    <a:lnTo>
                      <a:pt x="132" y="118"/>
                    </a:lnTo>
                    <a:lnTo>
                      <a:pt x="134" y="116"/>
                    </a:lnTo>
                    <a:lnTo>
                      <a:pt x="148" y="114"/>
                    </a:lnTo>
                    <a:lnTo>
                      <a:pt x="148" y="112"/>
                    </a:lnTo>
                    <a:lnTo>
                      <a:pt x="146" y="108"/>
                    </a:lnTo>
                    <a:lnTo>
                      <a:pt x="146" y="102"/>
                    </a:lnTo>
                    <a:lnTo>
                      <a:pt x="144" y="100"/>
                    </a:lnTo>
                    <a:lnTo>
                      <a:pt x="140" y="100"/>
                    </a:lnTo>
                    <a:lnTo>
                      <a:pt x="138" y="100"/>
                    </a:lnTo>
                    <a:lnTo>
                      <a:pt x="136" y="102"/>
                    </a:lnTo>
                    <a:lnTo>
                      <a:pt x="132" y="104"/>
                    </a:lnTo>
                    <a:lnTo>
                      <a:pt x="125" y="104"/>
                    </a:lnTo>
                    <a:lnTo>
                      <a:pt x="123" y="104"/>
                    </a:lnTo>
                    <a:lnTo>
                      <a:pt x="123" y="102"/>
                    </a:lnTo>
                    <a:lnTo>
                      <a:pt x="125" y="102"/>
                    </a:lnTo>
                    <a:lnTo>
                      <a:pt x="127" y="100"/>
                    </a:lnTo>
                    <a:lnTo>
                      <a:pt x="131" y="96"/>
                    </a:lnTo>
                    <a:lnTo>
                      <a:pt x="132" y="94"/>
                    </a:lnTo>
                    <a:lnTo>
                      <a:pt x="138" y="96"/>
                    </a:lnTo>
                    <a:lnTo>
                      <a:pt x="140" y="96"/>
                    </a:lnTo>
                    <a:lnTo>
                      <a:pt x="142" y="90"/>
                    </a:lnTo>
                    <a:lnTo>
                      <a:pt x="140" y="82"/>
                    </a:lnTo>
                    <a:lnTo>
                      <a:pt x="131" y="67"/>
                    </a:lnTo>
                    <a:lnTo>
                      <a:pt x="132" y="65"/>
                    </a:lnTo>
                    <a:lnTo>
                      <a:pt x="134" y="63"/>
                    </a:lnTo>
                    <a:lnTo>
                      <a:pt x="140" y="63"/>
                    </a:lnTo>
                    <a:lnTo>
                      <a:pt x="140" y="67"/>
                    </a:lnTo>
                    <a:lnTo>
                      <a:pt x="140" y="67"/>
                    </a:lnTo>
                    <a:lnTo>
                      <a:pt x="142" y="69"/>
                    </a:lnTo>
                    <a:lnTo>
                      <a:pt x="144" y="69"/>
                    </a:lnTo>
                    <a:lnTo>
                      <a:pt x="146" y="67"/>
                    </a:lnTo>
                    <a:lnTo>
                      <a:pt x="144" y="63"/>
                    </a:lnTo>
                    <a:lnTo>
                      <a:pt x="146" y="59"/>
                    </a:lnTo>
                    <a:lnTo>
                      <a:pt x="150" y="53"/>
                    </a:lnTo>
                    <a:lnTo>
                      <a:pt x="152" y="51"/>
                    </a:lnTo>
                    <a:lnTo>
                      <a:pt x="150" y="47"/>
                    </a:lnTo>
                    <a:lnTo>
                      <a:pt x="146" y="49"/>
                    </a:lnTo>
                    <a:lnTo>
                      <a:pt x="140" y="53"/>
                    </a:lnTo>
                    <a:lnTo>
                      <a:pt x="129" y="57"/>
                    </a:lnTo>
                    <a:lnTo>
                      <a:pt x="121" y="57"/>
                    </a:lnTo>
                    <a:lnTo>
                      <a:pt x="119" y="53"/>
                    </a:lnTo>
                    <a:lnTo>
                      <a:pt x="91" y="49"/>
                    </a:lnTo>
                    <a:lnTo>
                      <a:pt x="88" y="51"/>
                    </a:lnTo>
                    <a:lnTo>
                      <a:pt x="66" y="40"/>
                    </a:lnTo>
                    <a:lnTo>
                      <a:pt x="68" y="45"/>
                    </a:lnTo>
                    <a:lnTo>
                      <a:pt x="72" y="49"/>
                    </a:lnTo>
                    <a:lnTo>
                      <a:pt x="86" y="53"/>
                    </a:lnTo>
                    <a:lnTo>
                      <a:pt x="95" y="55"/>
                    </a:lnTo>
                    <a:lnTo>
                      <a:pt x="101" y="57"/>
                    </a:lnTo>
                    <a:lnTo>
                      <a:pt x="105" y="67"/>
                    </a:lnTo>
                    <a:lnTo>
                      <a:pt x="105" y="79"/>
                    </a:lnTo>
                    <a:lnTo>
                      <a:pt x="101" y="86"/>
                    </a:lnTo>
                    <a:lnTo>
                      <a:pt x="95" y="84"/>
                    </a:lnTo>
                    <a:lnTo>
                      <a:pt x="91" y="90"/>
                    </a:lnTo>
                    <a:lnTo>
                      <a:pt x="88" y="90"/>
                    </a:lnTo>
                    <a:lnTo>
                      <a:pt x="84" y="90"/>
                    </a:lnTo>
                    <a:lnTo>
                      <a:pt x="80" y="88"/>
                    </a:lnTo>
                    <a:lnTo>
                      <a:pt x="80" y="90"/>
                    </a:lnTo>
                    <a:lnTo>
                      <a:pt x="84" y="94"/>
                    </a:lnTo>
                    <a:lnTo>
                      <a:pt x="84" y="96"/>
                    </a:lnTo>
                    <a:lnTo>
                      <a:pt x="84" y="98"/>
                    </a:lnTo>
                    <a:lnTo>
                      <a:pt x="82" y="102"/>
                    </a:lnTo>
                    <a:lnTo>
                      <a:pt x="82" y="104"/>
                    </a:lnTo>
                    <a:lnTo>
                      <a:pt x="82" y="110"/>
                    </a:lnTo>
                    <a:lnTo>
                      <a:pt x="80" y="112"/>
                    </a:lnTo>
                    <a:lnTo>
                      <a:pt x="78" y="114"/>
                    </a:lnTo>
                    <a:lnTo>
                      <a:pt x="72" y="116"/>
                    </a:lnTo>
                    <a:lnTo>
                      <a:pt x="66" y="120"/>
                    </a:lnTo>
                    <a:lnTo>
                      <a:pt x="62" y="120"/>
                    </a:lnTo>
                    <a:lnTo>
                      <a:pt x="56" y="120"/>
                    </a:lnTo>
                    <a:lnTo>
                      <a:pt x="54" y="120"/>
                    </a:lnTo>
                    <a:lnTo>
                      <a:pt x="52" y="118"/>
                    </a:lnTo>
                    <a:lnTo>
                      <a:pt x="50" y="12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45" name="Freeform 760">
                <a:extLst>
                  <a:ext uri="{FF2B5EF4-FFF2-40B4-BE49-F238E27FC236}">
                    <a16:creationId xmlns:a16="http://schemas.microsoft.com/office/drawing/2014/main" id="{AEA90968-987E-4657-B831-DAAB690163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" y="1376"/>
                <a:ext cx="25" cy="72"/>
              </a:xfrm>
              <a:custGeom>
                <a:avLst/>
                <a:gdLst>
                  <a:gd name="T0" fmla="*/ 8 w 25"/>
                  <a:gd name="T1" fmla="*/ 39 h 72"/>
                  <a:gd name="T2" fmla="*/ 6 w 25"/>
                  <a:gd name="T3" fmla="*/ 42 h 72"/>
                  <a:gd name="T4" fmla="*/ 2 w 25"/>
                  <a:gd name="T5" fmla="*/ 42 h 72"/>
                  <a:gd name="T6" fmla="*/ 0 w 25"/>
                  <a:gd name="T7" fmla="*/ 46 h 72"/>
                  <a:gd name="T8" fmla="*/ 0 w 25"/>
                  <a:gd name="T9" fmla="*/ 52 h 72"/>
                  <a:gd name="T10" fmla="*/ 2 w 25"/>
                  <a:gd name="T11" fmla="*/ 62 h 72"/>
                  <a:gd name="T12" fmla="*/ 6 w 25"/>
                  <a:gd name="T13" fmla="*/ 70 h 72"/>
                  <a:gd name="T14" fmla="*/ 12 w 25"/>
                  <a:gd name="T15" fmla="*/ 72 h 72"/>
                  <a:gd name="T16" fmla="*/ 18 w 25"/>
                  <a:gd name="T17" fmla="*/ 66 h 72"/>
                  <a:gd name="T18" fmla="*/ 20 w 25"/>
                  <a:gd name="T19" fmla="*/ 60 h 72"/>
                  <a:gd name="T20" fmla="*/ 18 w 25"/>
                  <a:gd name="T21" fmla="*/ 50 h 72"/>
                  <a:gd name="T22" fmla="*/ 20 w 25"/>
                  <a:gd name="T23" fmla="*/ 44 h 72"/>
                  <a:gd name="T24" fmla="*/ 24 w 25"/>
                  <a:gd name="T25" fmla="*/ 41 h 72"/>
                  <a:gd name="T26" fmla="*/ 25 w 25"/>
                  <a:gd name="T27" fmla="*/ 35 h 72"/>
                  <a:gd name="T28" fmla="*/ 25 w 25"/>
                  <a:gd name="T29" fmla="*/ 33 h 72"/>
                  <a:gd name="T30" fmla="*/ 24 w 25"/>
                  <a:gd name="T31" fmla="*/ 35 h 72"/>
                  <a:gd name="T32" fmla="*/ 24 w 25"/>
                  <a:gd name="T33" fmla="*/ 39 h 72"/>
                  <a:gd name="T34" fmla="*/ 22 w 25"/>
                  <a:gd name="T35" fmla="*/ 39 h 72"/>
                  <a:gd name="T36" fmla="*/ 18 w 25"/>
                  <a:gd name="T37" fmla="*/ 35 h 72"/>
                  <a:gd name="T38" fmla="*/ 18 w 25"/>
                  <a:gd name="T39" fmla="*/ 33 h 72"/>
                  <a:gd name="T40" fmla="*/ 18 w 25"/>
                  <a:gd name="T41" fmla="*/ 29 h 72"/>
                  <a:gd name="T42" fmla="*/ 18 w 25"/>
                  <a:gd name="T43" fmla="*/ 27 h 72"/>
                  <a:gd name="T44" fmla="*/ 20 w 25"/>
                  <a:gd name="T45" fmla="*/ 23 h 72"/>
                  <a:gd name="T46" fmla="*/ 16 w 25"/>
                  <a:gd name="T47" fmla="*/ 21 h 72"/>
                  <a:gd name="T48" fmla="*/ 12 w 25"/>
                  <a:gd name="T49" fmla="*/ 19 h 72"/>
                  <a:gd name="T50" fmla="*/ 8 w 25"/>
                  <a:gd name="T51" fmla="*/ 13 h 72"/>
                  <a:gd name="T52" fmla="*/ 8 w 25"/>
                  <a:gd name="T53" fmla="*/ 1 h 72"/>
                  <a:gd name="T54" fmla="*/ 6 w 25"/>
                  <a:gd name="T55" fmla="*/ 0 h 72"/>
                  <a:gd name="T56" fmla="*/ 2 w 25"/>
                  <a:gd name="T57" fmla="*/ 3 h 72"/>
                  <a:gd name="T58" fmla="*/ 0 w 25"/>
                  <a:gd name="T59" fmla="*/ 7 h 72"/>
                  <a:gd name="T60" fmla="*/ 0 w 25"/>
                  <a:gd name="T61" fmla="*/ 13 h 72"/>
                  <a:gd name="T62" fmla="*/ 2 w 25"/>
                  <a:gd name="T63" fmla="*/ 17 h 72"/>
                  <a:gd name="T64" fmla="*/ 6 w 25"/>
                  <a:gd name="T65" fmla="*/ 19 h 72"/>
                  <a:gd name="T66" fmla="*/ 10 w 25"/>
                  <a:gd name="T67" fmla="*/ 21 h 72"/>
                  <a:gd name="T68" fmla="*/ 12 w 25"/>
                  <a:gd name="T69" fmla="*/ 25 h 72"/>
                  <a:gd name="T70" fmla="*/ 12 w 25"/>
                  <a:gd name="T71" fmla="*/ 31 h 72"/>
                  <a:gd name="T72" fmla="*/ 10 w 25"/>
                  <a:gd name="T73" fmla="*/ 35 h 72"/>
                  <a:gd name="T74" fmla="*/ 8 w 25"/>
                  <a:gd name="T75" fmla="*/ 3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5" h="72">
                    <a:moveTo>
                      <a:pt x="8" y="39"/>
                    </a:moveTo>
                    <a:lnTo>
                      <a:pt x="6" y="42"/>
                    </a:lnTo>
                    <a:lnTo>
                      <a:pt x="2" y="42"/>
                    </a:lnTo>
                    <a:lnTo>
                      <a:pt x="0" y="46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2" y="72"/>
                    </a:lnTo>
                    <a:lnTo>
                      <a:pt x="18" y="66"/>
                    </a:lnTo>
                    <a:lnTo>
                      <a:pt x="20" y="60"/>
                    </a:lnTo>
                    <a:lnTo>
                      <a:pt x="18" y="50"/>
                    </a:lnTo>
                    <a:lnTo>
                      <a:pt x="20" y="44"/>
                    </a:lnTo>
                    <a:lnTo>
                      <a:pt x="24" y="41"/>
                    </a:lnTo>
                    <a:lnTo>
                      <a:pt x="25" y="35"/>
                    </a:lnTo>
                    <a:lnTo>
                      <a:pt x="25" y="33"/>
                    </a:lnTo>
                    <a:lnTo>
                      <a:pt x="24" y="35"/>
                    </a:lnTo>
                    <a:lnTo>
                      <a:pt x="24" y="39"/>
                    </a:lnTo>
                    <a:lnTo>
                      <a:pt x="22" y="39"/>
                    </a:lnTo>
                    <a:lnTo>
                      <a:pt x="18" y="35"/>
                    </a:lnTo>
                    <a:lnTo>
                      <a:pt x="18" y="33"/>
                    </a:lnTo>
                    <a:lnTo>
                      <a:pt x="18" y="29"/>
                    </a:lnTo>
                    <a:lnTo>
                      <a:pt x="18" y="27"/>
                    </a:lnTo>
                    <a:lnTo>
                      <a:pt x="20" y="23"/>
                    </a:lnTo>
                    <a:lnTo>
                      <a:pt x="16" y="21"/>
                    </a:lnTo>
                    <a:lnTo>
                      <a:pt x="12" y="19"/>
                    </a:lnTo>
                    <a:lnTo>
                      <a:pt x="8" y="13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2" y="17"/>
                    </a:lnTo>
                    <a:lnTo>
                      <a:pt x="6" y="19"/>
                    </a:lnTo>
                    <a:lnTo>
                      <a:pt x="10" y="21"/>
                    </a:lnTo>
                    <a:lnTo>
                      <a:pt x="12" y="25"/>
                    </a:lnTo>
                    <a:lnTo>
                      <a:pt x="12" y="31"/>
                    </a:lnTo>
                    <a:lnTo>
                      <a:pt x="10" y="35"/>
                    </a:lnTo>
                    <a:lnTo>
                      <a:pt x="8" y="3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46" name="Freeform 761">
                <a:extLst>
                  <a:ext uri="{FF2B5EF4-FFF2-40B4-BE49-F238E27FC236}">
                    <a16:creationId xmlns:a16="http://schemas.microsoft.com/office/drawing/2014/main" id="{D12FA9C1-1A1E-4903-BD4D-9C7F480D70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" y="841"/>
                <a:ext cx="480" cy="886"/>
              </a:xfrm>
              <a:custGeom>
                <a:avLst/>
                <a:gdLst>
                  <a:gd name="T0" fmla="*/ 187 w 480"/>
                  <a:gd name="T1" fmla="*/ 878 h 886"/>
                  <a:gd name="T2" fmla="*/ 213 w 480"/>
                  <a:gd name="T3" fmla="*/ 882 h 886"/>
                  <a:gd name="T4" fmla="*/ 242 w 480"/>
                  <a:gd name="T5" fmla="*/ 864 h 886"/>
                  <a:gd name="T6" fmla="*/ 258 w 480"/>
                  <a:gd name="T7" fmla="*/ 870 h 886"/>
                  <a:gd name="T8" fmla="*/ 275 w 480"/>
                  <a:gd name="T9" fmla="*/ 861 h 886"/>
                  <a:gd name="T10" fmla="*/ 240 w 480"/>
                  <a:gd name="T11" fmla="*/ 820 h 886"/>
                  <a:gd name="T12" fmla="*/ 230 w 480"/>
                  <a:gd name="T13" fmla="*/ 790 h 886"/>
                  <a:gd name="T14" fmla="*/ 261 w 480"/>
                  <a:gd name="T15" fmla="*/ 775 h 886"/>
                  <a:gd name="T16" fmla="*/ 258 w 480"/>
                  <a:gd name="T17" fmla="*/ 726 h 886"/>
                  <a:gd name="T18" fmla="*/ 250 w 480"/>
                  <a:gd name="T19" fmla="*/ 685 h 886"/>
                  <a:gd name="T20" fmla="*/ 269 w 480"/>
                  <a:gd name="T21" fmla="*/ 671 h 886"/>
                  <a:gd name="T22" fmla="*/ 248 w 480"/>
                  <a:gd name="T23" fmla="*/ 624 h 886"/>
                  <a:gd name="T24" fmla="*/ 322 w 480"/>
                  <a:gd name="T25" fmla="*/ 620 h 886"/>
                  <a:gd name="T26" fmla="*/ 314 w 480"/>
                  <a:gd name="T27" fmla="*/ 576 h 886"/>
                  <a:gd name="T28" fmla="*/ 349 w 480"/>
                  <a:gd name="T29" fmla="*/ 581 h 886"/>
                  <a:gd name="T30" fmla="*/ 365 w 480"/>
                  <a:gd name="T31" fmla="*/ 529 h 886"/>
                  <a:gd name="T32" fmla="*/ 381 w 480"/>
                  <a:gd name="T33" fmla="*/ 453 h 886"/>
                  <a:gd name="T34" fmla="*/ 396 w 480"/>
                  <a:gd name="T35" fmla="*/ 472 h 886"/>
                  <a:gd name="T36" fmla="*/ 402 w 480"/>
                  <a:gd name="T37" fmla="*/ 492 h 886"/>
                  <a:gd name="T38" fmla="*/ 429 w 480"/>
                  <a:gd name="T39" fmla="*/ 466 h 886"/>
                  <a:gd name="T40" fmla="*/ 472 w 480"/>
                  <a:gd name="T41" fmla="*/ 427 h 886"/>
                  <a:gd name="T42" fmla="*/ 379 w 480"/>
                  <a:gd name="T43" fmla="*/ 363 h 886"/>
                  <a:gd name="T44" fmla="*/ 353 w 480"/>
                  <a:gd name="T45" fmla="*/ 376 h 886"/>
                  <a:gd name="T46" fmla="*/ 342 w 480"/>
                  <a:gd name="T47" fmla="*/ 320 h 886"/>
                  <a:gd name="T48" fmla="*/ 285 w 480"/>
                  <a:gd name="T49" fmla="*/ 341 h 886"/>
                  <a:gd name="T50" fmla="*/ 365 w 480"/>
                  <a:gd name="T51" fmla="*/ 318 h 886"/>
                  <a:gd name="T52" fmla="*/ 367 w 480"/>
                  <a:gd name="T53" fmla="*/ 244 h 886"/>
                  <a:gd name="T54" fmla="*/ 322 w 480"/>
                  <a:gd name="T55" fmla="*/ 205 h 886"/>
                  <a:gd name="T56" fmla="*/ 396 w 480"/>
                  <a:gd name="T57" fmla="*/ 169 h 886"/>
                  <a:gd name="T58" fmla="*/ 408 w 480"/>
                  <a:gd name="T59" fmla="*/ 1 h 886"/>
                  <a:gd name="T60" fmla="*/ 205 w 480"/>
                  <a:gd name="T61" fmla="*/ 187 h 886"/>
                  <a:gd name="T62" fmla="*/ 23 w 480"/>
                  <a:gd name="T63" fmla="*/ 316 h 886"/>
                  <a:gd name="T64" fmla="*/ 58 w 480"/>
                  <a:gd name="T65" fmla="*/ 335 h 886"/>
                  <a:gd name="T66" fmla="*/ 82 w 480"/>
                  <a:gd name="T67" fmla="*/ 335 h 886"/>
                  <a:gd name="T68" fmla="*/ 70 w 480"/>
                  <a:gd name="T69" fmla="*/ 326 h 886"/>
                  <a:gd name="T70" fmla="*/ 80 w 480"/>
                  <a:gd name="T71" fmla="*/ 287 h 886"/>
                  <a:gd name="T72" fmla="*/ 125 w 480"/>
                  <a:gd name="T73" fmla="*/ 236 h 886"/>
                  <a:gd name="T74" fmla="*/ 160 w 480"/>
                  <a:gd name="T75" fmla="*/ 226 h 886"/>
                  <a:gd name="T76" fmla="*/ 277 w 480"/>
                  <a:gd name="T77" fmla="*/ 208 h 886"/>
                  <a:gd name="T78" fmla="*/ 248 w 480"/>
                  <a:gd name="T79" fmla="*/ 240 h 886"/>
                  <a:gd name="T80" fmla="*/ 181 w 480"/>
                  <a:gd name="T81" fmla="*/ 257 h 886"/>
                  <a:gd name="T82" fmla="*/ 183 w 480"/>
                  <a:gd name="T83" fmla="*/ 302 h 886"/>
                  <a:gd name="T84" fmla="*/ 203 w 480"/>
                  <a:gd name="T85" fmla="*/ 326 h 886"/>
                  <a:gd name="T86" fmla="*/ 211 w 480"/>
                  <a:gd name="T87" fmla="*/ 370 h 886"/>
                  <a:gd name="T88" fmla="*/ 199 w 480"/>
                  <a:gd name="T89" fmla="*/ 347 h 886"/>
                  <a:gd name="T90" fmla="*/ 176 w 480"/>
                  <a:gd name="T91" fmla="*/ 347 h 886"/>
                  <a:gd name="T92" fmla="*/ 172 w 480"/>
                  <a:gd name="T93" fmla="*/ 329 h 886"/>
                  <a:gd name="T94" fmla="*/ 152 w 480"/>
                  <a:gd name="T95" fmla="*/ 294 h 886"/>
                  <a:gd name="T96" fmla="*/ 107 w 480"/>
                  <a:gd name="T97" fmla="*/ 343 h 886"/>
                  <a:gd name="T98" fmla="*/ 107 w 480"/>
                  <a:gd name="T99" fmla="*/ 378 h 886"/>
                  <a:gd name="T100" fmla="*/ 78 w 480"/>
                  <a:gd name="T101" fmla="*/ 361 h 886"/>
                  <a:gd name="T102" fmla="*/ 33 w 480"/>
                  <a:gd name="T103" fmla="*/ 365 h 886"/>
                  <a:gd name="T104" fmla="*/ 23 w 480"/>
                  <a:gd name="T105" fmla="*/ 326 h 886"/>
                  <a:gd name="T106" fmla="*/ 4 w 480"/>
                  <a:gd name="T107" fmla="*/ 535 h 886"/>
                  <a:gd name="T108" fmla="*/ 49 w 480"/>
                  <a:gd name="T109" fmla="*/ 556 h 886"/>
                  <a:gd name="T110" fmla="*/ 8 w 480"/>
                  <a:gd name="T111" fmla="*/ 540 h 886"/>
                  <a:gd name="T112" fmla="*/ 2 w 480"/>
                  <a:gd name="T113" fmla="*/ 671 h 886"/>
                  <a:gd name="T114" fmla="*/ 33 w 480"/>
                  <a:gd name="T115" fmla="*/ 658 h 886"/>
                  <a:gd name="T116" fmla="*/ 93 w 480"/>
                  <a:gd name="T117" fmla="*/ 738 h 886"/>
                  <a:gd name="T118" fmla="*/ 72 w 480"/>
                  <a:gd name="T119" fmla="*/ 771 h 886"/>
                  <a:gd name="T120" fmla="*/ 80 w 480"/>
                  <a:gd name="T121" fmla="*/ 786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80" h="886">
                    <a:moveTo>
                      <a:pt x="97" y="861"/>
                    </a:moveTo>
                    <a:lnTo>
                      <a:pt x="99" y="861"/>
                    </a:lnTo>
                    <a:lnTo>
                      <a:pt x="107" y="861"/>
                    </a:lnTo>
                    <a:lnTo>
                      <a:pt x="109" y="861"/>
                    </a:lnTo>
                    <a:lnTo>
                      <a:pt x="117" y="857"/>
                    </a:lnTo>
                    <a:lnTo>
                      <a:pt x="121" y="857"/>
                    </a:lnTo>
                    <a:lnTo>
                      <a:pt x="121" y="857"/>
                    </a:lnTo>
                    <a:lnTo>
                      <a:pt x="135" y="859"/>
                    </a:lnTo>
                    <a:lnTo>
                      <a:pt x="148" y="864"/>
                    </a:lnTo>
                    <a:lnTo>
                      <a:pt x="168" y="868"/>
                    </a:lnTo>
                    <a:lnTo>
                      <a:pt x="183" y="872"/>
                    </a:lnTo>
                    <a:lnTo>
                      <a:pt x="187" y="874"/>
                    </a:lnTo>
                    <a:lnTo>
                      <a:pt x="187" y="874"/>
                    </a:lnTo>
                    <a:lnTo>
                      <a:pt x="187" y="874"/>
                    </a:lnTo>
                    <a:lnTo>
                      <a:pt x="187" y="878"/>
                    </a:lnTo>
                    <a:lnTo>
                      <a:pt x="187" y="878"/>
                    </a:lnTo>
                    <a:lnTo>
                      <a:pt x="187" y="882"/>
                    </a:lnTo>
                    <a:lnTo>
                      <a:pt x="189" y="884"/>
                    </a:lnTo>
                    <a:lnTo>
                      <a:pt x="189" y="886"/>
                    </a:lnTo>
                    <a:lnTo>
                      <a:pt x="191" y="886"/>
                    </a:lnTo>
                    <a:lnTo>
                      <a:pt x="191" y="886"/>
                    </a:lnTo>
                    <a:lnTo>
                      <a:pt x="205" y="886"/>
                    </a:lnTo>
                    <a:lnTo>
                      <a:pt x="207" y="886"/>
                    </a:lnTo>
                    <a:lnTo>
                      <a:pt x="207" y="886"/>
                    </a:lnTo>
                    <a:lnTo>
                      <a:pt x="209" y="884"/>
                    </a:lnTo>
                    <a:lnTo>
                      <a:pt x="209" y="884"/>
                    </a:lnTo>
                    <a:lnTo>
                      <a:pt x="209" y="884"/>
                    </a:lnTo>
                    <a:lnTo>
                      <a:pt x="209" y="884"/>
                    </a:lnTo>
                    <a:lnTo>
                      <a:pt x="211" y="884"/>
                    </a:lnTo>
                    <a:lnTo>
                      <a:pt x="213" y="882"/>
                    </a:lnTo>
                    <a:lnTo>
                      <a:pt x="213" y="882"/>
                    </a:lnTo>
                    <a:lnTo>
                      <a:pt x="213" y="882"/>
                    </a:lnTo>
                    <a:lnTo>
                      <a:pt x="215" y="882"/>
                    </a:lnTo>
                    <a:lnTo>
                      <a:pt x="219" y="884"/>
                    </a:lnTo>
                    <a:lnTo>
                      <a:pt x="219" y="884"/>
                    </a:lnTo>
                    <a:lnTo>
                      <a:pt x="222" y="884"/>
                    </a:lnTo>
                    <a:lnTo>
                      <a:pt x="224" y="884"/>
                    </a:lnTo>
                    <a:lnTo>
                      <a:pt x="224" y="884"/>
                    </a:lnTo>
                    <a:lnTo>
                      <a:pt x="224" y="884"/>
                    </a:lnTo>
                    <a:lnTo>
                      <a:pt x="224" y="884"/>
                    </a:lnTo>
                    <a:lnTo>
                      <a:pt x="224" y="884"/>
                    </a:lnTo>
                    <a:lnTo>
                      <a:pt x="224" y="878"/>
                    </a:lnTo>
                    <a:lnTo>
                      <a:pt x="228" y="874"/>
                    </a:lnTo>
                    <a:lnTo>
                      <a:pt x="234" y="868"/>
                    </a:lnTo>
                    <a:lnTo>
                      <a:pt x="238" y="864"/>
                    </a:lnTo>
                    <a:lnTo>
                      <a:pt x="238" y="864"/>
                    </a:lnTo>
                    <a:lnTo>
                      <a:pt x="240" y="864"/>
                    </a:lnTo>
                    <a:lnTo>
                      <a:pt x="242" y="864"/>
                    </a:lnTo>
                    <a:lnTo>
                      <a:pt x="244" y="863"/>
                    </a:lnTo>
                    <a:lnTo>
                      <a:pt x="244" y="861"/>
                    </a:lnTo>
                    <a:lnTo>
                      <a:pt x="246" y="859"/>
                    </a:lnTo>
                    <a:lnTo>
                      <a:pt x="248" y="851"/>
                    </a:lnTo>
                    <a:lnTo>
                      <a:pt x="250" y="851"/>
                    </a:lnTo>
                    <a:lnTo>
                      <a:pt x="254" y="849"/>
                    </a:lnTo>
                    <a:lnTo>
                      <a:pt x="258" y="851"/>
                    </a:lnTo>
                    <a:lnTo>
                      <a:pt x="260" y="855"/>
                    </a:lnTo>
                    <a:lnTo>
                      <a:pt x="254" y="857"/>
                    </a:lnTo>
                    <a:lnTo>
                      <a:pt x="254" y="857"/>
                    </a:lnTo>
                    <a:lnTo>
                      <a:pt x="254" y="861"/>
                    </a:lnTo>
                    <a:lnTo>
                      <a:pt x="258" y="864"/>
                    </a:lnTo>
                    <a:lnTo>
                      <a:pt x="258" y="866"/>
                    </a:lnTo>
                    <a:lnTo>
                      <a:pt x="256" y="866"/>
                    </a:lnTo>
                    <a:lnTo>
                      <a:pt x="256" y="868"/>
                    </a:lnTo>
                    <a:lnTo>
                      <a:pt x="258" y="870"/>
                    </a:lnTo>
                    <a:lnTo>
                      <a:pt x="261" y="870"/>
                    </a:lnTo>
                    <a:lnTo>
                      <a:pt x="267" y="870"/>
                    </a:lnTo>
                    <a:lnTo>
                      <a:pt x="269" y="870"/>
                    </a:lnTo>
                    <a:lnTo>
                      <a:pt x="271" y="876"/>
                    </a:lnTo>
                    <a:lnTo>
                      <a:pt x="273" y="878"/>
                    </a:lnTo>
                    <a:lnTo>
                      <a:pt x="275" y="876"/>
                    </a:lnTo>
                    <a:lnTo>
                      <a:pt x="277" y="874"/>
                    </a:lnTo>
                    <a:lnTo>
                      <a:pt x="277" y="870"/>
                    </a:lnTo>
                    <a:lnTo>
                      <a:pt x="275" y="868"/>
                    </a:lnTo>
                    <a:lnTo>
                      <a:pt x="275" y="866"/>
                    </a:lnTo>
                    <a:lnTo>
                      <a:pt x="273" y="864"/>
                    </a:lnTo>
                    <a:lnTo>
                      <a:pt x="271" y="863"/>
                    </a:lnTo>
                    <a:lnTo>
                      <a:pt x="269" y="863"/>
                    </a:lnTo>
                    <a:lnTo>
                      <a:pt x="269" y="859"/>
                    </a:lnTo>
                    <a:lnTo>
                      <a:pt x="271" y="859"/>
                    </a:lnTo>
                    <a:lnTo>
                      <a:pt x="275" y="861"/>
                    </a:lnTo>
                    <a:lnTo>
                      <a:pt x="277" y="861"/>
                    </a:lnTo>
                    <a:lnTo>
                      <a:pt x="279" y="859"/>
                    </a:lnTo>
                    <a:lnTo>
                      <a:pt x="279" y="859"/>
                    </a:lnTo>
                    <a:lnTo>
                      <a:pt x="279" y="857"/>
                    </a:lnTo>
                    <a:lnTo>
                      <a:pt x="275" y="835"/>
                    </a:lnTo>
                    <a:lnTo>
                      <a:pt x="273" y="831"/>
                    </a:lnTo>
                    <a:lnTo>
                      <a:pt x="271" y="829"/>
                    </a:lnTo>
                    <a:lnTo>
                      <a:pt x="261" y="825"/>
                    </a:lnTo>
                    <a:lnTo>
                      <a:pt x="258" y="823"/>
                    </a:lnTo>
                    <a:lnTo>
                      <a:pt x="252" y="816"/>
                    </a:lnTo>
                    <a:lnTo>
                      <a:pt x="248" y="814"/>
                    </a:lnTo>
                    <a:lnTo>
                      <a:pt x="246" y="816"/>
                    </a:lnTo>
                    <a:lnTo>
                      <a:pt x="244" y="816"/>
                    </a:lnTo>
                    <a:lnTo>
                      <a:pt x="244" y="818"/>
                    </a:lnTo>
                    <a:lnTo>
                      <a:pt x="242" y="818"/>
                    </a:lnTo>
                    <a:lnTo>
                      <a:pt x="240" y="820"/>
                    </a:lnTo>
                    <a:lnTo>
                      <a:pt x="236" y="818"/>
                    </a:lnTo>
                    <a:lnTo>
                      <a:pt x="226" y="822"/>
                    </a:lnTo>
                    <a:lnTo>
                      <a:pt x="224" y="822"/>
                    </a:lnTo>
                    <a:lnTo>
                      <a:pt x="224" y="818"/>
                    </a:lnTo>
                    <a:lnTo>
                      <a:pt x="226" y="816"/>
                    </a:lnTo>
                    <a:lnTo>
                      <a:pt x="234" y="814"/>
                    </a:lnTo>
                    <a:lnTo>
                      <a:pt x="238" y="812"/>
                    </a:lnTo>
                    <a:lnTo>
                      <a:pt x="240" y="810"/>
                    </a:lnTo>
                    <a:lnTo>
                      <a:pt x="244" y="804"/>
                    </a:lnTo>
                    <a:lnTo>
                      <a:pt x="240" y="798"/>
                    </a:lnTo>
                    <a:lnTo>
                      <a:pt x="238" y="796"/>
                    </a:lnTo>
                    <a:lnTo>
                      <a:pt x="236" y="794"/>
                    </a:lnTo>
                    <a:lnTo>
                      <a:pt x="230" y="794"/>
                    </a:lnTo>
                    <a:lnTo>
                      <a:pt x="228" y="794"/>
                    </a:lnTo>
                    <a:lnTo>
                      <a:pt x="228" y="792"/>
                    </a:lnTo>
                    <a:lnTo>
                      <a:pt x="230" y="790"/>
                    </a:lnTo>
                    <a:lnTo>
                      <a:pt x="232" y="790"/>
                    </a:lnTo>
                    <a:lnTo>
                      <a:pt x="236" y="790"/>
                    </a:lnTo>
                    <a:lnTo>
                      <a:pt x="236" y="788"/>
                    </a:lnTo>
                    <a:lnTo>
                      <a:pt x="234" y="788"/>
                    </a:lnTo>
                    <a:lnTo>
                      <a:pt x="232" y="786"/>
                    </a:lnTo>
                    <a:lnTo>
                      <a:pt x="232" y="784"/>
                    </a:lnTo>
                    <a:lnTo>
                      <a:pt x="234" y="782"/>
                    </a:lnTo>
                    <a:lnTo>
                      <a:pt x="236" y="782"/>
                    </a:lnTo>
                    <a:lnTo>
                      <a:pt x="238" y="781"/>
                    </a:lnTo>
                    <a:lnTo>
                      <a:pt x="242" y="779"/>
                    </a:lnTo>
                    <a:lnTo>
                      <a:pt x="244" y="777"/>
                    </a:lnTo>
                    <a:lnTo>
                      <a:pt x="246" y="775"/>
                    </a:lnTo>
                    <a:lnTo>
                      <a:pt x="246" y="773"/>
                    </a:lnTo>
                    <a:lnTo>
                      <a:pt x="248" y="773"/>
                    </a:lnTo>
                    <a:lnTo>
                      <a:pt x="258" y="775"/>
                    </a:lnTo>
                    <a:lnTo>
                      <a:pt x="261" y="775"/>
                    </a:lnTo>
                    <a:lnTo>
                      <a:pt x="263" y="773"/>
                    </a:lnTo>
                    <a:lnTo>
                      <a:pt x="265" y="771"/>
                    </a:lnTo>
                    <a:lnTo>
                      <a:pt x="265" y="769"/>
                    </a:lnTo>
                    <a:lnTo>
                      <a:pt x="267" y="765"/>
                    </a:lnTo>
                    <a:lnTo>
                      <a:pt x="267" y="761"/>
                    </a:lnTo>
                    <a:lnTo>
                      <a:pt x="269" y="759"/>
                    </a:lnTo>
                    <a:lnTo>
                      <a:pt x="269" y="757"/>
                    </a:lnTo>
                    <a:lnTo>
                      <a:pt x="269" y="751"/>
                    </a:lnTo>
                    <a:lnTo>
                      <a:pt x="267" y="749"/>
                    </a:lnTo>
                    <a:lnTo>
                      <a:pt x="265" y="749"/>
                    </a:lnTo>
                    <a:lnTo>
                      <a:pt x="260" y="738"/>
                    </a:lnTo>
                    <a:lnTo>
                      <a:pt x="258" y="736"/>
                    </a:lnTo>
                    <a:lnTo>
                      <a:pt x="258" y="734"/>
                    </a:lnTo>
                    <a:lnTo>
                      <a:pt x="260" y="732"/>
                    </a:lnTo>
                    <a:lnTo>
                      <a:pt x="260" y="730"/>
                    </a:lnTo>
                    <a:lnTo>
                      <a:pt x="258" y="726"/>
                    </a:lnTo>
                    <a:lnTo>
                      <a:pt x="256" y="724"/>
                    </a:lnTo>
                    <a:lnTo>
                      <a:pt x="252" y="722"/>
                    </a:lnTo>
                    <a:lnTo>
                      <a:pt x="252" y="720"/>
                    </a:lnTo>
                    <a:lnTo>
                      <a:pt x="252" y="718"/>
                    </a:lnTo>
                    <a:lnTo>
                      <a:pt x="252" y="714"/>
                    </a:lnTo>
                    <a:lnTo>
                      <a:pt x="252" y="712"/>
                    </a:lnTo>
                    <a:lnTo>
                      <a:pt x="250" y="706"/>
                    </a:lnTo>
                    <a:lnTo>
                      <a:pt x="250" y="704"/>
                    </a:lnTo>
                    <a:lnTo>
                      <a:pt x="252" y="702"/>
                    </a:lnTo>
                    <a:lnTo>
                      <a:pt x="258" y="702"/>
                    </a:lnTo>
                    <a:lnTo>
                      <a:pt x="260" y="700"/>
                    </a:lnTo>
                    <a:lnTo>
                      <a:pt x="261" y="697"/>
                    </a:lnTo>
                    <a:lnTo>
                      <a:pt x="261" y="693"/>
                    </a:lnTo>
                    <a:lnTo>
                      <a:pt x="261" y="689"/>
                    </a:lnTo>
                    <a:lnTo>
                      <a:pt x="252" y="685"/>
                    </a:lnTo>
                    <a:lnTo>
                      <a:pt x="250" y="685"/>
                    </a:lnTo>
                    <a:lnTo>
                      <a:pt x="248" y="685"/>
                    </a:lnTo>
                    <a:lnTo>
                      <a:pt x="240" y="687"/>
                    </a:lnTo>
                    <a:lnTo>
                      <a:pt x="238" y="687"/>
                    </a:lnTo>
                    <a:lnTo>
                      <a:pt x="234" y="685"/>
                    </a:lnTo>
                    <a:lnTo>
                      <a:pt x="238" y="683"/>
                    </a:lnTo>
                    <a:lnTo>
                      <a:pt x="244" y="681"/>
                    </a:lnTo>
                    <a:lnTo>
                      <a:pt x="246" y="677"/>
                    </a:lnTo>
                    <a:lnTo>
                      <a:pt x="246" y="677"/>
                    </a:lnTo>
                    <a:lnTo>
                      <a:pt x="244" y="675"/>
                    </a:lnTo>
                    <a:lnTo>
                      <a:pt x="246" y="675"/>
                    </a:lnTo>
                    <a:lnTo>
                      <a:pt x="250" y="677"/>
                    </a:lnTo>
                    <a:lnTo>
                      <a:pt x="252" y="677"/>
                    </a:lnTo>
                    <a:lnTo>
                      <a:pt x="256" y="677"/>
                    </a:lnTo>
                    <a:lnTo>
                      <a:pt x="260" y="675"/>
                    </a:lnTo>
                    <a:lnTo>
                      <a:pt x="269" y="671"/>
                    </a:lnTo>
                    <a:lnTo>
                      <a:pt x="269" y="671"/>
                    </a:lnTo>
                    <a:lnTo>
                      <a:pt x="269" y="667"/>
                    </a:lnTo>
                    <a:lnTo>
                      <a:pt x="269" y="665"/>
                    </a:lnTo>
                    <a:lnTo>
                      <a:pt x="271" y="663"/>
                    </a:lnTo>
                    <a:lnTo>
                      <a:pt x="275" y="663"/>
                    </a:lnTo>
                    <a:lnTo>
                      <a:pt x="277" y="661"/>
                    </a:lnTo>
                    <a:lnTo>
                      <a:pt x="283" y="656"/>
                    </a:lnTo>
                    <a:lnTo>
                      <a:pt x="291" y="648"/>
                    </a:lnTo>
                    <a:lnTo>
                      <a:pt x="295" y="646"/>
                    </a:lnTo>
                    <a:lnTo>
                      <a:pt x="277" y="646"/>
                    </a:lnTo>
                    <a:lnTo>
                      <a:pt x="275" y="644"/>
                    </a:lnTo>
                    <a:lnTo>
                      <a:pt x="273" y="642"/>
                    </a:lnTo>
                    <a:lnTo>
                      <a:pt x="271" y="638"/>
                    </a:lnTo>
                    <a:lnTo>
                      <a:pt x="269" y="636"/>
                    </a:lnTo>
                    <a:lnTo>
                      <a:pt x="261" y="626"/>
                    </a:lnTo>
                    <a:lnTo>
                      <a:pt x="260" y="624"/>
                    </a:lnTo>
                    <a:lnTo>
                      <a:pt x="248" y="624"/>
                    </a:lnTo>
                    <a:lnTo>
                      <a:pt x="244" y="622"/>
                    </a:lnTo>
                    <a:lnTo>
                      <a:pt x="244" y="622"/>
                    </a:lnTo>
                    <a:lnTo>
                      <a:pt x="244" y="620"/>
                    </a:lnTo>
                    <a:lnTo>
                      <a:pt x="244" y="620"/>
                    </a:lnTo>
                    <a:lnTo>
                      <a:pt x="244" y="618"/>
                    </a:lnTo>
                    <a:lnTo>
                      <a:pt x="248" y="620"/>
                    </a:lnTo>
                    <a:lnTo>
                      <a:pt x="265" y="620"/>
                    </a:lnTo>
                    <a:lnTo>
                      <a:pt x="267" y="622"/>
                    </a:lnTo>
                    <a:lnTo>
                      <a:pt x="273" y="626"/>
                    </a:lnTo>
                    <a:lnTo>
                      <a:pt x="283" y="632"/>
                    </a:lnTo>
                    <a:lnTo>
                      <a:pt x="289" y="630"/>
                    </a:lnTo>
                    <a:lnTo>
                      <a:pt x="297" y="626"/>
                    </a:lnTo>
                    <a:lnTo>
                      <a:pt x="314" y="620"/>
                    </a:lnTo>
                    <a:lnTo>
                      <a:pt x="318" y="622"/>
                    </a:lnTo>
                    <a:lnTo>
                      <a:pt x="320" y="622"/>
                    </a:lnTo>
                    <a:lnTo>
                      <a:pt x="322" y="620"/>
                    </a:lnTo>
                    <a:lnTo>
                      <a:pt x="320" y="617"/>
                    </a:lnTo>
                    <a:lnTo>
                      <a:pt x="322" y="613"/>
                    </a:lnTo>
                    <a:lnTo>
                      <a:pt x="328" y="609"/>
                    </a:lnTo>
                    <a:lnTo>
                      <a:pt x="328" y="607"/>
                    </a:lnTo>
                    <a:lnTo>
                      <a:pt x="324" y="607"/>
                    </a:lnTo>
                    <a:lnTo>
                      <a:pt x="322" y="607"/>
                    </a:lnTo>
                    <a:lnTo>
                      <a:pt x="322" y="605"/>
                    </a:lnTo>
                    <a:lnTo>
                      <a:pt x="322" y="599"/>
                    </a:lnTo>
                    <a:lnTo>
                      <a:pt x="326" y="593"/>
                    </a:lnTo>
                    <a:lnTo>
                      <a:pt x="326" y="589"/>
                    </a:lnTo>
                    <a:lnTo>
                      <a:pt x="324" y="589"/>
                    </a:lnTo>
                    <a:lnTo>
                      <a:pt x="301" y="583"/>
                    </a:lnTo>
                    <a:lnTo>
                      <a:pt x="297" y="579"/>
                    </a:lnTo>
                    <a:lnTo>
                      <a:pt x="301" y="577"/>
                    </a:lnTo>
                    <a:lnTo>
                      <a:pt x="308" y="577"/>
                    </a:lnTo>
                    <a:lnTo>
                      <a:pt x="314" y="576"/>
                    </a:lnTo>
                    <a:lnTo>
                      <a:pt x="314" y="576"/>
                    </a:lnTo>
                    <a:lnTo>
                      <a:pt x="316" y="574"/>
                    </a:lnTo>
                    <a:lnTo>
                      <a:pt x="316" y="572"/>
                    </a:lnTo>
                    <a:lnTo>
                      <a:pt x="318" y="570"/>
                    </a:lnTo>
                    <a:lnTo>
                      <a:pt x="336" y="570"/>
                    </a:lnTo>
                    <a:lnTo>
                      <a:pt x="338" y="570"/>
                    </a:lnTo>
                    <a:lnTo>
                      <a:pt x="340" y="572"/>
                    </a:lnTo>
                    <a:lnTo>
                      <a:pt x="340" y="574"/>
                    </a:lnTo>
                    <a:lnTo>
                      <a:pt x="340" y="577"/>
                    </a:lnTo>
                    <a:lnTo>
                      <a:pt x="342" y="579"/>
                    </a:lnTo>
                    <a:lnTo>
                      <a:pt x="344" y="583"/>
                    </a:lnTo>
                    <a:lnTo>
                      <a:pt x="345" y="583"/>
                    </a:lnTo>
                    <a:lnTo>
                      <a:pt x="347" y="585"/>
                    </a:lnTo>
                    <a:lnTo>
                      <a:pt x="349" y="583"/>
                    </a:lnTo>
                    <a:lnTo>
                      <a:pt x="349" y="583"/>
                    </a:lnTo>
                    <a:lnTo>
                      <a:pt x="349" y="581"/>
                    </a:lnTo>
                    <a:lnTo>
                      <a:pt x="351" y="579"/>
                    </a:lnTo>
                    <a:lnTo>
                      <a:pt x="351" y="576"/>
                    </a:lnTo>
                    <a:lnTo>
                      <a:pt x="349" y="574"/>
                    </a:lnTo>
                    <a:lnTo>
                      <a:pt x="349" y="572"/>
                    </a:lnTo>
                    <a:lnTo>
                      <a:pt x="349" y="570"/>
                    </a:lnTo>
                    <a:lnTo>
                      <a:pt x="351" y="568"/>
                    </a:lnTo>
                    <a:lnTo>
                      <a:pt x="353" y="568"/>
                    </a:lnTo>
                    <a:lnTo>
                      <a:pt x="355" y="568"/>
                    </a:lnTo>
                    <a:lnTo>
                      <a:pt x="355" y="566"/>
                    </a:lnTo>
                    <a:lnTo>
                      <a:pt x="359" y="560"/>
                    </a:lnTo>
                    <a:lnTo>
                      <a:pt x="359" y="558"/>
                    </a:lnTo>
                    <a:lnTo>
                      <a:pt x="361" y="556"/>
                    </a:lnTo>
                    <a:lnTo>
                      <a:pt x="361" y="550"/>
                    </a:lnTo>
                    <a:lnTo>
                      <a:pt x="361" y="542"/>
                    </a:lnTo>
                    <a:lnTo>
                      <a:pt x="361" y="538"/>
                    </a:lnTo>
                    <a:lnTo>
                      <a:pt x="365" y="529"/>
                    </a:lnTo>
                    <a:lnTo>
                      <a:pt x="363" y="527"/>
                    </a:lnTo>
                    <a:lnTo>
                      <a:pt x="361" y="527"/>
                    </a:lnTo>
                    <a:lnTo>
                      <a:pt x="357" y="529"/>
                    </a:lnTo>
                    <a:lnTo>
                      <a:pt x="359" y="523"/>
                    </a:lnTo>
                    <a:lnTo>
                      <a:pt x="361" y="519"/>
                    </a:lnTo>
                    <a:lnTo>
                      <a:pt x="363" y="513"/>
                    </a:lnTo>
                    <a:lnTo>
                      <a:pt x="361" y="505"/>
                    </a:lnTo>
                    <a:lnTo>
                      <a:pt x="359" y="499"/>
                    </a:lnTo>
                    <a:lnTo>
                      <a:pt x="357" y="495"/>
                    </a:lnTo>
                    <a:lnTo>
                      <a:pt x="355" y="490"/>
                    </a:lnTo>
                    <a:lnTo>
                      <a:pt x="357" y="484"/>
                    </a:lnTo>
                    <a:lnTo>
                      <a:pt x="361" y="478"/>
                    </a:lnTo>
                    <a:lnTo>
                      <a:pt x="371" y="470"/>
                    </a:lnTo>
                    <a:lnTo>
                      <a:pt x="375" y="464"/>
                    </a:lnTo>
                    <a:lnTo>
                      <a:pt x="379" y="454"/>
                    </a:lnTo>
                    <a:lnTo>
                      <a:pt x="381" y="453"/>
                    </a:lnTo>
                    <a:lnTo>
                      <a:pt x="383" y="453"/>
                    </a:lnTo>
                    <a:lnTo>
                      <a:pt x="385" y="453"/>
                    </a:lnTo>
                    <a:lnTo>
                      <a:pt x="385" y="449"/>
                    </a:lnTo>
                    <a:lnTo>
                      <a:pt x="387" y="445"/>
                    </a:lnTo>
                    <a:lnTo>
                      <a:pt x="388" y="447"/>
                    </a:lnTo>
                    <a:lnTo>
                      <a:pt x="392" y="445"/>
                    </a:lnTo>
                    <a:lnTo>
                      <a:pt x="394" y="447"/>
                    </a:lnTo>
                    <a:lnTo>
                      <a:pt x="396" y="449"/>
                    </a:lnTo>
                    <a:lnTo>
                      <a:pt x="398" y="451"/>
                    </a:lnTo>
                    <a:lnTo>
                      <a:pt x="400" y="451"/>
                    </a:lnTo>
                    <a:lnTo>
                      <a:pt x="402" y="451"/>
                    </a:lnTo>
                    <a:lnTo>
                      <a:pt x="398" y="460"/>
                    </a:lnTo>
                    <a:lnTo>
                      <a:pt x="398" y="464"/>
                    </a:lnTo>
                    <a:lnTo>
                      <a:pt x="400" y="470"/>
                    </a:lnTo>
                    <a:lnTo>
                      <a:pt x="398" y="474"/>
                    </a:lnTo>
                    <a:lnTo>
                      <a:pt x="396" y="472"/>
                    </a:lnTo>
                    <a:lnTo>
                      <a:pt x="392" y="470"/>
                    </a:lnTo>
                    <a:lnTo>
                      <a:pt x="390" y="468"/>
                    </a:lnTo>
                    <a:lnTo>
                      <a:pt x="387" y="468"/>
                    </a:lnTo>
                    <a:lnTo>
                      <a:pt x="381" y="474"/>
                    </a:lnTo>
                    <a:lnTo>
                      <a:pt x="377" y="474"/>
                    </a:lnTo>
                    <a:lnTo>
                      <a:pt x="381" y="478"/>
                    </a:lnTo>
                    <a:lnTo>
                      <a:pt x="385" y="484"/>
                    </a:lnTo>
                    <a:lnTo>
                      <a:pt x="387" y="486"/>
                    </a:lnTo>
                    <a:lnTo>
                      <a:pt x="390" y="484"/>
                    </a:lnTo>
                    <a:lnTo>
                      <a:pt x="394" y="482"/>
                    </a:lnTo>
                    <a:lnTo>
                      <a:pt x="396" y="482"/>
                    </a:lnTo>
                    <a:lnTo>
                      <a:pt x="404" y="484"/>
                    </a:lnTo>
                    <a:lnTo>
                      <a:pt x="404" y="486"/>
                    </a:lnTo>
                    <a:lnTo>
                      <a:pt x="406" y="488"/>
                    </a:lnTo>
                    <a:lnTo>
                      <a:pt x="404" y="490"/>
                    </a:lnTo>
                    <a:lnTo>
                      <a:pt x="402" y="492"/>
                    </a:lnTo>
                    <a:lnTo>
                      <a:pt x="400" y="494"/>
                    </a:lnTo>
                    <a:lnTo>
                      <a:pt x="402" y="495"/>
                    </a:lnTo>
                    <a:lnTo>
                      <a:pt x="404" y="501"/>
                    </a:lnTo>
                    <a:lnTo>
                      <a:pt x="404" y="503"/>
                    </a:lnTo>
                    <a:lnTo>
                      <a:pt x="408" y="505"/>
                    </a:lnTo>
                    <a:lnTo>
                      <a:pt x="410" y="503"/>
                    </a:lnTo>
                    <a:lnTo>
                      <a:pt x="412" y="503"/>
                    </a:lnTo>
                    <a:lnTo>
                      <a:pt x="414" y="501"/>
                    </a:lnTo>
                    <a:lnTo>
                      <a:pt x="414" y="495"/>
                    </a:lnTo>
                    <a:lnTo>
                      <a:pt x="412" y="488"/>
                    </a:lnTo>
                    <a:lnTo>
                      <a:pt x="410" y="482"/>
                    </a:lnTo>
                    <a:lnTo>
                      <a:pt x="416" y="474"/>
                    </a:lnTo>
                    <a:lnTo>
                      <a:pt x="420" y="468"/>
                    </a:lnTo>
                    <a:lnTo>
                      <a:pt x="424" y="464"/>
                    </a:lnTo>
                    <a:lnTo>
                      <a:pt x="428" y="464"/>
                    </a:lnTo>
                    <a:lnTo>
                      <a:pt x="429" y="466"/>
                    </a:lnTo>
                    <a:lnTo>
                      <a:pt x="431" y="466"/>
                    </a:lnTo>
                    <a:lnTo>
                      <a:pt x="433" y="468"/>
                    </a:lnTo>
                    <a:lnTo>
                      <a:pt x="433" y="472"/>
                    </a:lnTo>
                    <a:lnTo>
                      <a:pt x="433" y="476"/>
                    </a:lnTo>
                    <a:lnTo>
                      <a:pt x="431" y="478"/>
                    </a:lnTo>
                    <a:lnTo>
                      <a:pt x="428" y="478"/>
                    </a:lnTo>
                    <a:lnTo>
                      <a:pt x="431" y="486"/>
                    </a:lnTo>
                    <a:lnTo>
                      <a:pt x="437" y="490"/>
                    </a:lnTo>
                    <a:lnTo>
                      <a:pt x="441" y="488"/>
                    </a:lnTo>
                    <a:lnTo>
                      <a:pt x="445" y="480"/>
                    </a:lnTo>
                    <a:lnTo>
                      <a:pt x="443" y="470"/>
                    </a:lnTo>
                    <a:lnTo>
                      <a:pt x="445" y="466"/>
                    </a:lnTo>
                    <a:lnTo>
                      <a:pt x="447" y="462"/>
                    </a:lnTo>
                    <a:lnTo>
                      <a:pt x="455" y="456"/>
                    </a:lnTo>
                    <a:lnTo>
                      <a:pt x="471" y="435"/>
                    </a:lnTo>
                    <a:lnTo>
                      <a:pt x="472" y="427"/>
                    </a:lnTo>
                    <a:lnTo>
                      <a:pt x="472" y="421"/>
                    </a:lnTo>
                    <a:lnTo>
                      <a:pt x="474" y="413"/>
                    </a:lnTo>
                    <a:lnTo>
                      <a:pt x="476" y="406"/>
                    </a:lnTo>
                    <a:lnTo>
                      <a:pt x="480" y="402"/>
                    </a:lnTo>
                    <a:lnTo>
                      <a:pt x="480" y="400"/>
                    </a:lnTo>
                    <a:lnTo>
                      <a:pt x="469" y="390"/>
                    </a:lnTo>
                    <a:lnTo>
                      <a:pt x="465" y="380"/>
                    </a:lnTo>
                    <a:lnTo>
                      <a:pt x="461" y="376"/>
                    </a:lnTo>
                    <a:lnTo>
                      <a:pt x="457" y="374"/>
                    </a:lnTo>
                    <a:lnTo>
                      <a:pt x="451" y="372"/>
                    </a:lnTo>
                    <a:lnTo>
                      <a:pt x="410" y="380"/>
                    </a:lnTo>
                    <a:lnTo>
                      <a:pt x="396" y="378"/>
                    </a:lnTo>
                    <a:lnTo>
                      <a:pt x="385" y="370"/>
                    </a:lnTo>
                    <a:lnTo>
                      <a:pt x="379" y="367"/>
                    </a:lnTo>
                    <a:lnTo>
                      <a:pt x="379" y="365"/>
                    </a:lnTo>
                    <a:lnTo>
                      <a:pt x="379" y="363"/>
                    </a:lnTo>
                    <a:lnTo>
                      <a:pt x="377" y="357"/>
                    </a:lnTo>
                    <a:lnTo>
                      <a:pt x="377" y="355"/>
                    </a:lnTo>
                    <a:lnTo>
                      <a:pt x="373" y="353"/>
                    </a:lnTo>
                    <a:lnTo>
                      <a:pt x="371" y="355"/>
                    </a:lnTo>
                    <a:lnTo>
                      <a:pt x="365" y="363"/>
                    </a:lnTo>
                    <a:lnTo>
                      <a:pt x="357" y="369"/>
                    </a:lnTo>
                    <a:lnTo>
                      <a:pt x="357" y="372"/>
                    </a:lnTo>
                    <a:lnTo>
                      <a:pt x="355" y="380"/>
                    </a:lnTo>
                    <a:lnTo>
                      <a:pt x="355" y="392"/>
                    </a:lnTo>
                    <a:lnTo>
                      <a:pt x="353" y="394"/>
                    </a:lnTo>
                    <a:lnTo>
                      <a:pt x="349" y="394"/>
                    </a:lnTo>
                    <a:lnTo>
                      <a:pt x="351" y="390"/>
                    </a:lnTo>
                    <a:lnTo>
                      <a:pt x="353" y="386"/>
                    </a:lnTo>
                    <a:lnTo>
                      <a:pt x="353" y="382"/>
                    </a:lnTo>
                    <a:lnTo>
                      <a:pt x="353" y="378"/>
                    </a:lnTo>
                    <a:lnTo>
                      <a:pt x="353" y="376"/>
                    </a:lnTo>
                    <a:lnTo>
                      <a:pt x="353" y="367"/>
                    </a:lnTo>
                    <a:lnTo>
                      <a:pt x="355" y="367"/>
                    </a:lnTo>
                    <a:lnTo>
                      <a:pt x="363" y="357"/>
                    </a:lnTo>
                    <a:lnTo>
                      <a:pt x="375" y="347"/>
                    </a:lnTo>
                    <a:lnTo>
                      <a:pt x="379" y="339"/>
                    </a:lnTo>
                    <a:lnTo>
                      <a:pt x="377" y="329"/>
                    </a:lnTo>
                    <a:lnTo>
                      <a:pt x="375" y="322"/>
                    </a:lnTo>
                    <a:lnTo>
                      <a:pt x="371" y="324"/>
                    </a:lnTo>
                    <a:lnTo>
                      <a:pt x="365" y="328"/>
                    </a:lnTo>
                    <a:lnTo>
                      <a:pt x="359" y="328"/>
                    </a:lnTo>
                    <a:lnTo>
                      <a:pt x="351" y="326"/>
                    </a:lnTo>
                    <a:lnTo>
                      <a:pt x="347" y="326"/>
                    </a:lnTo>
                    <a:lnTo>
                      <a:pt x="349" y="322"/>
                    </a:lnTo>
                    <a:lnTo>
                      <a:pt x="349" y="322"/>
                    </a:lnTo>
                    <a:lnTo>
                      <a:pt x="344" y="320"/>
                    </a:lnTo>
                    <a:lnTo>
                      <a:pt x="342" y="320"/>
                    </a:lnTo>
                    <a:lnTo>
                      <a:pt x="340" y="324"/>
                    </a:lnTo>
                    <a:lnTo>
                      <a:pt x="340" y="326"/>
                    </a:lnTo>
                    <a:lnTo>
                      <a:pt x="338" y="328"/>
                    </a:lnTo>
                    <a:lnTo>
                      <a:pt x="336" y="329"/>
                    </a:lnTo>
                    <a:lnTo>
                      <a:pt x="334" y="329"/>
                    </a:lnTo>
                    <a:lnTo>
                      <a:pt x="332" y="329"/>
                    </a:lnTo>
                    <a:lnTo>
                      <a:pt x="330" y="328"/>
                    </a:lnTo>
                    <a:lnTo>
                      <a:pt x="328" y="328"/>
                    </a:lnTo>
                    <a:lnTo>
                      <a:pt x="328" y="328"/>
                    </a:lnTo>
                    <a:lnTo>
                      <a:pt x="328" y="329"/>
                    </a:lnTo>
                    <a:lnTo>
                      <a:pt x="328" y="331"/>
                    </a:lnTo>
                    <a:lnTo>
                      <a:pt x="326" y="331"/>
                    </a:lnTo>
                    <a:lnTo>
                      <a:pt x="324" y="331"/>
                    </a:lnTo>
                    <a:lnTo>
                      <a:pt x="318" y="335"/>
                    </a:lnTo>
                    <a:lnTo>
                      <a:pt x="293" y="343"/>
                    </a:lnTo>
                    <a:lnTo>
                      <a:pt x="285" y="341"/>
                    </a:lnTo>
                    <a:lnTo>
                      <a:pt x="285" y="339"/>
                    </a:lnTo>
                    <a:lnTo>
                      <a:pt x="308" y="335"/>
                    </a:lnTo>
                    <a:lnTo>
                      <a:pt x="316" y="331"/>
                    </a:lnTo>
                    <a:lnTo>
                      <a:pt x="322" y="328"/>
                    </a:lnTo>
                    <a:lnTo>
                      <a:pt x="328" y="324"/>
                    </a:lnTo>
                    <a:lnTo>
                      <a:pt x="330" y="324"/>
                    </a:lnTo>
                    <a:lnTo>
                      <a:pt x="334" y="322"/>
                    </a:lnTo>
                    <a:lnTo>
                      <a:pt x="336" y="322"/>
                    </a:lnTo>
                    <a:lnTo>
                      <a:pt x="338" y="318"/>
                    </a:lnTo>
                    <a:lnTo>
                      <a:pt x="344" y="318"/>
                    </a:lnTo>
                    <a:lnTo>
                      <a:pt x="345" y="318"/>
                    </a:lnTo>
                    <a:lnTo>
                      <a:pt x="349" y="320"/>
                    </a:lnTo>
                    <a:lnTo>
                      <a:pt x="353" y="324"/>
                    </a:lnTo>
                    <a:lnTo>
                      <a:pt x="355" y="320"/>
                    </a:lnTo>
                    <a:lnTo>
                      <a:pt x="357" y="318"/>
                    </a:lnTo>
                    <a:lnTo>
                      <a:pt x="365" y="318"/>
                    </a:lnTo>
                    <a:lnTo>
                      <a:pt x="367" y="320"/>
                    </a:lnTo>
                    <a:lnTo>
                      <a:pt x="371" y="322"/>
                    </a:lnTo>
                    <a:lnTo>
                      <a:pt x="373" y="322"/>
                    </a:lnTo>
                    <a:lnTo>
                      <a:pt x="375" y="318"/>
                    </a:lnTo>
                    <a:lnTo>
                      <a:pt x="375" y="316"/>
                    </a:lnTo>
                    <a:lnTo>
                      <a:pt x="373" y="314"/>
                    </a:lnTo>
                    <a:lnTo>
                      <a:pt x="371" y="312"/>
                    </a:lnTo>
                    <a:lnTo>
                      <a:pt x="367" y="300"/>
                    </a:lnTo>
                    <a:lnTo>
                      <a:pt x="367" y="292"/>
                    </a:lnTo>
                    <a:lnTo>
                      <a:pt x="365" y="281"/>
                    </a:lnTo>
                    <a:lnTo>
                      <a:pt x="363" y="265"/>
                    </a:lnTo>
                    <a:lnTo>
                      <a:pt x="363" y="261"/>
                    </a:lnTo>
                    <a:lnTo>
                      <a:pt x="363" y="257"/>
                    </a:lnTo>
                    <a:lnTo>
                      <a:pt x="365" y="249"/>
                    </a:lnTo>
                    <a:lnTo>
                      <a:pt x="365" y="246"/>
                    </a:lnTo>
                    <a:lnTo>
                      <a:pt x="367" y="244"/>
                    </a:lnTo>
                    <a:lnTo>
                      <a:pt x="371" y="238"/>
                    </a:lnTo>
                    <a:lnTo>
                      <a:pt x="367" y="236"/>
                    </a:lnTo>
                    <a:lnTo>
                      <a:pt x="353" y="236"/>
                    </a:lnTo>
                    <a:lnTo>
                      <a:pt x="351" y="234"/>
                    </a:lnTo>
                    <a:lnTo>
                      <a:pt x="344" y="228"/>
                    </a:lnTo>
                    <a:lnTo>
                      <a:pt x="338" y="226"/>
                    </a:lnTo>
                    <a:lnTo>
                      <a:pt x="322" y="208"/>
                    </a:lnTo>
                    <a:lnTo>
                      <a:pt x="318" y="206"/>
                    </a:lnTo>
                    <a:lnTo>
                      <a:pt x="316" y="208"/>
                    </a:lnTo>
                    <a:lnTo>
                      <a:pt x="312" y="210"/>
                    </a:lnTo>
                    <a:lnTo>
                      <a:pt x="308" y="214"/>
                    </a:lnTo>
                    <a:lnTo>
                      <a:pt x="306" y="214"/>
                    </a:lnTo>
                    <a:lnTo>
                      <a:pt x="308" y="212"/>
                    </a:lnTo>
                    <a:lnTo>
                      <a:pt x="314" y="206"/>
                    </a:lnTo>
                    <a:lnTo>
                      <a:pt x="318" y="205"/>
                    </a:lnTo>
                    <a:lnTo>
                      <a:pt x="322" y="205"/>
                    </a:lnTo>
                    <a:lnTo>
                      <a:pt x="328" y="210"/>
                    </a:lnTo>
                    <a:lnTo>
                      <a:pt x="334" y="214"/>
                    </a:lnTo>
                    <a:lnTo>
                      <a:pt x="344" y="224"/>
                    </a:lnTo>
                    <a:lnTo>
                      <a:pt x="359" y="234"/>
                    </a:lnTo>
                    <a:lnTo>
                      <a:pt x="361" y="234"/>
                    </a:lnTo>
                    <a:lnTo>
                      <a:pt x="363" y="232"/>
                    </a:lnTo>
                    <a:lnTo>
                      <a:pt x="371" y="232"/>
                    </a:lnTo>
                    <a:lnTo>
                      <a:pt x="373" y="232"/>
                    </a:lnTo>
                    <a:lnTo>
                      <a:pt x="375" y="232"/>
                    </a:lnTo>
                    <a:lnTo>
                      <a:pt x="377" y="228"/>
                    </a:lnTo>
                    <a:lnTo>
                      <a:pt x="379" y="224"/>
                    </a:lnTo>
                    <a:lnTo>
                      <a:pt x="383" y="208"/>
                    </a:lnTo>
                    <a:lnTo>
                      <a:pt x="385" y="197"/>
                    </a:lnTo>
                    <a:lnTo>
                      <a:pt x="387" y="187"/>
                    </a:lnTo>
                    <a:lnTo>
                      <a:pt x="392" y="175"/>
                    </a:lnTo>
                    <a:lnTo>
                      <a:pt x="396" y="169"/>
                    </a:lnTo>
                    <a:lnTo>
                      <a:pt x="406" y="164"/>
                    </a:lnTo>
                    <a:lnTo>
                      <a:pt x="408" y="160"/>
                    </a:lnTo>
                    <a:lnTo>
                      <a:pt x="404" y="128"/>
                    </a:lnTo>
                    <a:lnTo>
                      <a:pt x="404" y="111"/>
                    </a:lnTo>
                    <a:lnTo>
                      <a:pt x="410" y="97"/>
                    </a:lnTo>
                    <a:lnTo>
                      <a:pt x="404" y="83"/>
                    </a:lnTo>
                    <a:lnTo>
                      <a:pt x="394" y="70"/>
                    </a:lnTo>
                    <a:lnTo>
                      <a:pt x="390" y="56"/>
                    </a:lnTo>
                    <a:lnTo>
                      <a:pt x="396" y="37"/>
                    </a:lnTo>
                    <a:lnTo>
                      <a:pt x="410" y="15"/>
                    </a:lnTo>
                    <a:lnTo>
                      <a:pt x="418" y="7"/>
                    </a:lnTo>
                    <a:lnTo>
                      <a:pt x="428" y="3"/>
                    </a:lnTo>
                    <a:lnTo>
                      <a:pt x="424" y="1"/>
                    </a:lnTo>
                    <a:lnTo>
                      <a:pt x="418" y="0"/>
                    </a:lnTo>
                    <a:lnTo>
                      <a:pt x="414" y="0"/>
                    </a:lnTo>
                    <a:lnTo>
                      <a:pt x="408" y="1"/>
                    </a:lnTo>
                    <a:lnTo>
                      <a:pt x="398" y="9"/>
                    </a:lnTo>
                    <a:lnTo>
                      <a:pt x="377" y="31"/>
                    </a:lnTo>
                    <a:lnTo>
                      <a:pt x="365" y="41"/>
                    </a:lnTo>
                    <a:lnTo>
                      <a:pt x="351" y="46"/>
                    </a:lnTo>
                    <a:lnTo>
                      <a:pt x="336" y="48"/>
                    </a:lnTo>
                    <a:lnTo>
                      <a:pt x="320" y="48"/>
                    </a:lnTo>
                    <a:lnTo>
                      <a:pt x="312" y="50"/>
                    </a:lnTo>
                    <a:lnTo>
                      <a:pt x="308" y="56"/>
                    </a:lnTo>
                    <a:lnTo>
                      <a:pt x="306" y="56"/>
                    </a:lnTo>
                    <a:lnTo>
                      <a:pt x="301" y="68"/>
                    </a:lnTo>
                    <a:lnTo>
                      <a:pt x="289" y="82"/>
                    </a:lnTo>
                    <a:lnTo>
                      <a:pt x="283" y="91"/>
                    </a:lnTo>
                    <a:lnTo>
                      <a:pt x="248" y="158"/>
                    </a:lnTo>
                    <a:lnTo>
                      <a:pt x="234" y="171"/>
                    </a:lnTo>
                    <a:lnTo>
                      <a:pt x="220" y="181"/>
                    </a:lnTo>
                    <a:lnTo>
                      <a:pt x="205" y="187"/>
                    </a:lnTo>
                    <a:lnTo>
                      <a:pt x="189" y="189"/>
                    </a:lnTo>
                    <a:lnTo>
                      <a:pt x="148" y="183"/>
                    </a:lnTo>
                    <a:lnTo>
                      <a:pt x="144" y="183"/>
                    </a:lnTo>
                    <a:lnTo>
                      <a:pt x="136" y="193"/>
                    </a:lnTo>
                    <a:lnTo>
                      <a:pt x="131" y="197"/>
                    </a:lnTo>
                    <a:lnTo>
                      <a:pt x="115" y="201"/>
                    </a:lnTo>
                    <a:lnTo>
                      <a:pt x="107" y="199"/>
                    </a:lnTo>
                    <a:lnTo>
                      <a:pt x="93" y="195"/>
                    </a:lnTo>
                    <a:lnTo>
                      <a:pt x="88" y="195"/>
                    </a:lnTo>
                    <a:lnTo>
                      <a:pt x="82" y="199"/>
                    </a:lnTo>
                    <a:lnTo>
                      <a:pt x="68" y="222"/>
                    </a:lnTo>
                    <a:lnTo>
                      <a:pt x="58" y="230"/>
                    </a:lnTo>
                    <a:lnTo>
                      <a:pt x="29" y="281"/>
                    </a:lnTo>
                    <a:lnTo>
                      <a:pt x="25" y="288"/>
                    </a:lnTo>
                    <a:lnTo>
                      <a:pt x="23" y="302"/>
                    </a:lnTo>
                    <a:lnTo>
                      <a:pt x="23" y="316"/>
                    </a:lnTo>
                    <a:lnTo>
                      <a:pt x="25" y="322"/>
                    </a:lnTo>
                    <a:lnTo>
                      <a:pt x="27" y="322"/>
                    </a:lnTo>
                    <a:lnTo>
                      <a:pt x="27" y="318"/>
                    </a:lnTo>
                    <a:lnTo>
                      <a:pt x="27" y="312"/>
                    </a:lnTo>
                    <a:lnTo>
                      <a:pt x="25" y="300"/>
                    </a:lnTo>
                    <a:lnTo>
                      <a:pt x="27" y="300"/>
                    </a:lnTo>
                    <a:lnTo>
                      <a:pt x="31" y="304"/>
                    </a:lnTo>
                    <a:lnTo>
                      <a:pt x="35" y="304"/>
                    </a:lnTo>
                    <a:lnTo>
                      <a:pt x="35" y="306"/>
                    </a:lnTo>
                    <a:lnTo>
                      <a:pt x="37" y="318"/>
                    </a:lnTo>
                    <a:lnTo>
                      <a:pt x="39" y="322"/>
                    </a:lnTo>
                    <a:lnTo>
                      <a:pt x="43" y="326"/>
                    </a:lnTo>
                    <a:lnTo>
                      <a:pt x="47" y="329"/>
                    </a:lnTo>
                    <a:lnTo>
                      <a:pt x="49" y="331"/>
                    </a:lnTo>
                    <a:lnTo>
                      <a:pt x="52" y="331"/>
                    </a:lnTo>
                    <a:lnTo>
                      <a:pt x="58" y="335"/>
                    </a:lnTo>
                    <a:lnTo>
                      <a:pt x="62" y="337"/>
                    </a:lnTo>
                    <a:lnTo>
                      <a:pt x="64" y="343"/>
                    </a:lnTo>
                    <a:lnTo>
                      <a:pt x="64" y="347"/>
                    </a:lnTo>
                    <a:lnTo>
                      <a:pt x="70" y="351"/>
                    </a:lnTo>
                    <a:lnTo>
                      <a:pt x="74" y="357"/>
                    </a:lnTo>
                    <a:lnTo>
                      <a:pt x="78" y="357"/>
                    </a:lnTo>
                    <a:lnTo>
                      <a:pt x="76" y="355"/>
                    </a:lnTo>
                    <a:lnTo>
                      <a:pt x="76" y="353"/>
                    </a:lnTo>
                    <a:lnTo>
                      <a:pt x="76" y="353"/>
                    </a:lnTo>
                    <a:lnTo>
                      <a:pt x="80" y="353"/>
                    </a:lnTo>
                    <a:lnTo>
                      <a:pt x="82" y="351"/>
                    </a:lnTo>
                    <a:lnTo>
                      <a:pt x="84" y="349"/>
                    </a:lnTo>
                    <a:lnTo>
                      <a:pt x="86" y="345"/>
                    </a:lnTo>
                    <a:lnTo>
                      <a:pt x="84" y="341"/>
                    </a:lnTo>
                    <a:lnTo>
                      <a:pt x="82" y="337"/>
                    </a:lnTo>
                    <a:lnTo>
                      <a:pt x="82" y="335"/>
                    </a:lnTo>
                    <a:lnTo>
                      <a:pt x="82" y="329"/>
                    </a:lnTo>
                    <a:lnTo>
                      <a:pt x="82" y="328"/>
                    </a:lnTo>
                    <a:lnTo>
                      <a:pt x="80" y="326"/>
                    </a:lnTo>
                    <a:lnTo>
                      <a:pt x="68" y="331"/>
                    </a:lnTo>
                    <a:lnTo>
                      <a:pt x="66" y="331"/>
                    </a:lnTo>
                    <a:lnTo>
                      <a:pt x="62" y="328"/>
                    </a:lnTo>
                    <a:lnTo>
                      <a:pt x="60" y="328"/>
                    </a:lnTo>
                    <a:lnTo>
                      <a:pt x="52" y="329"/>
                    </a:lnTo>
                    <a:lnTo>
                      <a:pt x="52" y="328"/>
                    </a:lnTo>
                    <a:lnTo>
                      <a:pt x="54" y="326"/>
                    </a:lnTo>
                    <a:lnTo>
                      <a:pt x="58" y="324"/>
                    </a:lnTo>
                    <a:lnTo>
                      <a:pt x="60" y="324"/>
                    </a:lnTo>
                    <a:lnTo>
                      <a:pt x="62" y="324"/>
                    </a:lnTo>
                    <a:lnTo>
                      <a:pt x="66" y="326"/>
                    </a:lnTo>
                    <a:lnTo>
                      <a:pt x="68" y="328"/>
                    </a:lnTo>
                    <a:lnTo>
                      <a:pt x="70" y="326"/>
                    </a:lnTo>
                    <a:lnTo>
                      <a:pt x="72" y="326"/>
                    </a:lnTo>
                    <a:lnTo>
                      <a:pt x="72" y="322"/>
                    </a:lnTo>
                    <a:lnTo>
                      <a:pt x="72" y="318"/>
                    </a:lnTo>
                    <a:lnTo>
                      <a:pt x="70" y="318"/>
                    </a:lnTo>
                    <a:lnTo>
                      <a:pt x="64" y="318"/>
                    </a:lnTo>
                    <a:lnTo>
                      <a:pt x="64" y="318"/>
                    </a:lnTo>
                    <a:lnTo>
                      <a:pt x="66" y="314"/>
                    </a:lnTo>
                    <a:lnTo>
                      <a:pt x="66" y="310"/>
                    </a:lnTo>
                    <a:lnTo>
                      <a:pt x="64" y="298"/>
                    </a:lnTo>
                    <a:lnTo>
                      <a:pt x="66" y="294"/>
                    </a:lnTo>
                    <a:lnTo>
                      <a:pt x="68" y="292"/>
                    </a:lnTo>
                    <a:lnTo>
                      <a:pt x="72" y="292"/>
                    </a:lnTo>
                    <a:lnTo>
                      <a:pt x="72" y="290"/>
                    </a:lnTo>
                    <a:lnTo>
                      <a:pt x="74" y="288"/>
                    </a:lnTo>
                    <a:lnTo>
                      <a:pt x="76" y="288"/>
                    </a:lnTo>
                    <a:lnTo>
                      <a:pt x="80" y="287"/>
                    </a:lnTo>
                    <a:lnTo>
                      <a:pt x="84" y="279"/>
                    </a:lnTo>
                    <a:lnTo>
                      <a:pt x="86" y="279"/>
                    </a:lnTo>
                    <a:lnTo>
                      <a:pt x="86" y="277"/>
                    </a:lnTo>
                    <a:lnTo>
                      <a:pt x="86" y="273"/>
                    </a:lnTo>
                    <a:lnTo>
                      <a:pt x="86" y="273"/>
                    </a:lnTo>
                    <a:lnTo>
                      <a:pt x="88" y="265"/>
                    </a:lnTo>
                    <a:lnTo>
                      <a:pt x="90" y="261"/>
                    </a:lnTo>
                    <a:lnTo>
                      <a:pt x="92" y="259"/>
                    </a:lnTo>
                    <a:lnTo>
                      <a:pt x="95" y="255"/>
                    </a:lnTo>
                    <a:lnTo>
                      <a:pt x="95" y="249"/>
                    </a:lnTo>
                    <a:lnTo>
                      <a:pt x="97" y="247"/>
                    </a:lnTo>
                    <a:lnTo>
                      <a:pt x="101" y="246"/>
                    </a:lnTo>
                    <a:lnTo>
                      <a:pt x="105" y="244"/>
                    </a:lnTo>
                    <a:lnTo>
                      <a:pt x="111" y="246"/>
                    </a:lnTo>
                    <a:lnTo>
                      <a:pt x="119" y="242"/>
                    </a:lnTo>
                    <a:lnTo>
                      <a:pt x="125" y="236"/>
                    </a:lnTo>
                    <a:lnTo>
                      <a:pt x="123" y="234"/>
                    </a:lnTo>
                    <a:lnTo>
                      <a:pt x="127" y="232"/>
                    </a:lnTo>
                    <a:lnTo>
                      <a:pt x="131" y="230"/>
                    </a:lnTo>
                    <a:lnTo>
                      <a:pt x="133" y="232"/>
                    </a:lnTo>
                    <a:lnTo>
                      <a:pt x="135" y="236"/>
                    </a:lnTo>
                    <a:lnTo>
                      <a:pt x="136" y="236"/>
                    </a:lnTo>
                    <a:lnTo>
                      <a:pt x="138" y="232"/>
                    </a:lnTo>
                    <a:lnTo>
                      <a:pt x="142" y="228"/>
                    </a:lnTo>
                    <a:lnTo>
                      <a:pt x="144" y="228"/>
                    </a:lnTo>
                    <a:lnTo>
                      <a:pt x="148" y="226"/>
                    </a:lnTo>
                    <a:lnTo>
                      <a:pt x="150" y="224"/>
                    </a:lnTo>
                    <a:lnTo>
                      <a:pt x="154" y="222"/>
                    </a:lnTo>
                    <a:lnTo>
                      <a:pt x="156" y="224"/>
                    </a:lnTo>
                    <a:lnTo>
                      <a:pt x="156" y="226"/>
                    </a:lnTo>
                    <a:lnTo>
                      <a:pt x="158" y="226"/>
                    </a:lnTo>
                    <a:lnTo>
                      <a:pt x="160" y="226"/>
                    </a:lnTo>
                    <a:lnTo>
                      <a:pt x="164" y="222"/>
                    </a:lnTo>
                    <a:lnTo>
                      <a:pt x="170" y="220"/>
                    </a:lnTo>
                    <a:lnTo>
                      <a:pt x="172" y="218"/>
                    </a:lnTo>
                    <a:lnTo>
                      <a:pt x="170" y="214"/>
                    </a:lnTo>
                    <a:lnTo>
                      <a:pt x="189" y="230"/>
                    </a:lnTo>
                    <a:lnTo>
                      <a:pt x="191" y="232"/>
                    </a:lnTo>
                    <a:lnTo>
                      <a:pt x="195" y="232"/>
                    </a:lnTo>
                    <a:lnTo>
                      <a:pt x="234" y="216"/>
                    </a:lnTo>
                    <a:lnTo>
                      <a:pt x="248" y="216"/>
                    </a:lnTo>
                    <a:lnTo>
                      <a:pt x="256" y="214"/>
                    </a:lnTo>
                    <a:lnTo>
                      <a:pt x="261" y="208"/>
                    </a:lnTo>
                    <a:lnTo>
                      <a:pt x="263" y="208"/>
                    </a:lnTo>
                    <a:lnTo>
                      <a:pt x="267" y="210"/>
                    </a:lnTo>
                    <a:lnTo>
                      <a:pt x="269" y="212"/>
                    </a:lnTo>
                    <a:lnTo>
                      <a:pt x="273" y="212"/>
                    </a:lnTo>
                    <a:lnTo>
                      <a:pt x="277" y="208"/>
                    </a:lnTo>
                    <a:lnTo>
                      <a:pt x="283" y="201"/>
                    </a:lnTo>
                    <a:lnTo>
                      <a:pt x="285" y="199"/>
                    </a:lnTo>
                    <a:lnTo>
                      <a:pt x="285" y="201"/>
                    </a:lnTo>
                    <a:lnTo>
                      <a:pt x="289" y="203"/>
                    </a:lnTo>
                    <a:lnTo>
                      <a:pt x="295" y="205"/>
                    </a:lnTo>
                    <a:lnTo>
                      <a:pt x="304" y="214"/>
                    </a:lnTo>
                    <a:lnTo>
                      <a:pt x="287" y="216"/>
                    </a:lnTo>
                    <a:lnTo>
                      <a:pt x="279" y="214"/>
                    </a:lnTo>
                    <a:lnTo>
                      <a:pt x="273" y="218"/>
                    </a:lnTo>
                    <a:lnTo>
                      <a:pt x="265" y="220"/>
                    </a:lnTo>
                    <a:lnTo>
                      <a:pt x="263" y="224"/>
                    </a:lnTo>
                    <a:lnTo>
                      <a:pt x="260" y="230"/>
                    </a:lnTo>
                    <a:lnTo>
                      <a:pt x="254" y="240"/>
                    </a:lnTo>
                    <a:lnTo>
                      <a:pt x="252" y="242"/>
                    </a:lnTo>
                    <a:lnTo>
                      <a:pt x="250" y="242"/>
                    </a:lnTo>
                    <a:lnTo>
                      <a:pt x="248" y="240"/>
                    </a:lnTo>
                    <a:lnTo>
                      <a:pt x="248" y="238"/>
                    </a:lnTo>
                    <a:lnTo>
                      <a:pt x="248" y="236"/>
                    </a:lnTo>
                    <a:lnTo>
                      <a:pt x="250" y="236"/>
                    </a:lnTo>
                    <a:lnTo>
                      <a:pt x="250" y="234"/>
                    </a:lnTo>
                    <a:lnTo>
                      <a:pt x="230" y="224"/>
                    </a:lnTo>
                    <a:lnTo>
                      <a:pt x="224" y="224"/>
                    </a:lnTo>
                    <a:lnTo>
                      <a:pt x="199" y="234"/>
                    </a:lnTo>
                    <a:lnTo>
                      <a:pt x="199" y="234"/>
                    </a:lnTo>
                    <a:lnTo>
                      <a:pt x="197" y="238"/>
                    </a:lnTo>
                    <a:lnTo>
                      <a:pt x="197" y="240"/>
                    </a:lnTo>
                    <a:lnTo>
                      <a:pt x="195" y="240"/>
                    </a:lnTo>
                    <a:lnTo>
                      <a:pt x="195" y="240"/>
                    </a:lnTo>
                    <a:lnTo>
                      <a:pt x="193" y="240"/>
                    </a:lnTo>
                    <a:lnTo>
                      <a:pt x="187" y="246"/>
                    </a:lnTo>
                    <a:lnTo>
                      <a:pt x="185" y="251"/>
                    </a:lnTo>
                    <a:lnTo>
                      <a:pt x="181" y="257"/>
                    </a:lnTo>
                    <a:lnTo>
                      <a:pt x="177" y="265"/>
                    </a:lnTo>
                    <a:lnTo>
                      <a:pt x="181" y="267"/>
                    </a:lnTo>
                    <a:lnTo>
                      <a:pt x="183" y="269"/>
                    </a:lnTo>
                    <a:lnTo>
                      <a:pt x="185" y="269"/>
                    </a:lnTo>
                    <a:lnTo>
                      <a:pt x="185" y="271"/>
                    </a:lnTo>
                    <a:lnTo>
                      <a:pt x="185" y="275"/>
                    </a:lnTo>
                    <a:lnTo>
                      <a:pt x="187" y="277"/>
                    </a:lnTo>
                    <a:lnTo>
                      <a:pt x="185" y="279"/>
                    </a:lnTo>
                    <a:lnTo>
                      <a:pt x="185" y="281"/>
                    </a:lnTo>
                    <a:lnTo>
                      <a:pt x="181" y="287"/>
                    </a:lnTo>
                    <a:lnTo>
                      <a:pt x="179" y="287"/>
                    </a:lnTo>
                    <a:lnTo>
                      <a:pt x="179" y="290"/>
                    </a:lnTo>
                    <a:lnTo>
                      <a:pt x="181" y="294"/>
                    </a:lnTo>
                    <a:lnTo>
                      <a:pt x="181" y="298"/>
                    </a:lnTo>
                    <a:lnTo>
                      <a:pt x="183" y="300"/>
                    </a:lnTo>
                    <a:lnTo>
                      <a:pt x="183" y="302"/>
                    </a:lnTo>
                    <a:lnTo>
                      <a:pt x="185" y="304"/>
                    </a:lnTo>
                    <a:lnTo>
                      <a:pt x="187" y="306"/>
                    </a:lnTo>
                    <a:lnTo>
                      <a:pt x="191" y="308"/>
                    </a:lnTo>
                    <a:lnTo>
                      <a:pt x="191" y="310"/>
                    </a:lnTo>
                    <a:lnTo>
                      <a:pt x="191" y="314"/>
                    </a:lnTo>
                    <a:lnTo>
                      <a:pt x="189" y="318"/>
                    </a:lnTo>
                    <a:lnTo>
                      <a:pt x="181" y="324"/>
                    </a:lnTo>
                    <a:lnTo>
                      <a:pt x="179" y="328"/>
                    </a:lnTo>
                    <a:lnTo>
                      <a:pt x="181" y="331"/>
                    </a:lnTo>
                    <a:lnTo>
                      <a:pt x="183" y="331"/>
                    </a:lnTo>
                    <a:lnTo>
                      <a:pt x="187" y="328"/>
                    </a:lnTo>
                    <a:lnTo>
                      <a:pt x="189" y="326"/>
                    </a:lnTo>
                    <a:lnTo>
                      <a:pt x="197" y="324"/>
                    </a:lnTo>
                    <a:lnTo>
                      <a:pt x="199" y="322"/>
                    </a:lnTo>
                    <a:lnTo>
                      <a:pt x="201" y="324"/>
                    </a:lnTo>
                    <a:lnTo>
                      <a:pt x="203" y="326"/>
                    </a:lnTo>
                    <a:lnTo>
                      <a:pt x="205" y="333"/>
                    </a:lnTo>
                    <a:lnTo>
                      <a:pt x="205" y="333"/>
                    </a:lnTo>
                    <a:lnTo>
                      <a:pt x="205" y="341"/>
                    </a:lnTo>
                    <a:lnTo>
                      <a:pt x="201" y="351"/>
                    </a:lnTo>
                    <a:lnTo>
                      <a:pt x="201" y="363"/>
                    </a:lnTo>
                    <a:lnTo>
                      <a:pt x="201" y="363"/>
                    </a:lnTo>
                    <a:lnTo>
                      <a:pt x="201" y="365"/>
                    </a:lnTo>
                    <a:lnTo>
                      <a:pt x="201" y="367"/>
                    </a:lnTo>
                    <a:lnTo>
                      <a:pt x="201" y="367"/>
                    </a:lnTo>
                    <a:lnTo>
                      <a:pt x="203" y="367"/>
                    </a:lnTo>
                    <a:lnTo>
                      <a:pt x="205" y="367"/>
                    </a:lnTo>
                    <a:lnTo>
                      <a:pt x="205" y="365"/>
                    </a:lnTo>
                    <a:lnTo>
                      <a:pt x="209" y="363"/>
                    </a:lnTo>
                    <a:lnTo>
                      <a:pt x="213" y="365"/>
                    </a:lnTo>
                    <a:lnTo>
                      <a:pt x="213" y="369"/>
                    </a:lnTo>
                    <a:lnTo>
                      <a:pt x="211" y="370"/>
                    </a:lnTo>
                    <a:lnTo>
                      <a:pt x="209" y="369"/>
                    </a:lnTo>
                    <a:lnTo>
                      <a:pt x="209" y="370"/>
                    </a:lnTo>
                    <a:lnTo>
                      <a:pt x="205" y="374"/>
                    </a:lnTo>
                    <a:lnTo>
                      <a:pt x="205" y="374"/>
                    </a:lnTo>
                    <a:lnTo>
                      <a:pt x="203" y="374"/>
                    </a:lnTo>
                    <a:lnTo>
                      <a:pt x="203" y="372"/>
                    </a:lnTo>
                    <a:lnTo>
                      <a:pt x="203" y="370"/>
                    </a:lnTo>
                    <a:lnTo>
                      <a:pt x="197" y="369"/>
                    </a:lnTo>
                    <a:lnTo>
                      <a:pt x="197" y="367"/>
                    </a:lnTo>
                    <a:lnTo>
                      <a:pt x="195" y="365"/>
                    </a:lnTo>
                    <a:lnTo>
                      <a:pt x="195" y="363"/>
                    </a:lnTo>
                    <a:lnTo>
                      <a:pt x="195" y="361"/>
                    </a:lnTo>
                    <a:lnTo>
                      <a:pt x="193" y="361"/>
                    </a:lnTo>
                    <a:lnTo>
                      <a:pt x="195" y="357"/>
                    </a:lnTo>
                    <a:lnTo>
                      <a:pt x="199" y="351"/>
                    </a:lnTo>
                    <a:lnTo>
                      <a:pt x="199" y="347"/>
                    </a:lnTo>
                    <a:lnTo>
                      <a:pt x="197" y="343"/>
                    </a:lnTo>
                    <a:lnTo>
                      <a:pt x="195" y="343"/>
                    </a:lnTo>
                    <a:lnTo>
                      <a:pt x="193" y="345"/>
                    </a:lnTo>
                    <a:lnTo>
                      <a:pt x="189" y="343"/>
                    </a:lnTo>
                    <a:lnTo>
                      <a:pt x="185" y="341"/>
                    </a:lnTo>
                    <a:lnTo>
                      <a:pt x="179" y="343"/>
                    </a:lnTo>
                    <a:lnTo>
                      <a:pt x="176" y="341"/>
                    </a:lnTo>
                    <a:lnTo>
                      <a:pt x="177" y="335"/>
                    </a:lnTo>
                    <a:lnTo>
                      <a:pt x="176" y="335"/>
                    </a:lnTo>
                    <a:lnTo>
                      <a:pt x="176" y="339"/>
                    </a:lnTo>
                    <a:lnTo>
                      <a:pt x="174" y="341"/>
                    </a:lnTo>
                    <a:lnTo>
                      <a:pt x="172" y="345"/>
                    </a:lnTo>
                    <a:lnTo>
                      <a:pt x="172" y="347"/>
                    </a:lnTo>
                    <a:lnTo>
                      <a:pt x="174" y="347"/>
                    </a:lnTo>
                    <a:lnTo>
                      <a:pt x="174" y="345"/>
                    </a:lnTo>
                    <a:lnTo>
                      <a:pt x="176" y="347"/>
                    </a:lnTo>
                    <a:lnTo>
                      <a:pt x="177" y="351"/>
                    </a:lnTo>
                    <a:lnTo>
                      <a:pt x="174" y="351"/>
                    </a:lnTo>
                    <a:lnTo>
                      <a:pt x="172" y="351"/>
                    </a:lnTo>
                    <a:lnTo>
                      <a:pt x="170" y="351"/>
                    </a:lnTo>
                    <a:lnTo>
                      <a:pt x="166" y="361"/>
                    </a:lnTo>
                    <a:lnTo>
                      <a:pt x="164" y="365"/>
                    </a:lnTo>
                    <a:lnTo>
                      <a:pt x="162" y="365"/>
                    </a:lnTo>
                    <a:lnTo>
                      <a:pt x="160" y="361"/>
                    </a:lnTo>
                    <a:lnTo>
                      <a:pt x="160" y="351"/>
                    </a:lnTo>
                    <a:lnTo>
                      <a:pt x="160" y="347"/>
                    </a:lnTo>
                    <a:lnTo>
                      <a:pt x="160" y="343"/>
                    </a:lnTo>
                    <a:lnTo>
                      <a:pt x="166" y="339"/>
                    </a:lnTo>
                    <a:lnTo>
                      <a:pt x="168" y="335"/>
                    </a:lnTo>
                    <a:lnTo>
                      <a:pt x="166" y="333"/>
                    </a:lnTo>
                    <a:lnTo>
                      <a:pt x="166" y="331"/>
                    </a:lnTo>
                    <a:lnTo>
                      <a:pt x="172" y="329"/>
                    </a:lnTo>
                    <a:lnTo>
                      <a:pt x="176" y="322"/>
                    </a:lnTo>
                    <a:lnTo>
                      <a:pt x="179" y="322"/>
                    </a:lnTo>
                    <a:lnTo>
                      <a:pt x="177" y="314"/>
                    </a:lnTo>
                    <a:lnTo>
                      <a:pt x="176" y="312"/>
                    </a:lnTo>
                    <a:lnTo>
                      <a:pt x="174" y="308"/>
                    </a:lnTo>
                    <a:lnTo>
                      <a:pt x="172" y="304"/>
                    </a:lnTo>
                    <a:lnTo>
                      <a:pt x="170" y="296"/>
                    </a:lnTo>
                    <a:lnTo>
                      <a:pt x="168" y="292"/>
                    </a:lnTo>
                    <a:lnTo>
                      <a:pt x="166" y="290"/>
                    </a:lnTo>
                    <a:lnTo>
                      <a:pt x="162" y="288"/>
                    </a:lnTo>
                    <a:lnTo>
                      <a:pt x="158" y="288"/>
                    </a:lnTo>
                    <a:lnTo>
                      <a:pt x="158" y="290"/>
                    </a:lnTo>
                    <a:lnTo>
                      <a:pt x="156" y="292"/>
                    </a:lnTo>
                    <a:lnTo>
                      <a:pt x="156" y="292"/>
                    </a:lnTo>
                    <a:lnTo>
                      <a:pt x="154" y="294"/>
                    </a:lnTo>
                    <a:lnTo>
                      <a:pt x="152" y="294"/>
                    </a:lnTo>
                    <a:lnTo>
                      <a:pt x="148" y="292"/>
                    </a:lnTo>
                    <a:lnTo>
                      <a:pt x="146" y="292"/>
                    </a:lnTo>
                    <a:lnTo>
                      <a:pt x="144" y="292"/>
                    </a:lnTo>
                    <a:lnTo>
                      <a:pt x="136" y="300"/>
                    </a:lnTo>
                    <a:lnTo>
                      <a:pt x="131" y="304"/>
                    </a:lnTo>
                    <a:lnTo>
                      <a:pt x="129" y="306"/>
                    </a:lnTo>
                    <a:lnTo>
                      <a:pt x="127" y="312"/>
                    </a:lnTo>
                    <a:lnTo>
                      <a:pt x="125" y="318"/>
                    </a:lnTo>
                    <a:lnTo>
                      <a:pt x="127" y="318"/>
                    </a:lnTo>
                    <a:lnTo>
                      <a:pt x="133" y="318"/>
                    </a:lnTo>
                    <a:lnTo>
                      <a:pt x="136" y="320"/>
                    </a:lnTo>
                    <a:lnTo>
                      <a:pt x="136" y="322"/>
                    </a:lnTo>
                    <a:lnTo>
                      <a:pt x="129" y="322"/>
                    </a:lnTo>
                    <a:lnTo>
                      <a:pt x="121" y="324"/>
                    </a:lnTo>
                    <a:lnTo>
                      <a:pt x="119" y="326"/>
                    </a:lnTo>
                    <a:lnTo>
                      <a:pt x="107" y="343"/>
                    </a:lnTo>
                    <a:lnTo>
                      <a:pt x="99" y="343"/>
                    </a:lnTo>
                    <a:lnTo>
                      <a:pt x="97" y="345"/>
                    </a:lnTo>
                    <a:lnTo>
                      <a:pt x="97" y="349"/>
                    </a:lnTo>
                    <a:lnTo>
                      <a:pt x="101" y="351"/>
                    </a:lnTo>
                    <a:lnTo>
                      <a:pt x="101" y="353"/>
                    </a:lnTo>
                    <a:lnTo>
                      <a:pt x="101" y="357"/>
                    </a:lnTo>
                    <a:lnTo>
                      <a:pt x="103" y="357"/>
                    </a:lnTo>
                    <a:lnTo>
                      <a:pt x="103" y="359"/>
                    </a:lnTo>
                    <a:lnTo>
                      <a:pt x="105" y="359"/>
                    </a:lnTo>
                    <a:lnTo>
                      <a:pt x="111" y="363"/>
                    </a:lnTo>
                    <a:lnTo>
                      <a:pt x="111" y="365"/>
                    </a:lnTo>
                    <a:lnTo>
                      <a:pt x="111" y="367"/>
                    </a:lnTo>
                    <a:lnTo>
                      <a:pt x="109" y="367"/>
                    </a:lnTo>
                    <a:lnTo>
                      <a:pt x="109" y="369"/>
                    </a:lnTo>
                    <a:lnTo>
                      <a:pt x="109" y="374"/>
                    </a:lnTo>
                    <a:lnTo>
                      <a:pt x="107" y="378"/>
                    </a:lnTo>
                    <a:lnTo>
                      <a:pt x="107" y="382"/>
                    </a:lnTo>
                    <a:lnTo>
                      <a:pt x="107" y="384"/>
                    </a:lnTo>
                    <a:lnTo>
                      <a:pt x="107" y="388"/>
                    </a:lnTo>
                    <a:lnTo>
                      <a:pt x="107" y="388"/>
                    </a:lnTo>
                    <a:lnTo>
                      <a:pt x="105" y="390"/>
                    </a:lnTo>
                    <a:lnTo>
                      <a:pt x="95" y="392"/>
                    </a:lnTo>
                    <a:lnTo>
                      <a:pt x="92" y="392"/>
                    </a:lnTo>
                    <a:lnTo>
                      <a:pt x="90" y="390"/>
                    </a:lnTo>
                    <a:lnTo>
                      <a:pt x="88" y="386"/>
                    </a:lnTo>
                    <a:lnTo>
                      <a:pt x="84" y="384"/>
                    </a:lnTo>
                    <a:lnTo>
                      <a:pt x="84" y="380"/>
                    </a:lnTo>
                    <a:lnTo>
                      <a:pt x="84" y="378"/>
                    </a:lnTo>
                    <a:lnTo>
                      <a:pt x="84" y="376"/>
                    </a:lnTo>
                    <a:lnTo>
                      <a:pt x="84" y="374"/>
                    </a:lnTo>
                    <a:lnTo>
                      <a:pt x="78" y="361"/>
                    </a:lnTo>
                    <a:lnTo>
                      <a:pt x="78" y="361"/>
                    </a:lnTo>
                    <a:lnTo>
                      <a:pt x="76" y="363"/>
                    </a:lnTo>
                    <a:lnTo>
                      <a:pt x="74" y="367"/>
                    </a:lnTo>
                    <a:lnTo>
                      <a:pt x="72" y="370"/>
                    </a:lnTo>
                    <a:lnTo>
                      <a:pt x="70" y="370"/>
                    </a:lnTo>
                    <a:lnTo>
                      <a:pt x="62" y="365"/>
                    </a:lnTo>
                    <a:lnTo>
                      <a:pt x="60" y="363"/>
                    </a:lnTo>
                    <a:lnTo>
                      <a:pt x="56" y="361"/>
                    </a:lnTo>
                    <a:lnTo>
                      <a:pt x="49" y="359"/>
                    </a:lnTo>
                    <a:lnTo>
                      <a:pt x="41" y="359"/>
                    </a:lnTo>
                    <a:lnTo>
                      <a:pt x="35" y="361"/>
                    </a:lnTo>
                    <a:lnTo>
                      <a:pt x="35" y="363"/>
                    </a:lnTo>
                    <a:lnTo>
                      <a:pt x="37" y="365"/>
                    </a:lnTo>
                    <a:lnTo>
                      <a:pt x="37" y="367"/>
                    </a:lnTo>
                    <a:lnTo>
                      <a:pt x="35" y="369"/>
                    </a:lnTo>
                    <a:lnTo>
                      <a:pt x="33" y="367"/>
                    </a:lnTo>
                    <a:lnTo>
                      <a:pt x="33" y="365"/>
                    </a:lnTo>
                    <a:lnTo>
                      <a:pt x="33" y="359"/>
                    </a:lnTo>
                    <a:lnTo>
                      <a:pt x="33" y="357"/>
                    </a:lnTo>
                    <a:lnTo>
                      <a:pt x="35" y="355"/>
                    </a:lnTo>
                    <a:lnTo>
                      <a:pt x="33" y="353"/>
                    </a:lnTo>
                    <a:lnTo>
                      <a:pt x="27" y="353"/>
                    </a:lnTo>
                    <a:lnTo>
                      <a:pt x="25" y="351"/>
                    </a:lnTo>
                    <a:lnTo>
                      <a:pt x="23" y="347"/>
                    </a:lnTo>
                    <a:lnTo>
                      <a:pt x="23" y="345"/>
                    </a:lnTo>
                    <a:lnTo>
                      <a:pt x="23" y="343"/>
                    </a:lnTo>
                    <a:lnTo>
                      <a:pt x="19" y="343"/>
                    </a:lnTo>
                    <a:lnTo>
                      <a:pt x="19" y="343"/>
                    </a:lnTo>
                    <a:lnTo>
                      <a:pt x="17" y="341"/>
                    </a:lnTo>
                    <a:lnTo>
                      <a:pt x="17" y="339"/>
                    </a:lnTo>
                    <a:lnTo>
                      <a:pt x="19" y="337"/>
                    </a:lnTo>
                    <a:lnTo>
                      <a:pt x="23" y="328"/>
                    </a:lnTo>
                    <a:lnTo>
                      <a:pt x="23" y="326"/>
                    </a:lnTo>
                    <a:lnTo>
                      <a:pt x="21" y="324"/>
                    </a:lnTo>
                    <a:lnTo>
                      <a:pt x="21" y="322"/>
                    </a:lnTo>
                    <a:lnTo>
                      <a:pt x="19" y="320"/>
                    </a:lnTo>
                    <a:lnTo>
                      <a:pt x="17" y="324"/>
                    </a:lnTo>
                    <a:lnTo>
                      <a:pt x="13" y="331"/>
                    </a:lnTo>
                    <a:lnTo>
                      <a:pt x="6" y="359"/>
                    </a:lnTo>
                    <a:lnTo>
                      <a:pt x="6" y="363"/>
                    </a:lnTo>
                    <a:lnTo>
                      <a:pt x="4" y="369"/>
                    </a:lnTo>
                    <a:lnTo>
                      <a:pt x="6" y="472"/>
                    </a:lnTo>
                    <a:lnTo>
                      <a:pt x="6" y="480"/>
                    </a:lnTo>
                    <a:lnTo>
                      <a:pt x="2" y="499"/>
                    </a:lnTo>
                    <a:lnTo>
                      <a:pt x="2" y="505"/>
                    </a:lnTo>
                    <a:lnTo>
                      <a:pt x="2" y="527"/>
                    </a:lnTo>
                    <a:lnTo>
                      <a:pt x="2" y="531"/>
                    </a:lnTo>
                    <a:lnTo>
                      <a:pt x="4" y="535"/>
                    </a:lnTo>
                    <a:lnTo>
                      <a:pt x="4" y="535"/>
                    </a:lnTo>
                    <a:lnTo>
                      <a:pt x="6" y="536"/>
                    </a:lnTo>
                    <a:lnTo>
                      <a:pt x="8" y="535"/>
                    </a:lnTo>
                    <a:lnTo>
                      <a:pt x="6" y="529"/>
                    </a:lnTo>
                    <a:lnTo>
                      <a:pt x="8" y="523"/>
                    </a:lnTo>
                    <a:lnTo>
                      <a:pt x="8" y="517"/>
                    </a:lnTo>
                    <a:lnTo>
                      <a:pt x="8" y="503"/>
                    </a:lnTo>
                    <a:lnTo>
                      <a:pt x="9" y="501"/>
                    </a:lnTo>
                    <a:lnTo>
                      <a:pt x="11" y="501"/>
                    </a:lnTo>
                    <a:lnTo>
                      <a:pt x="25" y="507"/>
                    </a:lnTo>
                    <a:lnTo>
                      <a:pt x="31" y="511"/>
                    </a:lnTo>
                    <a:lnTo>
                      <a:pt x="35" y="519"/>
                    </a:lnTo>
                    <a:lnTo>
                      <a:pt x="37" y="529"/>
                    </a:lnTo>
                    <a:lnTo>
                      <a:pt x="37" y="538"/>
                    </a:lnTo>
                    <a:lnTo>
                      <a:pt x="43" y="546"/>
                    </a:lnTo>
                    <a:lnTo>
                      <a:pt x="47" y="552"/>
                    </a:lnTo>
                    <a:lnTo>
                      <a:pt x="49" y="556"/>
                    </a:lnTo>
                    <a:lnTo>
                      <a:pt x="49" y="562"/>
                    </a:lnTo>
                    <a:lnTo>
                      <a:pt x="49" y="566"/>
                    </a:lnTo>
                    <a:lnTo>
                      <a:pt x="43" y="574"/>
                    </a:lnTo>
                    <a:lnTo>
                      <a:pt x="35" y="579"/>
                    </a:lnTo>
                    <a:lnTo>
                      <a:pt x="31" y="579"/>
                    </a:lnTo>
                    <a:lnTo>
                      <a:pt x="23" y="585"/>
                    </a:lnTo>
                    <a:lnTo>
                      <a:pt x="15" y="591"/>
                    </a:lnTo>
                    <a:lnTo>
                      <a:pt x="15" y="589"/>
                    </a:lnTo>
                    <a:lnTo>
                      <a:pt x="13" y="585"/>
                    </a:lnTo>
                    <a:lnTo>
                      <a:pt x="15" y="581"/>
                    </a:lnTo>
                    <a:lnTo>
                      <a:pt x="15" y="577"/>
                    </a:lnTo>
                    <a:lnTo>
                      <a:pt x="17" y="576"/>
                    </a:lnTo>
                    <a:lnTo>
                      <a:pt x="15" y="572"/>
                    </a:lnTo>
                    <a:lnTo>
                      <a:pt x="13" y="564"/>
                    </a:lnTo>
                    <a:lnTo>
                      <a:pt x="9" y="540"/>
                    </a:lnTo>
                    <a:lnTo>
                      <a:pt x="8" y="540"/>
                    </a:lnTo>
                    <a:lnTo>
                      <a:pt x="8" y="538"/>
                    </a:lnTo>
                    <a:lnTo>
                      <a:pt x="8" y="538"/>
                    </a:lnTo>
                    <a:lnTo>
                      <a:pt x="6" y="538"/>
                    </a:lnTo>
                    <a:lnTo>
                      <a:pt x="6" y="538"/>
                    </a:lnTo>
                    <a:lnTo>
                      <a:pt x="6" y="538"/>
                    </a:lnTo>
                    <a:lnTo>
                      <a:pt x="6" y="540"/>
                    </a:lnTo>
                    <a:lnTo>
                      <a:pt x="6" y="540"/>
                    </a:lnTo>
                    <a:lnTo>
                      <a:pt x="6" y="542"/>
                    </a:lnTo>
                    <a:lnTo>
                      <a:pt x="6" y="544"/>
                    </a:lnTo>
                    <a:lnTo>
                      <a:pt x="13" y="603"/>
                    </a:lnTo>
                    <a:lnTo>
                      <a:pt x="13" y="615"/>
                    </a:lnTo>
                    <a:lnTo>
                      <a:pt x="11" y="626"/>
                    </a:lnTo>
                    <a:lnTo>
                      <a:pt x="9" y="638"/>
                    </a:lnTo>
                    <a:lnTo>
                      <a:pt x="0" y="663"/>
                    </a:lnTo>
                    <a:lnTo>
                      <a:pt x="0" y="667"/>
                    </a:lnTo>
                    <a:lnTo>
                      <a:pt x="2" y="671"/>
                    </a:lnTo>
                    <a:lnTo>
                      <a:pt x="11" y="673"/>
                    </a:lnTo>
                    <a:lnTo>
                      <a:pt x="15" y="675"/>
                    </a:lnTo>
                    <a:lnTo>
                      <a:pt x="37" y="693"/>
                    </a:lnTo>
                    <a:lnTo>
                      <a:pt x="39" y="691"/>
                    </a:lnTo>
                    <a:lnTo>
                      <a:pt x="37" y="685"/>
                    </a:lnTo>
                    <a:lnTo>
                      <a:pt x="33" y="681"/>
                    </a:lnTo>
                    <a:lnTo>
                      <a:pt x="29" y="679"/>
                    </a:lnTo>
                    <a:lnTo>
                      <a:pt x="25" y="677"/>
                    </a:lnTo>
                    <a:lnTo>
                      <a:pt x="27" y="675"/>
                    </a:lnTo>
                    <a:lnTo>
                      <a:pt x="27" y="673"/>
                    </a:lnTo>
                    <a:lnTo>
                      <a:pt x="29" y="673"/>
                    </a:lnTo>
                    <a:lnTo>
                      <a:pt x="25" y="669"/>
                    </a:lnTo>
                    <a:lnTo>
                      <a:pt x="23" y="665"/>
                    </a:lnTo>
                    <a:lnTo>
                      <a:pt x="25" y="661"/>
                    </a:lnTo>
                    <a:lnTo>
                      <a:pt x="29" y="659"/>
                    </a:lnTo>
                    <a:lnTo>
                      <a:pt x="33" y="658"/>
                    </a:lnTo>
                    <a:lnTo>
                      <a:pt x="37" y="658"/>
                    </a:lnTo>
                    <a:lnTo>
                      <a:pt x="39" y="659"/>
                    </a:lnTo>
                    <a:lnTo>
                      <a:pt x="39" y="661"/>
                    </a:lnTo>
                    <a:lnTo>
                      <a:pt x="35" y="661"/>
                    </a:lnTo>
                    <a:lnTo>
                      <a:pt x="35" y="663"/>
                    </a:lnTo>
                    <a:lnTo>
                      <a:pt x="50" y="687"/>
                    </a:lnTo>
                    <a:lnTo>
                      <a:pt x="58" y="693"/>
                    </a:lnTo>
                    <a:lnTo>
                      <a:pt x="66" y="697"/>
                    </a:lnTo>
                    <a:lnTo>
                      <a:pt x="76" y="697"/>
                    </a:lnTo>
                    <a:lnTo>
                      <a:pt x="84" y="699"/>
                    </a:lnTo>
                    <a:lnTo>
                      <a:pt x="88" y="700"/>
                    </a:lnTo>
                    <a:lnTo>
                      <a:pt x="90" y="706"/>
                    </a:lnTo>
                    <a:lnTo>
                      <a:pt x="92" y="712"/>
                    </a:lnTo>
                    <a:lnTo>
                      <a:pt x="92" y="726"/>
                    </a:lnTo>
                    <a:lnTo>
                      <a:pt x="93" y="734"/>
                    </a:lnTo>
                    <a:lnTo>
                      <a:pt x="93" y="738"/>
                    </a:lnTo>
                    <a:lnTo>
                      <a:pt x="93" y="740"/>
                    </a:lnTo>
                    <a:lnTo>
                      <a:pt x="92" y="743"/>
                    </a:lnTo>
                    <a:lnTo>
                      <a:pt x="92" y="747"/>
                    </a:lnTo>
                    <a:lnTo>
                      <a:pt x="93" y="759"/>
                    </a:lnTo>
                    <a:lnTo>
                      <a:pt x="95" y="773"/>
                    </a:lnTo>
                    <a:lnTo>
                      <a:pt x="99" y="782"/>
                    </a:lnTo>
                    <a:lnTo>
                      <a:pt x="99" y="788"/>
                    </a:lnTo>
                    <a:lnTo>
                      <a:pt x="95" y="788"/>
                    </a:lnTo>
                    <a:lnTo>
                      <a:pt x="86" y="786"/>
                    </a:lnTo>
                    <a:lnTo>
                      <a:pt x="76" y="786"/>
                    </a:lnTo>
                    <a:lnTo>
                      <a:pt x="76" y="782"/>
                    </a:lnTo>
                    <a:lnTo>
                      <a:pt x="80" y="779"/>
                    </a:lnTo>
                    <a:lnTo>
                      <a:pt x="80" y="777"/>
                    </a:lnTo>
                    <a:lnTo>
                      <a:pt x="84" y="777"/>
                    </a:lnTo>
                    <a:lnTo>
                      <a:pt x="80" y="773"/>
                    </a:lnTo>
                    <a:lnTo>
                      <a:pt x="72" y="771"/>
                    </a:lnTo>
                    <a:lnTo>
                      <a:pt x="66" y="771"/>
                    </a:lnTo>
                    <a:lnTo>
                      <a:pt x="62" y="777"/>
                    </a:lnTo>
                    <a:lnTo>
                      <a:pt x="62" y="784"/>
                    </a:lnTo>
                    <a:lnTo>
                      <a:pt x="60" y="792"/>
                    </a:lnTo>
                    <a:lnTo>
                      <a:pt x="60" y="798"/>
                    </a:lnTo>
                    <a:lnTo>
                      <a:pt x="62" y="806"/>
                    </a:lnTo>
                    <a:lnTo>
                      <a:pt x="64" y="810"/>
                    </a:lnTo>
                    <a:lnTo>
                      <a:pt x="68" y="810"/>
                    </a:lnTo>
                    <a:lnTo>
                      <a:pt x="70" y="808"/>
                    </a:lnTo>
                    <a:lnTo>
                      <a:pt x="72" y="806"/>
                    </a:lnTo>
                    <a:lnTo>
                      <a:pt x="74" y="802"/>
                    </a:lnTo>
                    <a:lnTo>
                      <a:pt x="76" y="802"/>
                    </a:lnTo>
                    <a:lnTo>
                      <a:pt x="78" y="800"/>
                    </a:lnTo>
                    <a:lnTo>
                      <a:pt x="78" y="790"/>
                    </a:lnTo>
                    <a:lnTo>
                      <a:pt x="78" y="786"/>
                    </a:lnTo>
                    <a:lnTo>
                      <a:pt x="80" y="786"/>
                    </a:lnTo>
                    <a:lnTo>
                      <a:pt x="97" y="790"/>
                    </a:lnTo>
                    <a:lnTo>
                      <a:pt x="95" y="798"/>
                    </a:lnTo>
                    <a:lnTo>
                      <a:pt x="93" y="806"/>
                    </a:lnTo>
                    <a:lnTo>
                      <a:pt x="92" y="814"/>
                    </a:lnTo>
                    <a:lnTo>
                      <a:pt x="92" y="822"/>
                    </a:lnTo>
                    <a:lnTo>
                      <a:pt x="92" y="829"/>
                    </a:lnTo>
                    <a:lnTo>
                      <a:pt x="95" y="837"/>
                    </a:lnTo>
                    <a:lnTo>
                      <a:pt x="97" y="845"/>
                    </a:lnTo>
                    <a:lnTo>
                      <a:pt x="93" y="853"/>
                    </a:lnTo>
                    <a:lnTo>
                      <a:pt x="95" y="855"/>
                    </a:lnTo>
                    <a:lnTo>
                      <a:pt x="93" y="859"/>
                    </a:lnTo>
                    <a:lnTo>
                      <a:pt x="93" y="859"/>
                    </a:lnTo>
                    <a:lnTo>
                      <a:pt x="93" y="859"/>
                    </a:lnTo>
                    <a:lnTo>
                      <a:pt x="97" y="86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47" name="Freeform 762">
                <a:extLst>
                  <a:ext uri="{FF2B5EF4-FFF2-40B4-BE49-F238E27FC236}">
                    <a16:creationId xmlns:a16="http://schemas.microsoft.com/office/drawing/2014/main" id="{75498B0A-74F6-472B-B9AC-57FE7E5013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9" y="1581"/>
                <a:ext cx="78" cy="91"/>
              </a:xfrm>
              <a:custGeom>
                <a:avLst/>
                <a:gdLst>
                  <a:gd name="T0" fmla="*/ 17 w 78"/>
                  <a:gd name="T1" fmla="*/ 74 h 91"/>
                  <a:gd name="T2" fmla="*/ 29 w 78"/>
                  <a:gd name="T3" fmla="*/ 78 h 91"/>
                  <a:gd name="T4" fmla="*/ 41 w 78"/>
                  <a:gd name="T5" fmla="*/ 85 h 91"/>
                  <a:gd name="T6" fmla="*/ 50 w 78"/>
                  <a:gd name="T7" fmla="*/ 89 h 91"/>
                  <a:gd name="T8" fmla="*/ 56 w 78"/>
                  <a:gd name="T9" fmla="*/ 89 h 91"/>
                  <a:gd name="T10" fmla="*/ 66 w 78"/>
                  <a:gd name="T11" fmla="*/ 91 h 91"/>
                  <a:gd name="T12" fmla="*/ 68 w 78"/>
                  <a:gd name="T13" fmla="*/ 89 h 91"/>
                  <a:gd name="T14" fmla="*/ 70 w 78"/>
                  <a:gd name="T15" fmla="*/ 87 h 91"/>
                  <a:gd name="T16" fmla="*/ 72 w 78"/>
                  <a:gd name="T17" fmla="*/ 83 h 91"/>
                  <a:gd name="T18" fmla="*/ 72 w 78"/>
                  <a:gd name="T19" fmla="*/ 80 h 91"/>
                  <a:gd name="T20" fmla="*/ 72 w 78"/>
                  <a:gd name="T21" fmla="*/ 78 h 91"/>
                  <a:gd name="T22" fmla="*/ 70 w 78"/>
                  <a:gd name="T23" fmla="*/ 76 h 91"/>
                  <a:gd name="T24" fmla="*/ 72 w 78"/>
                  <a:gd name="T25" fmla="*/ 74 h 91"/>
                  <a:gd name="T26" fmla="*/ 76 w 78"/>
                  <a:gd name="T27" fmla="*/ 68 h 91"/>
                  <a:gd name="T28" fmla="*/ 78 w 78"/>
                  <a:gd name="T29" fmla="*/ 64 h 91"/>
                  <a:gd name="T30" fmla="*/ 78 w 78"/>
                  <a:gd name="T31" fmla="*/ 62 h 91"/>
                  <a:gd name="T32" fmla="*/ 78 w 78"/>
                  <a:gd name="T33" fmla="*/ 58 h 91"/>
                  <a:gd name="T34" fmla="*/ 76 w 78"/>
                  <a:gd name="T35" fmla="*/ 54 h 91"/>
                  <a:gd name="T36" fmla="*/ 78 w 78"/>
                  <a:gd name="T37" fmla="*/ 54 h 91"/>
                  <a:gd name="T38" fmla="*/ 78 w 78"/>
                  <a:gd name="T39" fmla="*/ 52 h 91"/>
                  <a:gd name="T40" fmla="*/ 78 w 78"/>
                  <a:gd name="T41" fmla="*/ 52 h 91"/>
                  <a:gd name="T42" fmla="*/ 78 w 78"/>
                  <a:gd name="T43" fmla="*/ 50 h 91"/>
                  <a:gd name="T44" fmla="*/ 76 w 78"/>
                  <a:gd name="T45" fmla="*/ 46 h 91"/>
                  <a:gd name="T46" fmla="*/ 68 w 78"/>
                  <a:gd name="T47" fmla="*/ 44 h 91"/>
                  <a:gd name="T48" fmla="*/ 54 w 78"/>
                  <a:gd name="T49" fmla="*/ 35 h 91"/>
                  <a:gd name="T50" fmla="*/ 52 w 78"/>
                  <a:gd name="T51" fmla="*/ 35 h 91"/>
                  <a:gd name="T52" fmla="*/ 50 w 78"/>
                  <a:gd name="T53" fmla="*/ 33 h 91"/>
                  <a:gd name="T54" fmla="*/ 48 w 78"/>
                  <a:gd name="T55" fmla="*/ 27 h 91"/>
                  <a:gd name="T56" fmla="*/ 44 w 78"/>
                  <a:gd name="T57" fmla="*/ 25 h 91"/>
                  <a:gd name="T58" fmla="*/ 41 w 78"/>
                  <a:gd name="T59" fmla="*/ 27 h 91"/>
                  <a:gd name="T60" fmla="*/ 35 w 78"/>
                  <a:gd name="T61" fmla="*/ 21 h 91"/>
                  <a:gd name="T62" fmla="*/ 29 w 78"/>
                  <a:gd name="T63" fmla="*/ 17 h 91"/>
                  <a:gd name="T64" fmla="*/ 25 w 78"/>
                  <a:gd name="T65" fmla="*/ 13 h 91"/>
                  <a:gd name="T66" fmla="*/ 21 w 78"/>
                  <a:gd name="T67" fmla="*/ 9 h 91"/>
                  <a:gd name="T68" fmla="*/ 15 w 78"/>
                  <a:gd name="T69" fmla="*/ 0 h 91"/>
                  <a:gd name="T70" fmla="*/ 13 w 78"/>
                  <a:gd name="T71" fmla="*/ 0 h 91"/>
                  <a:gd name="T72" fmla="*/ 11 w 78"/>
                  <a:gd name="T73" fmla="*/ 1 h 91"/>
                  <a:gd name="T74" fmla="*/ 9 w 78"/>
                  <a:gd name="T75" fmla="*/ 7 h 91"/>
                  <a:gd name="T76" fmla="*/ 9 w 78"/>
                  <a:gd name="T77" fmla="*/ 11 h 91"/>
                  <a:gd name="T78" fmla="*/ 5 w 78"/>
                  <a:gd name="T79" fmla="*/ 17 h 91"/>
                  <a:gd name="T80" fmla="*/ 3 w 78"/>
                  <a:gd name="T81" fmla="*/ 21 h 91"/>
                  <a:gd name="T82" fmla="*/ 3 w 78"/>
                  <a:gd name="T83" fmla="*/ 23 h 91"/>
                  <a:gd name="T84" fmla="*/ 3 w 78"/>
                  <a:gd name="T85" fmla="*/ 41 h 91"/>
                  <a:gd name="T86" fmla="*/ 1 w 78"/>
                  <a:gd name="T87" fmla="*/ 54 h 91"/>
                  <a:gd name="T88" fmla="*/ 0 w 78"/>
                  <a:gd name="T89" fmla="*/ 60 h 91"/>
                  <a:gd name="T90" fmla="*/ 3 w 78"/>
                  <a:gd name="T91" fmla="*/ 64 h 91"/>
                  <a:gd name="T92" fmla="*/ 17 w 78"/>
                  <a:gd name="T93" fmla="*/ 74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78" h="91">
                    <a:moveTo>
                      <a:pt x="17" y="74"/>
                    </a:moveTo>
                    <a:lnTo>
                      <a:pt x="29" y="78"/>
                    </a:lnTo>
                    <a:lnTo>
                      <a:pt x="41" y="85"/>
                    </a:lnTo>
                    <a:lnTo>
                      <a:pt x="50" y="89"/>
                    </a:lnTo>
                    <a:lnTo>
                      <a:pt x="56" y="89"/>
                    </a:lnTo>
                    <a:lnTo>
                      <a:pt x="66" y="91"/>
                    </a:lnTo>
                    <a:lnTo>
                      <a:pt x="68" y="89"/>
                    </a:lnTo>
                    <a:lnTo>
                      <a:pt x="70" y="87"/>
                    </a:lnTo>
                    <a:lnTo>
                      <a:pt x="72" y="83"/>
                    </a:lnTo>
                    <a:lnTo>
                      <a:pt x="72" y="80"/>
                    </a:lnTo>
                    <a:lnTo>
                      <a:pt x="72" y="78"/>
                    </a:lnTo>
                    <a:lnTo>
                      <a:pt x="70" y="76"/>
                    </a:lnTo>
                    <a:lnTo>
                      <a:pt x="72" y="74"/>
                    </a:lnTo>
                    <a:lnTo>
                      <a:pt x="76" y="68"/>
                    </a:lnTo>
                    <a:lnTo>
                      <a:pt x="78" y="64"/>
                    </a:lnTo>
                    <a:lnTo>
                      <a:pt x="78" y="62"/>
                    </a:lnTo>
                    <a:lnTo>
                      <a:pt x="78" y="58"/>
                    </a:lnTo>
                    <a:lnTo>
                      <a:pt x="76" y="54"/>
                    </a:lnTo>
                    <a:lnTo>
                      <a:pt x="78" y="54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0"/>
                    </a:lnTo>
                    <a:lnTo>
                      <a:pt x="76" y="46"/>
                    </a:lnTo>
                    <a:lnTo>
                      <a:pt x="68" y="44"/>
                    </a:lnTo>
                    <a:lnTo>
                      <a:pt x="54" y="35"/>
                    </a:lnTo>
                    <a:lnTo>
                      <a:pt x="52" y="35"/>
                    </a:lnTo>
                    <a:lnTo>
                      <a:pt x="50" y="33"/>
                    </a:lnTo>
                    <a:lnTo>
                      <a:pt x="48" y="27"/>
                    </a:lnTo>
                    <a:lnTo>
                      <a:pt x="44" y="25"/>
                    </a:lnTo>
                    <a:lnTo>
                      <a:pt x="41" y="27"/>
                    </a:lnTo>
                    <a:lnTo>
                      <a:pt x="35" y="21"/>
                    </a:lnTo>
                    <a:lnTo>
                      <a:pt x="29" y="17"/>
                    </a:lnTo>
                    <a:lnTo>
                      <a:pt x="25" y="13"/>
                    </a:lnTo>
                    <a:lnTo>
                      <a:pt x="21" y="9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9" y="7"/>
                    </a:lnTo>
                    <a:lnTo>
                      <a:pt x="9" y="11"/>
                    </a:lnTo>
                    <a:lnTo>
                      <a:pt x="5" y="17"/>
                    </a:lnTo>
                    <a:lnTo>
                      <a:pt x="3" y="21"/>
                    </a:lnTo>
                    <a:lnTo>
                      <a:pt x="3" y="23"/>
                    </a:lnTo>
                    <a:lnTo>
                      <a:pt x="3" y="41"/>
                    </a:lnTo>
                    <a:lnTo>
                      <a:pt x="1" y="54"/>
                    </a:lnTo>
                    <a:lnTo>
                      <a:pt x="0" y="60"/>
                    </a:lnTo>
                    <a:lnTo>
                      <a:pt x="3" y="64"/>
                    </a:lnTo>
                    <a:lnTo>
                      <a:pt x="17" y="7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48" name="Freeform 763">
                <a:extLst>
                  <a:ext uri="{FF2B5EF4-FFF2-40B4-BE49-F238E27FC236}">
                    <a16:creationId xmlns:a16="http://schemas.microsoft.com/office/drawing/2014/main" id="{6F7AB4FF-C624-4FB5-9DB6-143E851E6A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" y="1079"/>
                <a:ext cx="68" cy="91"/>
              </a:xfrm>
              <a:custGeom>
                <a:avLst/>
                <a:gdLst>
                  <a:gd name="T0" fmla="*/ 22 w 68"/>
                  <a:gd name="T1" fmla="*/ 91 h 91"/>
                  <a:gd name="T2" fmla="*/ 29 w 68"/>
                  <a:gd name="T3" fmla="*/ 90 h 91"/>
                  <a:gd name="T4" fmla="*/ 43 w 68"/>
                  <a:gd name="T5" fmla="*/ 80 h 91"/>
                  <a:gd name="T6" fmla="*/ 53 w 68"/>
                  <a:gd name="T7" fmla="*/ 72 h 91"/>
                  <a:gd name="T8" fmla="*/ 57 w 68"/>
                  <a:gd name="T9" fmla="*/ 62 h 91"/>
                  <a:gd name="T10" fmla="*/ 59 w 68"/>
                  <a:gd name="T11" fmla="*/ 56 h 91"/>
                  <a:gd name="T12" fmla="*/ 59 w 68"/>
                  <a:gd name="T13" fmla="*/ 56 h 91"/>
                  <a:gd name="T14" fmla="*/ 61 w 68"/>
                  <a:gd name="T15" fmla="*/ 54 h 91"/>
                  <a:gd name="T16" fmla="*/ 59 w 68"/>
                  <a:gd name="T17" fmla="*/ 52 h 91"/>
                  <a:gd name="T18" fmla="*/ 55 w 68"/>
                  <a:gd name="T19" fmla="*/ 39 h 91"/>
                  <a:gd name="T20" fmla="*/ 55 w 68"/>
                  <a:gd name="T21" fmla="*/ 37 h 91"/>
                  <a:gd name="T22" fmla="*/ 55 w 68"/>
                  <a:gd name="T23" fmla="*/ 31 h 91"/>
                  <a:gd name="T24" fmla="*/ 59 w 68"/>
                  <a:gd name="T25" fmla="*/ 27 h 91"/>
                  <a:gd name="T26" fmla="*/ 61 w 68"/>
                  <a:gd name="T27" fmla="*/ 29 h 91"/>
                  <a:gd name="T28" fmla="*/ 63 w 68"/>
                  <a:gd name="T29" fmla="*/ 35 h 91"/>
                  <a:gd name="T30" fmla="*/ 65 w 68"/>
                  <a:gd name="T31" fmla="*/ 33 h 91"/>
                  <a:gd name="T32" fmla="*/ 68 w 68"/>
                  <a:gd name="T33" fmla="*/ 19 h 91"/>
                  <a:gd name="T34" fmla="*/ 68 w 68"/>
                  <a:gd name="T35" fmla="*/ 15 h 91"/>
                  <a:gd name="T36" fmla="*/ 66 w 68"/>
                  <a:gd name="T37" fmla="*/ 9 h 91"/>
                  <a:gd name="T38" fmla="*/ 68 w 68"/>
                  <a:gd name="T39" fmla="*/ 4 h 91"/>
                  <a:gd name="T40" fmla="*/ 66 w 68"/>
                  <a:gd name="T41" fmla="*/ 0 h 91"/>
                  <a:gd name="T42" fmla="*/ 63 w 68"/>
                  <a:gd name="T43" fmla="*/ 8 h 91"/>
                  <a:gd name="T44" fmla="*/ 53 w 68"/>
                  <a:gd name="T45" fmla="*/ 17 h 91"/>
                  <a:gd name="T46" fmla="*/ 47 w 68"/>
                  <a:gd name="T47" fmla="*/ 19 h 91"/>
                  <a:gd name="T48" fmla="*/ 31 w 68"/>
                  <a:gd name="T49" fmla="*/ 25 h 91"/>
                  <a:gd name="T50" fmla="*/ 25 w 68"/>
                  <a:gd name="T51" fmla="*/ 27 h 91"/>
                  <a:gd name="T52" fmla="*/ 23 w 68"/>
                  <a:gd name="T53" fmla="*/ 27 h 91"/>
                  <a:gd name="T54" fmla="*/ 22 w 68"/>
                  <a:gd name="T55" fmla="*/ 33 h 91"/>
                  <a:gd name="T56" fmla="*/ 23 w 68"/>
                  <a:gd name="T57" fmla="*/ 35 h 91"/>
                  <a:gd name="T58" fmla="*/ 18 w 68"/>
                  <a:gd name="T59" fmla="*/ 43 h 91"/>
                  <a:gd name="T60" fmla="*/ 20 w 68"/>
                  <a:gd name="T61" fmla="*/ 47 h 91"/>
                  <a:gd name="T62" fmla="*/ 23 w 68"/>
                  <a:gd name="T63" fmla="*/ 47 h 91"/>
                  <a:gd name="T64" fmla="*/ 22 w 68"/>
                  <a:gd name="T65" fmla="*/ 52 h 91"/>
                  <a:gd name="T66" fmla="*/ 4 w 68"/>
                  <a:gd name="T67" fmla="*/ 58 h 91"/>
                  <a:gd name="T68" fmla="*/ 6 w 68"/>
                  <a:gd name="T69" fmla="*/ 62 h 91"/>
                  <a:gd name="T70" fmla="*/ 6 w 68"/>
                  <a:gd name="T71" fmla="*/ 66 h 91"/>
                  <a:gd name="T72" fmla="*/ 2 w 68"/>
                  <a:gd name="T73" fmla="*/ 68 h 91"/>
                  <a:gd name="T74" fmla="*/ 0 w 68"/>
                  <a:gd name="T75" fmla="*/ 70 h 91"/>
                  <a:gd name="T76" fmla="*/ 2 w 68"/>
                  <a:gd name="T77" fmla="*/ 74 h 91"/>
                  <a:gd name="T78" fmla="*/ 8 w 68"/>
                  <a:gd name="T79" fmla="*/ 72 h 91"/>
                  <a:gd name="T80" fmla="*/ 16 w 68"/>
                  <a:gd name="T81" fmla="*/ 8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8" h="91">
                    <a:moveTo>
                      <a:pt x="18" y="82"/>
                    </a:moveTo>
                    <a:lnTo>
                      <a:pt x="22" y="91"/>
                    </a:lnTo>
                    <a:lnTo>
                      <a:pt x="23" y="91"/>
                    </a:lnTo>
                    <a:lnTo>
                      <a:pt x="29" y="90"/>
                    </a:lnTo>
                    <a:lnTo>
                      <a:pt x="41" y="86"/>
                    </a:lnTo>
                    <a:lnTo>
                      <a:pt x="43" y="80"/>
                    </a:lnTo>
                    <a:lnTo>
                      <a:pt x="49" y="76"/>
                    </a:lnTo>
                    <a:lnTo>
                      <a:pt x="53" y="72"/>
                    </a:lnTo>
                    <a:lnTo>
                      <a:pt x="55" y="68"/>
                    </a:lnTo>
                    <a:lnTo>
                      <a:pt x="57" y="62"/>
                    </a:lnTo>
                    <a:lnTo>
                      <a:pt x="59" y="58"/>
                    </a:lnTo>
                    <a:lnTo>
                      <a:pt x="59" y="56"/>
                    </a:lnTo>
                    <a:lnTo>
                      <a:pt x="57" y="56"/>
                    </a:lnTo>
                    <a:lnTo>
                      <a:pt x="59" y="56"/>
                    </a:lnTo>
                    <a:lnTo>
                      <a:pt x="59" y="56"/>
                    </a:lnTo>
                    <a:lnTo>
                      <a:pt x="61" y="54"/>
                    </a:lnTo>
                    <a:lnTo>
                      <a:pt x="61" y="54"/>
                    </a:lnTo>
                    <a:lnTo>
                      <a:pt x="59" y="52"/>
                    </a:lnTo>
                    <a:lnTo>
                      <a:pt x="57" y="49"/>
                    </a:lnTo>
                    <a:lnTo>
                      <a:pt x="55" y="39"/>
                    </a:lnTo>
                    <a:lnTo>
                      <a:pt x="55" y="37"/>
                    </a:lnTo>
                    <a:lnTo>
                      <a:pt x="55" y="37"/>
                    </a:lnTo>
                    <a:lnTo>
                      <a:pt x="53" y="35"/>
                    </a:lnTo>
                    <a:lnTo>
                      <a:pt x="55" y="31"/>
                    </a:lnTo>
                    <a:lnTo>
                      <a:pt x="55" y="29"/>
                    </a:lnTo>
                    <a:lnTo>
                      <a:pt x="59" y="27"/>
                    </a:lnTo>
                    <a:lnTo>
                      <a:pt x="61" y="27"/>
                    </a:lnTo>
                    <a:lnTo>
                      <a:pt x="61" y="29"/>
                    </a:lnTo>
                    <a:lnTo>
                      <a:pt x="63" y="31"/>
                    </a:lnTo>
                    <a:lnTo>
                      <a:pt x="63" y="35"/>
                    </a:lnTo>
                    <a:lnTo>
                      <a:pt x="63" y="33"/>
                    </a:lnTo>
                    <a:lnTo>
                      <a:pt x="65" y="33"/>
                    </a:lnTo>
                    <a:lnTo>
                      <a:pt x="66" y="29"/>
                    </a:lnTo>
                    <a:lnTo>
                      <a:pt x="68" y="19"/>
                    </a:lnTo>
                    <a:lnTo>
                      <a:pt x="68" y="17"/>
                    </a:lnTo>
                    <a:lnTo>
                      <a:pt x="68" y="15"/>
                    </a:lnTo>
                    <a:lnTo>
                      <a:pt x="66" y="11"/>
                    </a:lnTo>
                    <a:lnTo>
                      <a:pt x="66" y="9"/>
                    </a:lnTo>
                    <a:lnTo>
                      <a:pt x="66" y="8"/>
                    </a:lnTo>
                    <a:lnTo>
                      <a:pt x="68" y="4"/>
                    </a:lnTo>
                    <a:lnTo>
                      <a:pt x="68" y="2"/>
                    </a:lnTo>
                    <a:lnTo>
                      <a:pt x="66" y="0"/>
                    </a:lnTo>
                    <a:lnTo>
                      <a:pt x="65" y="4"/>
                    </a:lnTo>
                    <a:lnTo>
                      <a:pt x="63" y="8"/>
                    </a:lnTo>
                    <a:lnTo>
                      <a:pt x="59" y="6"/>
                    </a:lnTo>
                    <a:lnTo>
                      <a:pt x="53" y="17"/>
                    </a:lnTo>
                    <a:lnTo>
                      <a:pt x="49" y="21"/>
                    </a:lnTo>
                    <a:lnTo>
                      <a:pt x="47" y="19"/>
                    </a:lnTo>
                    <a:lnTo>
                      <a:pt x="41" y="23"/>
                    </a:lnTo>
                    <a:lnTo>
                      <a:pt x="31" y="25"/>
                    </a:lnTo>
                    <a:lnTo>
                      <a:pt x="27" y="27"/>
                    </a:lnTo>
                    <a:lnTo>
                      <a:pt x="25" y="27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2" y="27"/>
                    </a:lnTo>
                    <a:lnTo>
                      <a:pt x="22" y="33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2" y="39"/>
                    </a:lnTo>
                    <a:lnTo>
                      <a:pt x="18" y="43"/>
                    </a:lnTo>
                    <a:lnTo>
                      <a:pt x="18" y="45"/>
                    </a:lnTo>
                    <a:lnTo>
                      <a:pt x="20" y="47"/>
                    </a:lnTo>
                    <a:lnTo>
                      <a:pt x="22" y="47"/>
                    </a:lnTo>
                    <a:lnTo>
                      <a:pt x="23" y="47"/>
                    </a:lnTo>
                    <a:lnTo>
                      <a:pt x="25" y="47"/>
                    </a:lnTo>
                    <a:lnTo>
                      <a:pt x="22" y="52"/>
                    </a:lnTo>
                    <a:lnTo>
                      <a:pt x="10" y="54"/>
                    </a:lnTo>
                    <a:lnTo>
                      <a:pt x="4" y="58"/>
                    </a:lnTo>
                    <a:lnTo>
                      <a:pt x="6" y="58"/>
                    </a:lnTo>
                    <a:lnTo>
                      <a:pt x="6" y="62"/>
                    </a:lnTo>
                    <a:lnTo>
                      <a:pt x="6" y="64"/>
                    </a:lnTo>
                    <a:lnTo>
                      <a:pt x="6" y="66"/>
                    </a:lnTo>
                    <a:lnTo>
                      <a:pt x="4" y="66"/>
                    </a:lnTo>
                    <a:lnTo>
                      <a:pt x="2" y="68"/>
                    </a:lnTo>
                    <a:lnTo>
                      <a:pt x="2" y="68"/>
                    </a:lnTo>
                    <a:lnTo>
                      <a:pt x="0" y="70"/>
                    </a:lnTo>
                    <a:lnTo>
                      <a:pt x="0" y="74"/>
                    </a:lnTo>
                    <a:lnTo>
                      <a:pt x="2" y="74"/>
                    </a:lnTo>
                    <a:lnTo>
                      <a:pt x="6" y="72"/>
                    </a:lnTo>
                    <a:lnTo>
                      <a:pt x="8" y="72"/>
                    </a:lnTo>
                    <a:lnTo>
                      <a:pt x="12" y="74"/>
                    </a:lnTo>
                    <a:lnTo>
                      <a:pt x="16" y="80"/>
                    </a:lnTo>
                    <a:lnTo>
                      <a:pt x="18" y="8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49" name="Freeform 764">
                <a:extLst>
                  <a:ext uri="{FF2B5EF4-FFF2-40B4-BE49-F238E27FC236}">
                    <a16:creationId xmlns:a16="http://schemas.microsoft.com/office/drawing/2014/main" id="{66E35F8E-B28D-4B40-850B-E55E2D3F80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" y="1682"/>
                <a:ext cx="143" cy="96"/>
              </a:xfrm>
              <a:custGeom>
                <a:avLst/>
                <a:gdLst>
                  <a:gd name="T0" fmla="*/ 139 w 143"/>
                  <a:gd name="T1" fmla="*/ 51 h 96"/>
                  <a:gd name="T2" fmla="*/ 129 w 143"/>
                  <a:gd name="T3" fmla="*/ 39 h 96"/>
                  <a:gd name="T4" fmla="*/ 131 w 143"/>
                  <a:gd name="T5" fmla="*/ 37 h 96"/>
                  <a:gd name="T6" fmla="*/ 125 w 143"/>
                  <a:gd name="T7" fmla="*/ 33 h 96"/>
                  <a:gd name="T8" fmla="*/ 121 w 143"/>
                  <a:gd name="T9" fmla="*/ 25 h 96"/>
                  <a:gd name="T10" fmla="*/ 108 w 143"/>
                  <a:gd name="T11" fmla="*/ 16 h 96"/>
                  <a:gd name="T12" fmla="*/ 108 w 143"/>
                  <a:gd name="T13" fmla="*/ 23 h 96"/>
                  <a:gd name="T14" fmla="*/ 108 w 143"/>
                  <a:gd name="T15" fmla="*/ 27 h 96"/>
                  <a:gd name="T16" fmla="*/ 100 w 143"/>
                  <a:gd name="T17" fmla="*/ 29 h 96"/>
                  <a:gd name="T18" fmla="*/ 96 w 143"/>
                  <a:gd name="T19" fmla="*/ 35 h 96"/>
                  <a:gd name="T20" fmla="*/ 100 w 143"/>
                  <a:gd name="T21" fmla="*/ 43 h 96"/>
                  <a:gd name="T22" fmla="*/ 65 w 143"/>
                  <a:gd name="T23" fmla="*/ 25 h 96"/>
                  <a:gd name="T24" fmla="*/ 57 w 143"/>
                  <a:gd name="T25" fmla="*/ 12 h 96"/>
                  <a:gd name="T26" fmla="*/ 51 w 143"/>
                  <a:gd name="T27" fmla="*/ 8 h 96"/>
                  <a:gd name="T28" fmla="*/ 39 w 143"/>
                  <a:gd name="T29" fmla="*/ 0 h 96"/>
                  <a:gd name="T30" fmla="*/ 12 w 143"/>
                  <a:gd name="T31" fmla="*/ 4 h 96"/>
                  <a:gd name="T32" fmla="*/ 2 w 143"/>
                  <a:gd name="T33" fmla="*/ 16 h 96"/>
                  <a:gd name="T34" fmla="*/ 4 w 143"/>
                  <a:gd name="T35" fmla="*/ 23 h 96"/>
                  <a:gd name="T36" fmla="*/ 16 w 143"/>
                  <a:gd name="T37" fmla="*/ 35 h 96"/>
                  <a:gd name="T38" fmla="*/ 14 w 143"/>
                  <a:gd name="T39" fmla="*/ 43 h 96"/>
                  <a:gd name="T40" fmla="*/ 4 w 143"/>
                  <a:gd name="T41" fmla="*/ 43 h 96"/>
                  <a:gd name="T42" fmla="*/ 0 w 143"/>
                  <a:gd name="T43" fmla="*/ 51 h 96"/>
                  <a:gd name="T44" fmla="*/ 4 w 143"/>
                  <a:gd name="T45" fmla="*/ 57 h 96"/>
                  <a:gd name="T46" fmla="*/ 24 w 143"/>
                  <a:gd name="T47" fmla="*/ 64 h 96"/>
                  <a:gd name="T48" fmla="*/ 49 w 143"/>
                  <a:gd name="T49" fmla="*/ 78 h 96"/>
                  <a:gd name="T50" fmla="*/ 74 w 143"/>
                  <a:gd name="T51" fmla="*/ 96 h 96"/>
                  <a:gd name="T52" fmla="*/ 86 w 143"/>
                  <a:gd name="T53" fmla="*/ 90 h 96"/>
                  <a:gd name="T54" fmla="*/ 102 w 143"/>
                  <a:gd name="T55" fmla="*/ 84 h 96"/>
                  <a:gd name="T56" fmla="*/ 135 w 143"/>
                  <a:gd name="T57" fmla="*/ 88 h 96"/>
                  <a:gd name="T58" fmla="*/ 141 w 143"/>
                  <a:gd name="T59" fmla="*/ 76 h 96"/>
                  <a:gd name="T60" fmla="*/ 135 w 143"/>
                  <a:gd name="T61" fmla="*/ 70 h 96"/>
                  <a:gd name="T62" fmla="*/ 139 w 143"/>
                  <a:gd name="T63" fmla="*/ 68 h 96"/>
                  <a:gd name="T64" fmla="*/ 143 w 143"/>
                  <a:gd name="T65" fmla="*/ 63 h 96"/>
                  <a:gd name="T66" fmla="*/ 143 w 143"/>
                  <a:gd name="T67" fmla="*/ 59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3" h="96">
                    <a:moveTo>
                      <a:pt x="141" y="55"/>
                    </a:moveTo>
                    <a:lnTo>
                      <a:pt x="139" y="51"/>
                    </a:lnTo>
                    <a:lnTo>
                      <a:pt x="131" y="45"/>
                    </a:lnTo>
                    <a:lnTo>
                      <a:pt x="129" y="39"/>
                    </a:lnTo>
                    <a:lnTo>
                      <a:pt x="129" y="39"/>
                    </a:lnTo>
                    <a:lnTo>
                      <a:pt x="131" y="37"/>
                    </a:lnTo>
                    <a:lnTo>
                      <a:pt x="129" y="35"/>
                    </a:lnTo>
                    <a:lnTo>
                      <a:pt x="125" y="33"/>
                    </a:lnTo>
                    <a:lnTo>
                      <a:pt x="121" y="29"/>
                    </a:lnTo>
                    <a:lnTo>
                      <a:pt x="121" y="25"/>
                    </a:lnTo>
                    <a:lnTo>
                      <a:pt x="108" y="14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8" y="23"/>
                    </a:lnTo>
                    <a:lnTo>
                      <a:pt x="110" y="27"/>
                    </a:lnTo>
                    <a:lnTo>
                      <a:pt x="108" y="27"/>
                    </a:lnTo>
                    <a:lnTo>
                      <a:pt x="104" y="29"/>
                    </a:lnTo>
                    <a:lnTo>
                      <a:pt x="100" y="29"/>
                    </a:lnTo>
                    <a:lnTo>
                      <a:pt x="96" y="31"/>
                    </a:lnTo>
                    <a:lnTo>
                      <a:pt x="96" y="35"/>
                    </a:lnTo>
                    <a:lnTo>
                      <a:pt x="98" y="37"/>
                    </a:lnTo>
                    <a:lnTo>
                      <a:pt x="100" y="43"/>
                    </a:lnTo>
                    <a:lnTo>
                      <a:pt x="69" y="25"/>
                    </a:lnTo>
                    <a:lnTo>
                      <a:pt x="65" y="25"/>
                    </a:lnTo>
                    <a:lnTo>
                      <a:pt x="61" y="23"/>
                    </a:lnTo>
                    <a:lnTo>
                      <a:pt x="57" y="12"/>
                    </a:lnTo>
                    <a:lnTo>
                      <a:pt x="53" y="10"/>
                    </a:lnTo>
                    <a:lnTo>
                      <a:pt x="51" y="8"/>
                    </a:lnTo>
                    <a:lnTo>
                      <a:pt x="43" y="2"/>
                    </a:lnTo>
                    <a:lnTo>
                      <a:pt x="39" y="0"/>
                    </a:lnTo>
                    <a:lnTo>
                      <a:pt x="14" y="4"/>
                    </a:lnTo>
                    <a:lnTo>
                      <a:pt x="12" y="4"/>
                    </a:lnTo>
                    <a:lnTo>
                      <a:pt x="4" y="12"/>
                    </a:lnTo>
                    <a:lnTo>
                      <a:pt x="2" y="16"/>
                    </a:lnTo>
                    <a:lnTo>
                      <a:pt x="2" y="22"/>
                    </a:lnTo>
                    <a:lnTo>
                      <a:pt x="4" y="23"/>
                    </a:lnTo>
                    <a:lnTo>
                      <a:pt x="12" y="33"/>
                    </a:lnTo>
                    <a:lnTo>
                      <a:pt x="16" y="35"/>
                    </a:lnTo>
                    <a:lnTo>
                      <a:pt x="18" y="37"/>
                    </a:lnTo>
                    <a:lnTo>
                      <a:pt x="14" y="43"/>
                    </a:lnTo>
                    <a:lnTo>
                      <a:pt x="10" y="43"/>
                    </a:lnTo>
                    <a:lnTo>
                      <a:pt x="4" y="43"/>
                    </a:lnTo>
                    <a:lnTo>
                      <a:pt x="0" y="45"/>
                    </a:lnTo>
                    <a:lnTo>
                      <a:pt x="0" y="51"/>
                    </a:lnTo>
                    <a:lnTo>
                      <a:pt x="2" y="55"/>
                    </a:lnTo>
                    <a:lnTo>
                      <a:pt x="4" y="57"/>
                    </a:lnTo>
                    <a:lnTo>
                      <a:pt x="14" y="61"/>
                    </a:lnTo>
                    <a:lnTo>
                      <a:pt x="24" y="64"/>
                    </a:lnTo>
                    <a:lnTo>
                      <a:pt x="31" y="66"/>
                    </a:lnTo>
                    <a:lnTo>
                      <a:pt x="49" y="78"/>
                    </a:lnTo>
                    <a:lnTo>
                      <a:pt x="59" y="86"/>
                    </a:lnTo>
                    <a:lnTo>
                      <a:pt x="74" y="96"/>
                    </a:lnTo>
                    <a:lnTo>
                      <a:pt x="78" y="96"/>
                    </a:lnTo>
                    <a:lnTo>
                      <a:pt x="86" y="90"/>
                    </a:lnTo>
                    <a:lnTo>
                      <a:pt x="94" y="86"/>
                    </a:lnTo>
                    <a:lnTo>
                      <a:pt x="102" y="84"/>
                    </a:lnTo>
                    <a:lnTo>
                      <a:pt x="127" y="90"/>
                    </a:lnTo>
                    <a:lnTo>
                      <a:pt x="135" y="88"/>
                    </a:lnTo>
                    <a:lnTo>
                      <a:pt x="141" y="82"/>
                    </a:lnTo>
                    <a:lnTo>
                      <a:pt x="141" y="76"/>
                    </a:lnTo>
                    <a:lnTo>
                      <a:pt x="135" y="72"/>
                    </a:lnTo>
                    <a:lnTo>
                      <a:pt x="135" y="70"/>
                    </a:lnTo>
                    <a:lnTo>
                      <a:pt x="137" y="68"/>
                    </a:lnTo>
                    <a:lnTo>
                      <a:pt x="139" y="68"/>
                    </a:lnTo>
                    <a:lnTo>
                      <a:pt x="141" y="66"/>
                    </a:lnTo>
                    <a:lnTo>
                      <a:pt x="143" y="63"/>
                    </a:lnTo>
                    <a:lnTo>
                      <a:pt x="143" y="61"/>
                    </a:lnTo>
                    <a:lnTo>
                      <a:pt x="143" y="59"/>
                    </a:lnTo>
                    <a:lnTo>
                      <a:pt x="141" y="5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50" name="Freeform 765">
                <a:extLst>
                  <a:ext uri="{FF2B5EF4-FFF2-40B4-BE49-F238E27FC236}">
                    <a16:creationId xmlns:a16="http://schemas.microsoft.com/office/drawing/2014/main" id="{C7E240E8-5A87-421B-B5E5-5D2BC74F0B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" y="1534"/>
                <a:ext cx="19" cy="37"/>
              </a:xfrm>
              <a:custGeom>
                <a:avLst/>
                <a:gdLst>
                  <a:gd name="T0" fmla="*/ 5 w 19"/>
                  <a:gd name="T1" fmla="*/ 25 h 37"/>
                  <a:gd name="T2" fmla="*/ 9 w 19"/>
                  <a:gd name="T3" fmla="*/ 33 h 37"/>
                  <a:gd name="T4" fmla="*/ 13 w 19"/>
                  <a:gd name="T5" fmla="*/ 37 h 37"/>
                  <a:gd name="T6" fmla="*/ 19 w 19"/>
                  <a:gd name="T7" fmla="*/ 35 h 37"/>
                  <a:gd name="T8" fmla="*/ 17 w 19"/>
                  <a:gd name="T9" fmla="*/ 33 h 37"/>
                  <a:gd name="T10" fmla="*/ 15 w 19"/>
                  <a:gd name="T11" fmla="*/ 27 h 37"/>
                  <a:gd name="T12" fmla="*/ 15 w 19"/>
                  <a:gd name="T13" fmla="*/ 23 h 37"/>
                  <a:gd name="T14" fmla="*/ 13 w 19"/>
                  <a:gd name="T15" fmla="*/ 21 h 37"/>
                  <a:gd name="T16" fmla="*/ 15 w 19"/>
                  <a:gd name="T17" fmla="*/ 15 h 37"/>
                  <a:gd name="T18" fmla="*/ 15 w 19"/>
                  <a:gd name="T19" fmla="*/ 11 h 37"/>
                  <a:gd name="T20" fmla="*/ 13 w 19"/>
                  <a:gd name="T21" fmla="*/ 9 h 37"/>
                  <a:gd name="T22" fmla="*/ 9 w 19"/>
                  <a:gd name="T23" fmla="*/ 9 h 37"/>
                  <a:gd name="T24" fmla="*/ 7 w 19"/>
                  <a:gd name="T25" fmla="*/ 7 h 37"/>
                  <a:gd name="T26" fmla="*/ 7 w 19"/>
                  <a:gd name="T27" fmla="*/ 0 h 37"/>
                  <a:gd name="T28" fmla="*/ 2 w 19"/>
                  <a:gd name="T29" fmla="*/ 0 h 37"/>
                  <a:gd name="T30" fmla="*/ 0 w 19"/>
                  <a:gd name="T31" fmla="*/ 6 h 37"/>
                  <a:gd name="T32" fmla="*/ 2 w 19"/>
                  <a:gd name="T33" fmla="*/ 11 h 37"/>
                  <a:gd name="T34" fmla="*/ 5 w 19"/>
                  <a:gd name="T35" fmla="*/ 25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" h="37">
                    <a:moveTo>
                      <a:pt x="5" y="25"/>
                    </a:moveTo>
                    <a:lnTo>
                      <a:pt x="9" y="33"/>
                    </a:lnTo>
                    <a:lnTo>
                      <a:pt x="13" y="37"/>
                    </a:lnTo>
                    <a:lnTo>
                      <a:pt x="19" y="35"/>
                    </a:lnTo>
                    <a:lnTo>
                      <a:pt x="17" y="33"/>
                    </a:lnTo>
                    <a:lnTo>
                      <a:pt x="15" y="27"/>
                    </a:lnTo>
                    <a:lnTo>
                      <a:pt x="15" y="23"/>
                    </a:lnTo>
                    <a:lnTo>
                      <a:pt x="13" y="21"/>
                    </a:lnTo>
                    <a:lnTo>
                      <a:pt x="15" y="15"/>
                    </a:lnTo>
                    <a:lnTo>
                      <a:pt x="15" y="11"/>
                    </a:lnTo>
                    <a:lnTo>
                      <a:pt x="13" y="9"/>
                    </a:lnTo>
                    <a:lnTo>
                      <a:pt x="9" y="9"/>
                    </a:lnTo>
                    <a:lnTo>
                      <a:pt x="7" y="7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2" y="11"/>
                    </a:lnTo>
                    <a:lnTo>
                      <a:pt x="5" y="2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51" name="Freeform 766">
                <a:extLst>
                  <a:ext uri="{FF2B5EF4-FFF2-40B4-BE49-F238E27FC236}">
                    <a16:creationId xmlns:a16="http://schemas.microsoft.com/office/drawing/2014/main" id="{23634C20-6660-4B66-8359-B836F4CE83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" y="1645"/>
                <a:ext cx="74" cy="66"/>
              </a:xfrm>
              <a:custGeom>
                <a:avLst/>
                <a:gdLst>
                  <a:gd name="T0" fmla="*/ 60 w 74"/>
                  <a:gd name="T1" fmla="*/ 25 h 66"/>
                  <a:gd name="T2" fmla="*/ 50 w 74"/>
                  <a:gd name="T3" fmla="*/ 18 h 66"/>
                  <a:gd name="T4" fmla="*/ 37 w 74"/>
                  <a:gd name="T5" fmla="*/ 14 h 66"/>
                  <a:gd name="T6" fmla="*/ 21 w 74"/>
                  <a:gd name="T7" fmla="*/ 0 h 66"/>
                  <a:gd name="T8" fmla="*/ 0 w 74"/>
                  <a:gd name="T9" fmla="*/ 8 h 66"/>
                  <a:gd name="T10" fmla="*/ 4 w 74"/>
                  <a:gd name="T11" fmla="*/ 12 h 66"/>
                  <a:gd name="T12" fmla="*/ 9 w 74"/>
                  <a:gd name="T13" fmla="*/ 10 h 66"/>
                  <a:gd name="T14" fmla="*/ 11 w 74"/>
                  <a:gd name="T15" fmla="*/ 12 h 66"/>
                  <a:gd name="T16" fmla="*/ 7 w 74"/>
                  <a:gd name="T17" fmla="*/ 16 h 66"/>
                  <a:gd name="T18" fmla="*/ 9 w 74"/>
                  <a:gd name="T19" fmla="*/ 19 h 66"/>
                  <a:gd name="T20" fmla="*/ 13 w 74"/>
                  <a:gd name="T21" fmla="*/ 21 h 66"/>
                  <a:gd name="T22" fmla="*/ 29 w 74"/>
                  <a:gd name="T23" fmla="*/ 19 h 66"/>
                  <a:gd name="T24" fmla="*/ 27 w 74"/>
                  <a:gd name="T25" fmla="*/ 25 h 66"/>
                  <a:gd name="T26" fmla="*/ 35 w 74"/>
                  <a:gd name="T27" fmla="*/ 33 h 66"/>
                  <a:gd name="T28" fmla="*/ 35 w 74"/>
                  <a:gd name="T29" fmla="*/ 35 h 66"/>
                  <a:gd name="T30" fmla="*/ 35 w 74"/>
                  <a:gd name="T31" fmla="*/ 37 h 66"/>
                  <a:gd name="T32" fmla="*/ 37 w 74"/>
                  <a:gd name="T33" fmla="*/ 41 h 66"/>
                  <a:gd name="T34" fmla="*/ 29 w 74"/>
                  <a:gd name="T35" fmla="*/ 37 h 66"/>
                  <a:gd name="T36" fmla="*/ 21 w 74"/>
                  <a:gd name="T37" fmla="*/ 31 h 66"/>
                  <a:gd name="T38" fmla="*/ 23 w 74"/>
                  <a:gd name="T39" fmla="*/ 31 h 66"/>
                  <a:gd name="T40" fmla="*/ 25 w 74"/>
                  <a:gd name="T41" fmla="*/ 49 h 66"/>
                  <a:gd name="T42" fmla="*/ 39 w 74"/>
                  <a:gd name="T43" fmla="*/ 55 h 66"/>
                  <a:gd name="T44" fmla="*/ 43 w 74"/>
                  <a:gd name="T45" fmla="*/ 51 h 66"/>
                  <a:gd name="T46" fmla="*/ 45 w 74"/>
                  <a:gd name="T47" fmla="*/ 51 h 66"/>
                  <a:gd name="T48" fmla="*/ 60 w 74"/>
                  <a:gd name="T49" fmla="*/ 60 h 66"/>
                  <a:gd name="T50" fmla="*/ 56 w 74"/>
                  <a:gd name="T51" fmla="*/ 60 h 66"/>
                  <a:gd name="T52" fmla="*/ 47 w 74"/>
                  <a:gd name="T53" fmla="*/ 55 h 66"/>
                  <a:gd name="T54" fmla="*/ 41 w 74"/>
                  <a:gd name="T55" fmla="*/ 59 h 66"/>
                  <a:gd name="T56" fmla="*/ 52 w 74"/>
                  <a:gd name="T57" fmla="*/ 62 h 66"/>
                  <a:gd name="T58" fmla="*/ 56 w 74"/>
                  <a:gd name="T59" fmla="*/ 66 h 66"/>
                  <a:gd name="T60" fmla="*/ 64 w 74"/>
                  <a:gd name="T61" fmla="*/ 60 h 66"/>
                  <a:gd name="T62" fmla="*/ 70 w 74"/>
                  <a:gd name="T63" fmla="*/ 60 h 66"/>
                  <a:gd name="T64" fmla="*/ 74 w 74"/>
                  <a:gd name="T65" fmla="*/ 57 h 66"/>
                  <a:gd name="T66" fmla="*/ 64 w 74"/>
                  <a:gd name="T67" fmla="*/ 31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4" h="66">
                    <a:moveTo>
                      <a:pt x="64" y="31"/>
                    </a:moveTo>
                    <a:lnTo>
                      <a:pt x="60" y="25"/>
                    </a:lnTo>
                    <a:lnTo>
                      <a:pt x="56" y="21"/>
                    </a:lnTo>
                    <a:lnTo>
                      <a:pt x="50" y="18"/>
                    </a:lnTo>
                    <a:lnTo>
                      <a:pt x="43" y="16"/>
                    </a:lnTo>
                    <a:lnTo>
                      <a:pt x="37" y="14"/>
                    </a:lnTo>
                    <a:lnTo>
                      <a:pt x="27" y="2"/>
                    </a:lnTo>
                    <a:lnTo>
                      <a:pt x="21" y="0"/>
                    </a:lnTo>
                    <a:lnTo>
                      <a:pt x="15" y="2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5" y="12"/>
                    </a:lnTo>
                    <a:lnTo>
                      <a:pt x="9" y="10"/>
                    </a:lnTo>
                    <a:lnTo>
                      <a:pt x="11" y="10"/>
                    </a:lnTo>
                    <a:lnTo>
                      <a:pt x="11" y="12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7" y="19"/>
                    </a:lnTo>
                    <a:lnTo>
                      <a:pt x="9" y="19"/>
                    </a:lnTo>
                    <a:lnTo>
                      <a:pt x="11" y="19"/>
                    </a:lnTo>
                    <a:lnTo>
                      <a:pt x="13" y="21"/>
                    </a:lnTo>
                    <a:lnTo>
                      <a:pt x="15" y="21"/>
                    </a:lnTo>
                    <a:lnTo>
                      <a:pt x="29" y="19"/>
                    </a:lnTo>
                    <a:lnTo>
                      <a:pt x="29" y="21"/>
                    </a:lnTo>
                    <a:lnTo>
                      <a:pt x="27" y="25"/>
                    </a:lnTo>
                    <a:lnTo>
                      <a:pt x="27" y="27"/>
                    </a:lnTo>
                    <a:lnTo>
                      <a:pt x="35" y="33"/>
                    </a:lnTo>
                    <a:lnTo>
                      <a:pt x="37" y="33"/>
                    </a:lnTo>
                    <a:lnTo>
                      <a:pt x="35" y="35"/>
                    </a:lnTo>
                    <a:lnTo>
                      <a:pt x="35" y="35"/>
                    </a:lnTo>
                    <a:lnTo>
                      <a:pt x="35" y="37"/>
                    </a:lnTo>
                    <a:lnTo>
                      <a:pt x="37" y="39"/>
                    </a:lnTo>
                    <a:lnTo>
                      <a:pt x="37" y="41"/>
                    </a:lnTo>
                    <a:lnTo>
                      <a:pt x="33" y="41"/>
                    </a:lnTo>
                    <a:lnTo>
                      <a:pt x="29" y="37"/>
                    </a:lnTo>
                    <a:lnTo>
                      <a:pt x="25" y="33"/>
                    </a:lnTo>
                    <a:lnTo>
                      <a:pt x="21" y="31"/>
                    </a:lnTo>
                    <a:lnTo>
                      <a:pt x="21" y="31"/>
                    </a:lnTo>
                    <a:lnTo>
                      <a:pt x="23" y="31"/>
                    </a:lnTo>
                    <a:lnTo>
                      <a:pt x="23" y="41"/>
                    </a:lnTo>
                    <a:lnTo>
                      <a:pt x="25" y="49"/>
                    </a:lnTo>
                    <a:lnTo>
                      <a:pt x="31" y="55"/>
                    </a:lnTo>
                    <a:lnTo>
                      <a:pt x="39" y="55"/>
                    </a:lnTo>
                    <a:lnTo>
                      <a:pt x="39" y="53"/>
                    </a:lnTo>
                    <a:lnTo>
                      <a:pt x="43" y="51"/>
                    </a:lnTo>
                    <a:lnTo>
                      <a:pt x="43" y="51"/>
                    </a:lnTo>
                    <a:lnTo>
                      <a:pt x="45" y="51"/>
                    </a:lnTo>
                    <a:lnTo>
                      <a:pt x="52" y="53"/>
                    </a:lnTo>
                    <a:lnTo>
                      <a:pt x="60" y="60"/>
                    </a:lnTo>
                    <a:lnTo>
                      <a:pt x="60" y="62"/>
                    </a:lnTo>
                    <a:lnTo>
                      <a:pt x="56" y="60"/>
                    </a:lnTo>
                    <a:lnTo>
                      <a:pt x="50" y="57"/>
                    </a:lnTo>
                    <a:lnTo>
                      <a:pt x="47" y="55"/>
                    </a:lnTo>
                    <a:lnTo>
                      <a:pt x="41" y="57"/>
                    </a:lnTo>
                    <a:lnTo>
                      <a:pt x="41" y="59"/>
                    </a:lnTo>
                    <a:lnTo>
                      <a:pt x="45" y="60"/>
                    </a:lnTo>
                    <a:lnTo>
                      <a:pt x="52" y="62"/>
                    </a:lnTo>
                    <a:lnTo>
                      <a:pt x="54" y="64"/>
                    </a:lnTo>
                    <a:lnTo>
                      <a:pt x="56" y="66"/>
                    </a:lnTo>
                    <a:lnTo>
                      <a:pt x="60" y="64"/>
                    </a:lnTo>
                    <a:lnTo>
                      <a:pt x="64" y="60"/>
                    </a:lnTo>
                    <a:lnTo>
                      <a:pt x="66" y="60"/>
                    </a:lnTo>
                    <a:lnTo>
                      <a:pt x="70" y="60"/>
                    </a:lnTo>
                    <a:lnTo>
                      <a:pt x="74" y="60"/>
                    </a:lnTo>
                    <a:lnTo>
                      <a:pt x="74" y="57"/>
                    </a:lnTo>
                    <a:lnTo>
                      <a:pt x="66" y="37"/>
                    </a:lnTo>
                    <a:lnTo>
                      <a:pt x="64" y="3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52" name="Freeform 767">
                <a:extLst>
                  <a:ext uri="{FF2B5EF4-FFF2-40B4-BE49-F238E27FC236}">
                    <a16:creationId xmlns:a16="http://schemas.microsoft.com/office/drawing/2014/main" id="{FC0F18C2-9AB0-43F1-9ECF-47C448B1BE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" y="1623"/>
                <a:ext cx="58" cy="123"/>
              </a:xfrm>
              <a:custGeom>
                <a:avLst/>
                <a:gdLst>
                  <a:gd name="T0" fmla="*/ 49 w 58"/>
                  <a:gd name="T1" fmla="*/ 12 h 123"/>
                  <a:gd name="T2" fmla="*/ 43 w 58"/>
                  <a:gd name="T3" fmla="*/ 26 h 123"/>
                  <a:gd name="T4" fmla="*/ 41 w 58"/>
                  <a:gd name="T5" fmla="*/ 34 h 123"/>
                  <a:gd name="T6" fmla="*/ 31 w 58"/>
                  <a:gd name="T7" fmla="*/ 47 h 123"/>
                  <a:gd name="T8" fmla="*/ 27 w 58"/>
                  <a:gd name="T9" fmla="*/ 51 h 123"/>
                  <a:gd name="T10" fmla="*/ 19 w 58"/>
                  <a:gd name="T11" fmla="*/ 61 h 123"/>
                  <a:gd name="T12" fmla="*/ 15 w 58"/>
                  <a:gd name="T13" fmla="*/ 67 h 123"/>
                  <a:gd name="T14" fmla="*/ 13 w 58"/>
                  <a:gd name="T15" fmla="*/ 75 h 123"/>
                  <a:gd name="T16" fmla="*/ 13 w 58"/>
                  <a:gd name="T17" fmla="*/ 75 h 123"/>
                  <a:gd name="T18" fmla="*/ 15 w 58"/>
                  <a:gd name="T19" fmla="*/ 75 h 123"/>
                  <a:gd name="T20" fmla="*/ 17 w 58"/>
                  <a:gd name="T21" fmla="*/ 75 h 123"/>
                  <a:gd name="T22" fmla="*/ 19 w 58"/>
                  <a:gd name="T23" fmla="*/ 75 h 123"/>
                  <a:gd name="T24" fmla="*/ 19 w 58"/>
                  <a:gd name="T25" fmla="*/ 77 h 123"/>
                  <a:gd name="T26" fmla="*/ 19 w 58"/>
                  <a:gd name="T27" fmla="*/ 81 h 123"/>
                  <a:gd name="T28" fmla="*/ 15 w 58"/>
                  <a:gd name="T29" fmla="*/ 82 h 123"/>
                  <a:gd name="T30" fmla="*/ 15 w 58"/>
                  <a:gd name="T31" fmla="*/ 81 h 123"/>
                  <a:gd name="T32" fmla="*/ 13 w 58"/>
                  <a:gd name="T33" fmla="*/ 81 h 123"/>
                  <a:gd name="T34" fmla="*/ 11 w 58"/>
                  <a:gd name="T35" fmla="*/ 81 h 123"/>
                  <a:gd name="T36" fmla="*/ 9 w 58"/>
                  <a:gd name="T37" fmla="*/ 86 h 123"/>
                  <a:gd name="T38" fmla="*/ 8 w 58"/>
                  <a:gd name="T39" fmla="*/ 90 h 123"/>
                  <a:gd name="T40" fmla="*/ 6 w 58"/>
                  <a:gd name="T41" fmla="*/ 92 h 123"/>
                  <a:gd name="T42" fmla="*/ 4 w 58"/>
                  <a:gd name="T43" fmla="*/ 94 h 123"/>
                  <a:gd name="T44" fmla="*/ 0 w 58"/>
                  <a:gd name="T45" fmla="*/ 94 h 123"/>
                  <a:gd name="T46" fmla="*/ 4 w 58"/>
                  <a:gd name="T47" fmla="*/ 98 h 123"/>
                  <a:gd name="T48" fmla="*/ 6 w 58"/>
                  <a:gd name="T49" fmla="*/ 100 h 123"/>
                  <a:gd name="T50" fmla="*/ 8 w 58"/>
                  <a:gd name="T51" fmla="*/ 104 h 123"/>
                  <a:gd name="T52" fmla="*/ 11 w 58"/>
                  <a:gd name="T53" fmla="*/ 122 h 123"/>
                  <a:gd name="T54" fmla="*/ 15 w 58"/>
                  <a:gd name="T55" fmla="*/ 123 h 123"/>
                  <a:gd name="T56" fmla="*/ 19 w 58"/>
                  <a:gd name="T57" fmla="*/ 123 h 123"/>
                  <a:gd name="T58" fmla="*/ 21 w 58"/>
                  <a:gd name="T59" fmla="*/ 122 h 123"/>
                  <a:gd name="T60" fmla="*/ 23 w 58"/>
                  <a:gd name="T61" fmla="*/ 120 h 123"/>
                  <a:gd name="T62" fmla="*/ 39 w 58"/>
                  <a:gd name="T63" fmla="*/ 65 h 123"/>
                  <a:gd name="T64" fmla="*/ 47 w 58"/>
                  <a:gd name="T65" fmla="*/ 47 h 123"/>
                  <a:gd name="T66" fmla="*/ 51 w 58"/>
                  <a:gd name="T67" fmla="*/ 38 h 123"/>
                  <a:gd name="T68" fmla="*/ 58 w 58"/>
                  <a:gd name="T69" fmla="*/ 2 h 123"/>
                  <a:gd name="T70" fmla="*/ 54 w 58"/>
                  <a:gd name="T71" fmla="*/ 0 h 123"/>
                  <a:gd name="T72" fmla="*/ 49 w 58"/>
                  <a:gd name="T73" fmla="*/ 12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8" h="123">
                    <a:moveTo>
                      <a:pt x="49" y="12"/>
                    </a:moveTo>
                    <a:lnTo>
                      <a:pt x="43" y="26"/>
                    </a:lnTo>
                    <a:lnTo>
                      <a:pt x="41" y="34"/>
                    </a:lnTo>
                    <a:lnTo>
                      <a:pt x="31" y="47"/>
                    </a:lnTo>
                    <a:lnTo>
                      <a:pt x="27" y="51"/>
                    </a:lnTo>
                    <a:lnTo>
                      <a:pt x="19" y="61"/>
                    </a:lnTo>
                    <a:lnTo>
                      <a:pt x="15" y="67"/>
                    </a:lnTo>
                    <a:lnTo>
                      <a:pt x="13" y="75"/>
                    </a:lnTo>
                    <a:lnTo>
                      <a:pt x="13" y="75"/>
                    </a:lnTo>
                    <a:lnTo>
                      <a:pt x="15" y="75"/>
                    </a:lnTo>
                    <a:lnTo>
                      <a:pt x="17" y="75"/>
                    </a:lnTo>
                    <a:lnTo>
                      <a:pt x="19" y="75"/>
                    </a:lnTo>
                    <a:lnTo>
                      <a:pt x="19" y="77"/>
                    </a:lnTo>
                    <a:lnTo>
                      <a:pt x="19" y="81"/>
                    </a:lnTo>
                    <a:lnTo>
                      <a:pt x="15" y="82"/>
                    </a:lnTo>
                    <a:lnTo>
                      <a:pt x="15" y="81"/>
                    </a:lnTo>
                    <a:lnTo>
                      <a:pt x="13" y="81"/>
                    </a:lnTo>
                    <a:lnTo>
                      <a:pt x="11" y="81"/>
                    </a:lnTo>
                    <a:lnTo>
                      <a:pt x="9" y="86"/>
                    </a:lnTo>
                    <a:lnTo>
                      <a:pt x="8" y="90"/>
                    </a:lnTo>
                    <a:lnTo>
                      <a:pt x="6" y="92"/>
                    </a:lnTo>
                    <a:lnTo>
                      <a:pt x="4" y="94"/>
                    </a:lnTo>
                    <a:lnTo>
                      <a:pt x="0" y="94"/>
                    </a:lnTo>
                    <a:lnTo>
                      <a:pt x="4" y="98"/>
                    </a:lnTo>
                    <a:lnTo>
                      <a:pt x="6" y="100"/>
                    </a:lnTo>
                    <a:lnTo>
                      <a:pt x="8" y="104"/>
                    </a:lnTo>
                    <a:lnTo>
                      <a:pt x="11" y="122"/>
                    </a:lnTo>
                    <a:lnTo>
                      <a:pt x="15" y="123"/>
                    </a:lnTo>
                    <a:lnTo>
                      <a:pt x="19" y="123"/>
                    </a:lnTo>
                    <a:lnTo>
                      <a:pt x="21" y="122"/>
                    </a:lnTo>
                    <a:lnTo>
                      <a:pt x="23" y="120"/>
                    </a:lnTo>
                    <a:lnTo>
                      <a:pt x="39" y="65"/>
                    </a:lnTo>
                    <a:lnTo>
                      <a:pt x="47" y="47"/>
                    </a:lnTo>
                    <a:lnTo>
                      <a:pt x="51" y="38"/>
                    </a:lnTo>
                    <a:lnTo>
                      <a:pt x="58" y="2"/>
                    </a:lnTo>
                    <a:lnTo>
                      <a:pt x="54" y="0"/>
                    </a:lnTo>
                    <a:lnTo>
                      <a:pt x="49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53" name="Freeform 768">
                <a:extLst>
                  <a:ext uri="{FF2B5EF4-FFF2-40B4-BE49-F238E27FC236}">
                    <a16:creationId xmlns:a16="http://schemas.microsoft.com/office/drawing/2014/main" id="{2671D27D-7AF1-4538-9BFB-DFFD7E8CC7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" y="1489"/>
                <a:ext cx="196" cy="172"/>
              </a:xfrm>
              <a:custGeom>
                <a:avLst/>
                <a:gdLst>
                  <a:gd name="T0" fmla="*/ 176 w 196"/>
                  <a:gd name="T1" fmla="*/ 162 h 172"/>
                  <a:gd name="T2" fmla="*/ 182 w 196"/>
                  <a:gd name="T3" fmla="*/ 150 h 172"/>
                  <a:gd name="T4" fmla="*/ 188 w 196"/>
                  <a:gd name="T5" fmla="*/ 134 h 172"/>
                  <a:gd name="T6" fmla="*/ 192 w 196"/>
                  <a:gd name="T7" fmla="*/ 113 h 172"/>
                  <a:gd name="T8" fmla="*/ 186 w 196"/>
                  <a:gd name="T9" fmla="*/ 92 h 172"/>
                  <a:gd name="T10" fmla="*/ 196 w 196"/>
                  <a:gd name="T11" fmla="*/ 95 h 172"/>
                  <a:gd name="T12" fmla="*/ 172 w 196"/>
                  <a:gd name="T13" fmla="*/ 52 h 172"/>
                  <a:gd name="T14" fmla="*/ 153 w 196"/>
                  <a:gd name="T15" fmla="*/ 49 h 172"/>
                  <a:gd name="T16" fmla="*/ 149 w 196"/>
                  <a:gd name="T17" fmla="*/ 52 h 172"/>
                  <a:gd name="T18" fmla="*/ 153 w 196"/>
                  <a:gd name="T19" fmla="*/ 45 h 172"/>
                  <a:gd name="T20" fmla="*/ 180 w 196"/>
                  <a:gd name="T21" fmla="*/ 39 h 172"/>
                  <a:gd name="T22" fmla="*/ 174 w 196"/>
                  <a:gd name="T23" fmla="*/ 27 h 172"/>
                  <a:gd name="T24" fmla="*/ 172 w 196"/>
                  <a:gd name="T25" fmla="*/ 19 h 172"/>
                  <a:gd name="T26" fmla="*/ 157 w 196"/>
                  <a:gd name="T27" fmla="*/ 4 h 172"/>
                  <a:gd name="T28" fmla="*/ 155 w 196"/>
                  <a:gd name="T29" fmla="*/ 11 h 172"/>
                  <a:gd name="T30" fmla="*/ 157 w 196"/>
                  <a:gd name="T31" fmla="*/ 29 h 172"/>
                  <a:gd name="T32" fmla="*/ 151 w 196"/>
                  <a:gd name="T33" fmla="*/ 27 h 172"/>
                  <a:gd name="T34" fmla="*/ 155 w 196"/>
                  <a:gd name="T35" fmla="*/ 31 h 172"/>
                  <a:gd name="T36" fmla="*/ 157 w 196"/>
                  <a:gd name="T37" fmla="*/ 37 h 172"/>
                  <a:gd name="T38" fmla="*/ 133 w 196"/>
                  <a:gd name="T39" fmla="*/ 51 h 172"/>
                  <a:gd name="T40" fmla="*/ 133 w 196"/>
                  <a:gd name="T41" fmla="*/ 37 h 172"/>
                  <a:gd name="T42" fmla="*/ 137 w 196"/>
                  <a:gd name="T43" fmla="*/ 31 h 172"/>
                  <a:gd name="T44" fmla="*/ 137 w 196"/>
                  <a:gd name="T45" fmla="*/ 23 h 172"/>
                  <a:gd name="T46" fmla="*/ 133 w 196"/>
                  <a:gd name="T47" fmla="*/ 19 h 172"/>
                  <a:gd name="T48" fmla="*/ 125 w 196"/>
                  <a:gd name="T49" fmla="*/ 13 h 172"/>
                  <a:gd name="T50" fmla="*/ 104 w 196"/>
                  <a:gd name="T51" fmla="*/ 0 h 172"/>
                  <a:gd name="T52" fmla="*/ 102 w 196"/>
                  <a:gd name="T53" fmla="*/ 10 h 172"/>
                  <a:gd name="T54" fmla="*/ 94 w 196"/>
                  <a:gd name="T55" fmla="*/ 4 h 172"/>
                  <a:gd name="T56" fmla="*/ 45 w 196"/>
                  <a:gd name="T57" fmla="*/ 29 h 172"/>
                  <a:gd name="T58" fmla="*/ 28 w 196"/>
                  <a:gd name="T59" fmla="*/ 21 h 172"/>
                  <a:gd name="T60" fmla="*/ 8 w 196"/>
                  <a:gd name="T61" fmla="*/ 29 h 172"/>
                  <a:gd name="T62" fmla="*/ 0 w 196"/>
                  <a:gd name="T63" fmla="*/ 37 h 172"/>
                  <a:gd name="T64" fmla="*/ 14 w 196"/>
                  <a:gd name="T65" fmla="*/ 51 h 172"/>
                  <a:gd name="T66" fmla="*/ 12 w 196"/>
                  <a:gd name="T67" fmla="*/ 52 h 172"/>
                  <a:gd name="T68" fmla="*/ 26 w 196"/>
                  <a:gd name="T69" fmla="*/ 60 h 172"/>
                  <a:gd name="T70" fmla="*/ 28 w 196"/>
                  <a:gd name="T71" fmla="*/ 68 h 172"/>
                  <a:gd name="T72" fmla="*/ 22 w 196"/>
                  <a:gd name="T73" fmla="*/ 76 h 172"/>
                  <a:gd name="T74" fmla="*/ 34 w 196"/>
                  <a:gd name="T75" fmla="*/ 78 h 172"/>
                  <a:gd name="T76" fmla="*/ 38 w 196"/>
                  <a:gd name="T77" fmla="*/ 95 h 172"/>
                  <a:gd name="T78" fmla="*/ 36 w 196"/>
                  <a:gd name="T79" fmla="*/ 105 h 172"/>
                  <a:gd name="T80" fmla="*/ 40 w 196"/>
                  <a:gd name="T81" fmla="*/ 113 h 172"/>
                  <a:gd name="T82" fmla="*/ 51 w 196"/>
                  <a:gd name="T83" fmla="*/ 119 h 172"/>
                  <a:gd name="T84" fmla="*/ 51 w 196"/>
                  <a:gd name="T85" fmla="*/ 131 h 172"/>
                  <a:gd name="T86" fmla="*/ 53 w 196"/>
                  <a:gd name="T87" fmla="*/ 140 h 172"/>
                  <a:gd name="T88" fmla="*/ 59 w 196"/>
                  <a:gd name="T89" fmla="*/ 144 h 172"/>
                  <a:gd name="T90" fmla="*/ 53 w 196"/>
                  <a:gd name="T91" fmla="*/ 127 h 172"/>
                  <a:gd name="T92" fmla="*/ 65 w 196"/>
                  <a:gd name="T93" fmla="*/ 129 h 172"/>
                  <a:gd name="T94" fmla="*/ 75 w 196"/>
                  <a:gd name="T95" fmla="*/ 127 h 172"/>
                  <a:gd name="T96" fmla="*/ 79 w 196"/>
                  <a:gd name="T97" fmla="*/ 144 h 172"/>
                  <a:gd name="T98" fmla="*/ 79 w 196"/>
                  <a:gd name="T99" fmla="*/ 154 h 172"/>
                  <a:gd name="T100" fmla="*/ 88 w 196"/>
                  <a:gd name="T101" fmla="*/ 156 h 172"/>
                  <a:gd name="T102" fmla="*/ 110 w 196"/>
                  <a:gd name="T103" fmla="*/ 162 h 172"/>
                  <a:gd name="T104" fmla="*/ 120 w 196"/>
                  <a:gd name="T105" fmla="*/ 166 h 172"/>
                  <a:gd name="T106" fmla="*/ 141 w 196"/>
                  <a:gd name="T107" fmla="*/ 172 h 172"/>
                  <a:gd name="T108" fmla="*/ 153 w 196"/>
                  <a:gd name="T109" fmla="*/ 16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96" h="172">
                    <a:moveTo>
                      <a:pt x="159" y="162"/>
                    </a:moveTo>
                    <a:lnTo>
                      <a:pt x="166" y="162"/>
                    </a:lnTo>
                    <a:lnTo>
                      <a:pt x="172" y="164"/>
                    </a:lnTo>
                    <a:lnTo>
                      <a:pt x="176" y="162"/>
                    </a:lnTo>
                    <a:lnTo>
                      <a:pt x="178" y="160"/>
                    </a:lnTo>
                    <a:lnTo>
                      <a:pt x="180" y="158"/>
                    </a:lnTo>
                    <a:lnTo>
                      <a:pt x="180" y="154"/>
                    </a:lnTo>
                    <a:lnTo>
                      <a:pt x="182" y="150"/>
                    </a:lnTo>
                    <a:lnTo>
                      <a:pt x="186" y="144"/>
                    </a:lnTo>
                    <a:lnTo>
                      <a:pt x="186" y="144"/>
                    </a:lnTo>
                    <a:lnTo>
                      <a:pt x="188" y="138"/>
                    </a:lnTo>
                    <a:lnTo>
                      <a:pt x="188" y="134"/>
                    </a:lnTo>
                    <a:lnTo>
                      <a:pt x="190" y="129"/>
                    </a:lnTo>
                    <a:lnTo>
                      <a:pt x="192" y="125"/>
                    </a:lnTo>
                    <a:lnTo>
                      <a:pt x="192" y="119"/>
                    </a:lnTo>
                    <a:lnTo>
                      <a:pt x="192" y="113"/>
                    </a:lnTo>
                    <a:lnTo>
                      <a:pt x="190" y="107"/>
                    </a:lnTo>
                    <a:lnTo>
                      <a:pt x="186" y="101"/>
                    </a:lnTo>
                    <a:lnTo>
                      <a:pt x="184" y="97"/>
                    </a:lnTo>
                    <a:lnTo>
                      <a:pt x="186" y="92"/>
                    </a:lnTo>
                    <a:lnTo>
                      <a:pt x="188" y="92"/>
                    </a:lnTo>
                    <a:lnTo>
                      <a:pt x="192" y="93"/>
                    </a:lnTo>
                    <a:lnTo>
                      <a:pt x="194" y="95"/>
                    </a:lnTo>
                    <a:lnTo>
                      <a:pt x="196" y="95"/>
                    </a:lnTo>
                    <a:lnTo>
                      <a:pt x="194" y="92"/>
                    </a:lnTo>
                    <a:lnTo>
                      <a:pt x="190" y="80"/>
                    </a:lnTo>
                    <a:lnTo>
                      <a:pt x="188" y="76"/>
                    </a:lnTo>
                    <a:lnTo>
                      <a:pt x="172" y="52"/>
                    </a:lnTo>
                    <a:lnTo>
                      <a:pt x="170" y="51"/>
                    </a:lnTo>
                    <a:lnTo>
                      <a:pt x="159" y="47"/>
                    </a:lnTo>
                    <a:lnTo>
                      <a:pt x="155" y="47"/>
                    </a:lnTo>
                    <a:lnTo>
                      <a:pt x="153" y="49"/>
                    </a:lnTo>
                    <a:lnTo>
                      <a:pt x="155" y="51"/>
                    </a:lnTo>
                    <a:lnTo>
                      <a:pt x="155" y="52"/>
                    </a:lnTo>
                    <a:lnTo>
                      <a:pt x="153" y="54"/>
                    </a:lnTo>
                    <a:lnTo>
                      <a:pt x="149" y="52"/>
                    </a:lnTo>
                    <a:lnTo>
                      <a:pt x="147" y="52"/>
                    </a:lnTo>
                    <a:lnTo>
                      <a:pt x="149" y="49"/>
                    </a:lnTo>
                    <a:lnTo>
                      <a:pt x="151" y="47"/>
                    </a:lnTo>
                    <a:lnTo>
                      <a:pt x="153" y="45"/>
                    </a:lnTo>
                    <a:lnTo>
                      <a:pt x="165" y="47"/>
                    </a:lnTo>
                    <a:lnTo>
                      <a:pt x="172" y="43"/>
                    </a:lnTo>
                    <a:lnTo>
                      <a:pt x="178" y="41"/>
                    </a:lnTo>
                    <a:lnTo>
                      <a:pt x="180" y="39"/>
                    </a:lnTo>
                    <a:lnTo>
                      <a:pt x="180" y="37"/>
                    </a:lnTo>
                    <a:lnTo>
                      <a:pt x="178" y="31"/>
                    </a:lnTo>
                    <a:lnTo>
                      <a:pt x="174" y="29"/>
                    </a:lnTo>
                    <a:lnTo>
                      <a:pt x="174" y="27"/>
                    </a:lnTo>
                    <a:lnTo>
                      <a:pt x="174" y="27"/>
                    </a:lnTo>
                    <a:lnTo>
                      <a:pt x="174" y="25"/>
                    </a:lnTo>
                    <a:lnTo>
                      <a:pt x="174" y="21"/>
                    </a:lnTo>
                    <a:lnTo>
                      <a:pt x="172" y="19"/>
                    </a:lnTo>
                    <a:lnTo>
                      <a:pt x="165" y="8"/>
                    </a:lnTo>
                    <a:lnTo>
                      <a:pt x="161" y="2"/>
                    </a:lnTo>
                    <a:lnTo>
                      <a:pt x="157" y="2"/>
                    </a:lnTo>
                    <a:lnTo>
                      <a:pt x="157" y="4"/>
                    </a:lnTo>
                    <a:lnTo>
                      <a:pt x="159" y="11"/>
                    </a:lnTo>
                    <a:lnTo>
                      <a:pt x="159" y="15"/>
                    </a:lnTo>
                    <a:lnTo>
                      <a:pt x="155" y="13"/>
                    </a:lnTo>
                    <a:lnTo>
                      <a:pt x="155" y="11"/>
                    </a:lnTo>
                    <a:lnTo>
                      <a:pt x="157" y="17"/>
                    </a:lnTo>
                    <a:lnTo>
                      <a:pt x="157" y="21"/>
                    </a:lnTo>
                    <a:lnTo>
                      <a:pt x="159" y="27"/>
                    </a:lnTo>
                    <a:lnTo>
                      <a:pt x="157" y="29"/>
                    </a:lnTo>
                    <a:lnTo>
                      <a:pt x="155" y="29"/>
                    </a:lnTo>
                    <a:lnTo>
                      <a:pt x="153" y="27"/>
                    </a:lnTo>
                    <a:lnTo>
                      <a:pt x="151" y="25"/>
                    </a:lnTo>
                    <a:lnTo>
                      <a:pt x="151" y="27"/>
                    </a:lnTo>
                    <a:lnTo>
                      <a:pt x="151" y="29"/>
                    </a:lnTo>
                    <a:lnTo>
                      <a:pt x="153" y="31"/>
                    </a:lnTo>
                    <a:lnTo>
                      <a:pt x="153" y="31"/>
                    </a:lnTo>
                    <a:lnTo>
                      <a:pt x="155" y="31"/>
                    </a:lnTo>
                    <a:lnTo>
                      <a:pt x="157" y="33"/>
                    </a:lnTo>
                    <a:lnTo>
                      <a:pt x="157" y="35"/>
                    </a:lnTo>
                    <a:lnTo>
                      <a:pt x="157" y="37"/>
                    </a:lnTo>
                    <a:lnTo>
                      <a:pt x="157" y="37"/>
                    </a:lnTo>
                    <a:lnTo>
                      <a:pt x="151" y="39"/>
                    </a:lnTo>
                    <a:lnTo>
                      <a:pt x="139" y="45"/>
                    </a:lnTo>
                    <a:lnTo>
                      <a:pt x="137" y="45"/>
                    </a:lnTo>
                    <a:lnTo>
                      <a:pt x="133" y="51"/>
                    </a:lnTo>
                    <a:lnTo>
                      <a:pt x="127" y="52"/>
                    </a:lnTo>
                    <a:lnTo>
                      <a:pt x="125" y="47"/>
                    </a:lnTo>
                    <a:lnTo>
                      <a:pt x="131" y="37"/>
                    </a:lnTo>
                    <a:lnTo>
                      <a:pt x="133" y="37"/>
                    </a:lnTo>
                    <a:lnTo>
                      <a:pt x="135" y="37"/>
                    </a:lnTo>
                    <a:lnTo>
                      <a:pt x="137" y="37"/>
                    </a:lnTo>
                    <a:lnTo>
                      <a:pt x="137" y="33"/>
                    </a:lnTo>
                    <a:lnTo>
                      <a:pt x="137" y="31"/>
                    </a:lnTo>
                    <a:lnTo>
                      <a:pt x="135" y="29"/>
                    </a:lnTo>
                    <a:lnTo>
                      <a:pt x="133" y="29"/>
                    </a:lnTo>
                    <a:lnTo>
                      <a:pt x="135" y="25"/>
                    </a:lnTo>
                    <a:lnTo>
                      <a:pt x="137" y="23"/>
                    </a:lnTo>
                    <a:lnTo>
                      <a:pt x="139" y="23"/>
                    </a:lnTo>
                    <a:lnTo>
                      <a:pt x="141" y="25"/>
                    </a:lnTo>
                    <a:lnTo>
                      <a:pt x="137" y="21"/>
                    </a:lnTo>
                    <a:lnTo>
                      <a:pt x="133" y="19"/>
                    </a:lnTo>
                    <a:lnTo>
                      <a:pt x="131" y="19"/>
                    </a:lnTo>
                    <a:lnTo>
                      <a:pt x="129" y="19"/>
                    </a:lnTo>
                    <a:lnTo>
                      <a:pt x="127" y="17"/>
                    </a:lnTo>
                    <a:lnTo>
                      <a:pt x="125" y="13"/>
                    </a:lnTo>
                    <a:lnTo>
                      <a:pt x="124" y="10"/>
                    </a:lnTo>
                    <a:lnTo>
                      <a:pt x="112" y="2"/>
                    </a:lnTo>
                    <a:lnTo>
                      <a:pt x="106" y="0"/>
                    </a:lnTo>
                    <a:lnTo>
                      <a:pt x="104" y="0"/>
                    </a:lnTo>
                    <a:lnTo>
                      <a:pt x="106" y="6"/>
                    </a:lnTo>
                    <a:lnTo>
                      <a:pt x="104" y="10"/>
                    </a:lnTo>
                    <a:lnTo>
                      <a:pt x="102" y="10"/>
                    </a:lnTo>
                    <a:lnTo>
                      <a:pt x="102" y="10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94" y="4"/>
                    </a:lnTo>
                    <a:lnTo>
                      <a:pt x="90" y="6"/>
                    </a:lnTo>
                    <a:lnTo>
                      <a:pt x="84" y="10"/>
                    </a:lnTo>
                    <a:lnTo>
                      <a:pt x="61" y="17"/>
                    </a:lnTo>
                    <a:lnTo>
                      <a:pt x="45" y="29"/>
                    </a:lnTo>
                    <a:lnTo>
                      <a:pt x="36" y="33"/>
                    </a:lnTo>
                    <a:lnTo>
                      <a:pt x="28" y="27"/>
                    </a:lnTo>
                    <a:lnTo>
                      <a:pt x="28" y="25"/>
                    </a:lnTo>
                    <a:lnTo>
                      <a:pt x="28" y="21"/>
                    </a:lnTo>
                    <a:lnTo>
                      <a:pt x="26" y="21"/>
                    </a:lnTo>
                    <a:lnTo>
                      <a:pt x="24" y="19"/>
                    </a:lnTo>
                    <a:lnTo>
                      <a:pt x="14" y="21"/>
                    </a:lnTo>
                    <a:lnTo>
                      <a:pt x="8" y="29"/>
                    </a:lnTo>
                    <a:lnTo>
                      <a:pt x="6" y="31"/>
                    </a:lnTo>
                    <a:lnTo>
                      <a:pt x="4" y="31"/>
                    </a:lnTo>
                    <a:lnTo>
                      <a:pt x="2" y="33"/>
                    </a:lnTo>
                    <a:lnTo>
                      <a:pt x="0" y="37"/>
                    </a:lnTo>
                    <a:lnTo>
                      <a:pt x="8" y="37"/>
                    </a:lnTo>
                    <a:lnTo>
                      <a:pt x="24" y="52"/>
                    </a:lnTo>
                    <a:lnTo>
                      <a:pt x="20" y="52"/>
                    </a:lnTo>
                    <a:lnTo>
                      <a:pt x="14" y="51"/>
                    </a:lnTo>
                    <a:lnTo>
                      <a:pt x="10" y="47"/>
                    </a:lnTo>
                    <a:lnTo>
                      <a:pt x="6" y="45"/>
                    </a:lnTo>
                    <a:lnTo>
                      <a:pt x="6" y="47"/>
                    </a:lnTo>
                    <a:lnTo>
                      <a:pt x="12" y="52"/>
                    </a:lnTo>
                    <a:lnTo>
                      <a:pt x="14" y="54"/>
                    </a:lnTo>
                    <a:lnTo>
                      <a:pt x="20" y="54"/>
                    </a:lnTo>
                    <a:lnTo>
                      <a:pt x="24" y="56"/>
                    </a:lnTo>
                    <a:lnTo>
                      <a:pt x="26" y="60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8" y="64"/>
                    </a:lnTo>
                    <a:lnTo>
                      <a:pt x="28" y="68"/>
                    </a:lnTo>
                    <a:lnTo>
                      <a:pt x="24" y="68"/>
                    </a:lnTo>
                    <a:lnTo>
                      <a:pt x="20" y="68"/>
                    </a:lnTo>
                    <a:lnTo>
                      <a:pt x="18" y="70"/>
                    </a:lnTo>
                    <a:lnTo>
                      <a:pt x="22" y="76"/>
                    </a:lnTo>
                    <a:lnTo>
                      <a:pt x="24" y="78"/>
                    </a:lnTo>
                    <a:lnTo>
                      <a:pt x="28" y="78"/>
                    </a:lnTo>
                    <a:lnTo>
                      <a:pt x="32" y="78"/>
                    </a:lnTo>
                    <a:lnTo>
                      <a:pt x="34" y="78"/>
                    </a:lnTo>
                    <a:lnTo>
                      <a:pt x="36" y="80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8" y="95"/>
                    </a:lnTo>
                    <a:lnTo>
                      <a:pt x="38" y="99"/>
                    </a:lnTo>
                    <a:lnTo>
                      <a:pt x="38" y="101"/>
                    </a:lnTo>
                    <a:lnTo>
                      <a:pt x="36" y="103"/>
                    </a:lnTo>
                    <a:lnTo>
                      <a:pt x="36" y="105"/>
                    </a:lnTo>
                    <a:lnTo>
                      <a:pt x="36" y="107"/>
                    </a:lnTo>
                    <a:lnTo>
                      <a:pt x="38" y="109"/>
                    </a:lnTo>
                    <a:lnTo>
                      <a:pt x="38" y="111"/>
                    </a:lnTo>
                    <a:lnTo>
                      <a:pt x="40" y="113"/>
                    </a:lnTo>
                    <a:lnTo>
                      <a:pt x="40" y="115"/>
                    </a:lnTo>
                    <a:lnTo>
                      <a:pt x="43" y="115"/>
                    </a:lnTo>
                    <a:lnTo>
                      <a:pt x="49" y="117"/>
                    </a:lnTo>
                    <a:lnTo>
                      <a:pt x="51" y="119"/>
                    </a:lnTo>
                    <a:lnTo>
                      <a:pt x="51" y="121"/>
                    </a:lnTo>
                    <a:lnTo>
                      <a:pt x="51" y="125"/>
                    </a:lnTo>
                    <a:lnTo>
                      <a:pt x="51" y="127"/>
                    </a:lnTo>
                    <a:lnTo>
                      <a:pt x="51" y="131"/>
                    </a:lnTo>
                    <a:lnTo>
                      <a:pt x="53" y="136"/>
                    </a:lnTo>
                    <a:lnTo>
                      <a:pt x="53" y="138"/>
                    </a:lnTo>
                    <a:lnTo>
                      <a:pt x="53" y="140"/>
                    </a:lnTo>
                    <a:lnTo>
                      <a:pt x="53" y="140"/>
                    </a:lnTo>
                    <a:lnTo>
                      <a:pt x="53" y="142"/>
                    </a:lnTo>
                    <a:lnTo>
                      <a:pt x="53" y="142"/>
                    </a:lnTo>
                    <a:lnTo>
                      <a:pt x="53" y="144"/>
                    </a:lnTo>
                    <a:lnTo>
                      <a:pt x="59" y="144"/>
                    </a:lnTo>
                    <a:lnTo>
                      <a:pt x="59" y="144"/>
                    </a:lnTo>
                    <a:lnTo>
                      <a:pt x="61" y="140"/>
                    </a:lnTo>
                    <a:lnTo>
                      <a:pt x="55" y="131"/>
                    </a:lnTo>
                    <a:lnTo>
                      <a:pt x="53" y="127"/>
                    </a:lnTo>
                    <a:lnTo>
                      <a:pt x="55" y="123"/>
                    </a:lnTo>
                    <a:lnTo>
                      <a:pt x="59" y="125"/>
                    </a:lnTo>
                    <a:lnTo>
                      <a:pt x="61" y="129"/>
                    </a:lnTo>
                    <a:lnTo>
                      <a:pt x="65" y="129"/>
                    </a:lnTo>
                    <a:lnTo>
                      <a:pt x="67" y="129"/>
                    </a:lnTo>
                    <a:lnTo>
                      <a:pt x="69" y="127"/>
                    </a:lnTo>
                    <a:lnTo>
                      <a:pt x="71" y="127"/>
                    </a:lnTo>
                    <a:lnTo>
                      <a:pt x="75" y="127"/>
                    </a:lnTo>
                    <a:lnTo>
                      <a:pt x="77" y="131"/>
                    </a:lnTo>
                    <a:lnTo>
                      <a:pt x="79" y="136"/>
                    </a:lnTo>
                    <a:lnTo>
                      <a:pt x="81" y="140"/>
                    </a:lnTo>
                    <a:lnTo>
                      <a:pt x="79" y="144"/>
                    </a:lnTo>
                    <a:lnTo>
                      <a:pt x="67" y="154"/>
                    </a:lnTo>
                    <a:lnTo>
                      <a:pt x="69" y="156"/>
                    </a:lnTo>
                    <a:lnTo>
                      <a:pt x="75" y="154"/>
                    </a:lnTo>
                    <a:lnTo>
                      <a:pt x="79" y="154"/>
                    </a:lnTo>
                    <a:lnTo>
                      <a:pt x="82" y="156"/>
                    </a:lnTo>
                    <a:lnTo>
                      <a:pt x="86" y="160"/>
                    </a:lnTo>
                    <a:lnTo>
                      <a:pt x="88" y="162"/>
                    </a:lnTo>
                    <a:lnTo>
                      <a:pt x="88" y="156"/>
                    </a:lnTo>
                    <a:lnTo>
                      <a:pt x="90" y="154"/>
                    </a:lnTo>
                    <a:lnTo>
                      <a:pt x="94" y="154"/>
                    </a:lnTo>
                    <a:lnTo>
                      <a:pt x="108" y="162"/>
                    </a:lnTo>
                    <a:lnTo>
                      <a:pt x="110" y="162"/>
                    </a:lnTo>
                    <a:lnTo>
                      <a:pt x="114" y="162"/>
                    </a:lnTo>
                    <a:lnTo>
                      <a:pt x="116" y="162"/>
                    </a:lnTo>
                    <a:lnTo>
                      <a:pt x="118" y="164"/>
                    </a:lnTo>
                    <a:lnTo>
                      <a:pt x="120" y="166"/>
                    </a:lnTo>
                    <a:lnTo>
                      <a:pt x="120" y="166"/>
                    </a:lnTo>
                    <a:lnTo>
                      <a:pt x="124" y="168"/>
                    </a:lnTo>
                    <a:lnTo>
                      <a:pt x="135" y="168"/>
                    </a:lnTo>
                    <a:lnTo>
                      <a:pt x="141" y="172"/>
                    </a:lnTo>
                    <a:lnTo>
                      <a:pt x="145" y="172"/>
                    </a:lnTo>
                    <a:lnTo>
                      <a:pt x="149" y="170"/>
                    </a:lnTo>
                    <a:lnTo>
                      <a:pt x="151" y="166"/>
                    </a:lnTo>
                    <a:lnTo>
                      <a:pt x="153" y="164"/>
                    </a:lnTo>
                    <a:lnTo>
                      <a:pt x="157" y="164"/>
                    </a:lnTo>
                    <a:lnTo>
                      <a:pt x="159" y="16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54" name="Freeform 769">
                <a:extLst>
                  <a:ext uri="{FF2B5EF4-FFF2-40B4-BE49-F238E27FC236}">
                    <a16:creationId xmlns:a16="http://schemas.microsoft.com/office/drawing/2014/main" id="{70BE23CA-601F-42ED-91C6-D8D579CAD2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" y="1676"/>
                <a:ext cx="55" cy="45"/>
              </a:xfrm>
              <a:custGeom>
                <a:avLst/>
                <a:gdLst>
                  <a:gd name="T0" fmla="*/ 53 w 55"/>
                  <a:gd name="T1" fmla="*/ 35 h 45"/>
                  <a:gd name="T2" fmla="*/ 53 w 55"/>
                  <a:gd name="T3" fmla="*/ 29 h 45"/>
                  <a:gd name="T4" fmla="*/ 51 w 55"/>
                  <a:gd name="T5" fmla="*/ 28 h 45"/>
                  <a:gd name="T6" fmla="*/ 47 w 55"/>
                  <a:gd name="T7" fmla="*/ 26 h 45"/>
                  <a:gd name="T8" fmla="*/ 45 w 55"/>
                  <a:gd name="T9" fmla="*/ 24 h 45"/>
                  <a:gd name="T10" fmla="*/ 47 w 55"/>
                  <a:gd name="T11" fmla="*/ 28 h 45"/>
                  <a:gd name="T12" fmla="*/ 47 w 55"/>
                  <a:gd name="T13" fmla="*/ 29 h 45"/>
                  <a:gd name="T14" fmla="*/ 43 w 55"/>
                  <a:gd name="T15" fmla="*/ 31 h 45"/>
                  <a:gd name="T16" fmla="*/ 41 w 55"/>
                  <a:gd name="T17" fmla="*/ 31 h 45"/>
                  <a:gd name="T18" fmla="*/ 39 w 55"/>
                  <a:gd name="T19" fmla="*/ 29 h 45"/>
                  <a:gd name="T20" fmla="*/ 38 w 55"/>
                  <a:gd name="T21" fmla="*/ 20 h 45"/>
                  <a:gd name="T22" fmla="*/ 34 w 55"/>
                  <a:gd name="T23" fmla="*/ 18 h 45"/>
                  <a:gd name="T24" fmla="*/ 36 w 55"/>
                  <a:gd name="T25" fmla="*/ 22 h 45"/>
                  <a:gd name="T26" fmla="*/ 36 w 55"/>
                  <a:gd name="T27" fmla="*/ 24 h 45"/>
                  <a:gd name="T28" fmla="*/ 34 w 55"/>
                  <a:gd name="T29" fmla="*/ 26 h 45"/>
                  <a:gd name="T30" fmla="*/ 30 w 55"/>
                  <a:gd name="T31" fmla="*/ 26 h 45"/>
                  <a:gd name="T32" fmla="*/ 28 w 55"/>
                  <a:gd name="T33" fmla="*/ 24 h 45"/>
                  <a:gd name="T34" fmla="*/ 26 w 55"/>
                  <a:gd name="T35" fmla="*/ 22 h 45"/>
                  <a:gd name="T36" fmla="*/ 22 w 55"/>
                  <a:gd name="T37" fmla="*/ 16 h 45"/>
                  <a:gd name="T38" fmla="*/ 18 w 55"/>
                  <a:gd name="T39" fmla="*/ 12 h 45"/>
                  <a:gd name="T40" fmla="*/ 4 w 55"/>
                  <a:gd name="T41" fmla="*/ 4 h 45"/>
                  <a:gd name="T42" fmla="*/ 0 w 55"/>
                  <a:gd name="T43" fmla="*/ 0 h 45"/>
                  <a:gd name="T44" fmla="*/ 2 w 55"/>
                  <a:gd name="T45" fmla="*/ 6 h 45"/>
                  <a:gd name="T46" fmla="*/ 4 w 55"/>
                  <a:gd name="T47" fmla="*/ 12 h 45"/>
                  <a:gd name="T48" fmla="*/ 34 w 55"/>
                  <a:gd name="T49" fmla="*/ 43 h 45"/>
                  <a:gd name="T50" fmla="*/ 38 w 55"/>
                  <a:gd name="T51" fmla="*/ 45 h 45"/>
                  <a:gd name="T52" fmla="*/ 39 w 55"/>
                  <a:gd name="T53" fmla="*/ 43 h 45"/>
                  <a:gd name="T54" fmla="*/ 43 w 55"/>
                  <a:gd name="T55" fmla="*/ 39 h 45"/>
                  <a:gd name="T56" fmla="*/ 55 w 55"/>
                  <a:gd name="T57" fmla="*/ 37 h 45"/>
                  <a:gd name="T58" fmla="*/ 55 w 55"/>
                  <a:gd name="T59" fmla="*/ 35 h 45"/>
                  <a:gd name="T60" fmla="*/ 53 w 55"/>
                  <a:gd name="T61" fmla="*/ 3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5" h="45">
                    <a:moveTo>
                      <a:pt x="53" y="35"/>
                    </a:moveTo>
                    <a:lnTo>
                      <a:pt x="53" y="29"/>
                    </a:lnTo>
                    <a:lnTo>
                      <a:pt x="51" y="28"/>
                    </a:lnTo>
                    <a:lnTo>
                      <a:pt x="47" y="26"/>
                    </a:lnTo>
                    <a:lnTo>
                      <a:pt x="45" y="24"/>
                    </a:lnTo>
                    <a:lnTo>
                      <a:pt x="47" y="28"/>
                    </a:lnTo>
                    <a:lnTo>
                      <a:pt x="47" y="29"/>
                    </a:lnTo>
                    <a:lnTo>
                      <a:pt x="43" y="31"/>
                    </a:lnTo>
                    <a:lnTo>
                      <a:pt x="41" y="31"/>
                    </a:lnTo>
                    <a:lnTo>
                      <a:pt x="39" y="29"/>
                    </a:lnTo>
                    <a:lnTo>
                      <a:pt x="38" y="20"/>
                    </a:lnTo>
                    <a:lnTo>
                      <a:pt x="34" y="18"/>
                    </a:lnTo>
                    <a:lnTo>
                      <a:pt x="36" y="22"/>
                    </a:lnTo>
                    <a:lnTo>
                      <a:pt x="36" y="24"/>
                    </a:lnTo>
                    <a:lnTo>
                      <a:pt x="34" y="26"/>
                    </a:lnTo>
                    <a:lnTo>
                      <a:pt x="30" y="26"/>
                    </a:lnTo>
                    <a:lnTo>
                      <a:pt x="28" y="24"/>
                    </a:lnTo>
                    <a:lnTo>
                      <a:pt x="26" y="22"/>
                    </a:lnTo>
                    <a:lnTo>
                      <a:pt x="22" y="16"/>
                    </a:lnTo>
                    <a:lnTo>
                      <a:pt x="18" y="12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2" y="6"/>
                    </a:lnTo>
                    <a:lnTo>
                      <a:pt x="4" y="12"/>
                    </a:lnTo>
                    <a:lnTo>
                      <a:pt x="34" y="43"/>
                    </a:lnTo>
                    <a:lnTo>
                      <a:pt x="38" y="45"/>
                    </a:lnTo>
                    <a:lnTo>
                      <a:pt x="39" y="43"/>
                    </a:lnTo>
                    <a:lnTo>
                      <a:pt x="43" y="39"/>
                    </a:lnTo>
                    <a:lnTo>
                      <a:pt x="55" y="37"/>
                    </a:lnTo>
                    <a:lnTo>
                      <a:pt x="55" y="35"/>
                    </a:lnTo>
                    <a:lnTo>
                      <a:pt x="53" y="3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55" name="Freeform 770">
                <a:extLst>
                  <a:ext uri="{FF2B5EF4-FFF2-40B4-BE49-F238E27FC236}">
                    <a16:creationId xmlns:a16="http://schemas.microsoft.com/office/drawing/2014/main" id="{6CC537ED-617D-4528-84D5-E049B51A9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8" y="971"/>
                <a:ext cx="58" cy="41"/>
              </a:xfrm>
              <a:custGeom>
                <a:avLst/>
                <a:gdLst>
                  <a:gd name="T0" fmla="*/ 6 w 58"/>
                  <a:gd name="T1" fmla="*/ 26 h 41"/>
                  <a:gd name="T2" fmla="*/ 11 w 58"/>
                  <a:gd name="T3" fmla="*/ 30 h 41"/>
                  <a:gd name="T4" fmla="*/ 17 w 58"/>
                  <a:gd name="T5" fmla="*/ 30 h 41"/>
                  <a:gd name="T6" fmla="*/ 21 w 58"/>
                  <a:gd name="T7" fmla="*/ 39 h 41"/>
                  <a:gd name="T8" fmla="*/ 25 w 58"/>
                  <a:gd name="T9" fmla="*/ 41 h 41"/>
                  <a:gd name="T10" fmla="*/ 29 w 58"/>
                  <a:gd name="T11" fmla="*/ 39 h 41"/>
                  <a:gd name="T12" fmla="*/ 33 w 58"/>
                  <a:gd name="T13" fmla="*/ 37 h 41"/>
                  <a:gd name="T14" fmla="*/ 33 w 58"/>
                  <a:gd name="T15" fmla="*/ 32 h 41"/>
                  <a:gd name="T16" fmla="*/ 35 w 58"/>
                  <a:gd name="T17" fmla="*/ 30 h 41"/>
                  <a:gd name="T18" fmla="*/ 41 w 58"/>
                  <a:gd name="T19" fmla="*/ 24 h 41"/>
                  <a:gd name="T20" fmla="*/ 41 w 58"/>
                  <a:gd name="T21" fmla="*/ 20 h 41"/>
                  <a:gd name="T22" fmla="*/ 39 w 58"/>
                  <a:gd name="T23" fmla="*/ 14 h 41"/>
                  <a:gd name="T24" fmla="*/ 35 w 58"/>
                  <a:gd name="T25" fmla="*/ 12 h 41"/>
                  <a:gd name="T26" fmla="*/ 49 w 58"/>
                  <a:gd name="T27" fmla="*/ 10 h 41"/>
                  <a:gd name="T28" fmla="*/ 52 w 58"/>
                  <a:gd name="T29" fmla="*/ 10 h 41"/>
                  <a:gd name="T30" fmla="*/ 56 w 58"/>
                  <a:gd name="T31" fmla="*/ 12 h 41"/>
                  <a:gd name="T32" fmla="*/ 58 w 58"/>
                  <a:gd name="T33" fmla="*/ 8 h 41"/>
                  <a:gd name="T34" fmla="*/ 58 w 58"/>
                  <a:gd name="T35" fmla="*/ 6 h 41"/>
                  <a:gd name="T36" fmla="*/ 56 w 58"/>
                  <a:gd name="T37" fmla="*/ 2 h 41"/>
                  <a:gd name="T38" fmla="*/ 54 w 58"/>
                  <a:gd name="T39" fmla="*/ 0 h 41"/>
                  <a:gd name="T40" fmla="*/ 52 w 58"/>
                  <a:gd name="T41" fmla="*/ 0 h 41"/>
                  <a:gd name="T42" fmla="*/ 49 w 58"/>
                  <a:gd name="T43" fmla="*/ 0 h 41"/>
                  <a:gd name="T44" fmla="*/ 41 w 58"/>
                  <a:gd name="T45" fmla="*/ 4 h 41"/>
                  <a:gd name="T46" fmla="*/ 29 w 58"/>
                  <a:gd name="T47" fmla="*/ 4 h 41"/>
                  <a:gd name="T48" fmla="*/ 27 w 58"/>
                  <a:gd name="T49" fmla="*/ 6 h 41"/>
                  <a:gd name="T50" fmla="*/ 23 w 58"/>
                  <a:gd name="T51" fmla="*/ 8 h 41"/>
                  <a:gd name="T52" fmla="*/ 15 w 58"/>
                  <a:gd name="T53" fmla="*/ 8 h 41"/>
                  <a:gd name="T54" fmla="*/ 11 w 58"/>
                  <a:gd name="T55" fmla="*/ 12 h 41"/>
                  <a:gd name="T56" fmla="*/ 6 w 58"/>
                  <a:gd name="T57" fmla="*/ 18 h 41"/>
                  <a:gd name="T58" fmla="*/ 0 w 58"/>
                  <a:gd name="T59" fmla="*/ 18 h 41"/>
                  <a:gd name="T60" fmla="*/ 0 w 58"/>
                  <a:gd name="T61" fmla="*/ 20 h 41"/>
                  <a:gd name="T62" fmla="*/ 4 w 58"/>
                  <a:gd name="T63" fmla="*/ 24 h 41"/>
                  <a:gd name="T64" fmla="*/ 6 w 58"/>
                  <a:gd name="T65" fmla="*/ 2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8" h="41">
                    <a:moveTo>
                      <a:pt x="6" y="26"/>
                    </a:moveTo>
                    <a:lnTo>
                      <a:pt x="11" y="30"/>
                    </a:lnTo>
                    <a:lnTo>
                      <a:pt x="17" y="30"/>
                    </a:lnTo>
                    <a:lnTo>
                      <a:pt x="21" y="39"/>
                    </a:lnTo>
                    <a:lnTo>
                      <a:pt x="25" y="41"/>
                    </a:lnTo>
                    <a:lnTo>
                      <a:pt x="29" y="39"/>
                    </a:lnTo>
                    <a:lnTo>
                      <a:pt x="33" y="37"/>
                    </a:lnTo>
                    <a:lnTo>
                      <a:pt x="33" y="32"/>
                    </a:lnTo>
                    <a:lnTo>
                      <a:pt x="35" y="30"/>
                    </a:lnTo>
                    <a:lnTo>
                      <a:pt x="41" y="24"/>
                    </a:lnTo>
                    <a:lnTo>
                      <a:pt x="41" y="20"/>
                    </a:lnTo>
                    <a:lnTo>
                      <a:pt x="39" y="14"/>
                    </a:lnTo>
                    <a:lnTo>
                      <a:pt x="35" y="12"/>
                    </a:lnTo>
                    <a:lnTo>
                      <a:pt x="49" y="10"/>
                    </a:lnTo>
                    <a:lnTo>
                      <a:pt x="52" y="10"/>
                    </a:lnTo>
                    <a:lnTo>
                      <a:pt x="56" y="12"/>
                    </a:lnTo>
                    <a:lnTo>
                      <a:pt x="58" y="8"/>
                    </a:lnTo>
                    <a:lnTo>
                      <a:pt x="58" y="6"/>
                    </a:lnTo>
                    <a:lnTo>
                      <a:pt x="56" y="2"/>
                    </a:lnTo>
                    <a:lnTo>
                      <a:pt x="54" y="0"/>
                    </a:lnTo>
                    <a:lnTo>
                      <a:pt x="52" y="0"/>
                    </a:lnTo>
                    <a:lnTo>
                      <a:pt x="49" y="0"/>
                    </a:lnTo>
                    <a:lnTo>
                      <a:pt x="41" y="4"/>
                    </a:lnTo>
                    <a:lnTo>
                      <a:pt x="29" y="4"/>
                    </a:lnTo>
                    <a:lnTo>
                      <a:pt x="27" y="6"/>
                    </a:lnTo>
                    <a:lnTo>
                      <a:pt x="23" y="8"/>
                    </a:lnTo>
                    <a:lnTo>
                      <a:pt x="15" y="8"/>
                    </a:lnTo>
                    <a:lnTo>
                      <a:pt x="11" y="12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4" y="24"/>
                    </a:lnTo>
                    <a:lnTo>
                      <a:pt x="6" y="2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56" name="Freeform 771">
                <a:extLst>
                  <a:ext uri="{FF2B5EF4-FFF2-40B4-BE49-F238E27FC236}">
                    <a16:creationId xmlns:a16="http://schemas.microsoft.com/office/drawing/2014/main" id="{BE983723-C2F4-41E6-A320-0B8EE6C02E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" y="2770"/>
                <a:ext cx="1131" cy="640"/>
              </a:xfrm>
              <a:custGeom>
                <a:avLst/>
                <a:gdLst>
                  <a:gd name="T0" fmla="*/ 947 w 1131"/>
                  <a:gd name="T1" fmla="*/ 562 h 640"/>
                  <a:gd name="T2" fmla="*/ 1018 w 1131"/>
                  <a:gd name="T3" fmla="*/ 462 h 640"/>
                  <a:gd name="T4" fmla="*/ 1123 w 1131"/>
                  <a:gd name="T5" fmla="*/ 398 h 640"/>
                  <a:gd name="T6" fmla="*/ 1104 w 1131"/>
                  <a:gd name="T7" fmla="*/ 351 h 640"/>
                  <a:gd name="T8" fmla="*/ 1076 w 1131"/>
                  <a:gd name="T9" fmla="*/ 298 h 640"/>
                  <a:gd name="T10" fmla="*/ 1035 w 1131"/>
                  <a:gd name="T11" fmla="*/ 287 h 640"/>
                  <a:gd name="T12" fmla="*/ 992 w 1131"/>
                  <a:gd name="T13" fmla="*/ 265 h 640"/>
                  <a:gd name="T14" fmla="*/ 953 w 1131"/>
                  <a:gd name="T15" fmla="*/ 269 h 640"/>
                  <a:gd name="T16" fmla="*/ 940 w 1131"/>
                  <a:gd name="T17" fmla="*/ 246 h 640"/>
                  <a:gd name="T18" fmla="*/ 943 w 1131"/>
                  <a:gd name="T19" fmla="*/ 208 h 640"/>
                  <a:gd name="T20" fmla="*/ 938 w 1131"/>
                  <a:gd name="T21" fmla="*/ 193 h 640"/>
                  <a:gd name="T22" fmla="*/ 883 w 1131"/>
                  <a:gd name="T23" fmla="*/ 207 h 640"/>
                  <a:gd name="T24" fmla="*/ 859 w 1131"/>
                  <a:gd name="T25" fmla="*/ 185 h 640"/>
                  <a:gd name="T26" fmla="*/ 820 w 1131"/>
                  <a:gd name="T27" fmla="*/ 164 h 640"/>
                  <a:gd name="T28" fmla="*/ 824 w 1131"/>
                  <a:gd name="T29" fmla="*/ 208 h 640"/>
                  <a:gd name="T30" fmla="*/ 811 w 1131"/>
                  <a:gd name="T31" fmla="*/ 216 h 640"/>
                  <a:gd name="T32" fmla="*/ 766 w 1131"/>
                  <a:gd name="T33" fmla="*/ 248 h 640"/>
                  <a:gd name="T34" fmla="*/ 715 w 1131"/>
                  <a:gd name="T35" fmla="*/ 185 h 640"/>
                  <a:gd name="T36" fmla="*/ 689 w 1131"/>
                  <a:gd name="T37" fmla="*/ 158 h 640"/>
                  <a:gd name="T38" fmla="*/ 715 w 1131"/>
                  <a:gd name="T39" fmla="*/ 144 h 640"/>
                  <a:gd name="T40" fmla="*/ 695 w 1131"/>
                  <a:gd name="T41" fmla="*/ 99 h 640"/>
                  <a:gd name="T42" fmla="*/ 654 w 1131"/>
                  <a:gd name="T43" fmla="*/ 103 h 640"/>
                  <a:gd name="T44" fmla="*/ 602 w 1131"/>
                  <a:gd name="T45" fmla="*/ 80 h 640"/>
                  <a:gd name="T46" fmla="*/ 545 w 1131"/>
                  <a:gd name="T47" fmla="*/ 54 h 640"/>
                  <a:gd name="T48" fmla="*/ 514 w 1131"/>
                  <a:gd name="T49" fmla="*/ 7 h 640"/>
                  <a:gd name="T50" fmla="*/ 486 w 1131"/>
                  <a:gd name="T51" fmla="*/ 9 h 640"/>
                  <a:gd name="T52" fmla="*/ 486 w 1131"/>
                  <a:gd name="T53" fmla="*/ 35 h 640"/>
                  <a:gd name="T54" fmla="*/ 424 w 1131"/>
                  <a:gd name="T55" fmla="*/ 50 h 640"/>
                  <a:gd name="T56" fmla="*/ 412 w 1131"/>
                  <a:gd name="T57" fmla="*/ 9 h 640"/>
                  <a:gd name="T58" fmla="*/ 375 w 1131"/>
                  <a:gd name="T59" fmla="*/ 0 h 640"/>
                  <a:gd name="T60" fmla="*/ 367 w 1131"/>
                  <a:gd name="T61" fmla="*/ 41 h 640"/>
                  <a:gd name="T62" fmla="*/ 301 w 1131"/>
                  <a:gd name="T63" fmla="*/ 72 h 640"/>
                  <a:gd name="T64" fmla="*/ 242 w 1131"/>
                  <a:gd name="T65" fmla="*/ 95 h 640"/>
                  <a:gd name="T66" fmla="*/ 223 w 1131"/>
                  <a:gd name="T67" fmla="*/ 115 h 640"/>
                  <a:gd name="T68" fmla="*/ 193 w 1131"/>
                  <a:gd name="T69" fmla="*/ 121 h 640"/>
                  <a:gd name="T70" fmla="*/ 158 w 1131"/>
                  <a:gd name="T71" fmla="*/ 142 h 640"/>
                  <a:gd name="T72" fmla="*/ 107 w 1131"/>
                  <a:gd name="T73" fmla="*/ 162 h 640"/>
                  <a:gd name="T74" fmla="*/ 64 w 1131"/>
                  <a:gd name="T75" fmla="*/ 183 h 640"/>
                  <a:gd name="T76" fmla="*/ 37 w 1131"/>
                  <a:gd name="T77" fmla="*/ 230 h 640"/>
                  <a:gd name="T78" fmla="*/ 27 w 1131"/>
                  <a:gd name="T79" fmla="*/ 207 h 640"/>
                  <a:gd name="T80" fmla="*/ 6 w 1131"/>
                  <a:gd name="T81" fmla="*/ 201 h 640"/>
                  <a:gd name="T82" fmla="*/ 19 w 1131"/>
                  <a:gd name="T83" fmla="*/ 246 h 640"/>
                  <a:gd name="T84" fmla="*/ 64 w 1131"/>
                  <a:gd name="T85" fmla="*/ 290 h 640"/>
                  <a:gd name="T86" fmla="*/ 53 w 1131"/>
                  <a:gd name="T87" fmla="*/ 341 h 640"/>
                  <a:gd name="T88" fmla="*/ 74 w 1131"/>
                  <a:gd name="T89" fmla="*/ 374 h 640"/>
                  <a:gd name="T90" fmla="*/ 92 w 1131"/>
                  <a:gd name="T91" fmla="*/ 404 h 640"/>
                  <a:gd name="T92" fmla="*/ 141 w 1131"/>
                  <a:gd name="T93" fmla="*/ 445 h 640"/>
                  <a:gd name="T94" fmla="*/ 182 w 1131"/>
                  <a:gd name="T95" fmla="*/ 495 h 640"/>
                  <a:gd name="T96" fmla="*/ 230 w 1131"/>
                  <a:gd name="T97" fmla="*/ 542 h 640"/>
                  <a:gd name="T98" fmla="*/ 264 w 1131"/>
                  <a:gd name="T99" fmla="*/ 558 h 640"/>
                  <a:gd name="T100" fmla="*/ 307 w 1131"/>
                  <a:gd name="T101" fmla="*/ 595 h 640"/>
                  <a:gd name="T102" fmla="*/ 324 w 1131"/>
                  <a:gd name="T103" fmla="*/ 617 h 640"/>
                  <a:gd name="T104" fmla="*/ 396 w 1131"/>
                  <a:gd name="T105" fmla="*/ 620 h 640"/>
                  <a:gd name="T106" fmla="*/ 428 w 1131"/>
                  <a:gd name="T107" fmla="*/ 630 h 640"/>
                  <a:gd name="T108" fmla="*/ 451 w 1131"/>
                  <a:gd name="T109" fmla="*/ 599 h 640"/>
                  <a:gd name="T110" fmla="*/ 480 w 1131"/>
                  <a:gd name="T111" fmla="*/ 574 h 640"/>
                  <a:gd name="T112" fmla="*/ 514 w 1131"/>
                  <a:gd name="T113" fmla="*/ 538 h 640"/>
                  <a:gd name="T114" fmla="*/ 557 w 1131"/>
                  <a:gd name="T115" fmla="*/ 540 h 640"/>
                  <a:gd name="T116" fmla="*/ 629 w 1131"/>
                  <a:gd name="T117" fmla="*/ 568 h 640"/>
                  <a:gd name="T118" fmla="*/ 645 w 1131"/>
                  <a:gd name="T119" fmla="*/ 578 h 640"/>
                  <a:gd name="T120" fmla="*/ 729 w 1131"/>
                  <a:gd name="T121" fmla="*/ 581 h 640"/>
                  <a:gd name="T122" fmla="*/ 772 w 1131"/>
                  <a:gd name="T123" fmla="*/ 597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31" h="640">
                    <a:moveTo>
                      <a:pt x="814" y="628"/>
                    </a:moveTo>
                    <a:lnTo>
                      <a:pt x="814" y="624"/>
                    </a:lnTo>
                    <a:lnTo>
                      <a:pt x="816" y="620"/>
                    </a:lnTo>
                    <a:lnTo>
                      <a:pt x="818" y="617"/>
                    </a:lnTo>
                    <a:lnTo>
                      <a:pt x="828" y="593"/>
                    </a:lnTo>
                    <a:lnTo>
                      <a:pt x="832" y="585"/>
                    </a:lnTo>
                    <a:lnTo>
                      <a:pt x="838" y="581"/>
                    </a:lnTo>
                    <a:lnTo>
                      <a:pt x="840" y="578"/>
                    </a:lnTo>
                    <a:lnTo>
                      <a:pt x="842" y="574"/>
                    </a:lnTo>
                    <a:lnTo>
                      <a:pt x="842" y="572"/>
                    </a:lnTo>
                    <a:lnTo>
                      <a:pt x="852" y="564"/>
                    </a:lnTo>
                    <a:lnTo>
                      <a:pt x="859" y="562"/>
                    </a:lnTo>
                    <a:lnTo>
                      <a:pt x="867" y="566"/>
                    </a:lnTo>
                    <a:lnTo>
                      <a:pt x="887" y="576"/>
                    </a:lnTo>
                    <a:lnTo>
                      <a:pt x="889" y="574"/>
                    </a:lnTo>
                    <a:lnTo>
                      <a:pt x="893" y="572"/>
                    </a:lnTo>
                    <a:lnTo>
                      <a:pt x="895" y="570"/>
                    </a:lnTo>
                    <a:lnTo>
                      <a:pt x="898" y="570"/>
                    </a:lnTo>
                    <a:lnTo>
                      <a:pt x="902" y="570"/>
                    </a:lnTo>
                    <a:lnTo>
                      <a:pt x="906" y="576"/>
                    </a:lnTo>
                    <a:lnTo>
                      <a:pt x="912" y="576"/>
                    </a:lnTo>
                    <a:lnTo>
                      <a:pt x="945" y="564"/>
                    </a:lnTo>
                    <a:lnTo>
                      <a:pt x="947" y="562"/>
                    </a:lnTo>
                    <a:lnTo>
                      <a:pt x="953" y="552"/>
                    </a:lnTo>
                    <a:lnTo>
                      <a:pt x="957" y="548"/>
                    </a:lnTo>
                    <a:lnTo>
                      <a:pt x="961" y="548"/>
                    </a:lnTo>
                    <a:lnTo>
                      <a:pt x="965" y="548"/>
                    </a:lnTo>
                    <a:lnTo>
                      <a:pt x="967" y="548"/>
                    </a:lnTo>
                    <a:lnTo>
                      <a:pt x="971" y="546"/>
                    </a:lnTo>
                    <a:lnTo>
                      <a:pt x="973" y="542"/>
                    </a:lnTo>
                    <a:lnTo>
                      <a:pt x="973" y="535"/>
                    </a:lnTo>
                    <a:lnTo>
                      <a:pt x="975" y="531"/>
                    </a:lnTo>
                    <a:lnTo>
                      <a:pt x="977" y="527"/>
                    </a:lnTo>
                    <a:lnTo>
                      <a:pt x="981" y="525"/>
                    </a:lnTo>
                    <a:lnTo>
                      <a:pt x="984" y="523"/>
                    </a:lnTo>
                    <a:lnTo>
                      <a:pt x="992" y="525"/>
                    </a:lnTo>
                    <a:lnTo>
                      <a:pt x="998" y="521"/>
                    </a:lnTo>
                    <a:lnTo>
                      <a:pt x="1004" y="517"/>
                    </a:lnTo>
                    <a:lnTo>
                      <a:pt x="1008" y="511"/>
                    </a:lnTo>
                    <a:lnTo>
                      <a:pt x="1008" y="505"/>
                    </a:lnTo>
                    <a:lnTo>
                      <a:pt x="1008" y="494"/>
                    </a:lnTo>
                    <a:lnTo>
                      <a:pt x="1008" y="492"/>
                    </a:lnTo>
                    <a:lnTo>
                      <a:pt x="1008" y="486"/>
                    </a:lnTo>
                    <a:lnTo>
                      <a:pt x="1010" y="478"/>
                    </a:lnTo>
                    <a:lnTo>
                      <a:pt x="1014" y="470"/>
                    </a:lnTo>
                    <a:lnTo>
                      <a:pt x="1018" y="462"/>
                    </a:lnTo>
                    <a:lnTo>
                      <a:pt x="1024" y="458"/>
                    </a:lnTo>
                    <a:lnTo>
                      <a:pt x="1045" y="449"/>
                    </a:lnTo>
                    <a:lnTo>
                      <a:pt x="1051" y="445"/>
                    </a:lnTo>
                    <a:lnTo>
                      <a:pt x="1055" y="441"/>
                    </a:lnTo>
                    <a:lnTo>
                      <a:pt x="1055" y="429"/>
                    </a:lnTo>
                    <a:lnTo>
                      <a:pt x="1061" y="431"/>
                    </a:lnTo>
                    <a:lnTo>
                      <a:pt x="1065" y="427"/>
                    </a:lnTo>
                    <a:lnTo>
                      <a:pt x="1072" y="419"/>
                    </a:lnTo>
                    <a:lnTo>
                      <a:pt x="1076" y="415"/>
                    </a:lnTo>
                    <a:lnTo>
                      <a:pt x="1078" y="415"/>
                    </a:lnTo>
                    <a:lnTo>
                      <a:pt x="1078" y="413"/>
                    </a:lnTo>
                    <a:lnTo>
                      <a:pt x="1080" y="408"/>
                    </a:lnTo>
                    <a:lnTo>
                      <a:pt x="1080" y="406"/>
                    </a:lnTo>
                    <a:lnTo>
                      <a:pt x="1084" y="404"/>
                    </a:lnTo>
                    <a:lnTo>
                      <a:pt x="1092" y="404"/>
                    </a:lnTo>
                    <a:lnTo>
                      <a:pt x="1096" y="402"/>
                    </a:lnTo>
                    <a:lnTo>
                      <a:pt x="1098" y="402"/>
                    </a:lnTo>
                    <a:lnTo>
                      <a:pt x="1098" y="402"/>
                    </a:lnTo>
                    <a:lnTo>
                      <a:pt x="1104" y="406"/>
                    </a:lnTo>
                    <a:lnTo>
                      <a:pt x="1109" y="406"/>
                    </a:lnTo>
                    <a:lnTo>
                      <a:pt x="1113" y="406"/>
                    </a:lnTo>
                    <a:lnTo>
                      <a:pt x="1121" y="400"/>
                    </a:lnTo>
                    <a:lnTo>
                      <a:pt x="1123" y="398"/>
                    </a:lnTo>
                    <a:lnTo>
                      <a:pt x="1131" y="398"/>
                    </a:lnTo>
                    <a:lnTo>
                      <a:pt x="1131" y="398"/>
                    </a:lnTo>
                    <a:lnTo>
                      <a:pt x="1131" y="398"/>
                    </a:lnTo>
                    <a:lnTo>
                      <a:pt x="1131" y="394"/>
                    </a:lnTo>
                    <a:lnTo>
                      <a:pt x="1131" y="388"/>
                    </a:lnTo>
                    <a:lnTo>
                      <a:pt x="1129" y="378"/>
                    </a:lnTo>
                    <a:lnTo>
                      <a:pt x="1127" y="376"/>
                    </a:lnTo>
                    <a:lnTo>
                      <a:pt x="1125" y="371"/>
                    </a:lnTo>
                    <a:lnTo>
                      <a:pt x="1125" y="369"/>
                    </a:lnTo>
                    <a:lnTo>
                      <a:pt x="1123" y="365"/>
                    </a:lnTo>
                    <a:lnTo>
                      <a:pt x="1123" y="359"/>
                    </a:lnTo>
                    <a:lnTo>
                      <a:pt x="1123" y="359"/>
                    </a:lnTo>
                    <a:lnTo>
                      <a:pt x="1123" y="357"/>
                    </a:lnTo>
                    <a:lnTo>
                      <a:pt x="1121" y="357"/>
                    </a:lnTo>
                    <a:lnTo>
                      <a:pt x="1121" y="355"/>
                    </a:lnTo>
                    <a:lnTo>
                      <a:pt x="1117" y="357"/>
                    </a:lnTo>
                    <a:lnTo>
                      <a:pt x="1115" y="357"/>
                    </a:lnTo>
                    <a:lnTo>
                      <a:pt x="1113" y="357"/>
                    </a:lnTo>
                    <a:lnTo>
                      <a:pt x="1111" y="357"/>
                    </a:lnTo>
                    <a:lnTo>
                      <a:pt x="1108" y="353"/>
                    </a:lnTo>
                    <a:lnTo>
                      <a:pt x="1108" y="353"/>
                    </a:lnTo>
                    <a:lnTo>
                      <a:pt x="1106" y="351"/>
                    </a:lnTo>
                    <a:lnTo>
                      <a:pt x="1104" y="351"/>
                    </a:lnTo>
                    <a:lnTo>
                      <a:pt x="1102" y="349"/>
                    </a:lnTo>
                    <a:lnTo>
                      <a:pt x="1098" y="349"/>
                    </a:lnTo>
                    <a:lnTo>
                      <a:pt x="1096" y="347"/>
                    </a:lnTo>
                    <a:lnTo>
                      <a:pt x="1094" y="345"/>
                    </a:lnTo>
                    <a:lnTo>
                      <a:pt x="1092" y="339"/>
                    </a:lnTo>
                    <a:lnTo>
                      <a:pt x="1088" y="330"/>
                    </a:lnTo>
                    <a:lnTo>
                      <a:pt x="1086" y="322"/>
                    </a:lnTo>
                    <a:lnTo>
                      <a:pt x="1086" y="318"/>
                    </a:lnTo>
                    <a:lnTo>
                      <a:pt x="1086" y="316"/>
                    </a:lnTo>
                    <a:lnTo>
                      <a:pt x="1086" y="316"/>
                    </a:lnTo>
                    <a:lnTo>
                      <a:pt x="1086" y="316"/>
                    </a:lnTo>
                    <a:lnTo>
                      <a:pt x="1090" y="310"/>
                    </a:lnTo>
                    <a:lnTo>
                      <a:pt x="1086" y="308"/>
                    </a:lnTo>
                    <a:lnTo>
                      <a:pt x="1086" y="308"/>
                    </a:lnTo>
                    <a:lnTo>
                      <a:pt x="1084" y="304"/>
                    </a:lnTo>
                    <a:lnTo>
                      <a:pt x="1086" y="302"/>
                    </a:lnTo>
                    <a:lnTo>
                      <a:pt x="1086" y="300"/>
                    </a:lnTo>
                    <a:lnTo>
                      <a:pt x="1084" y="296"/>
                    </a:lnTo>
                    <a:lnTo>
                      <a:pt x="1084" y="296"/>
                    </a:lnTo>
                    <a:lnTo>
                      <a:pt x="1084" y="296"/>
                    </a:lnTo>
                    <a:lnTo>
                      <a:pt x="1082" y="294"/>
                    </a:lnTo>
                    <a:lnTo>
                      <a:pt x="1076" y="298"/>
                    </a:lnTo>
                    <a:lnTo>
                      <a:pt x="1076" y="298"/>
                    </a:lnTo>
                    <a:lnTo>
                      <a:pt x="1072" y="298"/>
                    </a:lnTo>
                    <a:lnTo>
                      <a:pt x="1065" y="294"/>
                    </a:lnTo>
                    <a:lnTo>
                      <a:pt x="1059" y="292"/>
                    </a:lnTo>
                    <a:lnTo>
                      <a:pt x="1053" y="290"/>
                    </a:lnTo>
                    <a:lnTo>
                      <a:pt x="1051" y="290"/>
                    </a:lnTo>
                    <a:lnTo>
                      <a:pt x="1045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5" y="292"/>
                    </a:lnTo>
                    <a:lnTo>
                      <a:pt x="1043" y="296"/>
                    </a:lnTo>
                    <a:lnTo>
                      <a:pt x="1039" y="296"/>
                    </a:lnTo>
                    <a:lnTo>
                      <a:pt x="1039" y="296"/>
                    </a:lnTo>
                    <a:lnTo>
                      <a:pt x="1039" y="296"/>
                    </a:lnTo>
                    <a:lnTo>
                      <a:pt x="1037" y="292"/>
                    </a:lnTo>
                    <a:lnTo>
                      <a:pt x="1035" y="292"/>
                    </a:lnTo>
                    <a:lnTo>
                      <a:pt x="1035" y="290"/>
                    </a:lnTo>
                    <a:lnTo>
                      <a:pt x="1035" y="287"/>
                    </a:lnTo>
                    <a:lnTo>
                      <a:pt x="1033" y="287"/>
                    </a:lnTo>
                    <a:lnTo>
                      <a:pt x="1031" y="285"/>
                    </a:lnTo>
                    <a:lnTo>
                      <a:pt x="1029" y="285"/>
                    </a:lnTo>
                    <a:lnTo>
                      <a:pt x="1027" y="285"/>
                    </a:lnTo>
                    <a:lnTo>
                      <a:pt x="1025" y="283"/>
                    </a:lnTo>
                    <a:lnTo>
                      <a:pt x="1022" y="281"/>
                    </a:lnTo>
                    <a:lnTo>
                      <a:pt x="1020" y="279"/>
                    </a:lnTo>
                    <a:lnTo>
                      <a:pt x="1018" y="277"/>
                    </a:lnTo>
                    <a:lnTo>
                      <a:pt x="1008" y="275"/>
                    </a:lnTo>
                    <a:lnTo>
                      <a:pt x="1008" y="275"/>
                    </a:lnTo>
                    <a:lnTo>
                      <a:pt x="1008" y="275"/>
                    </a:lnTo>
                    <a:lnTo>
                      <a:pt x="1006" y="273"/>
                    </a:lnTo>
                    <a:lnTo>
                      <a:pt x="1006" y="273"/>
                    </a:lnTo>
                    <a:lnTo>
                      <a:pt x="1006" y="273"/>
                    </a:lnTo>
                    <a:lnTo>
                      <a:pt x="1006" y="269"/>
                    </a:lnTo>
                    <a:lnTo>
                      <a:pt x="1006" y="267"/>
                    </a:lnTo>
                    <a:lnTo>
                      <a:pt x="1006" y="267"/>
                    </a:lnTo>
                    <a:lnTo>
                      <a:pt x="996" y="261"/>
                    </a:lnTo>
                    <a:lnTo>
                      <a:pt x="994" y="261"/>
                    </a:lnTo>
                    <a:lnTo>
                      <a:pt x="994" y="261"/>
                    </a:lnTo>
                    <a:lnTo>
                      <a:pt x="992" y="259"/>
                    </a:lnTo>
                    <a:lnTo>
                      <a:pt x="990" y="259"/>
                    </a:lnTo>
                    <a:lnTo>
                      <a:pt x="992" y="265"/>
                    </a:lnTo>
                    <a:lnTo>
                      <a:pt x="992" y="265"/>
                    </a:lnTo>
                    <a:lnTo>
                      <a:pt x="992" y="265"/>
                    </a:lnTo>
                    <a:lnTo>
                      <a:pt x="992" y="267"/>
                    </a:lnTo>
                    <a:lnTo>
                      <a:pt x="994" y="265"/>
                    </a:lnTo>
                    <a:lnTo>
                      <a:pt x="994" y="265"/>
                    </a:lnTo>
                    <a:lnTo>
                      <a:pt x="996" y="265"/>
                    </a:lnTo>
                    <a:lnTo>
                      <a:pt x="996" y="267"/>
                    </a:lnTo>
                    <a:lnTo>
                      <a:pt x="996" y="267"/>
                    </a:lnTo>
                    <a:lnTo>
                      <a:pt x="996" y="269"/>
                    </a:lnTo>
                    <a:lnTo>
                      <a:pt x="996" y="271"/>
                    </a:lnTo>
                    <a:lnTo>
                      <a:pt x="996" y="271"/>
                    </a:lnTo>
                    <a:lnTo>
                      <a:pt x="990" y="273"/>
                    </a:lnTo>
                    <a:lnTo>
                      <a:pt x="990" y="273"/>
                    </a:lnTo>
                    <a:lnTo>
                      <a:pt x="990" y="273"/>
                    </a:lnTo>
                    <a:lnTo>
                      <a:pt x="990" y="273"/>
                    </a:lnTo>
                    <a:lnTo>
                      <a:pt x="984" y="273"/>
                    </a:lnTo>
                    <a:lnTo>
                      <a:pt x="981" y="275"/>
                    </a:lnTo>
                    <a:lnTo>
                      <a:pt x="977" y="279"/>
                    </a:lnTo>
                    <a:lnTo>
                      <a:pt x="975" y="279"/>
                    </a:lnTo>
                    <a:lnTo>
                      <a:pt x="971" y="281"/>
                    </a:lnTo>
                    <a:lnTo>
                      <a:pt x="963" y="279"/>
                    </a:lnTo>
                    <a:lnTo>
                      <a:pt x="955" y="271"/>
                    </a:lnTo>
                    <a:lnTo>
                      <a:pt x="953" y="269"/>
                    </a:lnTo>
                    <a:lnTo>
                      <a:pt x="953" y="267"/>
                    </a:lnTo>
                    <a:lnTo>
                      <a:pt x="951" y="265"/>
                    </a:lnTo>
                    <a:lnTo>
                      <a:pt x="951" y="263"/>
                    </a:lnTo>
                    <a:lnTo>
                      <a:pt x="949" y="263"/>
                    </a:lnTo>
                    <a:lnTo>
                      <a:pt x="949" y="259"/>
                    </a:lnTo>
                    <a:lnTo>
                      <a:pt x="947" y="255"/>
                    </a:lnTo>
                    <a:lnTo>
                      <a:pt x="945" y="253"/>
                    </a:lnTo>
                    <a:lnTo>
                      <a:pt x="945" y="253"/>
                    </a:lnTo>
                    <a:lnTo>
                      <a:pt x="945" y="253"/>
                    </a:lnTo>
                    <a:lnTo>
                      <a:pt x="945" y="253"/>
                    </a:lnTo>
                    <a:lnTo>
                      <a:pt x="945" y="253"/>
                    </a:lnTo>
                    <a:lnTo>
                      <a:pt x="943" y="251"/>
                    </a:lnTo>
                    <a:lnTo>
                      <a:pt x="945" y="249"/>
                    </a:lnTo>
                    <a:lnTo>
                      <a:pt x="945" y="249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3" y="248"/>
                    </a:lnTo>
                    <a:lnTo>
                      <a:pt x="940" y="246"/>
                    </a:lnTo>
                    <a:lnTo>
                      <a:pt x="938" y="244"/>
                    </a:lnTo>
                    <a:lnTo>
                      <a:pt x="936" y="244"/>
                    </a:lnTo>
                    <a:lnTo>
                      <a:pt x="934" y="246"/>
                    </a:lnTo>
                    <a:lnTo>
                      <a:pt x="934" y="246"/>
                    </a:lnTo>
                    <a:lnTo>
                      <a:pt x="932" y="246"/>
                    </a:lnTo>
                    <a:lnTo>
                      <a:pt x="930" y="244"/>
                    </a:lnTo>
                    <a:lnTo>
                      <a:pt x="930" y="244"/>
                    </a:lnTo>
                    <a:lnTo>
                      <a:pt x="922" y="234"/>
                    </a:lnTo>
                    <a:lnTo>
                      <a:pt x="920" y="232"/>
                    </a:lnTo>
                    <a:lnTo>
                      <a:pt x="922" y="230"/>
                    </a:lnTo>
                    <a:lnTo>
                      <a:pt x="924" y="228"/>
                    </a:lnTo>
                    <a:lnTo>
                      <a:pt x="932" y="228"/>
                    </a:lnTo>
                    <a:lnTo>
                      <a:pt x="936" y="226"/>
                    </a:lnTo>
                    <a:lnTo>
                      <a:pt x="941" y="224"/>
                    </a:lnTo>
                    <a:lnTo>
                      <a:pt x="943" y="222"/>
                    </a:lnTo>
                    <a:lnTo>
                      <a:pt x="943" y="222"/>
                    </a:lnTo>
                    <a:lnTo>
                      <a:pt x="947" y="220"/>
                    </a:lnTo>
                    <a:lnTo>
                      <a:pt x="949" y="216"/>
                    </a:lnTo>
                    <a:lnTo>
                      <a:pt x="945" y="210"/>
                    </a:lnTo>
                    <a:lnTo>
                      <a:pt x="945" y="210"/>
                    </a:lnTo>
                    <a:lnTo>
                      <a:pt x="945" y="210"/>
                    </a:lnTo>
                    <a:lnTo>
                      <a:pt x="943" y="208"/>
                    </a:lnTo>
                    <a:lnTo>
                      <a:pt x="943" y="208"/>
                    </a:lnTo>
                    <a:lnTo>
                      <a:pt x="943" y="207"/>
                    </a:lnTo>
                    <a:lnTo>
                      <a:pt x="943" y="205"/>
                    </a:lnTo>
                    <a:lnTo>
                      <a:pt x="943" y="205"/>
                    </a:lnTo>
                    <a:lnTo>
                      <a:pt x="945" y="199"/>
                    </a:lnTo>
                    <a:lnTo>
                      <a:pt x="945" y="199"/>
                    </a:lnTo>
                    <a:lnTo>
                      <a:pt x="945" y="199"/>
                    </a:lnTo>
                    <a:lnTo>
                      <a:pt x="947" y="197"/>
                    </a:lnTo>
                    <a:lnTo>
                      <a:pt x="947" y="197"/>
                    </a:lnTo>
                    <a:lnTo>
                      <a:pt x="947" y="197"/>
                    </a:lnTo>
                    <a:lnTo>
                      <a:pt x="945" y="197"/>
                    </a:lnTo>
                    <a:lnTo>
                      <a:pt x="945" y="197"/>
                    </a:lnTo>
                    <a:lnTo>
                      <a:pt x="945" y="195"/>
                    </a:lnTo>
                    <a:lnTo>
                      <a:pt x="943" y="193"/>
                    </a:lnTo>
                    <a:lnTo>
                      <a:pt x="943" y="193"/>
                    </a:lnTo>
                    <a:lnTo>
                      <a:pt x="941" y="191"/>
                    </a:lnTo>
                    <a:lnTo>
                      <a:pt x="940" y="191"/>
                    </a:lnTo>
                    <a:lnTo>
                      <a:pt x="940" y="191"/>
                    </a:lnTo>
                    <a:lnTo>
                      <a:pt x="938" y="191"/>
                    </a:lnTo>
                    <a:lnTo>
                      <a:pt x="938" y="191"/>
                    </a:lnTo>
                    <a:lnTo>
                      <a:pt x="938" y="193"/>
                    </a:lnTo>
                    <a:lnTo>
                      <a:pt x="938" y="193"/>
                    </a:lnTo>
                    <a:lnTo>
                      <a:pt x="938" y="193"/>
                    </a:lnTo>
                    <a:lnTo>
                      <a:pt x="938" y="193"/>
                    </a:lnTo>
                    <a:lnTo>
                      <a:pt x="938" y="195"/>
                    </a:lnTo>
                    <a:lnTo>
                      <a:pt x="934" y="201"/>
                    </a:lnTo>
                    <a:lnTo>
                      <a:pt x="932" y="201"/>
                    </a:lnTo>
                    <a:lnTo>
                      <a:pt x="930" y="203"/>
                    </a:lnTo>
                    <a:lnTo>
                      <a:pt x="930" y="205"/>
                    </a:lnTo>
                    <a:lnTo>
                      <a:pt x="926" y="205"/>
                    </a:lnTo>
                    <a:lnTo>
                      <a:pt x="910" y="203"/>
                    </a:lnTo>
                    <a:lnTo>
                      <a:pt x="902" y="203"/>
                    </a:lnTo>
                    <a:lnTo>
                      <a:pt x="897" y="208"/>
                    </a:lnTo>
                    <a:lnTo>
                      <a:pt x="897" y="208"/>
                    </a:lnTo>
                    <a:lnTo>
                      <a:pt x="897" y="210"/>
                    </a:lnTo>
                    <a:lnTo>
                      <a:pt x="897" y="210"/>
                    </a:lnTo>
                    <a:lnTo>
                      <a:pt x="895" y="210"/>
                    </a:lnTo>
                    <a:lnTo>
                      <a:pt x="895" y="210"/>
                    </a:lnTo>
                    <a:lnTo>
                      <a:pt x="895" y="208"/>
                    </a:lnTo>
                    <a:lnTo>
                      <a:pt x="895" y="208"/>
                    </a:lnTo>
                    <a:lnTo>
                      <a:pt x="893" y="205"/>
                    </a:lnTo>
                    <a:lnTo>
                      <a:pt x="893" y="205"/>
                    </a:lnTo>
                    <a:lnTo>
                      <a:pt x="889" y="201"/>
                    </a:lnTo>
                    <a:lnTo>
                      <a:pt x="887" y="201"/>
                    </a:lnTo>
                    <a:lnTo>
                      <a:pt x="885" y="201"/>
                    </a:lnTo>
                    <a:lnTo>
                      <a:pt x="883" y="207"/>
                    </a:lnTo>
                    <a:lnTo>
                      <a:pt x="883" y="207"/>
                    </a:lnTo>
                    <a:lnTo>
                      <a:pt x="883" y="207"/>
                    </a:lnTo>
                    <a:lnTo>
                      <a:pt x="881" y="205"/>
                    </a:lnTo>
                    <a:lnTo>
                      <a:pt x="879" y="203"/>
                    </a:lnTo>
                    <a:lnTo>
                      <a:pt x="879" y="203"/>
                    </a:lnTo>
                    <a:lnTo>
                      <a:pt x="879" y="203"/>
                    </a:lnTo>
                    <a:lnTo>
                      <a:pt x="879" y="203"/>
                    </a:lnTo>
                    <a:lnTo>
                      <a:pt x="879" y="199"/>
                    </a:lnTo>
                    <a:lnTo>
                      <a:pt x="879" y="195"/>
                    </a:lnTo>
                    <a:lnTo>
                      <a:pt x="879" y="195"/>
                    </a:lnTo>
                    <a:lnTo>
                      <a:pt x="879" y="195"/>
                    </a:lnTo>
                    <a:lnTo>
                      <a:pt x="877" y="193"/>
                    </a:lnTo>
                    <a:lnTo>
                      <a:pt x="877" y="193"/>
                    </a:lnTo>
                    <a:lnTo>
                      <a:pt x="877" y="191"/>
                    </a:lnTo>
                    <a:lnTo>
                      <a:pt x="877" y="191"/>
                    </a:lnTo>
                    <a:lnTo>
                      <a:pt x="877" y="191"/>
                    </a:lnTo>
                    <a:lnTo>
                      <a:pt x="879" y="191"/>
                    </a:lnTo>
                    <a:lnTo>
                      <a:pt x="881" y="191"/>
                    </a:lnTo>
                    <a:lnTo>
                      <a:pt x="879" y="191"/>
                    </a:lnTo>
                    <a:lnTo>
                      <a:pt x="877" y="189"/>
                    </a:lnTo>
                    <a:lnTo>
                      <a:pt x="869" y="189"/>
                    </a:lnTo>
                    <a:lnTo>
                      <a:pt x="865" y="189"/>
                    </a:lnTo>
                    <a:lnTo>
                      <a:pt x="859" y="185"/>
                    </a:lnTo>
                    <a:lnTo>
                      <a:pt x="859" y="185"/>
                    </a:lnTo>
                    <a:lnTo>
                      <a:pt x="859" y="185"/>
                    </a:lnTo>
                    <a:lnTo>
                      <a:pt x="859" y="185"/>
                    </a:lnTo>
                    <a:lnTo>
                      <a:pt x="857" y="183"/>
                    </a:lnTo>
                    <a:lnTo>
                      <a:pt x="856" y="181"/>
                    </a:lnTo>
                    <a:lnTo>
                      <a:pt x="856" y="179"/>
                    </a:lnTo>
                    <a:lnTo>
                      <a:pt x="856" y="177"/>
                    </a:lnTo>
                    <a:lnTo>
                      <a:pt x="856" y="175"/>
                    </a:lnTo>
                    <a:lnTo>
                      <a:pt x="856" y="173"/>
                    </a:lnTo>
                    <a:lnTo>
                      <a:pt x="856" y="173"/>
                    </a:lnTo>
                    <a:lnTo>
                      <a:pt x="854" y="173"/>
                    </a:lnTo>
                    <a:lnTo>
                      <a:pt x="854" y="173"/>
                    </a:lnTo>
                    <a:lnTo>
                      <a:pt x="848" y="173"/>
                    </a:lnTo>
                    <a:lnTo>
                      <a:pt x="848" y="173"/>
                    </a:lnTo>
                    <a:lnTo>
                      <a:pt x="846" y="173"/>
                    </a:lnTo>
                    <a:lnTo>
                      <a:pt x="846" y="173"/>
                    </a:lnTo>
                    <a:lnTo>
                      <a:pt x="844" y="173"/>
                    </a:lnTo>
                    <a:lnTo>
                      <a:pt x="844" y="173"/>
                    </a:lnTo>
                    <a:lnTo>
                      <a:pt x="844" y="173"/>
                    </a:lnTo>
                    <a:lnTo>
                      <a:pt x="844" y="173"/>
                    </a:lnTo>
                    <a:lnTo>
                      <a:pt x="840" y="169"/>
                    </a:lnTo>
                    <a:lnTo>
                      <a:pt x="838" y="167"/>
                    </a:lnTo>
                    <a:lnTo>
                      <a:pt x="826" y="166"/>
                    </a:lnTo>
                    <a:lnTo>
                      <a:pt x="820" y="164"/>
                    </a:lnTo>
                    <a:lnTo>
                      <a:pt x="816" y="164"/>
                    </a:lnTo>
                    <a:lnTo>
                      <a:pt x="816" y="164"/>
                    </a:lnTo>
                    <a:lnTo>
                      <a:pt x="814" y="162"/>
                    </a:lnTo>
                    <a:lnTo>
                      <a:pt x="813" y="162"/>
                    </a:lnTo>
                    <a:lnTo>
                      <a:pt x="809" y="160"/>
                    </a:lnTo>
                    <a:lnTo>
                      <a:pt x="807" y="160"/>
                    </a:lnTo>
                    <a:lnTo>
                      <a:pt x="805" y="160"/>
                    </a:lnTo>
                    <a:lnTo>
                      <a:pt x="803" y="162"/>
                    </a:lnTo>
                    <a:lnTo>
                      <a:pt x="801" y="162"/>
                    </a:lnTo>
                    <a:lnTo>
                      <a:pt x="801" y="166"/>
                    </a:lnTo>
                    <a:lnTo>
                      <a:pt x="803" y="169"/>
                    </a:lnTo>
                    <a:lnTo>
                      <a:pt x="807" y="173"/>
                    </a:lnTo>
                    <a:lnTo>
                      <a:pt x="809" y="179"/>
                    </a:lnTo>
                    <a:lnTo>
                      <a:pt x="809" y="183"/>
                    </a:lnTo>
                    <a:lnTo>
                      <a:pt x="811" y="189"/>
                    </a:lnTo>
                    <a:lnTo>
                      <a:pt x="813" y="189"/>
                    </a:lnTo>
                    <a:lnTo>
                      <a:pt x="814" y="193"/>
                    </a:lnTo>
                    <a:lnTo>
                      <a:pt x="816" y="193"/>
                    </a:lnTo>
                    <a:lnTo>
                      <a:pt x="818" y="195"/>
                    </a:lnTo>
                    <a:lnTo>
                      <a:pt x="822" y="199"/>
                    </a:lnTo>
                    <a:lnTo>
                      <a:pt x="822" y="199"/>
                    </a:lnTo>
                    <a:lnTo>
                      <a:pt x="822" y="203"/>
                    </a:lnTo>
                    <a:lnTo>
                      <a:pt x="824" y="208"/>
                    </a:lnTo>
                    <a:lnTo>
                      <a:pt x="824" y="208"/>
                    </a:lnTo>
                    <a:lnTo>
                      <a:pt x="826" y="212"/>
                    </a:lnTo>
                    <a:lnTo>
                      <a:pt x="826" y="212"/>
                    </a:lnTo>
                    <a:lnTo>
                      <a:pt x="826" y="214"/>
                    </a:lnTo>
                    <a:lnTo>
                      <a:pt x="824" y="218"/>
                    </a:lnTo>
                    <a:lnTo>
                      <a:pt x="824" y="218"/>
                    </a:lnTo>
                    <a:lnTo>
                      <a:pt x="824" y="218"/>
                    </a:lnTo>
                    <a:lnTo>
                      <a:pt x="824" y="218"/>
                    </a:lnTo>
                    <a:lnTo>
                      <a:pt x="824" y="216"/>
                    </a:lnTo>
                    <a:lnTo>
                      <a:pt x="822" y="216"/>
                    </a:lnTo>
                    <a:lnTo>
                      <a:pt x="820" y="214"/>
                    </a:lnTo>
                    <a:lnTo>
                      <a:pt x="820" y="212"/>
                    </a:lnTo>
                    <a:lnTo>
                      <a:pt x="818" y="212"/>
                    </a:lnTo>
                    <a:lnTo>
                      <a:pt x="816" y="212"/>
                    </a:lnTo>
                    <a:lnTo>
                      <a:pt x="816" y="212"/>
                    </a:lnTo>
                    <a:lnTo>
                      <a:pt x="816" y="212"/>
                    </a:lnTo>
                    <a:lnTo>
                      <a:pt x="816" y="216"/>
                    </a:lnTo>
                    <a:lnTo>
                      <a:pt x="816" y="216"/>
                    </a:lnTo>
                    <a:lnTo>
                      <a:pt x="816" y="216"/>
                    </a:lnTo>
                    <a:lnTo>
                      <a:pt x="814" y="216"/>
                    </a:lnTo>
                    <a:lnTo>
                      <a:pt x="811" y="216"/>
                    </a:lnTo>
                    <a:lnTo>
                      <a:pt x="811" y="216"/>
                    </a:lnTo>
                    <a:lnTo>
                      <a:pt x="811" y="216"/>
                    </a:lnTo>
                    <a:lnTo>
                      <a:pt x="809" y="216"/>
                    </a:lnTo>
                    <a:lnTo>
                      <a:pt x="805" y="220"/>
                    </a:lnTo>
                    <a:lnTo>
                      <a:pt x="805" y="222"/>
                    </a:lnTo>
                    <a:lnTo>
                      <a:pt x="803" y="222"/>
                    </a:lnTo>
                    <a:lnTo>
                      <a:pt x="801" y="222"/>
                    </a:lnTo>
                    <a:lnTo>
                      <a:pt x="801" y="222"/>
                    </a:lnTo>
                    <a:lnTo>
                      <a:pt x="799" y="224"/>
                    </a:lnTo>
                    <a:lnTo>
                      <a:pt x="797" y="222"/>
                    </a:lnTo>
                    <a:lnTo>
                      <a:pt x="793" y="224"/>
                    </a:lnTo>
                    <a:lnTo>
                      <a:pt x="793" y="224"/>
                    </a:lnTo>
                    <a:lnTo>
                      <a:pt x="789" y="226"/>
                    </a:lnTo>
                    <a:lnTo>
                      <a:pt x="787" y="230"/>
                    </a:lnTo>
                    <a:lnTo>
                      <a:pt x="787" y="232"/>
                    </a:lnTo>
                    <a:lnTo>
                      <a:pt x="785" y="234"/>
                    </a:lnTo>
                    <a:lnTo>
                      <a:pt x="785" y="234"/>
                    </a:lnTo>
                    <a:lnTo>
                      <a:pt x="783" y="236"/>
                    </a:lnTo>
                    <a:lnTo>
                      <a:pt x="783" y="238"/>
                    </a:lnTo>
                    <a:lnTo>
                      <a:pt x="781" y="240"/>
                    </a:lnTo>
                    <a:lnTo>
                      <a:pt x="779" y="240"/>
                    </a:lnTo>
                    <a:lnTo>
                      <a:pt x="773" y="248"/>
                    </a:lnTo>
                    <a:lnTo>
                      <a:pt x="773" y="248"/>
                    </a:lnTo>
                    <a:lnTo>
                      <a:pt x="768" y="248"/>
                    </a:lnTo>
                    <a:lnTo>
                      <a:pt x="766" y="248"/>
                    </a:lnTo>
                    <a:lnTo>
                      <a:pt x="760" y="244"/>
                    </a:lnTo>
                    <a:lnTo>
                      <a:pt x="756" y="242"/>
                    </a:lnTo>
                    <a:lnTo>
                      <a:pt x="754" y="240"/>
                    </a:lnTo>
                    <a:lnTo>
                      <a:pt x="752" y="238"/>
                    </a:lnTo>
                    <a:lnTo>
                      <a:pt x="750" y="236"/>
                    </a:lnTo>
                    <a:lnTo>
                      <a:pt x="750" y="232"/>
                    </a:lnTo>
                    <a:lnTo>
                      <a:pt x="750" y="232"/>
                    </a:lnTo>
                    <a:lnTo>
                      <a:pt x="748" y="222"/>
                    </a:lnTo>
                    <a:lnTo>
                      <a:pt x="746" y="220"/>
                    </a:lnTo>
                    <a:lnTo>
                      <a:pt x="746" y="218"/>
                    </a:lnTo>
                    <a:lnTo>
                      <a:pt x="744" y="218"/>
                    </a:lnTo>
                    <a:lnTo>
                      <a:pt x="740" y="212"/>
                    </a:lnTo>
                    <a:lnTo>
                      <a:pt x="738" y="208"/>
                    </a:lnTo>
                    <a:lnTo>
                      <a:pt x="738" y="208"/>
                    </a:lnTo>
                    <a:lnTo>
                      <a:pt x="736" y="207"/>
                    </a:lnTo>
                    <a:lnTo>
                      <a:pt x="734" y="203"/>
                    </a:lnTo>
                    <a:lnTo>
                      <a:pt x="732" y="199"/>
                    </a:lnTo>
                    <a:lnTo>
                      <a:pt x="729" y="195"/>
                    </a:lnTo>
                    <a:lnTo>
                      <a:pt x="727" y="193"/>
                    </a:lnTo>
                    <a:lnTo>
                      <a:pt x="719" y="189"/>
                    </a:lnTo>
                    <a:lnTo>
                      <a:pt x="717" y="187"/>
                    </a:lnTo>
                    <a:lnTo>
                      <a:pt x="715" y="185"/>
                    </a:lnTo>
                    <a:lnTo>
                      <a:pt x="715" y="185"/>
                    </a:lnTo>
                    <a:lnTo>
                      <a:pt x="715" y="185"/>
                    </a:lnTo>
                    <a:lnTo>
                      <a:pt x="715" y="183"/>
                    </a:lnTo>
                    <a:lnTo>
                      <a:pt x="715" y="181"/>
                    </a:lnTo>
                    <a:lnTo>
                      <a:pt x="715" y="181"/>
                    </a:lnTo>
                    <a:lnTo>
                      <a:pt x="715" y="179"/>
                    </a:lnTo>
                    <a:lnTo>
                      <a:pt x="715" y="177"/>
                    </a:lnTo>
                    <a:lnTo>
                      <a:pt x="713" y="175"/>
                    </a:lnTo>
                    <a:lnTo>
                      <a:pt x="713" y="175"/>
                    </a:lnTo>
                    <a:lnTo>
                      <a:pt x="713" y="175"/>
                    </a:lnTo>
                    <a:lnTo>
                      <a:pt x="705" y="175"/>
                    </a:lnTo>
                    <a:lnTo>
                      <a:pt x="703" y="175"/>
                    </a:lnTo>
                    <a:lnTo>
                      <a:pt x="703" y="175"/>
                    </a:lnTo>
                    <a:lnTo>
                      <a:pt x="701" y="177"/>
                    </a:lnTo>
                    <a:lnTo>
                      <a:pt x="699" y="177"/>
                    </a:lnTo>
                    <a:lnTo>
                      <a:pt x="697" y="175"/>
                    </a:lnTo>
                    <a:lnTo>
                      <a:pt x="697" y="175"/>
                    </a:lnTo>
                    <a:lnTo>
                      <a:pt x="697" y="173"/>
                    </a:lnTo>
                    <a:lnTo>
                      <a:pt x="695" y="167"/>
                    </a:lnTo>
                    <a:lnTo>
                      <a:pt x="689" y="166"/>
                    </a:lnTo>
                    <a:lnTo>
                      <a:pt x="689" y="164"/>
                    </a:lnTo>
                    <a:lnTo>
                      <a:pt x="688" y="162"/>
                    </a:lnTo>
                    <a:lnTo>
                      <a:pt x="689" y="158"/>
                    </a:lnTo>
                    <a:lnTo>
                      <a:pt x="689" y="158"/>
                    </a:lnTo>
                    <a:lnTo>
                      <a:pt x="689" y="158"/>
                    </a:lnTo>
                    <a:lnTo>
                      <a:pt x="691" y="158"/>
                    </a:lnTo>
                    <a:lnTo>
                      <a:pt x="693" y="158"/>
                    </a:lnTo>
                    <a:lnTo>
                      <a:pt x="693" y="158"/>
                    </a:lnTo>
                    <a:lnTo>
                      <a:pt x="691" y="158"/>
                    </a:lnTo>
                    <a:lnTo>
                      <a:pt x="691" y="156"/>
                    </a:lnTo>
                    <a:lnTo>
                      <a:pt x="691" y="154"/>
                    </a:lnTo>
                    <a:lnTo>
                      <a:pt x="691" y="154"/>
                    </a:lnTo>
                    <a:lnTo>
                      <a:pt x="691" y="154"/>
                    </a:lnTo>
                    <a:lnTo>
                      <a:pt x="693" y="154"/>
                    </a:lnTo>
                    <a:lnTo>
                      <a:pt x="693" y="154"/>
                    </a:lnTo>
                    <a:lnTo>
                      <a:pt x="695" y="154"/>
                    </a:lnTo>
                    <a:lnTo>
                      <a:pt x="697" y="152"/>
                    </a:lnTo>
                    <a:lnTo>
                      <a:pt x="697" y="150"/>
                    </a:lnTo>
                    <a:lnTo>
                      <a:pt x="701" y="150"/>
                    </a:lnTo>
                    <a:lnTo>
                      <a:pt x="701" y="148"/>
                    </a:lnTo>
                    <a:lnTo>
                      <a:pt x="703" y="146"/>
                    </a:lnTo>
                    <a:lnTo>
                      <a:pt x="703" y="144"/>
                    </a:lnTo>
                    <a:lnTo>
                      <a:pt x="705" y="144"/>
                    </a:lnTo>
                    <a:lnTo>
                      <a:pt x="707" y="142"/>
                    </a:lnTo>
                    <a:lnTo>
                      <a:pt x="709" y="144"/>
                    </a:lnTo>
                    <a:lnTo>
                      <a:pt x="713" y="144"/>
                    </a:lnTo>
                    <a:lnTo>
                      <a:pt x="715" y="144"/>
                    </a:lnTo>
                    <a:lnTo>
                      <a:pt x="715" y="144"/>
                    </a:lnTo>
                    <a:lnTo>
                      <a:pt x="715" y="144"/>
                    </a:lnTo>
                    <a:lnTo>
                      <a:pt x="717" y="142"/>
                    </a:lnTo>
                    <a:lnTo>
                      <a:pt x="721" y="138"/>
                    </a:lnTo>
                    <a:lnTo>
                      <a:pt x="721" y="136"/>
                    </a:lnTo>
                    <a:lnTo>
                      <a:pt x="721" y="136"/>
                    </a:lnTo>
                    <a:lnTo>
                      <a:pt x="721" y="134"/>
                    </a:lnTo>
                    <a:lnTo>
                      <a:pt x="721" y="132"/>
                    </a:lnTo>
                    <a:lnTo>
                      <a:pt x="721" y="130"/>
                    </a:lnTo>
                    <a:lnTo>
                      <a:pt x="723" y="130"/>
                    </a:lnTo>
                    <a:lnTo>
                      <a:pt x="723" y="130"/>
                    </a:lnTo>
                    <a:lnTo>
                      <a:pt x="723" y="128"/>
                    </a:lnTo>
                    <a:lnTo>
                      <a:pt x="723" y="128"/>
                    </a:lnTo>
                    <a:lnTo>
                      <a:pt x="723" y="126"/>
                    </a:lnTo>
                    <a:lnTo>
                      <a:pt x="725" y="125"/>
                    </a:lnTo>
                    <a:lnTo>
                      <a:pt x="727" y="125"/>
                    </a:lnTo>
                    <a:lnTo>
                      <a:pt x="727" y="121"/>
                    </a:lnTo>
                    <a:lnTo>
                      <a:pt x="727" y="119"/>
                    </a:lnTo>
                    <a:lnTo>
                      <a:pt x="711" y="103"/>
                    </a:lnTo>
                    <a:lnTo>
                      <a:pt x="707" y="101"/>
                    </a:lnTo>
                    <a:lnTo>
                      <a:pt x="705" y="101"/>
                    </a:lnTo>
                    <a:lnTo>
                      <a:pt x="701" y="99"/>
                    </a:lnTo>
                    <a:lnTo>
                      <a:pt x="695" y="99"/>
                    </a:lnTo>
                    <a:lnTo>
                      <a:pt x="693" y="99"/>
                    </a:lnTo>
                    <a:lnTo>
                      <a:pt x="691" y="103"/>
                    </a:lnTo>
                    <a:lnTo>
                      <a:pt x="689" y="105"/>
                    </a:lnTo>
                    <a:lnTo>
                      <a:pt x="688" y="109"/>
                    </a:lnTo>
                    <a:lnTo>
                      <a:pt x="688" y="109"/>
                    </a:lnTo>
                    <a:lnTo>
                      <a:pt x="686" y="109"/>
                    </a:lnTo>
                    <a:lnTo>
                      <a:pt x="686" y="109"/>
                    </a:lnTo>
                    <a:lnTo>
                      <a:pt x="686" y="109"/>
                    </a:lnTo>
                    <a:lnTo>
                      <a:pt x="684" y="107"/>
                    </a:lnTo>
                    <a:lnTo>
                      <a:pt x="678" y="103"/>
                    </a:lnTo>
                    <a:lnTo>
                      <a:pt x="676" y="103"/>
                    </a:lnTo>
                    <a:lnTo>
                      <a:pt x="670" y="103"/>
                    </a:lnTo>
                    <a:lnTo>
                      <a:pt x="660" y="113"/>
                    </a:lnTo>
                    <a:lnTo>
                      <a:pt x="654" y="115"/>
                    </a:lnTo>
                    <a:lnTo>
                      <a:pt x="652" y="115"/>
                    </a:lnTo>
                    <a:lnTo>
                      <a:pt x="652" y="113"/>
                    </a:lnTo>
                    <a:lnTo>
                      <a:pt x="652" y="113"/>
                    </a:lnTo>
                    <a:lnTo>
                      <a:pt x="652" y="113"/>
                    </a:lnTo>
                    <a:lnTo>
                      <a:pt x="652" y="111"/>
                    </a:lnTo>
                    <a:lnTo>
                      <a:pt x="656" y="109"/>
                    </a:lnTo>
                    <a:lnTo>
                      <a:pt x="656" y="109"/>
                    </a:lnTo>
                    <a:lnTo>
                      <a:pt x="656" y="107"/>
                    </a:lnTo>
                    <a:lnTo>
                      <a:pt x="654" y="103"/>
                    </a:lnTo>
                    <a:lnTo>
                      <a:pt x="654" y="99"/>
                    </a:lnTo>
                    <a:lnTo>
                      <a:pt x="652" y="97"/>
                    </a:lnTo>
                    <a:lnTo>
                      <a:pt x="650" y="95"/>
                    </a:lnTo>
                    <a:lnTo>
                      <a:pt x="650" y="93"/>
                    </a:lnTo>
                    <a:lnTo>
                      <a:pt x="648" y="93"/>
                    </a:lnTo>
                    <a:lnTo>
                      <a:pt x="646" y="91"/>
                    </a:lnTo>
                    <a:lnTo>
                      <a:pt x="646" y="91"/>
                    </a:lnTo>
                    <a:lnTo>
                      <a:pt x="637" y="95"/>
                    </a:lnTo>
                    <a:lnTo>
                      <a:pt x="633" y="95"/>
                    </a:lnTo>
                    <a:lnTo>
                      <a:pt x="633" y="95"/>
                    </a:lnTo>
                    <a:lnTo>
                      <a:pt x="633" y="95"/>
                    </a:lnTo>
                    <a:lnTo>
                      <a:pt x="633" y="95"/>
                    </a:lnTo>
                    <a:lnTo>
                      <a:pt x="631" y="95"/>
                    </a:lnTo>
                    <a:lnTo>
                      <a:pt x="631" y="95"/>
                    </a:lnTo>
                    <a:lnTo>
                      <a:pt x="623" y="82"/>
                    </a:lnTo>
                    <a:lnTo>
                      <a:pt x="623" y="82"/>
                    </a:lnTo>
                    <a:lnTo>
                      <a:pt x="621" y="80"/>
                    </a:lnTo>
                    <a:lnTo>
                      <a:pt x="621" y="78"/>
                    </a:lnTo>
                    <a:lnTo>
                      <a:pt x="621" y="78"/>
                    </a:lnTo>
                    <a:lnTo>
                      <a:pt x="621" y="78"/>
                    </a:lnTo>
                    <a:lnTo>
                      <a:pt x="617" y="78"/>
                    </a:lnTo>
                    <a:lnTo>
                      <a:pt x="604" y="82"/>
                    </a:lnTo>
                    <a:lnTo>
                      <a:pt x="602" y="80"/>
                    </a:lnTo>
                    <a:lnTo>
                      <a:pt x="602" y="80"/>
                    </a:lnTo>
                    <a:lnTo>
                      <a:pt x="600" y="80"/>
                    </a:lnTo>
                    <a:lnTo>
                      <a:pt x="600" y="80"/>
                    </a:lnTo>
                    <a:lnTo>
                      <a:pt x="598" y="76"/>
                    </a:lnTo>
                    <a:lnTo>
                      <a:pt x="598" y="76"/>
                    </a:lnTo>
                    <a:lnTo>
                      <a:pt x="596" y="74"/>
                    </a:lnTo>
                    <a:lnTo>
                      <a:pt x="562" y="62"/>
                    </a:lnTo>
                    <a:lnTo>
                      <a:pt x="557" y="64"/>
                    </a:lnTo>
                    <a:lnTo>
                      <a:pt x="555" y="66"/>
                    </a:lnTo>
                    <a:lnTo>
                      <a:pt x="553" y="68"/>
                    </a:lnTo>
                    <a:lnTo>
                      <a:pt x="553" y="68"/>
                    </a:lnTo>
                    <a:lnTo>
                      <a:pt x="551" y="70"/>
                    </a:lnTo>
                    <a:lnTo>
                      <a:pt x="551" y="70"/>
                    </a:lnTo>
                    <a:lnTo>
                      <a:pt x="551" y="70"/>
                    </a:lnTo>
                    <a:lnTo>
                      <a:pt x="551" y="70"/>
                    </a:lnTo>
                    <a:lnTo>
                      <a:pt x="551" y="70"/>
                    </a:lnTo>
                    <a:lnTo>
                      <a:pt x="549" y="70"/>
                    </a:lnTo>
                    <a:lnTo>
                      <a:pt x="547" y="68"/>
                    </a:lnTo>
                    <a:lnTo>
                      <a:pt x="547" y="64"/>
                    </a:lnTo>
                    <a:lnTo>
                      <a:pt x="549" y="62"/>
                    </a:lnTo>
                    <a:lnTo>
                      <a:pt x="549" y="60"/>
                    </a:lnTo>
                    <a:lnTo>
                      <a:pt x="547" y="56"/>
                    </a:lnTo>
                    <a:lnTo>
                      <a:pt x="545" y="54"/>
                    </a:lnTo>
                    <a:lnTo>
                      <a:pt x="545" y="54"/>
                    </a:lnTo>
                    <a:lnTo>
                      <a:pt x="543" y="52"/>
                    </a:lnTo>
                    <a:lnTo>
                      <a:pt x="541" y="50"/>
                    </a:lnTo>
                    <a:lnTo>
                      <a:pt x="539" y="50"/>
                    </a:lnTo>
                    <a:lnTo>
                      <a:pt x="537" y="48"/>
                    </a:lnTo>
                    <a:lnTo>
                      <a:pt x="535" y="44"/>
                    </a:lnTo>
                    <a:lnTo>
                      <a:pt x="533" y="41"/>
                    </a:lnTo>
                    <a:lnTo>
                      <a:pt x="533" y="39"/>
                    </a:lnTo>
                    <a:lnTo>
                      <a:pt x="531" y="37"/>
                    </a:lnTo>
                    <a:lnTo>
                      <a:pt x="531" y="33"/>
                    </a:lnTo>
                    <a:lnTo>
                      <a:pt x="533" y="27"/>
                    </a:lnTo>
                    <a:lnTo>
                      <a:pt x="533" y="27"/>
                    </a:lnTo>
                    <a:lnTo>
                      <a:pt x="533" y="25"/>
                    </a:lnTo>
                    <a:lnTo>
                      <a:pt x="533" y="23"/>
                    </a:lnTo>
                    <a:lnTo>
                      <a:pt x="533" y="23"/>
                    </a:lnTo>
                    <a:lnTo>
                      <a:pt x="531" y="17"/>
                    </a:lnTo>
                    <a:lnTo>
                      <a:pt x="527" y="15"/>
                    </a:lnTo>
                    <a:lnTo>
                      <a:pt x="525" y="15"/>
                    </a:lnTo>
                    <a:lnTo>
                      <a:pt x="518" y="15"/>
                    </a:lnTo>
                    <a:lnTo>
                      <a:pt x="516" y="11"/>
                    </a:lnTo>
                    <a:lnTo>
                      <a:pt x="516" y="9"/>
                    </a:lnTo>
                    <a:lnTo>
                      <a:pt x="516" y="7"/>
                    </a:lnTo>
                    <a:lnTo>
                      <a:pt x="514" y="7"/>
                    </a:lnTo>
                    <a:lnTo>
                      <a:pt x="512" y="7"/>
                    </a:lnTo>
                    <a:lnTo>
                      <a:pt x="512" y="7"/>
                    </a:lnTo>
                    <a:lnTo>
                      <a:pt x="510" y="11"/>
                    </a:lnTo>
                    <a:lnTo>
                      <a:pt x="510" y="13"/>
                    </a:lnTo>
                    <a:lnTo>
                      <a:pt x="510" y="15"/>
                    </a:lnTo>
                    <a:lnTo>
                      <a:pt x="510" y="15"/>
                    </a:lnTo>
                    <a:lnTo>
                      <a:pt x="510" y="15"/>
                    </a:lnTo>
                    <a:lnTo>
                      <a:pt x="508" y="15"/>
                    </a:lnTo>
                    <a:lnTo>
                      <a:pt x="508" y="15"/>
                    </a:lnTo>
                    <a:lnTo>
                      <a:pt x="506" y="15"/>
                    </a:lnTo>
                    <a:lnTo>
                      <a:pt x="504" y="13"/>
                    </a:lnTo>
                    <a:lnTo>
                      <a:pt x="504" y="13"/>
                    </a:lnTo>
                    <a:lnTo>
                      <a:pt x="502" y="11"/>
                    </a:lnTo>
                    <a:lnTo>
                      <a:pt x="502" y="9"/>
                    </a:lnTo>
                    <a:lnTo>
                      <a:pt x="502" y="9"/>
                    </a:lnTo>
                    <a:lnTo>
                      <a:pt x="496" y="7"/>
                    </a:lnTo>
                    <a:lnTo>
                      <a:pt x="492" y="7"/>
                    </a:lnTo>
                    <a:lnTo>
                      <a:pt x="490" y="3"/>
                    </a:lnTo>
                    <a:lnTo>
                      <a:pt x="490" y="5"/>
                    </a:lnTo>
                    <a:lnTo>
                      <a:pt x="488" y="7"/>
                    </a:lnTo>
                    <a:lnTo>
                      <a:pt x="488" y="7"/>
                    </a:lnTo>
                    <a:lnTo>
                      <a:pt x="488" y="7"/>
                    </a:lnTo>
                    <a:lnTo>
                      <a:pt x="486" y="9"/>
                    </a:lnTo>
                    <a:lnTo>
                      <a:pt x="486" y="9"/>
                    </a:lnTo>
                    <a:lnTo>
                      <a:pt x="484" y="9"/>
                    </a:lnTo>
                    <a:lnTo>
                      <a:pt x="484" y="9"/>
                    </a:lnTo>
                    <a:lnTo>
                      <a:pt x="482" y="11"/>
                    </a:lnTo>
                    <a:lnTo>
                      <a:pt x="482" y="11"/>
                    </a:lnTo>
                    <a:lnTo>
                      <a:pt x="482" y="11"/>
                    </a:lnTo>
                    <a:lnTo>
                      <a:pt x="482" y="15"/>
                    </a:lnTo>
                    <a:lnTo>
                      <a:pt x="482" y="15"/>
                    </a:lnTo>
                    <a:lnTo>
                      <a:pt x="486" y="17"/>
                    </a:lnTo>
                    <a:lnTo>
                      <a:pt x="486" y="19"/>
                    </a:lnTo>
                    <a:lnTo>
                      <a:pt x="488" y="21"/>
                    </a:lnTo>
                    <a:lnTo>
                      <a:pt x="488" y="25"/>
                    </a:lnTo>
                    <a:lnTo>
                      <a:pt x="488" y="29"/>
                    </a:lnTo>
                    <a:lnTo>
                      <a:pt x="488" y="29"/>
                    </a:lnTo>
                    <a:lnTo>
                      <a:pt x="488" y="29"/>
                    </a:lnTo>
                    <a:lnTo>
                      <a:pt x="488" y="29"/>
                    </a:lnTo>
                    <a:lnTo>
                      <a:pt x="486" y="31"/>
                    </a:lnTo>
                    <a:lnTo>
                      <a:pt x="486" y="33"/>
                    </a:lnTo>
                    <a:lnTo>
                      <a:pt x="486" y="33"/>
                    </a:lnTo>
                    <a:lnTo>
                      <a:pt x="486" y="35"/>
                    </a:lnTo>
                    <a:lnTo>
                      <a:pt x="486" y="35"/>
                    </a:lnTo>
                    <a:lnTo>
                      <a:pt x="486" y="35"/>
                    </a:lnTo>
                    <a:lnTo>
                      <a:pt x="486" y="35"/>
                    </a:lnTo>
                    <a:lnTo>
                      <a:pt x="486" y="35"/>
                    </a:lnTo>
                    <a:lnTo>
                      <a:pt x="486" y="39"/>
                    </a:lnTo>
                    <a:lnTo>
                      <a:pt x="486" y="44"/>
                    </a:lnTo>
                    <a:lnTo>
                      <a:pt x="486" y="46"/>
                    </a:lnTo>
                    <a:lnTo>
                      <a:pt x="486" y="46"/>
                    </a:lnTo>
                    <a:lnTo>
                      <a:pt x="471" y="46"/>
                    </a:lnTo>
                    <a:lnTo>
                      <a:pt x="467" y="46"/>
                    </a:lnTo>
                    <a:lnTo>
                      <a:pt x="461" y="48"/>
                    </a:lnTo>
                    <a:lnTo>
                      <a:pt x="457" y="46"/>
                    </a:lnTo>
                    <a:lnTo>
                      <a:pt x="457" y="46"/>
                    </a:lnTo>
                    <a:lnTo>
                      <a:pt x="457" y="48"/>
                    </a:lnTo>
                    <a:lnTo>
                      <a:pt x="455" y="54"/>
                    </a:lnTo>
                    <a:lnTo>
                      <a:pt x="453" y="56"/>
                    </a:lnTo>
                    <a:lnTo>
                      <a:pt x="453" y="58"/>
                    </a:lnTo>
                    <a:lnTo>
                      <a:pt x="451" y="58"/>
                    </a:lnTo>
                    <a:lnTo>
                      <a:pt x="451" y="60"/>
                    </a:lnTo>
                    <a:lnTo>
                      <a:pt x="449" y="60"/>
                    </a:lnTo>
                    <a:lnTo>
                      <a:pt x="447" y="60"/>
                    </a:lnTo>
                    <a:lnTo>
                      <a:pt x="445" y="60"/>
                    </a:lnTo>
                    <a:lnTo>
                      <a:pt x="439" y="58"/>
                    </a:lnTo>
                    <a:lnTo>
                      <a:pt x="432" y="54"/>
                    </a:lnTo>
                    <a:lnTo>
                      <a:pt x="430" y="52"/>
                    </a:lnTo>
                    <a:lnTo>
                      <a:pt x="424" y="50"/>
                    </a:lnTo>
                    <a:lnTo>
                      <a:pt x="424" y="48"/>
                    </a:lnTo>
                    <a:lnTo>
                      <a:pt x="424" y="44"/>
                    </a:lnTo>
                    <a:lnTo>
                      <a:pt x="424" y="44"/>
                    </a:lnTo>
                    <a:lnTo>
                      <a:pt x="424" y="44"/>
                    </a:lnTo>
                    <a:lnTo>
                      <a:pt x="424" y="43"/>
                    </a:lnTo>
                    <a:lnTo>
                      <a:pt x="428" y="37"/>
                    </a:lnTo>
                    <a:lnTo>
                      <a:pt x="428" y="35"/>
                    </a:lnTo>
                    <a:lnTo>
                      <a:pt x="428" y="33"/>
                    </a:lnTo>
                    <a:lnTo>
                      <a:pt x="428" y="31"/>
                    </a:lnTo>
                    <a:lnTo>
                      <a:pt x="426" y="31"/>
                    </a:lnTo>
                    <a:lnTo>
                      <a:pt x="416" y="35"/>
                    </a:lnTo>
                    <a:lnTo>
                      <a:pt x="414" y="33"/>
                    </a:lnTo>
                    <a:lnTo>
                      <a:pt x="414" y="33"/>
                    </a:lnTo>
                    <a:lnTo>
                      <a:pt x="414" y="33"/>
                    </a:lnTo>
                    <a:lnTo>
                      <a:pt x="414" y="33"/>
                    </a:lnTo>
                    <a:lnTo>
                      <a:pt x="414" y="31"/>
                    </a:lnTo>
                    <a:lnTo>
                      <a:pt x="416" y="27"/>
                    </a:lnTo>
                    <a:lnTo>
                      <a:pt x="418" y="23"/>
                    </a:lnTo>
                    <a:lnTo>
                      <a:pt x="418" y="19"/>
                    </a:lnTo>
                    <a:lnTo>
                      <a:pt x="418" y="17"/>
                    </a:lnTo>
                    <a:lnTo>
                      <a:pt x="416" y="15"/>
                    </a:lnTo>
                    <a:lnTo>
                      <a:pt x="414" y="11"/>
                    </a:lnTo>
                    <a:lnTo>
                      <a:pt x="412" y="9"/>
                    </a:lnTo>
                    <a:lnTo>
                      <a:pt x="408" y="9"/>
                    </a:lnTo>
                    <a:lnTo>
                      <a:pt x="406" y="7"/>
                    </a:lnTo>
                    <a:lnTo>
                      <a:pt x="404" y="5"/>
                    </a:lnTo>
                    <a:lnTo>
                      <a:pt x="404" y="5"/>
                    </a:lnTo>
                    <a:lnTo>
                      <a:pt x="404" y="3"/>
                    </a:lnTo>
                    <a:lnTo>
                      <a:pt x="402" y="2"/>
                    </a:lnTo>
                    <a:lnTo>
                      <a:pt x="402" y="2"/>
                    </a:lnTo>
                    <a:lnTo>
                      <a:pt x="402" y="0"/>
                    </a:lnTo>
                    <a:lnTo>
                      <a:pt x="402" y="2"/>
                    </a:lnTo>
                    <a:lnTo>
                      <a:pt x="400" y="3"/>
                    </a:lnTo>
                    <a:lnTo>
                      <a:pt x="400" y="3"/>
                    </a:lnTo>
                    <a:lnTo>
                      <a:pt x="398" y="5"/>
                    </a:lnTo>
                    <a:lnTo>
                      <a:pt x="393" y="3"/>
                    </a:lnTo>
                    <a:lnTo>
                      <a:pt x="389" y="5"/>
                    </a:lnTo>
                    <a:lnTo>
                      <a:pt x="389" y="5"/>
                    </a:lnTo>
                    <a:lnTo>
                      <a:pt x="389" y="5"/>
                    </a:lnTo>
                    <a:lnTo>
                      <a:pt x="387" y="5"/>
                    </a:lnTo>
                    <a:lnTo>
                      <a:pt x="385" y="5"/>
                    </a:lnTo>
                    <a:lnTo>
                      <a:pt x="385" y="5"/>
                    </a:lnTo>
                    <a:lnTo>
                      <a:pt x="383" y="3"/>
                    </a:lnTo>
                    <a:lnTo>
                      <a:pt x="383" y="2"/>
                    </a:lnTo>
                    <a:lnTo>
                      <a:pt x="381" y="2"/>
                    </a:lnTo>
                    <a:lnTo>
                      <a:pt x="375" y="0"/>
                    </a:lnTo>
                    <a:lnTo>
                      <a:pt x="371" y="0"/>
                    </a:lnTo>
                    <a:lnTo>
                      <a:pt x="369" y="0"/>
                    </a:lnTo>
                    <a:lnTo>
                      <a:pt x="367" y="2"/>
                    </a:lnTo>
                    <a:lnTo>
                      <a:pt x="365" y="3"/>
                    </a:lnTo>
                    <a:lnTo>
                      <a:pt x="363" y="11"/>
                    </a:lnTo>
                    <a:lnTo>
                      <a:pt x="361" y="15"/>
                    </a:lnTo>
                    <a:lnTo>
                      <a:pt x="361" y="15"/>
                    </a:lnTo>
                    <a:lnTo>
                      <a:pt x="363" y="15"/>
                    </a:lnTo>
                    <a:lnTo>
                      <a:pt x="369" y="17"/>
                    </a:lnTo>
                    <a:lnTo>
                      <a:pt x="371" y="17"/>
                    </a:lnTo>
                    <a:lnTo>
                      <a:pt x="373" y="17"/>
                    </a:lnTo>
                    <a:lnTo>
                      <a:pt x="373" y="19"/>
                    </a:lnTo>
                    <a:lnTo>
                      <a:pt x="373" y="19"/>
                    </a:lnTo>
                    <a:lnTo>
                      <a:pt x="371" y="19"/>
                    </a:lnTo>
                    <a:lnTo>
                      <a:pt x="371" y="23"/>
                    </a:lnTo>
                    <a:lnTo>
                      <a:pt x="371" y="23"/>
                    </a:lnTo>
                    <a:lnTo>
                      <a:pt x="375" y="27"/>
                    </a:lnTo>
                    <a:lnTo>
                      <a:pt x="381" y="29"/>
                    </a:lnTo>
                    <a:lnTo>
                      <a:pt x="385" y="31"/>
                    </a:lnTo>
                    <a:lnTo>
                      <a:pt x="385" y="37"/>
                    </a:lnTo>
                    <a:lnTo>
                      <a:pt x="379" y="43"/>
                    </a:lnTo>
                    <a:lnTo>
                      <a:pt x="369" y="41"/>
                    </a:lnTo>
                    <a:lnTo>
                      <a:pt x="367" y="41"/>
                    </a:lnTo>
                    <a:lnTo>
                      <a:pt x="361" y="43"/>
                    </a:lnTo>
                    <a:lnTo>
                      <a:pt x="359" y="44"/>
                    </a:lnTo>
                    <a:lnTo>
                      <a:pt x="355" y="48"/>
                    </a:lnTo>
                    <a:lnTo>
                      <a:pt x="353" y="50"/>
                    </a:lnTo>
                    <a:lnTo>
                      <a:pt x="336" y="58"/>
                    </a:lnTo>
                    <a:lnTo>
                      <a:pt x="328" y="62"/>
                    </a:lnTo>
                    <a:lnTo>
                      <a:pt x="324" y="62"/>
                    </a:lnTo>
                    <a:lnTo>
                      <a:pt x="318" y="62"/>
                    </a:lnTo>
                    <a:lnTo>
                      <a:pt x="318" y="62"/>
                    </a:lnTo>
                    <a:lnTo>
                      <a:pt x="314" y="62"/>
                    </a:lnTo>
                    <a:lnTo>
                      <a:pt x="312" y="64"/>
                    </a:lnTo>
                    <a:lnTo>
                      <a:pt x="310" y="66"/>
                    </a:lnTo>
                    <a:lnTo>
                      <a:pt x="309" y="68"/>
                    </a:lnTo>
                    <a:lnTo>
                      <a:pt x="309" y="68"/>
                    </a:lnTo>
                    <a:lnTo>
                      <a:pt x="307" y="68"/>
                    </a:lnTo>
                    <a:lnTo>
                      <a:pt x="307" y="68"/>
                    </a:lnTo>
                    <a:lnTo>
                      <a:pt x="307" y="68"/>
                    </a:lnTo>
                    <a:lnTo>
                      <a:pt x="307" y="68"/>
                    </a:lnTo>
                    <a:lnTo>
                      <a:pt x="305" y="68"/>
                    </a:lnTo>
                    <a:lnTo>
                      <a:pt x="303" y="68"/>
                    </a:lnTo>
                    <a:lnTo>
                      <a:pt x="303" y="68"/>
                    </a:lnTo>
                    <a:lnTo>
                      <a:pt x="303" y="70"/>
                    </a:lnTo>
                    <a:lnTo>
                      <a:pt x="301" y="72"/>
                    </a:lnTo>
                    <a:lnTo>
                      <a:pt x="301" y="74"/>
                    </a:lnTo>
                    <a:lnTo>
                      <a:pt x="303" y="76"/>
                    </a:lnTo>
                    <a:lnTo>
                      <a:pt x="303" y="78"/>
                    </a:lnTo>
                    <a:lnTo>
                      <a:pt x="303" y="78"/>
                    </a:lnTo>
                    <a:lnTo>
                      <a:pt x="301" y="80"/>
                    </a:lnTo>
                    <a:lnTo>
                      <a:pt x="301" y="80"/>
                    </a:lnTo>
                    <a:lnTo>
                      <a:pt x="299" y="80"/>
                    </a:lnTo>
                    <a:lnTo>
                      <a:pt x="293" y="84"/>
                    </a:lnTo>
                    <a:lnTo>
                      <a:pt x="291" y="84"/>
                    </a:lnTo>
                    <a:lnTo>
                      <a:pt x="291" y="84"/>
                    </a:lnTo>
                    <a:lnTo>
                      <a:pt x="283" y="84"/>
                    </a:lnTo>
                    <a:lnTo>
                      <a:pt x="279" y="84"/>
                    </a:lnTo>
                    <a:lnTo>
                      <a:pt x="273" y="85"/>
                    </a:lnTo>
                    <a:lnTo>
                      <a:pt x="271" y="85"/>
                    </a:lnTo>
                    <a:lnTo>
                      <a:pt x="269" y="85"/>
                    </a:lnTo>
                    <a:lnTo>
                      <a:pt x="260" y="85"/>
                    </a:lnTo>
                    <a:lnTo>
                      <a:pt x="256" y="85"/>
                    </a:lnTo>
                    <a:lnTo>
                      <a:pt x="252" y="85"/>
                    </a:lnTo>
                    <a:lnTo>
                      <a:pt x="248" y="87"/>
                    </a:lnTo>
                    <a:lnTo>
                      <a:pt x="244" y="89"/>
                    </a:lnTo>
                    <a:lnTo>
                      <a:pt x="240" y="91"/>
                    </a:lnTo>
                    <a:lnTo>
                      <a:pt x="242" y="95"/>
                    </a:lnTo>
                    <a:lnTo>
                      <a:pt x="242" y="95"/>
                    </a:lnTo>
                    <a:lnTo>
                      <a:pt x="242" y="95"/>
                    </a:lnTo>
                    <a:lnTo>
                      <a:pt x="242" y="97"/>
                    </a:lnTo>
                    <a:lnTo>
                      <a:pt x="242" y="99"/>
                    </a:lnTo>
                    <a:lnTo>
                      <a:pt x="242" y="99"/>
                    </a:lnTo>
                    <a:lnTo>
                      <a:pt x="242" y="99"/>
                    </a:lnTo>
                    <a:lnTo>
                      <a:pt x="242" y="99"/>
                    </a:lnTo>
                    <a:lnTo>
                      <a:pt x="240" y="101"/>
                    </a:lnTo>
                    <a:lnTo>
                      <a:pt x="238" y="103"/>
                    </a:lnTo>
                    <a:lnTo>
                      <a:pt x="236" y="103"/>
                    </a:lnTo>
                    <a:lnTo>
                      <a:pt x="238" y="107"/>
                    </a:lnTo>
                    <a:lnTo>
                      <a:pt x="238" y="107"/>
                    </a:lnTo>
                    <a:lnTo>
                      <a:pt x="238" y="109"/>
                    </a:lnTo>
                    <a:lnTo>
                      <a:pt x="236" y="109"/>
                    </a:lnTo>
                    <a:lnTo>
                      <a:pt x="234" y="109"/>
                    </a:lnTo>
                    <a:lnTo>
                      <a:pt x="234" y="111"/>
                    </a:lnTo>
                    <a:lnTo>
                      <a:pt x="232" y="113"/>
                    </a:lnTo>
                    <a:lnTo>
                      <a:pt x="232" y="113"/>
                    </a:lnTo>
                    <a:lnTo>
                      <a:pt x="230" y="115"/>
                    </a:lnTo>
                    <a:lnTo>
                      <a:pt x="228" y="117"/>
                    </a:lnTo>
                    <a:lnTo>
                      <a:pt x="226" y="117"/>
                    </a:lnTo>
                    <a:lnTo>
                      <a:pt x="226" y="117"/>
                    </a:lnTo>
                    <a:lnTo>
                      <a:pt x="223" y="115"/>
                    </a:lnTo>
                    <a:lnTo>
                      <a:pt x="223" y="115"/>
                    </a:lnTo>
                    <a:lnTo>
                      <a:pt x="223" y="115"/>
                    </a:lnTo>
                    <a:lnTo>
                      <a:pt x="221" y="113"/>
                    </a:lnTo>
                    <a:lnTo>
                      <a:pt x="221" y="113"/>
                    </a:lnTo>
                    <a:lnTo>
                      <a:pt x="219" y="109"/>
                    </a:lnTo>
                    <a:lnTo>
                      <a:pt x="219" y="109"/>
                    </a:lnTo>
                    <a:lnTo>
                      <a:pt x="217" y="109"/>
                    </a:lnTo>
                    <a:lnTo>
                      <a:pt x="217" y="109"/>
                    </a:lnTo>
                    <a:lnTo>
                      <a:pt x="215" y="109"/>
                    </a:lnTo>
                    <a:lnTo>
                      <a:pt x="215" y="109"/>
                    </a:lnTo>
                    <a:lnTo>
                      <a:pt x="215" y="109"/>
                    </a:lnTo>
                    <a:lnTo>
                      <a:pt x="215" y="109"/>
                    </a:lnTo>
                    <a:lnTo>
                      <a:pt x="215" y="111"/>
                    </a:lnTo>
                    <a:lnTo>
                      <a:pt x="213" y="113"/>
                    </a:lnTo>
                    <a:lnTo>
                      <a:pt x="209" y="115"/>
                    </a:lnTo>
                    <a:lnTo>
                      <a:pt x="207" y="117"/>
                    </a:lnTo>
                    <a:lnTo>
                      <a:pt x="205" y="123"/>
                    </a:lnTo>
                    <a:lnTo>
                      <a:pt x="205" y="123"/>
                    </a:lnTo>
                    <a:lnTo>
                      <a:pt x="205" y="123"/>
                    </a:lnTo>
                    <a:lnTo>
                      <a:pt x="201" y="125"/>
                    </a:lnTo>
                    <a:lnTo>
                      <a:pt x="199" y="123"/>
                    </a:lnTo>
                    <a:lnTo>
                      <a:pt x="197" y="121"/>
                    </a:lnTo>
                    <a:lnTo>
                      <a:pt x="195" y="121"/>
                    </a:lnTo>
                    <a:lnTo>
                      <a:pt x="193" y="121"/>
                    </a:lnTo>
                    <a:lnTo>
                      <a:pt x="187" y="134"/>
                    </a:lnTo>
                    <a:lnTo>
                      <a:pt x="185" y="140"/>
                    </a:lnTo>
                    <a:lnTo>
                      <a:pt x="182" y="142"/>
                    </a:lnTo>
                    <a:lnTo>
                      <a:pt x="182" y="142"/>
                    </a:lnTo>
                    <a:lnTo>
                      <a:pt x="182" y="142"/>
                    </a:lnTo>
                    <a:lnTo>
                      <a:pt x="182" y="142"/>
                    </a:lnTo>
                    <a:lnTo>
                      <a:pt x="178" y="142"/>
                    </a:lnTo>
                    <a:lnTo>
                      <a:pt x="172" y="142"/>
                    </a:lnTo>
                    <a:lnTo>
                      <a:pt x="168" y="144"/>
                    </a:lnTo>
                    <a:lnTo>
                      <a:pt x="168" y="144"/>
                    </a:lnTo>
                    <a:lnTo>
                      <a:pt x="168" y="144"/>
                    </a:lnTo>
                    <a:lnTo>
                      <a:pt x="168" y="144"/>
                    </a:lnTo>
                    <a:lnTo>
                      <a:pt x="168" y="144"/>
                    </a:lnTo>
                    <a:lnTo>
                      <a:pt x="168" y="144"/>
                    </a:lnTo>
                    <a:lnTo>
                      <a:pt x="166" y="144"/>
                    </a:lnTo>
                    <a:lnTo>
                      <a:pt x="166" y="144"/>
                    </a:lnTo>
                    <a:lnTo>
                      <a:pt x="164" y="144"/>
                    </a:lnTo>
                    <a:lnTo>
                      <a:pt x="164" y="144"/>
                    </a:lnTo>
                    <a:lnTo>
                      <a:pt x="162" y="144"/>
                    </a:lnTo>
                    <a:lnTo>
                      <a:pt x="162" y="144"/>
                    </a:lnTo>
                    <a:lnTo>
                      <a:pt x="160" y="142"/>
                    </a:lnTo>
                    <a:lnTo>
                      <a:pt x="160" y="142"/>
                    </a:lnTo>
                    <a:lnTo>
                      <a:pt x="158" y="142"/>
                    </a:lnTo>
                    <a:lnTo>
                      <a:pt x="158" y="142"/>
                    </a:lnTo>
                    <a:lnTo>
                      <a:pt x="158" y="142"/>
                    </a:lnTo>
                    <a:lnTo>
                      <a:pt x="156" y="144"/>
                    </a:lnTo>
                    <a:lnTo>
                      <a:pt x="154" y="154"/>
                    </a:lnTo>
                    <a:lnTo>
                      <a:pt x="154" y="160"/>
                    </a:lnTo>
                    <a:lnTo>
                      <a:pt x="152" y="162"/>
                    </a:lnTo>
                    <a:lnTo>
                      <a:pt x="148" y="166"/>
                    </a:lnTo>
                    <a:lnTo>
                      <a:pt x="146" y="167"/>
                    </a:lnTo>
                    <a:lnTo>
                      <a:pt x="141" y="166"/>
                    </a:lnTo>
                    <a:lnTo>
                      <a:pt x="125" y="158"/>
                    </a:lnTo>
                    <a:lnTo>
                      <a:pt x="125" y="156"/>
                    </a:lnTo>
                    <a:lnTo>
                      <a:pt x="123" y="156"/>
                    </a:lnTo>
                    <a:lnTo>
                      <a:pt x="123" y="158"/>
                    </a:lnTo>
                    <a:lnTo>
                      <a:pt x="123" y="158"/>
                    </a:lnTo>
                    <a:lnTo>
                      <a:pt x="119" y="158"/>
                    </a:lnTo>
                    <a:lnTo>
                      <a:pt x="119" y="158"/>
                    </a:lnTo>
                    <a:lnTo>
                      <a:pt x="119" y="158"/>
                    </a:lnTo>
                    <a:lnTo>
                      <a:pt x="119" y="160"/>
                    </a:lnTo>
                    <a:lnTo>
                      <a:pt x="115" y="158"/>
                    </a:lnTo>
                    <a:lnTo>
                      <a:pt x="113" y="158"/>
                    </a:lnTo>
                    <a:lnTo>
                      <a:pt x="113" y="160"/>
                    </a:lnTo>
                    <a:lnTo>
                      <a:pt x="111" y="160"/>
                    </a:lnTo>
                    <a:lnTo>
                      <a:pt x="107" y="162"/>
                    </a:lnTo>
                    <a:lnTo>
                      <a:pt x="105" y="167"/>
                    </a:lnTo>
                    <a:lnTo>
                      <a:pt x="103" y="169"/>
                    </a:lnTo>
                    <a:lnTo>
                      <a:pt x="101" y="169"/>
                    </a:lnTo>
                    <a:lnTo>
                      <a:pt x="98" y="169"/>
                    </a:lnTo>
                    <a:lnTo>
                      <a:pt x="92" y="167"/>
                    </a:lnTo>
                    <a:lnTo>
                      <a:pt x="88" y="167"/>
                    </a:lnTo>
                    <a:lnTo>
                      <a:pt x="78" y="169"/>
                    </a:lnTo>
                    <a:lnTo>
                      <a:pt x="72" y="171"/>
                    </a:lnTo>
                    <a:lnTo>
                      <a:pt x="68" y="175"/>
                    </a:lnTo>
                    <a:lnTo>
                      <a:pt x="68" y="175"/>
                    </a:lnTo>
                    <a:lnTo>
                      <a:pt x="66" y="175"/>
                    </a:lnTo>
                    <a:lnTo>
                      <a:pt x="66" y="177"/>
                    </a:lnTo>
                    <a:lnTo>
                      <a:pt x="66" y="177"/>
                    </a:lnTo>
                    <a:lnTo>
                      <a:pt x="66" y="177"/>
                    </a:lnTo>
                    <a:lnTo>
                      <a:pt x="66" y="179"/>
                    </a:lnTo>
                    <a:lnTo>
                      <a:pt x="64" y="179"/>
                    </a:lnTo>
                    <a:lnTo>
                      <a:pt x="64" y="179"/>
                    </a:lnTo>
                    <a:lnTo>
                      <a:pt x="64" y="181"/>
                    </a:lnTo>
                    <a:lnTo>
                      <a:pt x="66" y="181"/>
                    </a:lnTo>
                    <a:lnTo>
                      <a:pt x="66" y="181"/>
                    </a:lnTo>
                    <a:lnTo>
                      <a:pt x="64" y="183"/>
                    </a:lnTo>
                    <a:lnTo>
                      <a:pt x="64" y="183"/>
                    </a:lnTo>
                    <a:lnTo>
                      <a:pt x="64" y="183"/>
                    </a:lnTo>
                    <a:lnTo>
                      <a:pt x="64" y="183"/>
                    </a:lnTo>
                    <a:lnTo>
                      <a:pt x="64" y="183"/>
                    </a:lnTo>
                    <a:lnTo>
                      <a:pt x="64" y="183"/>
                    </a:lnTo>
                    <a:lnTo>
                      <a:pt x="62" y="183"/>
                    </a:lnTo>
                    <a:lnTo>
                      <a:pt x="62" y="183"/>
                    </a:lnTo>
                    <a:lnTo>
                      <a:pt x="60" y="185"/>
                    </a:lnTo>
                    <a:lnTo>
                      <a:pt x="55" y="189"/>
                    </a:lnTo>
                    <a:lnTo>
                      <a:pt x="53" y="191"/>
                    </a:lnTo>
                    <a:lnTo>
                      <a:pt x="49" y="197"/>
                    </a:lnTo>
                    <a:lnTo>
                      <a:pt x="49" y="199"/>
                    </a:lnTo>
                    <a:lnTo>
                      <a:pt x="47" y="201"/>
                    </a:lnTo>
                    <a:lnTo>
                      <a:pt x="45" y="203"/>
                    </a:lnTo>
                    <a:lnTo>
                      <a:pt x="43" y="205"/>
                    </a:lnTo>
                    <a:lnTo>
                      <a:pt x="43" y="208"/>
                    </a:lnTo>
                    <a:lnTo>
                      <a:pt x="39" y="212"/>
                    </a:lnTo>
                    <a:lnTo>
                      <a:pt x="39" y="216"/>
                    </a:lnTo>
                    <a:lnTo>
                      <a:pt x="39" y="220"/>
                    </a:lnTo>
                    <a:lnTo>
                      <a:pt x="39" y="224"/>
                    </a:lnTo>
                    <a:lnTo>
                      <a:pt x="39" y="226"/>
                    </a:lnTo>
                    <a:lnTo>
                      <a:pt x="39" y="228"/>
                    </a:lnTo>
                    <a:lnTo>
                      <a:pt x="39" y="228"/>
                    </a:lnTo>
                    <a:lnTo>
                      <a:pt x="39" y="228"/>
                    </a:lnTo>
                    <a:lnTo>
                      <a:pt x="37" y="230"/>
                    </a:lnTo>
                    <a:lnTo>
                      <a:pt x="37" y="230"/>
                    </a:lnTo>
                    <a:lnTo>
                      <a:pt x="35" y="230"/>
                    </a:lnTo>
                    <a:lnTo>
                      <a:pt x="33" y="228"/>
                    </a:lnTo>
                    <a:lnTo>
                      <a:pt x="33" y="228"/>
                    </a:lnTo>
                    <a:lnTo>
                      <a:pt x="31" y="220"/>
                    </a:lnTo>
                    <a:lnTo>
                      <a:pt x="31" y="218"/>
                    </a:lnTo>
                    <a:lnTo>
                      <a:pt x="31" y="218"/>
                    </a:lnTo>
                    <a:lnTo>
                      <a:pt x="29" y="216"/>
                    </a:lnTo>
                    <a:lnTo>
                      <a:pt x="29" y="216"/>
                    </a:lnTo>
                    <a:lnTo>
                      <a:pt x="29" y="214"/>
                    </a:lnTo>
                    <a:lnTo>
                      <a:pt x="25" y="212"/>
                    </a:lnTo>
                    <a:lnTo>
                      <a:pt x="25" y="210"/>
                    </a:lnTo>
                    <a:lnTo>
                      <a:pt x="25" y="210"/>
                    </a:lnTo>
                    <a:lnTo>
                      <a:pt x="25" y="210"/>
                    </a:lnTo>
                    <a:lnTo>
                      <a:pt x="25" y="210"/>
                    </a:lnTo>
                    <a:lnTo>
                      <a:pt x="25" y="210"/>
                    </a:lnTo>
                    <a:lnTo>
                      <a:pt x="25" y="208"/>
                    </a:lnTo>
                    <a:lnTo>
                      <a:pt x="25" y="208"/>
                    </a:lnTo>
                    <a:lnTo>
                      <a:pt x="25" y="208"/>
                    </a:lnTo>
                    <a:lnTo>
                      <a:pt x="27" y="208"/>
                    </a:lnTo>
                    <a:lnTo>
                      <a:pt x="27" y="208"/>
                    </a:lnTo>
                    <a:lnTo>
                      <a:pt x="27" y="208"/>
                    </a:lnTo>
                    <a:lnTo>
                      <a:pt x="27" y="207"/>
                    </a:lnTo>
                    <a:lnTo>
                      <a:pt x="27" y="207"/>
                    </a:lnTo>
                    <a:lnTo>
                      <a:pt x="27" y="207"/>
                    </a:lnTo>
                    <a:lnTo>
                      <a:pt x="27" y="205"/>
                    </a:lnTo>
                    <a:lnTo>
                      <a:pt x="25" y="205"/>
                    </a:lnTo>
                    <a:lnTo>
                      <a:pt x="23" y="205"/>
                    </a:lnTo>
                    <a:lnTo>
                      <a:pt x="21" y="205"/>
                    </a:lnTo>
                    <a:lnTo>
                      <a:pt x="19" y="205"/>
                    </a:lnTo>
                    <a:lnTo>
                      <a:pt x="19" y="205"/>
                    </a:lnTo>
                    <a:lnTo>
                      <a:pt x="19" y="205"/>
                    </a:lnTo>
                    <a:lnTo>
                      <a:pt x="19" y="205"/>
                    </a:lnTo>
                    <a:lnTo>
                      <a:pt x="17" y="203"/>
                    </a:lnTo>
                    <a:lnTo>
                      <a:pt x="17" y="203"/>
                    </a:lnTo>
                    <a:lnTo>
                      <a:pt x="15" y="201"/>
                    </a:lnTo>
                    <a:lnTo>
                      <a:pt x="15" y="195"/>
                    </a:lnTo>
                    <a:lnTo>
                      <a:pt x="15" y="193"/>
                    </a:lnTo>
                    <a:lnTo>
                      <a:pt x="12" y="191"/>
                    </a:lnTo>
                    <a:lnTo>
                      <a:pt x="12" y="191"/>
                    </a:lnTo>
                    <a:lnTo>
                      <a:pt x="4" y="191"/>
                    </a:lnTo>
                    <a:lnTo>
                      <a:pt x="0" y="191"/>
                    </a:lnTo>
                    <a:lnTo>
                      <a:pt x="2" y="191"/>
                    </a:lnTo>
                    <a:lnTo>
                      <a:pt x="4" y="195"/>
                    </a:lnTo>
                    <a:lnTo>
                      <a:pt x="6" y="197"/>
                    </a:lnTo>
                    <a:lnTo>
                      <a:pt x="6" y="201"/>
                    </a:lnTo>
                    <a:lnTo>
                      <a:pt x="6" y="203"/>
                    </a:lnTo>
                    <a:lnTo>
                      <a:pt x="6" y="203"/>
                    </a:lnTo>
                    <a:lnTo>
                      <a:pt x="4" y="205"/>
                    </a:lnTo>
                    <a:lnTo>
                      <a:pt x="2" y="207"/>
                    </a:lnTo>
                    <a:lnTo>
                      <a:pt x="2" y="207"/>
                    </a:lnTo>
                    <a:lnTo>
                      <a:pt x="0" y="208"/>
                    </a:lnTo>
                    <a:lnTo>
                      <a:pt x="2" y="212"/>
                    </a:lnTo>
                    <a:lnTo>
                      <a:pt x="4" y="212"/>
                    </a:lnTo>
                    <a:lnTo>
                      <a:pt x="10" y="216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5" y="224"/>
                    </a:lnTo>
                    <a:lnTo>
                      <a:pt x="17" y="228"/>
                    </a:lnTo>
                    <a:lnTo>
                      <a:pt x="17" y="232"/>
                    </a:lnTo>
                    <a:lnTo>
                      <a:pt x="17" y="232"/>
                    </a:lnTo>
                    <a:lnTo>
                      <a:pt x="17" y="238"/>
                    </a:lnTo>
                    <a:lnTo>
                      <a:pt x="17" y="240"/>
                    </a:lnTo>
                    <a:lnTo>
                      <a:pt x="17" y="242"/>
                    </a:lnTo>
                    <a:lnTo>
                      <a:pt x="17" y="242"/>
                    </a:lnTo>
                    <a:lnTo>
                      <a:pt x="17" y="246"/>
                    </a:lnTo>
                    <a:lnTo>
                      <a:pt x="19" y="246"/>
                    </a:lnTo>
                    <a:lnTo>
                      <a:pt x="21" y="248"/>
                    </a:lnTo>
                    <a:lnTo>
                      <a:pt x="23" y="249"/>
                    </a:lnTo>
                    <a:lnTo>
                      <a:pt x="25" y="249"/>
                    </a:lnTo>
                    <a:lnTo>
                      <a:pt x="25" y="251"/>
                    </a:lnTo>
                    <a:lnTo>
                      <a:pt x="27" y="253"/>
                    </a:lnTo>
                    <a:lnTo>
                      <a:pt x="27" y="253"/>
                    </a:lnTo>
                    <a:lnTo>
                      <a:pt x="27" y="255"/>
                    </a:lnTo>
                    <a:lnTo>
                      <a:pt x="27" y="257"/>
                    </a:lnTo>
                    <a:lnTo>
                      <a:pt x="27" y="259"/>
                    </a:lnTo>
                    <a:lnTo>
                      <a:pt x="27" y="261"/>
                    </a:lnTo>
                    <a:lnTo>
                      <a:pt x="53" y="275"/>
                    </a:lnTo>
                    <a:lnTo>
                      <a:pt x="55" y="275"/>
                    </a:lnTo>
                    <a:lnTo>
                      <a:pt x="55" y="275"/>
                    </a:lnTo>
                    <a:lnTo>
                      <a:pt x="57" y="277"/>
                    </a:lnTo>
                    <a:lnTo>
                      <a:pt x="60" y="277"/>
                    </a:lnTo>
                    <a:lnTo>
                      <a:pt x="62" y="277"/>
                    </a:lnTo>
                    <a:lnTo>
                      <a:pt x="62" y="277"/>
                    </a:lnTo>
                    <a:lnTo>
                      <a:pt x="62" y="277"/>
                    </a:lnTo>
                    <a:lnTo>
                      <a:pt x="62" y="277"/>
                    </a:lnTo>
                    <a:lnTo>
                      <a:pt x="64" y="281"/>
                    </a:lnTo>
                    <a:lnTo>
                      <a:pt x="66" y="283"/>
                    </a:lnTo>
                    <a:lnTo>
                      <a:pt x="64" y="287"/>
                    </a:lnTo>
                    <a:lnTo>
                      <a:pt x="64" y="290"/>
                    </a:lnTo>
                    <a:lnTo>
                      <a:pt x="70" y="294"/>
                    </a:lnTo>
                    <a:lnTo>
                      <a:pt x="74" y="294"/>
                    </a:lnTo>
                    <a:lnTo>
                      <a:pt x="74" y="294"/>
                    </a:lnTo>
                    <a:lnTo>
                      <a:pt x="74" y="294"/>
                    </a:lnTo>
                    <a:lnTo>
                      <a:pt x="74" y="296"/>
                    </a:lnTo>
                    <a:lnTo>
                      <a:pt x="74" y="298"/>
                    </a:lnTo>
                    <a:lnTo>
                      <a:pt x="74" y="302"/>
                    </a:lnTo>
                    <a:lnTo>
                      <a:pt x="72" y="306"/>
                    </a:lnTo>
                    <a:lnTo>
                      <a:pt x="68" y="312"/>
                    </a:lnTo>
                    <a:lnTo>
                      <a:pt x="68" y="312"/>
                    </a:lnTo>
                    <a:lnTo>
                      <a:pt x="68" y="314"/>
                    </a:lnTo>
                    <a:lnTo>
                      <a:pt x="68" y="316"/>
                    </a:lnTo>
                    <a:lnTo>
                      <a:pt x="66" y="316"/>
                    </a:lnTo>
                    <a:lnTo>
                      <a:pt x="64" y="316"/>
                    </a:lnTo>
                    <a:lnTo>
                      <a:pt x="62" y="320"/>
                    </a:lnTo>
                    <a:lnTo>
                      <a:pt x="62" y="326"/>
                    </a:lnTo>
                    <a:lnTo>
                      <a:pt x="62" y="326"/>
                    </a:lnTo>
                    <a:lnTo>
                      <a:pt x="62" y="330"/>
                    </a:lnTo>
                    <a:lnTo>
                      <a:pt x="60" y="331"/>
                    </a:lnTo>
                    <a:lnTo>
                      <a:pt x="58" y="333"/>
                    </a:lnTo>
                    <a:lnTo>
                      <a:pt x="53" y="335"/>
                    </a:lnTo>
                    <a:lnTo>
                      <a:pt x="51" y="339"/>
                    </a:lnTo>
                    <a:lnTo>
                      <a:pt x="53" y="341"/>
                    </a:lnTo>
                    <a:lnTo>
                      <a:pt x="53" y="343"/>
                    </a:lnTo>
                    <a:lnTo>
                      <a:pt x="55" y="345"/>
                    </a:lnTo>
                    <a:lnTo>
                      <a:pt x="55" y="347"/>
                    </a:lnTo>
                    <a:lnTo>
                      <a:pt x="57" y="349"/>
                    </a:lnTo>
                    <a:lnTo>
                      <a:pt x="58" y="351"/>
                    </a:lnTo>
                    <a:lnTo>
                      <a:pt x="60" y="351"/>
                    </a:lnTo>
                    <a:lnTo>
                      <a:pt x="60" y="353"/>
                    </a:lnTo>
                    <a:lnTo>
                      <a:pt x="62" y="353"/>
                    </a:lnTo>
                    <a:lnTo>
                      <a:pt x="68" y="357"/>
                    </a:lnTo>
                    <a:lnTo>
                      <a:pt x="70" y="357"/>
                    </a:lnTo>
                    <a:lnTo>
                      <a:pt x="70" y="357"/>
                    </a:lnTo>
                    <a:lnTo>
                      <a:pt x="70" y="357"/>
                    </a:lnTo>
                    <a:lnTo>
                      <a:pt x="70" y="357"/>
                    </a:lnTo>
                    <a:lnTo>
                      <a:pt x="72" y="361"/>
                    </a:lnTo>
                    <a:lnTo>
                      <a:pt x="72" y="363"/>
                    </a:lnTo>
                    <a:lnTo>
                      <a:pt x="70" y="367"/>
                    </a:lnTo>
                    <a:lnTo>
                      <a:pt x="70" y="367"/>
                    </a:lnTo>
                    <a:lnTo>
                      <a:pt x="72" y="369"/>
                    </a:lnTo>
                    <a:lnTo>
                      <a:pt x="72" y="369"/>
                    </a:lnTo>
                    <a:lnTo>
                      <a:pt x="70" y="371"/>
                    </a:lnTo>
                    <a:lnTo>
                      <a:pt x="70" y="371"/>
                    </a:lnTo>
                    <a:lnTo>
                      <a:pt x="72" y="372"/>
                    </a:lnTo>
                    <a:lnTo>
                      <a:pt x="74" y="374"/>
                    </a:lnTo>
                    <a:lnTo>
                      <a:pt x="76" y="374"/>
                    </a:lnTo>
                    <a:lnTo>
                      <a:pt x="76" y="374"/>
                    </a:lnTo>
                    <a:lnTo>
                      <a:pt x="76" y="374"/>
                    </a:lnTo>
                    <a:lnTo>
                      <a:pt x="78" y="376"/>
                    </a:lnTo>
                    <a:lnTo>
                      <a:pt x="80" y="378"/>
                    </a:lnTo>
                    <a:lnTo>
                      <a:pt x="80" y="380"/>
                    </a:lnTo>
                    <a:lnTo>
                      <a:pt x="80" y="384"/>
                    </a:lnTo>
                    <a:lnTo>
                      <a:pt x="80" y="386"/>
                    </a:lnTo>
                    <a:lnTo>
                      <a:pt x="82" y="388"/>
                    </a:lnTo>
                    <a:lnTo>
                      <a:pt x="82" y="390"/>
                    </a:lnTo>
                    <a:lnTo>
                      <a:pt x="82" y="392"/>
                    </a:lnTo>
                    <a:lnTo>
                      <a:pt x="84" y="394"/>
                    </a:lnTo>
                    <a:lnTo>
                      <a:pt x="84" y="394"/>
                    </a:lnTo>
                    <a:lnTo>
                      <a:pt x="84" y="396"/>
                    </a:lnTo>
                    <a:lnTo>
                      <a:pt x="86" y="398"/>
                    </a:lnTo>
                    <a:lnTo>
                      <a:pt x="86" y="398"/>
                    </a:lnTo>
                    <a:lnTo>
                      <a:pt x="88" y="398"/>
                    </a:lnTo>
                    <a:lnTo>
                      <a:pt x="90" y="398"/>
                    </a:lnTo>
                    <a:lnTo>
                      <a:pt x="90" y="398"/>
                    </a:lnTo>
                    <a:lnTo>
                      <a:pt x="90" y="398"/>
                    </a:lnTo>
                    <a:lnTo>
                      <a:pt x="90" y="398"/>
                    </a:lnTo>
                    <a:lnTo>
                      <a:pt x="92" y="398"/>
                    </a:lnTo>
                    <a:lnTo>
                      <a:pt x="92" y="404"/>
                    </a:lnTo>
                    <a:lnTo>
                      <a:pt x="92" y="412"/>
                    </a:lnTo>
                    <a:lnTo>
                      <a:pt x="92" y="413"/>
                    </a:lnTo>
                    <a:lnTo>
                      <a:pt x="92" y="415"/>
                    </a:lnTo>
                    <a:lnTo>
                      <a:pt x="94" y="417"/>
                    </a:lnTo>
                    <a:lnTo>
                      <a:pt x="94" y="419"/>
                    </a:lnTo>
                    <a:lnTo>
                      <a:pt x="98" y="421"/>
                    </a:lnTo>
                    <a:lnTo>
                      <a:pt x="103" y="425"/>
                    </a:lnTo>
                    <a:lnTo>
                      <a:pt x="105" y="425"/>
                    </a:lnTo>
                    <a:lnTo>
                      <a:pt x="107" y="427"/>
                    </a:lnTo>
                    <a:lnTo>
                      <a:pt x="109" y="429"/>
                    </a:lnTo>
                    <a:lnTo>
                      <a:pt x="111" y="435"/>
                    </a:lnTo>
                    <a:lnTo>
                      <a:pt x="115" y="441"/>
                    </a:lnTo>
                    <a:lnTo>
                      <a:pt x="115" y="443"/>
                    </a:lnTo>
                    <a:lnTo>
                      <a:pt x="117" y="445"/>
                    </a:lnTo>
                    <a:lnTo>
                      <a:pt x="121" y="445"/>
                    </a:lnTo>
                    <a:lnTo>
                      <a:pt x="129" y="447"/>
                    </a:lnTo>
                    <a:lnTo>
                      <a:pt x="131" y="447"/>
                    </a:lnTo>
                    <a:lnTo>
                      <a:pt x="133" y="447"/>
                    </a:lnTo>
                    <a:lnTo>
                      <a:pt x="133" y="445"/>
                    </a:lnTo>
                    <a:lnTo>
                      <a:pt x="133" y="443"/>
                    </a:lnTo>
                    <a:lnTo>
                      <a:pt x="135" y="443"/>
                    </a:lnTo>
                    <a:lnTo>
                      <a:pt x="135" y="443"/>
                    </a:lnTo>
                    <a:lnTo>
                      <a:pt x="141" y="445"/>
                    </a:lnTo>
                    <a:lnTo>
                      <a:pt x="144" y="445"/>
                    </a:lnTo>
                    <a:lnTo>
                      <a:pt x="146" y="447"/>
                    </a:lnTo>
                    <a:lnTo>
                      <a:pt x="146" y="447"/>
                    </a:lnTo>
                    <a:lnTo>
                      <a:pt x="146" y="449"/>
                    </a:lnTo>
                    <a:lnTo>
                      <a:pt x="152" y="453"/>
                    </a:lnTo>
                    <a:lnTo>
                      <a:pt x="154" y="453"/>
                    </a:lnTo>
                    <a:lnTo>
                      <a:pt x="154" y="454"/>
                    </a:lnTo>
                    <a:lnTo>
                      <a:pt x="156" y="456"/>
                    </a:lnTo>
                    <a:lnTo>
                      <a:pt x="156" y="456"/>
                    </a:lnTo>
                    <a:lnTo>
                      <a:pt x="156" y="458"/>
                    </a:lnTo>
                    <a:lnTo>
                      <a:pt x="156" y="460"/>
                    </a:lnTo>
                    <a:lnTo>
                      <a:pt x="158" y="462"/>
                    </a:lnTo>
                    <a:lnTo>
                      <a:pt x="162" y="466"/>
                    </a:lnTo>
                    <a:lnTo>
                      <a:pt x="162" y="466"/>
                    </a:lnTo>
                    <a:lnTo>
                      <a:pt x="162" y="466"/>
                    </a:lnTo>
                    <a:lnTo>
                      <a:pt x="162" y="468"/>
                    </a:lnTo>
                    <a:lnTo>
                      <a:pt x="164" y="468"/>
                    </a:lnTo>
                    <a:lnTo>
                      <a:pt x="164" y="468"/>
                    </a:lnTo>
                    <a:lnTo>
                      <a:pt x="164" y="468"/>
                    </a:lnTo>
                    <a:lnTo>
                      <a:pt x="174" y="480"/>
                    </a:lnTo>
                    <a:lnTo>
                      <a:pt x="180" y="490"/>
                    </a:lnTo>
                    <a:lnTo>
                      <a:pt x="182" y="494"/>
                    </a:lnTo>
                    <a:lnTo>
                      <a:pt x="182" y="495"/>
                    </a:lnTo>
                    <a:lnTo>
                      <a:pt x="184" y="499"/>
                    </a:lnTo>
                    <a:lnTo>
                      <a:pt x="189" y="501"/>
                    </a:lnTo>
                    <a:lnTo>
                      <a:pt x="189" y="501"/>
                    </a:lnTo>
                    <a:lnTo>
                      <a:pt x="199" y="501"/>
                    </a:lnTo>
                    <a:lnTo>
                      <a:pt x="199" y="501"/>
                    </a:lnTo>
                    <a:lnTo>
                      <a:pt x="199" y="501"/>
                    </a:lnTo>
                    <a:lnTo>
                      <a:pt x="201" y="503"/>
                    </a:lnTo>
                    <a:lnTo>
                      <a:pt x="203" y="503"/>
                    </a:lnTo>
                    <a:lnTo>
                      <a:pt x="203" y="503"/>
                    </a:lnTo>
                    <a:lnTo>
                      <a:pt x="203" y="503"/>
                    </a:lnTo>
                    <a:lnTo>
                      <a:pt x="203" y="503"/>
                    </a:lnTo>
                    <a:lnTo>
                      <a:pt x="205" y="505"/>
                    </a:lnTo>
                    <a:lnTo>
                      <a:pt x="209" y="511"/>
                    </a:lnTo>
                    <a:lnTo>
                      <a:pt x="213" y="515"/>
                    </a:lnTo>
                    <a:lnTo>
                      <a:pt x="217" y="519"/>
                    </a:lnTo>
                    <a:lnTo>
                      <a:pt x="217" y="519"/>
                    </a:lnTo>
                    <a:lnTo>
                      <a:pt x="219" y="523"/>
                    </a:lnTo>
                    <a:lnTo>
                      <a:pt x="219" y="531"/>
                    </a:lnTo>
                    <a:lnTo>
                      <a:pt x="221" y="535"/>
                    </a:lnTo>
                    <a:lnTo>
                      <a:pt x="223" y="537"/>
                    </a:lnTo>
                    <a:lnTo>
                      <a:pt x="226" y="538"/>
                    </a:lnTo>
                    <a:lnTo>
                      <a:pt x="228" y="540"/>
                    </a:lnTo>
                    <a:lnTo>
                      <a:pt x="230" y="542"/>
                    </a:lnTo>
                    <a:lnTo>
                      <a:pt x="234" y="544"/>
                    </a:lnTo>
                    <a:lnTo>
                      <a:pt x="236" y="540"/>
                    </a:lnTo>
                    <a:lnTo>
                      <a:pt x="238" y="537"/>
                    </a:lnTo>
                    <a:lnTo>
                      <a:pt x="240" y="537"/>
                    </a:lnTo>
                    <a:lnTo>
                      <a:pt x="240" y="537"/>
                    </a:lnTo>
                    <a:lnTo>
                      <a:pt x="242" y="537"/>
                    </a:lnTo>
                    <a:lnTo>
                      <a:pt x="244" y="537"/>
                    </a:lnTo>
                    <a:lnTo>
                      <a:pt x="244" y="537"/>
                    </a:lnTo>
                    <a:lnTo>
                      <a:pt x="248" y="538"/>
                    </a:lnTo>
                    <a:lnTo>
                      <a:pt x="248" y="540"/>
                    </a:lnTo>
                    <a:lnTo>
                      <a:pt x="250" y="540"/>
                    </a:lnTo>
                    <a:lnTo>
                      <a:pt x="250" y="542"/>
                    </a:lnTo>
                    <a:lnTo>
                      <a:pt x="254" y="542"/>
                    </a:lnTo>
                    <a:lnTo>
                      <a:pt x="256" y="542"/>
                    </a:lnTo>
                    <a:lnTo>
                      <a:pt x="256" y="542"/>
                    </a:lnTo>
                    <a:lnTo>
                      <a:pt x="256" y="542"/>
                    </a:lnTo>
                    <a:lnTo>
                      <a:pt x="256" y="542"/>
                    </a:lnTo>
                    <a:lnTo>
                      <a:pt x="256" y="544"/>
                    </a:lnTo>
                    <a:lnTo>
                      <a:pt x="256" y="548"/>
                    </a:lnTo>
                    <a:lnTo>
                      <a:pt x="258" y="552"/>
                    </a:lnTo>
                    <a:lnTo>
                      <a:pt x="260" y="554"/>
                    </a:lnTo>
                    <a:lnTo>
                      <a:pt x="262" y="556"/>
                    </a:lnTo>
                    <a:lnTo>
                      <a:pt x="264" y="558"/>
                    </a:lnTo>
                    <a:lnTo>
                      <a:pt x="264" y="558"/>
                    </a:lnTo>
                    <a:lnTo>
                      <a:pt x="264" y="558"/>
                    </a:lnTo>
                    <a:lnTo>
                      <a:pt x="268" y="560"/>
                    </a:lnTo>
                    <a:lnTo>
                      <a:pt x="271" y="562"/>
                    </a:lnTo>
                    <a:lnTo>
                      <a:pt x="273" y="562"/>
                    </a:lnTo>
                    <a:lnTo>
                      <a:pt x="273" y="562"/>
                    </a:lnTo>
                    <a:lnTo>
                      <a:pt x="273" y="562"/>
                    </a:lnTo>
                    <a:lnTo>
                      <a:pt x="275" y="562"/>
                    </a:lnTo>
                    <a:lnTo>
                      <a:pt x="275" y="562"/>
                    </a:lnTo>
                    <a:lnTo>
                      <a:pt x="275" y="562"/>
                    </a:lnTo>
                    <a:lnTo>
                      <a:pt x="275" y="562"/>
                    </a:lnTo>
                    <a:lnTo>
                      <a:pt x="277" y="566"/>
                    </a:lnTo>
                    <a:lnTo>
                      <a:pt x="279" y="568"/>
                    </a:lnTo>
                    <a:lnTo>
                      <a:pt x="283" y="574"/>
                    </a:lnTo>
                    <a:lnTo>
                      <a:pt x="287" y="585"/>
                    </a:lnTo>
                    <a:lnTo>
                      <a:pt x="291" y="587"/>
                    </a:lnTo>
                    <a:lnTo>
                      <a:pt x="293" y="589"/>
                    </a:lnTo>
                    <a:lnTo>
                      <a:pt x="297" y="589"/>
                    </a:lnTo>
                    <a:lnTo>
                      <a:pt x="301" y="591"/>
                    </a:lnTo>
                    <a:lnTo>
                      <a:pt x="301" y="591"/>
                    </a:lnTo>
                    <a:lnTo>
                      <a:pt x="301" y="591"/>
                    </a:lnTo>
                    <a:lnTo>
                      <a:pt x="305" y="593"/>
                    </a:lnTo>
                    <a:lnTo>
                      <a:pt x="307" y="595"/>
                    </a:lnTo>
                    <a:lnTo>
                      <a:pt x="307" y="597"/>
                    </a:lnTo>
                    <a:lnTo>
                      <a:pt x="314" y="601"/>
                    </a:lnTo>
                    <a:lnTo>
                      <a:pt x="318" y="603"/>
                    </a:lnTo>
                    <a:lnTo>
                      <a:pt x="320" y="605"/>
                    </a:lnTo>
                    <a:lnTo>
                      <a:pt x="320" y="605"/>
                    </a:lnTo>
                    <a:lnTo>
                      <a:pt x="320" y="605"/>
                    </a:lnTo>
                    <a:lnTo>
                      <a:pt x="322" y="609"/>
                    </a:lnTo>
                    <a:lnTo>
                      <a:pt x="324" y="611"/>
                    </a:lnTo>
                    <a:lnTo>
                      <a:pt x="324" y="611"/>
                    </a:lnTo>
                    <a:lnTo>
                      <a:pt x="324" y="611"/>
                    </a:lnTo>
                    <a:lnTo>
                      <a:pt x="324" y="613"/>
                    </a:lnTo>
                    <a:lnTo>
                      <a:pt x="326" y="613"/>
                    </a:lnTo>
                    <a:lnTo>
                      <a:pt x="326" y="613"/>
                    </a:lnTo>
                    <a:lnTo>
                      <a:pt x="326" y="613"/>
                    </a:lnTo>
                    <a:lnTo>
                      <a:pt x="326" y="613"/>
                    </a:lnTo>
                    <a:lnTo>
                      <a:pt x="328" y="615"/>
                    </a:lnTo>
                    <a:lnTo>
                      <a:pt x="328" y="615"/>
                    </a:lnTo>
                    <a:lnTo>
                      <a:pt x="326" y="617"/>
                    </a:lnTo>
                    <a:lnTo>
                      <a:pt x="326" y="617"/>
                    </a:lnTo>
                    <a:lnTo>
                      <a:pt x="326" y="617"/>
                    </a:lnTo>
                    <a:lnTo>
                      <a:pt x="326" y="617"/>
                    </a:lnTo>
                    <a:lnTo>
                      <a:pt x="326" y="617"/>
                    </a:lnTo>
                    <a:lnTo>
                      <a:pt x="324" y="617"/>
                    </a:lnTo>
                    <a:lnTo>
                      <a:pt x="324" y="617"/>
                    </a:lnTo>
                    <a:lnTo>
                      <a:pt x="324" y="617"/>
                    </a:lnTo>
                    <a:lnTo>
                      <a:pt x="324" y="619"/>
                    </a:lnTo>
                    <a:lnTo>
                      <a:pt x="322" y="619"/>
                    </a:lnTo>
                    <a:lnTo>
                      <a:pt x="322" y="620"/>
                    </a:lnTo>
                    <a:lnTo>
                      <a:pt x="322" y="620"/>
                    </a:lnTo>
                    <a:lnTo>
                      <a:pt x="324" y="624"/>
                    </a:lnTo>
                    <a:lnTo>
                      <a:pt x="324" y="624"/>
                    </a:lnTo>
                    <a:lnTo>
                      <a:pt x="324" y="624"/>
                    </a:lnTo>
                    <a:lnTo>
                      <a:pt x="326" y="628"/>
                    </a:lnTo>
                    <a:lnTo>
                      <a:pt x="328" y="630"/>
                    </a:lnTo>
                    <a:lnTo>
                      <a:pt x="332" y="632"/>
                    </a:lnTo>
                    <a:lnTo>
                      <a:pt x="334" y="632"/>
                    </a:lnTo>
                    <a:lnTo>
                      <a:pt x="357" y="634"/>
                    </a:lnTo>
                    <a:lnTo>
                      <a:pt x="375" y="640"/>
                    </a:lnTo>
                    <a:lnTo>
                      <a:pt x="377" y="640"/>
                    </a:lnTo>
                    <a:lnTo>
                      <a:pt x="377" y="640"/>
                    </a:lnTo>
                    <a:lnTo>
                      <a:pt x="377" y="640"/>
                    </a:lnTo>
                    <a:lnTo>
                      <a:pt x="381" y="638"/>
                    </a:lnTo>
                    <a:lnTo>
                      <a:pt x="389" y="634"/>
                    </a:lnTo>
                    <a:lnTo>
                      <a:pt x="391" y="632"/>
                    </a:lnTo>
                    <a:lnTo>
                      <a:pt x="393" y="630"/>
                    </a:lnTo>
                    <a:lnTo>
                      <a:pt x="396" y="620"/>
                    </a:lnTo>
                    <a:lnTo>
                      <a:pt x="398" y="620"/>
                    </a:lnTo>
                    <a:lnTo>
                      <a:pt x="398" y="619"/>
                    </a:lnTo>
                    <a:lnTo>
                      <a:pt x="400" y="622"/>
                    </a:lnTo>
                    <a:lnTo>
                      <a:pt x="402" y="624"/>
                    </a:lnTo>
                    <a:lnTo>
                      <a:pt x="408" y="628"/>
                    </a:lnTo>
                    <a:lnTo>
                      <a:pt x="410" y="628"/>
                    </a:lnTo>
                    <a:lnTo>
                      <a:pt x="410" y="628"/>
                    </a:lnTo>
                    <a:lnTo>
                      <a:pt x="412" y="628"/>
                    </a:lnTo>
                    <a:lnTo>
                      <a:pt x="414" y="628"/>
                    </a:lnTo>
                    <a:lnTo>
                      <a:pt x="414" y="626"/>
                    </a:lnTo>
                    <a:lnTo>
                      <a:pt x="418" y="624"/>
                    </a:lnTo>
                    <a:lnTo>
                      <a:pt x="420" y="624"/>
                    </a:lnTo>
                    <a:lnTo>
                      <a:pt x="422" y="624"/>
                    </a:lnTo>
                    <a:lnTo>
                      <a:pt x="422" y="624"/>
                    </a:lnTo>
                    <a:lnTo>
                      <a:pt x="422" y="624"/>
                    </a:lnTo>
                    <a:lnTo>
                      <a:pt x="422" y="626"/>
                    </a:lnTo>
                    <a:lnTo>
                      <a:pt x="422" y="626"/>
                    </a:lnTo>
                    <a:lnTo>
                      <a:pt x="422" y="628"/>
                    </a:lnTo>
                    <a:lnTo>
                      <a:pt x="422" y="630"/>
                    </a:lnTo>
                    <a:lnTo>
                      <a:pt x="424" y="630"/>
                    </a:lnTo>
                    <a:lnTo>
                      <a:pt x="424" y="630"/>
                    </a:lnTo>
                    <a:lnTo>
                      <a:pt x="426" y="630"/>
                    </a:lnTo>
                    <a:lnTo>
                      <a:pt x="428" y="630"/>
                    </a:lnTo>
                    <a:lnTo>
                      <a:pt x="428" y="630"/>
                    </a:lnTo>
                    <a:lnTo>
                      <a:pt x="428" y="630"/>
                    </a:lnTo>
                    <a:lnTo>
                      <a:pt x="428" y="630"/>
                    </a:lnTo>
                    <a:lnTo>
                      <a:pt x="430" y="632"/>
                    </a:lnTo>
                    <a:lnTo>
                      <a:pt x="430" y="634"/>
                    </a:lnTo>
                    <a:lnTo>
                      <a:pt x="432" y="636"/>
                    </a:lnTo>
                    <a:lnTo>
                      <a:pt x="432" y="636"/>
                    </a:lnTo>
                    <a:lnTo>
                      <a:pt x="434" y="636"/>
                    </a:lnTo>
                    <a:lnTo>
                      <a:pt x="436" y="636"/>
                    </a:lnTo>
                    <a:lnTo>
                      <a:pt x="437" y="634"/>
                    </a:lnTo>
                    <a:lnTo>
                      <a:pt x="437" y="634"/>
                    </a:lnTo>
                    <a:lnTo>
                      <a:pt x="437" y="634"/>
                    </a:lnTo>
                    <a:lnTo>
                      <a:pt x="437" y="632"/>
                    </a:lnTo>
                    <a:lnTo>
                      <a:pt x="439" y="626"/>
                    </a:lnTo>
                    <a:lnTo>
                      <a:pt x="439" y="619"/>
                    </a:lnTo>
                    <a:lnTo>
                      <a:pt x="439" y="615"/>
                    </a:lnTo>
                    <a:lnTo>
                      <a:pt x="439" y="611"/>
                    </a:lnTo>
                    <a:lnTo>
                      <a:pt x="443" y="607"/>
                    </a:lnTo>
                    <a:lnTo>
                      <a:pt x="443" y="607"/>
                    </a:lnTo>
                    <a:lnTo>
                      <a:pt x="443" y="607"/>
                    </a:lnTo>
                    <a:lnTo>
                      <a:pt x="445" y="605"/>
                    </a:lnTo>
                    <a:lnTo>
                      <a:pt x="451" y="599"/>
                    </a:lnTo>
                    <a:lnTo>
                      <a:pt x="451" y="599"/>
                    </a:lnTo>
                    <a:lnTo>
                      <a:pt x="453" y="593"/>
                    </a:lnTo>
                    <a:lnTo>
                      <a:pt x="453" y="591"/>
                    </a:lnTo>
                    <a:lnTo>
                      <a:pt x="453" y="591"/>
                    </a:lnTo>
                    <a:lnTo>
                      <a:pt x="455" y="587"/>
                    </a:lnTo>
                    <a:lnTo>
                      <a:pt x="455" y="587"/>
                    </a:lnTo>
                    <a:lnTo>
                      <a:pt x="455" y="585"/>
                    </a:lnTo>
                    <a:lnTo>
                      <a:pt x="457" y="585"/>
                    </a:lnTo>
                    <a:lnTo>
                      <a:pt x="459" y="585"/>
                    </a:lnTo>
                    <a:lnTo>
                      <a:pt x="461" y="585"/>
                    </a:lnTo>
                    <a:lnTo>
                      <a:pt x="467" y="585"/>
                    </a:lnTo>
                    <a:lnTo>
                      <a:pt x="475" y="589"/>
                    </a:lnTo>
                    <a:lnTo>
                      <a:pt x="475" y="589"/>
                    </a:lnTo>
                    <a:lnTo>
                      <a:pt x="477" y="589"/>
                    </a:lnTo>
                    <a:lnTo>
                      <a:pt x="478" y="589"/>
                    </a:lnTo>
                    <a:lnTo>
                      <a:pt x="480" y="585"/>
                    </a:lnTo>
                    <a:lnTo>
                      <a:pt x="480" y="585"/>
                    </a:lnTo>
                    <a:lnTo>
                      <a:pt x="480" y="583"/>
                    </a:lnTo>
                    <a:lnTo>
                      <a:pt x="480" y="583"/>
                    </a:lnTo>
                    <a:lnTo>
                      <a:pt x="478" y="579"/>
                    </a:lnTo>
                    <a:lnTo>
                      <a:pt x="478" y="579"/>
                    </a:lnTo>
                    <a:lnTo>
                      <a:pt x="478" y="578"/>
                    </a:lnTo>
                    <a:lnTo>
                      <a:pt x="478" y="578"/>
                    </a:lnTo>
                    <a:lnTo>
                      <a:pt x="480" y="574"/>
                    </a:lnTo>
                    <a:lnTo>
                      <a:pt x="484" y="558"/>
                    </a:lnTo>
                    <a:lnTo>
                      <a:pt x="484" y="550"/>
                    </a:lnTo>
                    <a:lnTo>
                      <a:pt x="482" y="548"/>
                    </a:lnTo>
                    <a:lnTo>
                      <a:pt x="482" y="542"/>
                    </a:lnTo>
                    <a:lnTo>
                      <a:pt x="482" y="537"/>
                    </a:lnTo>
                    <a:lnTo>
                      <a:pt x="482" y="537"/>
                    </a:lnTo>
                    <a:lnTo>
                      <a:pt x="482" y="537"/>
                    </a:lnTo>
                    <a:lnTo>
                      <a:pt x="484" y="533"/>
                    </a:lnTo>
                    <a:lnTo>
                      <a:pt x="484" y="531"/>
                    </a:lnTo>
                    <a:lnTo>
                      <a:pt x="484" y="529"/>
                    </a:lnTo>
                    <a:lnTo>
                      <a:pt x="484" y="529"/>
                    </a:lnTo>
                    <a:lnTo>
                      <a:pt x="484" y="527"/>
                    </a:lnTo>
                    <a:lnTo>
                      <a:pt x="486" y="527"/>
                    </a:lnTo>
                    <a:lnTo>
                      <a:pt x="486" y="527"/>
                    </a:lnTo>
                    <a:lnTo>
                      <a:pt x="490" y="527"/>
                    </a:lnTo>
                    <a:lnTo>
                      <a:pt x="498" y="529"/>
                    </a:lnTo>
                    <a:lnTo>
                      <a:pt x="498" y="529"/>
                    </a:lnTo>
                    <a:lnTo>
                      <a:pt x="500" y="529"/>
                    </a:lnTo>
                    <a:lnTo>
                      <a:pt x="512" y="531"/>
                    </a:lnTo>
                    <a:lnTo>
                      <a:pt x="512" y="533"/>
                    </a:lnTo>
                    <a:lnTo>
                      <a:pt x="514" y="535"/>
                    </a:lnTo>
                    <a:lnTo>
                      <a:pt x="514" y="538"/>
                    </a:lnTo>
                    <a:lnTo>
                      <a:pt x="514" y="538"/>
                    </a:lnTo>
                    <a:lnTo>
                      <a:pt x="514" y="540"/>
                    </a:lnTo>
                    <a:lnTo>
                      <a:pt x="514" y="542"/>
                    </a:lnTo>
                    <a:lnTo>
                      <a:pt x="512" y="544"/>
                    </a:lnTo>
                    <a:lnTo>
                      <a:pt x="516" y="544"/>
                    </a:lnTo>
                    <a:lnTo>
                      <a:pt x="529" y="540"/>
                    </a:lnTo>
                    <a:lnTo>
                      <a:pt x="529" y="540"/>
                    </a:lnTo>
                    <a:lnTo>
                      <a:pt x="529" y="540"/>
                    </a:lnTo>
                    <a:lnTo>
                      <a:pt x="531" y="538"/>
                    </a:lnTo>
                    <a:lnTo>
                      <a:pt x="533" y="537"/>
                    </a:lnTo>
                    <a:lnTo>
                      <a:pt x="533" y="533"/>
                    </a:lnTo>
                    <a:lnTo>
                      <a:pt x="533" y="533"/>
                    </a:lnTo>
                    <a:lnTo>
                      <a:pt x="533" y="533"/>
                    </a:lnTo>
                    <a:lnTo>
                      <a:pt x="535" y="533"/>
                    </a:lnTo>
                    <a:lnTo>
                      <a:pt x="535" y="533"/>
                    </a:lnTo>
                    <a:lnTo>
                      <a:pt x="535" y="533"/>
                    </a:lnTo>
                    <a:lnTo>
                      <a:pt x="535" y="533"/>
                    </a:lnTo>
                    <a:lnTo>
                      <a:pt x="535" y="533"/>
                    </a:lnTo>
                    <a:lnTo>
                      <a:pt x="537" y="535"/>
                    </a:lnTo>
                    <a:lnTo>
                      <a:pt x="537" y="535"/>
                    </a:lnTo>
                    <a:lnTo>
                      <a:pt x="545" y="535"/>
                    </a:lnTo>
                    <a:lnTo>
                      <a:pt x="549" y="537"/>
                    </a:lnTo>
                    <a:lnTo>
                      <a:pt x="557" y="540"/>
                    </a:lnTo>
                    <a:lnTo>
                      <a:pt x="557" y="540"/>
                    </a:lnTo>
                    <a:lnTo>
                      <a:pt x="564" y="542"/>
                    </a:lnTo>
                    <a:lnTo>
                      <a:pt x="568" y="544"/>
                    </a:lnTo>
                    <a:lnTo>
                      <a:pt x="576" y="552"/>
                    </a:lnTo>
                    <a:lnTo>
                      <a:pt x="576" y="552"/>
                    </a:lnTo>
                    <a:lnTo>
                      <a:pt x="578" y="552"/>
                    </a:lnTo>
                    <a:lnTo>
                      <a:pt x="580" y="554"/>
                    </a:lnTo>
                    <a:lnTo>
                      <a:pt x="584" y="556"/>
                    </a:lnTo>
                    <a:lnTo>
                      <a:pt x="590" y="558"/>
                    </a:lnTo>
                    <a:lnTo>
                      <a:pt x="598" y="562"/>
                    </a:lnTo>
                    <a:lnTo>
                      <a:pt x="604" y="564"/>
                    </a:lnTo>
                    <a:lnTo>
                      <a:pt x="607" y="566"/>
                    </a:lnTo>
                    <a:lnTo>
                      <a:pt x="611" y="566"/>
                    </a:lnTo>
                    <a:lnTo>
                      <a:pt x="613" y="564"/>
                    </a:lnTo>
                    <a:lnTo>
                      <a:pt x="619" y="562"/>
                    </a:lnTo>
                    <a:lnTo>
                      <a:pt x="621" y="562"/>
                    </a:lnTo>
                    <a:lnTo>
                      <a:pt x="621" y="562"/>
                    </a:lnTo>
                    <a:lnTo>
                      <a:pt x="623" y="562"/>
                    </a:lnTo>
                    <a:lnTo>
                      <a:pt x="625" y="562"/>
                    </a:lnTo>
                    <a:lnTo>
                      <a:pt x="627" y="562"/>
                    </a:lnTo>
                    <a:lnTo>
                      <a:pt x="627" y="564"/>
                    </a:lnTo>
                    <a:lnTo>
                      <a:pt x="627" y="566"/>
                    </a:lnTo>
                    <a:lnTo>
                      <a:pt x="629" y="566"/>
                    </a:lnTo>
                    <a:lnTo>
                      <a:pt x="629" y="568"/>
                    </a:lnTo>
                    <a:lnTo>
                      <a:pt x="633" y="568"/>
                    </a:lnTo>
                    <a:lnTo>
                      <a:pt x="633" y="568"/>
                    </a:lnTo>
                    <a:lnTo>
                      <a:pt x="635" y="568"/>
                    </a:lnTo>
                    <a:lnTo>
                      <a:pt x="635" y="570"/>
                    </a:lnTo>
                    <a:lnTo>
                      <a:pt x="637" y="570"/>
                    </a:lnTo>
                    <a:lnTo>
                      <a:pt x="637" y="570"/>
                    </a:lnTo>
                    <a:lnTo>
                      <a:pt x="637" y="570"/>
                    </a:lnTo>
                    <a:lnTo>
                      <a:pt x="635" y="572"/>
                    </a:lnTo>
                    <a:lnTo>
                      <a:pt x="637" y="572"/>
                    </a:lnTo>
                    <a:lnTo>
                      <a:pt x="637" y="572"/>
                    </a:lnTo>
                    <a:lnTo>
                      <a:pt x="637" y="572"/>
                    </a:lnTo>
                    <a:lnTo>
                      <a:pt x="637" y="572"/>
                    </a:lnTo>
                    <a:lnTo>
                      <a:pt x="639" y="572"/>
                    </a:lnTo>
                    <a:lnTo>
                      <a:pt x="639" y="572"/>
                    </a:lnTo>
                    <a:lnTo>
                      <a:pt x="639" y="572"/>
                    </a:lnTo>
                    <a:lnTo>
                      <a:pt x="641" y="572"/>
                    </a:lnTo>
                    <a:lnTo>
                      <a:pt x="641" y="572"/>
                    </a:lnTo>
                    <a:lnTo>
                      <a:pt x="641" y="574"/>
                    </a:lnTo>
                    <a:lnTo>
                      <a:pt x="641" y="576"/>
                    </a:lnTo>
                    <a:lnTo>
                      <a:pt x="643" y="574"/>
                    </a:lnTo>
                    <a:lnTo>
                      <a:pt x="645" y="574"/>
                    </a:lnTo>
                    <a:lnTo>
                      <a:pt x="645" y="576"/>
                    </a:lnTo>
                    <a:lnTo>
                      <a:pt x="645" y="578"/>
                    </a:lnTo>
                    <a:lnTo>
                      <a:pt x="645" y="578"/>
                    </a:lnTo>
                    <a:lnTo>
                      <a:pt x="645" y="578"/>
                    </a:lnTo>
                    <a:lnTo>
                      <a:pt x="656" y="587"/>
                    </a:lnTo>
                    <a:lnTo>
                      <a:pt x="662" y="591"/>
                    </a:lnTo>
                    <a:lnTo>
                      <a:pt x="664" y="591"/>
                    </a:lnTo>
                    <a:lnTo>
                      <a:pt x="670" y="593"/>
                    </a:lnTo>
                    <a:lnTo>
                      <a:pt x="686" y="593"/>
                    </a:lnTo>
                    <a:lnTo>
                      <a:pt x="699" y="595"/>
                    </a:lnTo>
                    <a:lnTo>
                      <a:pt x="709" y="597"/>
                    </a:lnTo>
                    <a:lnTo>
                      <a:pt x="709" y="597"/>
                    </a:lnTo>
                    <a:lnTo>
                      <a:pt x="709" y="597"/>
                    </a:lnTo>
                    <a:lnTo>
                      <a:pt x="709" y="597"/>
                    </a:lnTo>
                    <a:lnTo>
                      <a:pt x="711" y="597"/>
                    </a:lnTo>
                    <a:lnTo>
                      <a:pt x="713" y="595"/>
                    </a:lnTo>
                    <a:lnTo>
                      <a:pt x="715" y="597"/>
                    </a:lnTo>
                    <a:lnTo>
                      <a:pt x="715" y="597"/>
                    </a:lnTo>
                    <a:lnTo>
                      <a:pt x="717" y="597"/>
                    </a:lnTo>
                    <a:lnTo>
                      <a:pt x="719" y="597"/>
                    </a:lnTo>
                    <a:lnTo>
                      <a:pt x="719" y="597"/>
                    </a:lnTo>
                    <a:lnTo>
                      <a:pt x="721" y="595"/>
                    </a:lnTo>
                    <a:lnTo>
                      <a:pt x="729" y="581"/>
                    </a:lnTo>
                    <a:lnTo>
                      <a:pt x="729" y="581"/>
                    </a:lnTo>
                    <a:lnTo>
                      <a:pt x="729" y="581"/>
                    </a:lnTo>
                    <a:lnTo>
                      <a:pt x="732" y="579"/>
                    </a:lnTo>
                    <a:lnTo>
                      <a:pt x="732" y="579"/>
                    </a:lnTo>
                    <a:lnTo>
                      <a:pt x="736" y="579"/>
                    </a:lnTo>
                    <a:lnTo>
                      <a:pt x="738" y="579"/>
                    </a:lnTo>
                    <a:lnTo>
                      <a:pt x="738" y="579"/>
                    </a:lnTo>
                    <a:lnTo>
                      <a:pt x="738" y="579"/>
                    </a:lnTo>
                    <a:lnTo>
                      <a:pt x="742" y="578"/>
                    </a:lnTo>
                    <a:lnTo>
                      <a:pt x="742" y="578"/>
                    </a:lnTo>
                    <a:lnTo>
                      <a:pt x="742" y="578"/>
                    </a:lnTo>
                    <a:lnTo>
                      <a:pt x="744" y="579"/>
                    </a:lnTo>
                    <a:lnTo>
                      <a:pt x="744" y="579"/>
                    </a:lnTo>
                    <a:lnTo>
                      <a:pt x="748" y="581"/>
                    </a:lnTo>
                    <a:lnTo>
                      <a:pt x="758" y="583"/>
                    </a:lnTo>
                    <a:lnTo>
                      <a:pt x="760" y="583"/>
                    </a:lnTo>
                    <a:lnTo>
                      <a:pt x="764" y="585"/>
                    </a:lnTo>
                    <a:lnTo>
                      <a:pt x="764" y="587"/>
                    </a:lnTo>
                    <a:lnTo>
                      <a:pt x="766" y="587"/>
                    </a:lnTo>
                    <a:lnTo>
                      <a:pt x="766" y="591"/>
                    </a:lnTo>
                    <a:lnTo>
                      <a:pt x="766" y="593"/>
                    </a:lnTo>
                    <a:lnTo>
                      <a:pt x="768" y="595"/>
                    </a:lnTo>
                    <a:lnTo>
                      <a:pt x="770" y="597"/>
                    </a:lnTo>
                    <a:lnTo>
                      <a:pt x="772" y="597"/>
                    </a:lnTo>
                    <a:lnTo>
                      <a:pt x="772" y="597"/>
                    </a:lnTo>
                    <a:lnTo>
                      <a:pt x="775" y="597"/>
                    </a:lnTo>
                    <a:lnTo>
                      <a:pt x="777" y="597"/>
                    </a:lnTo>
                    <a:lnTo>
                      <a:pt x="781" y="597"/>
                    </a:lnTo>
                    <a:lnTo>
                      <a:pt x="781" y="597"/>
                    </a:lnTo>
                    <a:lnTo>
                      <a:pt x="781" y="597"/>
                    </a:lnTo>
                    <a:lnTo>
                      <a:pt x="787" y="601"/>
                    </a:lnTo>
                    <a:lnTo>
                      <a:pt x="789" y="603"/>
                    </a:lnTo>
                    <a:lnTo>
                      <a:pt x="791" y="603"/>
                    </a:lnTo>
                    <a:lnTo>
                      <a:pt x="793" y="603"/>
                    </a:lnTo>
                    <a:lnTo>
                      <a:pt x="799" y="601"/>
                    </a:lnTo>
                    <a:lnTo>
                      <a:pt x="799" y="599"/>
                    </a:lnTo>
                    <a:lnTo>
                      <a:pt x="803" y="601"/>
                    </a:lnTo>
                    <a:lnTo>
                      <a:pt x="805" y="603"/>
                    </a:lnTo>
                    <a:lnTo>
                      <a:pt x="807" y="605"/>
                    </a:lnTo>
                    <a:lnTo>
                      <a:pt x="809" y="622"/>
                    </a:lnTo>
                    <a:lnTo>
                      <a:pt x="809" y="622"/>
                    </a:lnTo>
                    <a:lnTo>
                      <a:pt x="814" y="62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57" name="Freeform 772">
                <a:extLst>
                  <a:ext uri="{FF2B5EF4-FFF2-40B4-BE49-F238E27FC236}">
                    <a16:creationId xmlns:a16="http://schemas.microsoft.com/office/drawing/2014/main" id="{311B0792-E02A-4A8C-B756-9C4AF74C9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9" y="1329"/>
                <a:ext cx="977" cy="1345"/>
              </a:xfrm>
              <a:custGeom>
                <a:avLst/>
                <a:gdLst>
                  <a:gd name="T0" fmla="*/ 912 w 977"/>
                  <a:gd name="T1" fmla="*/ 21 h 1345"/>
                  <a:gd name="T2" fmla="*/ 826 w 977"/>
                  <a:gd name="T3" fmla="*/ 0 h 1345"/>
                  <a:gd name="T4" fmla="*/ 771 w 977"/>
                  <a:gd name="T5" fmla="*/ 48 h 1345"/>
                  <a:gd name="T6" fmla="*/ 687 w 977"/>
                  <a:gd name="T7" fmla="*/ 109 h 1345"/>
                  <a:gd name="T8" fmla="*/ 594 w 977"/>
                  <a:gd name="T9" fmla="*/ 140 h 1345"/>
                  <a:gd name="T10" fmla="*/ 564 w 977"/>
                  <a:gd name="T11" fmla="*/ 203 h 1345"/>
                  <a:gd name="T12" fmla="*/ 601 w 977"/>
                  <a:gd name="T13" fmla="*/ 253 h 1345"/>
                  <a:gd name="T14" fmla="*/ 574 w 977"/>
                  <a:gd name="T15" fmla="*/ 306 h 1345"/>
                  <a:gd name="T16" fmla="*/ 512 w 977"/>
                  <a:gd name="T17" fmla="*/ 320 h 1345"/>
                  <a:gd name="T18" fmla="*/ 449 w 977"/>
                  <a:gd name="T19" fmla="*/ 361 h 1345"/>
                  <a:gd name="T20" fmla="*/ 433 w 977"/>
                  <a:gd name="T21" fmla="*/ 398 h 1345"/>
                  <a:gd name="T22" fmla="*/ 431 w 977"/>
                  <a:gd name="T23" fmla="*/ 460 h 1345"/>
                  <a:gd name="T24" fmla="*/ 394 w 977"/>
                  <a:gd name="T25" fmla="*/ 537 h 1345"/>
                  <a:gd name="T26" fmla="*/ 430 w 977"/>
                  <a:gd name="T27" fmla="*/ 548 h 1345"/>
                  <a:gd name="T28" fmla="*/ 433 w 977"/>
                  <a:gd name="T29" fmla="*/ 583 h 1345"/>
                  <a:gd name="T30" fmla="*/ 394 w 977"/>
                  <a:gd name="T31" fmla="*/ 576 h 1345"/>
                  <a:gd name="T32" fmla="*/ 373 w 977"/>
                  <a:gd name="T33" fmla="*/ 556 h 1345"/>
                  <a:gd name="T34" fmla="*/ 281 w 977"/>
                  <a:gd name="T35" fmla="*/ 587 h 1345"/>
                  <a:gd name="T36" fmla="*/ 275 w 977"/>
                  <a:gd name="T37" fmla="*/ 617 h 1345"/>
                  <a:gd name="T38" fmla="*/ 246 w 977"/>
                  <a:gd name="T39" fmla="*/ 632 h 1345"/>
                  <a:gd name="T40" fmla="*/ 162 w 977"/>
                  <a:gd name="T41" fmla="*/ 640 h 1345"/>
                  <a:gd name="T42" fmla="*/ 101 w 977"/>
                  <a:gd name="T43" fmla="*/ 650 h 1345"/>
                  <a:gd name="T44" fmla="*/ 58 w 977"/>
                  <a:gd name="T45" fmla="*/ 675 h 1345"/>
                  <a:gd name="T46" fmla="*/ 95 w 977"/>
                  <a:gd name="T47" fmla="*/ 808 h 1345"/>
                  <a:gd name="T48" fmla="*/ 121 w 977"/>
                  <a:gd name="T49" fmla="*/ 867 h 1345"/>
                  <a:gd name="T50" fmla="*/ 115 w 977"/>
                  <a:gd name="T51" fmla="*/ 892 h 1345"/>
                  <a:gd name="T52" fmla="*/ 125 w 977"/>
                  <a:gd name="T53" fmla="*/ 923 h 1345"/>
                  <a:gd name="T54" fmla="*/ 123 w 977"/>
                  <a:gd name="T55" fmla="*/ 992 h 1345"/>
                  <a:gd name="T56" fmla="*/ 10 w 977"/>
                  <a:gd name="T57" fmla="*/ 1083 h 1345"/>
                  <a:gd name="T58" fmla="*/ 4 w 977"/>
                  <a:gd name="T59" fmla="*/ 1118 h 1345"/>
                  <a:gd name="T60" fmla="*/ 37 w 977"/>
                  <a:gd name="T61" fmla="*/ 1132 h 1345"/>
                  <a:gd name="T62" fmla="*/ 47 w 977"/>
                  <a:gd name="T63" fmla="*/ 1132 h 1345"/>
                  <a:gd name="T64" fmla="*/ 52 w 977"/>
                  <a:gd name="T65" fmla="*/ 1140 h 1345"/>
                  <a:gd name="T66" fmla="*/ 76 w 977"/>
                  <a:gd name="T67" fmla="*/ 1157 h 1345"/>
                  <a:gd name="T68" fmla="*/ 82 w 977"/>
                  <a:gd name="T69" fmla="*/ 1187 h 1345"/>
                  <a:gd name="T70" fmla="*/ 76 w 977"/>
                  <a:gd name="T71" fmla="*/ 1216 h 1345"/>
                  <a:gd name="T72" fmla="*/ 74 w 977"/>
                  <a:gd name="T73" fmla="*/ 1241 h 1345"/>
                  <a:gd name="T74" fmla="*/ 64 w 977"/>
                  <a:gd name="T75" fmla="*/ 1263 h 1345"/>
                  <a:gd name="T76" fmla="*/ 62 w 977"/>
                  <a:gd name="T77" fmla="*/ 1275 h 1345"/>
                  <a:gd name="T78" fmla="*/ 64 w 977"/>
                  <a:gd name="T79" fmla="*/ 1296 h 1345"/>
                  <a:gd name="T80" fmla="*/ 72 w 977"/>
                  <a:gd name="T81" fmla="*/ 1314 h 1345"/>
                  <a:gd name="T82" fmla="*/ 72 w 977"/>
                  <a:gd name="T83" fmla="*/ 1286 h 1345"/>
                  <a:gd name="T84" fmla="*/ 119 w 977"/>
                  <a:gd name="T85" fmla="*/ 1286 h 1345"/>
                  <a:gd name="T86" fmla="*/ 197 w 977"/>
                  <a:gd name="T87" fmla="*/ 1220 h 1345"/>
                  <a:gd name="T88" fmla="*/ 330 w 977"/>
                  <a:gd name="T89" fmla="*/ 1197 h 1345"/>
                  <a:gd name="T90" fmla="*/ 498 w 977"/>
                  <a:gd name="T91" fmla="*/ 1220 h 1345"/>
                  <a:gd name="T92" fmla="*/ 543 w 977"/>
                  <a:gd name="T93" fmla="*/ 1232 h 1345"/>
                  <a:gd name="T94" fmla="*/ 668 w 977"/>
                  <a:gd name="T95" fmla="*/ 1249 h 1345"/>
                  <a:gd name="T96" fmla="*/ 683 w 977"/>
                  <a:gd name="T97" fmla="*/ 1277 h 1345"/>
                  <a:gd name="T98" fmla="*/ 709 w 977"/>
                  <a:gd name="T99" fmla="*/ 1292 h 1345"/>
                  <a:gd name="T100" fmla="*/ 752 w 977"/>
                  <a:gd name="T101" fmla="*/ 1320 h 1345"/>
                  <a:gd name="T102" fmla="*/ 773 w 977"/>
                  <a:gd name="T103" fmla="*/ 1310 h 1345"/>
                  <a:gd name="T104" fmla="*/ 783 w 977"/>
                  <a:gd name="T105" fmla="*/ 1286 h 1345"/>
                  <a:gd name="T106" fmla="*/ 828 w 977"/>
                  <a:gd name="T107" fmla="*/ 1298 h 1345"/>
                  <a:gd name="T108" fmla="*/ 850 w 977"/>
                  <a:gd name="T109" fmla="*/ 1284 h 1345"/>
                  <a:gd name="T110" fmla="*/ 871 w 977"/>
                  <a:gd name="T111" fmla="*/ 1306 h 1345"/>
                  <a:gd name="T112" fmla="*/ 910 w 977"/>
                  <a:gd name="T113" fmla="*/ 1308 h 1345"/>
                  <a:gd name="T114" fmla="*/ 926 w 977"/>
                  <a:gd name="T115" fmla="*/ 1333 h 1345"/>
                  <a:gd name="T116" fmla="*/ 937 w 977"/>
                  <a:gd name="T117" fmla="*/ 1314 h 1345"/>
                  <a:gd name="T118" fmla="*/ 977 w 977"/>
                  <a:gd name="T119" fmla="*/ 41 h 1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77" h="1345">
                    <a:moveTo>
                      <a:pt x="963" y="48"/>
                    </a:moveTo>
                    <a:lnTo>
                      <a:pt x="951" y="54"/>
                    </a:lnTo>
                    <a:lnTo>
                      <a:pt x="947" y="58"/>
                    </a:lnTo>
                    <a:lnTo>
                      <a:pt x="947" y="64"/>
                    </a:lnTo>
                    <a:lnTo>
                      <a:pt x="943" y="66"/>
                    </a:lnTo>
                    <a:lnTo>
                      <a:pt x="930" y="62"/>
                    </a:lnTo>
                    <a:lnTo>
                      <a:pt x="926" y="58"/>
                    </a:lnTo>
                    <a:lnTo>
                      <a:pt x="924" y="52"/>
                    </a:lnTo>
                    <a:lnTo>
                      <a:pt x="924" y="45"/>
                    </a:lnTo>
                    <a:lnTo>
                      <a:pt x="922" y="39"/>
                    </a:lnTo>
                    <a:lnTo>
                      <a:pt x="920" y="35"/>
                    </a:lnTo>
                    <a:lnTo>
                      <a:pt x="914" y="27"/>
                    </a:lnTo>
                    <a:lnTo>
                      <a:pt x="912" y="21"/>
                    </a:lnTo>
                    <a:lnTo>
                      <a:pt x="910" y="19"/>
                    </a:lnTo>
                    <a:lnTo>
                      <a:pt x="908" y="19"/>
                    </a:lnTo>
                    <a:lnTo>
                      <a:pt x="898" y="17"/>
                    </a:lnTo>
                    <a:lnTo>
                      <a:pt x="873" y="19"/>
                    </a:lnTo>
                    <a:lnTo>
                      <a:pt x="869" y="23"/>
                    </a:lnTo>
                    <a:lnTo>
                      <a:pt x="863" y="31"/>
                    </a:lnTo>
                    <a:lnTo>
                      <a:pt x="859" y="33"/>
                    </a:lnTo>
                    <a:lnTo>
                      <a:pt x="857" y="33"/>
                    </a:lnTo>
                    <a:lnTo>
                      <a:pt x="853" y="29"/>
                    </a:lnTo>
                    <a:lnTo>
                      <a:pt x="848" y="21"/>
                    </a:lnTo>
                    <a:lnTo>
                      <a:pt x="836" y="9"/>
                    </a:lnTo>
                    <a:lnTo>
                      <a:pt x="834" y="4"/>
                    </a:lnTo>
                    <a:lnTo>
                      <a:pt x="826" y="0"/>
                    </a:lnTo>
                    <a:lnTo>
                      <a:pt x="820" y="2"/>
                    </a:lnTo>
                    <a:lnTo>
                      <a:pt x="816" y="4"/>
                    </a:lnTo>
                    <a:lnTo>
                      <a:pt x="812" y="7"/>
                    </a:lnTo>
                    <a:lnTo>
                      <a:pt x="805" y="11"/>
                    </a:lnTo>
                    <a:lnTo>
                      <a:pt x="799" y="13"/>
                    </a:lnTo>
                    <a:lnTo>
                      <a:pt x="797" y="13"/>
                    </a:lnTo>
                    <a:lnTo>
                      <a:pt x="793" y="17"/>
                    </a:lnTo>
                    <a:lnTo>
                      <a:pt x="791" y="19"/>
                    </a:lnTo>
                    <a:lnTo>
                      <a:pt x="791" y="23"/>
                    </a:lnTo>
                    <a:lnTo>
                      <a:pt x="789" y="27"/>
                    </a:lnTo>
                    <a:lnTo>
                      <a:pt x="777" y="37"/>
                    </a:lnTo>
                    <a:lnTo>
                      <a:pt x="771" y="41"/>
                    </a:lnTo>
                    <a:lnTo>
                      <a:pt x="771" y="48"/>
                    </a:lnTo>
                    <a:lnTo>
                      <a:pt x="766" y="58"/>
                    </a:lnTo>
                    <a:lnTo>
                      <a:pt x="748" y="70"/>
                    </a:lnTo>
                    <a:lnTo>
                      <a:pt x="744" y="82"/>
                    </a:lnTo>
                    <a:lnTo>
                      <a:pt x="742" y="97"/>
                    </a:lnTo>
                    <a:lnTo>
                      <a:pt x="742" y="103"/>
                    </a:lnTo>
                    <a:lnTo>
                      <a:pt x="740" y="107"/>
                    </a:lnTo>
                    <a:lnTo>
                      <a:pt x="734" y="109"/>
                    </a:lnTo>
                    <a:lnTo>
                      <a:pt x="715" y="107"/>
                    </a:lnTo>
                    <a:lnTo>
                      <a:pt x="709" y="105"/>
                    </a:lnTo>
                    <a:lnTo>
                      <a:pt x="703" y="101"/>
                    </a:lnTo>
                    <a:lnTo>
                      <a:pt x="699" y="97"/>
                    </a:lnTo>
                    <a:lnTo>
                      <a:pt x="695" y="101"/>
                    </a:lnTo>
                    <a:lnTo>
                      <a:pt x="687" y="109"/>
                    </a:lnTo>
                    <a:lnTo>
                      <a:pt x="685" y="109"/>
                    </a:lnTo>
                    <a:lnTo>
                      <a:pt x="680" y="107"/>
                    </a:lnTo>
                    <a:lnTo>
                      <a:pt x="670" y="99"/>
                    </a:lnTo>
                    <a:lnTo>
                      <a:pt x="666" y="95"/>
                    </a:lnTo>
                    <a:lnTo>
                      <a:pt x="660" y="95"/>
                    </a:lnTo>
                    <a:lnTo>
                      <a:pt x="637" y="97"/>
                    </a:lnTo>
                    <a:lnTo>
                      <a:pt x="637" y="97"/>
                    </a:lnTo>
                    <a:lnTo>
                      <a:pt x="633" y="101"/>
                    </a:lnTo>
                    <a:lnTo>
                      <a:pt x="625" y="113"/>
                    </a:lnTo>
                    <a:lnTo>
                      <a:pt x="615" y="130"/>
                    </a:lnTo>
                    <a:lnTo>
                      <a:pt x="611" y="134"/>
                    </a:lnTo>
                    <a:lnTo>
                      <a:pt x="598" y="140"/>
                    </a:lnTo>
                    <a:lnTo>
                      <a:pt x="594" y="140"/>
                    </a:lnTo>
                    <a:lnTo>
                      <a:pt x="586" y="138"/>
                    </a:lnTo>
                    <a:lnTo>
                      <a:pt x="580" y="136"/>
                    </a:lnTo>
                    <a:lnTo>
                      <a:pt x="576" y="138"/>
                    </a:lnTo>
                    <a:lnTo>
                      <a:pt x="572" y="146"/>
                    </a:lnTo>
                    <a:lnTo>
                      <a:pt x="574" y="152"/>
                    </a:lnTo>
                    <a:lnTo>
                      <a:pt x="576" y="160"/>
                    </a:lnTo>
                    <a:lnTo>
                      <a:pt x="574" y="168"/>
                    </a:lnTo>
                    <a:lnTo>
                      <a:pt x="572" y="175"/>
                    </a:lnTo>
                    <a:lnTo>
                      <a:pt x="570" y="179"/>
                    </a:lnTo>
                    <a:lnTo>
                      <a:pt x="566" y="185"/>
                    </a:lnTo>
                    <a:lnTo>
                      <a:pt x="562" y="189"/>
                    </a:lnTo>
                    <a:lnTo>
                      <a:pt x="562" y="197"/>
                    </a:lnTo>
                    <a:lnTo>
                      <a:pt x="564" y="203"/>
                    </a:lnTo>
                    <a:lnTo>
                      <a:pt x="564" y="207"/>
                    </a:lnTo>
                    <a:lnTo>
                      <a:pt x="558" y="212"/>
                    </a:lnTo>
                    <a:lnTo>
                      <a:pt x="556" y="216"/>
                    </a:lnTo>
                    <a:lnTo>
                      <a:pt x="555" y="226"/>
                    </a:lnTo>
                    <a:lnTo>
                      <a:pt x="555" y="230"/>
                    </a:lnTo>
                    <a:lnTo>
                      <a:pt x="549" y="238"/>
                    </a:lnTo>
                    <a:lnTo>
                      <a:pt x="549" y="242"/>
                    </a:lnTo>
                    <a:lnTo>
                      <a:pt x="549" y="246"/>
                    </a:lnTo>
                    <a:lnTo>
                      <a:pt x="551" y="248"/>
                    </a:lnTo>
                    <a:lnTo>
                      <a:pt x="560" y="252"/>
                    </a:lnTo>
                    <a:lnTo>
                      <a:pt x="564" y="252"/>
                    </a:lnTo>
                    <a:lnTo>
                      <a:pt x="574" y="248"/>
                    </a:lnTo>
                    <a:lnTo>
                      <a:pt x="601" y="253"/>
                    </a:lnTo>
                    <a:lnTo>
                      <a:pt x="605" y="255"/>
                    </a:lnTo>
                    <a:lnTo>
                      <a:pt x="607" y="261"/>
                    </a:lnTo>
                    <a:lnTo>
                      <a:pt x="605" y="265"/>
                    </a:lnTo>
                    <a:lnTo>
                      <a:pt x="601" y="269"/>
                    </a:lnTo>
                    <a:lnTo>
                      <a:pt x="598" y="271"/>
                    </a:lnTo>
                    <a:lnTo>
                      <a:pt x="592" y="271"/>
                    </a:lnTo>
                    <a:lnTo>
                      <a:pt x="588" y="273"/>
                    </a:lnTo>
                    <a:lnTo>
                      <a:pt x="584" y="279"/>
                    </a:lnTo>
                    <a:lnTo>
                      <a:pt x="580" y="283"/>
                    </a:lnTo>
                    <a:lnTo>
                      <a:pt x="580" y="285"/>
                    </a:lnTo>
                    <a:lnTo>
                      <a:pt x="578" y="293"/>
                    </a:lnTo>
                    <a:lnTo>
                      <a:pt x="576" y="302"/>
                    </a:lnTo>
                    <a:lnTo>
                      <a:pt x="574" y="306"/>
                    </a:lnTo>
                    <a:lnTo>
                      <a:pt x="570" y="306"/>
                    </a:lnTo>
                    <a:lnTo>
                      <a:pt x="553" y="298"/>
                    </a:lnTo>
                    <a:lnTo>
                      <a:pt x="551" y="298"/>
                    </a:lnTo>
                    <a:lnTo>
                      <a:pt x="549" y="300"/>
                    </a:lnTo>
                    <a:lnTo>
                      <a:pt x="549" y="302"/>
                    </a:lnTo>
                    <a:lnTo>
                      <a:pt x="547" y="302"/>
                    </a:lnTo>
                    <a:lnTo>
                      <a:pt x="545" y="304"/>
                    </a:lnTo>
                    <a:lnTo>
                      <a:pt x="543" y="304"/>
                    </a:lnTo>
                    <a:lnTo>
                      <a:pt x="525" y="298"/>
                    </a:lnTo>
                    <a:lnTo>
                      <a:pt x="517" y="300"/>
                    </a:lnTo>
                    <a:lnTo>
                      <a:pt x="512" y="308"/>
                    </a:lnTo>
                    <a:lnTo>
                      <a:pt x="512" y="312"/>
                    </a:lnTo>
                    <a:lnTo>
                      <a:pt x="512" y="320"/>
                    </a:lnTo>
                    <a:lnTo>
                      <a:pt x="512" y="322"/>
                    </a:lnTo>
                    <a:lnTo>
                      <a:pt x="512" y="326"/>
                    </a:lnTo>
                    <a:lnTo>
                      <a:pt x="506" y="339"/>
                    </a:lnTo>
                    <a:lnTo>
                      <a:pt x="502" y="343"/>
                    </a:lnTo>
                    <a:lnTo>
                      <a:pt x="500" y="347"/>
                    </a:lnTo>
                    <a:lnTo>
                      <a:pt x="496" y="349"/>
                    </a:lnTo>
                    <a:lnTo>
                      <a:pt x="490" y="353"/>
                    </a:lnTo>
                    <a:lnTo>
                      <a:pt x="471" y="357"/>
                    </a:lnTo>
                    <a:lnTo>
                      <a:pt x="467" y="357"/>
                    </a:lnTo>
                    <a:lnTo>
                      <a:pt x="461" y="357"/>
                    </a:lnTo>
                    <a:lnTo>
                      <a:pt x="459" y="357"/>
                    </a:lnTo>
                    <a:lnTo>
                      <a:pt x="451" y="359"/>
                    </a:lnTo>
                    <a:lnTo>
                      <a:pt x="449" y="361"/>
                    </a:lnTo>
                    <a:lnTo>
                      <a:pt x="449" y="363"/>
                    </a:lnTo>
                    <a:lnTo>
                      <a:pt x="449" y="365"/>
                    </a:lnTo>
                    <a:lnTo>
                      <a:pt x="447" y="369"/>
                    </a:lnTo>
                    <a:lnTo>
                      <a:pt x="445" y="373"/>
                    </a:lnTo>
                    <a:lnTo>
                      <a:pt x="441" y="375"/>
                    </a:lnTo>
                    <a:lnTo>
                      <a:pt x="437" y="378"/>
                    </a:lnTo>
                    <a:lnTo>
                      <a:pt x="435" y="384"/>
                    </a:lnTo>
                    <a:lnTo>
                      <a:pt x="435" y="386"/>
                    </a:lnTo>
                    <a:lnTo>
                      <a:pt x="437" y="392"/>
                    </a:lnTo>
                    <a:lnTo>
                      <a:pt x="437" y="396"/>
                    </a:lnTo>
                    <a:lnTo>
                      <a:pt x="437" y="398"/>
                    </a:lnTo>
                    <a:lnTo>
                      <a:pt x="435" y="398"/>
                    </a:lnTo>
                    <a:lnTo>
                      <a:pt x="433" y="398"/>
                    </a:lnTo>
                    <a:lnTo>
                      <a:pt x="433" y="400"/>
                    </a:lnTo>
                    <a:lnTo>
                      <a:pt x="430" y="402"/>
                    </a:lnTo>
                    <a:lnTo>
                      <a:pt x="428" y="406"/>
                    </a:lnTo>
                    <a:lnTo>
                      <a:pt x="428" y="410"/>
                    </a:lnTo>
                    <a:lnTo>
                      <a:pt x="428" y="423"/>
                    </a:lnTo>
                    <a:lnTo>
                      <a:pt x="428" y="427"/>
                    </a:lnTo>
                    <a:lnTo>
                      <a:pt x="426" y="429"/>
                    </a:lnTo>
                    <a:lnTo>
                      <a:pt x="426" y="433"/>
                    </a:lnTo>
                    <a:lnTo>
                      <a:pt x="426" y="435"/>
                    </a:lnTo>
                    <a:lnTo>
                      <a:pt x="424" y="439"/>
                    </a:lnTo>
                    <a:lnTo>
                      <a:pt x="426" y="445"/>
                    </a:lnTo>
                    <a:lnTo>
                      <a:pt x="430" y="455"/>
                    </a:lnTo>
                    <a:lnTo>
                      <a:pt x="431" y="460"/>
                    </a:lnTo>
                    <a:lnTo>
                      <a:pt x="430" y="466"/>
                    </a:lnTo>
                    <a:lnTo>
                      <a:pt x="428" y="470"/>
                    </a:lnTo>
                    <a:lnTo>
                      <a:pt x="424" y="474"/>
                    </a:lnTo>
                    <a:lnTo>
                      <a:pt x="414" y="480"/>
                    </a:lnTo>
                    <a:lnTo>
                      <a:pt x="412" y="484"/>
                    </a:lnTo>
                    <a:lnTo>
                      <a:pt x="410" y="490"/>
                    </a:lnTo>
                    <a:lnTo>
                      <a:pt x="410" y="496"/>
                    </a:lnTo>
                    <a:lnTo>
                      <a:pt x="410" y="503"/>
                    </a:lnTo>
                    <a:lnTo>
                      <a:pt x="408" y="507"/>
                    </a:lnTo>
                    <a:lnTo>
                      <a:pt x="406" y="515"/>
                    </a:lnTo>
                    <a:lnTo>
                      <a:pt x="398" y="523"/>
                    </a:lnTo>
                    <a:lnTo>
                      <a:pt x="394" y="529"/>
                    </a:lnTo>
                    <a:lnTo>
                      <a:pt x="394" y="537"/>
                    </a:lnTo>
                    <a:lnTo>
                      <a:pt x="396" y="540"/>
                    </a:lnTo>
                    <a:lnTo>
                      <a:pt x="400" y="542"/>
                    </a:lnTo>
                    <a:lnTo>
                      <a:pt x="408" y="542"/>
                    </a:lnTo>
                    <a:lnTo>
                      <a:pt x="418" y="537"/>
                    </a:lnTo>
                    <a:lnTo>
                      <a:pt x="420" y="535"/>
                    </a:lnTo>
                    <a:lnTo>
                      <a:pt x="422" y="537"/>
                    </a:lnTo>
                    <a:lnTo>
                      <a:pt x="424" y="539"/>
                    </a:lnTo>
                    <a:lnTo>
                      <a:pt x="424" y="542"/>
                    </a:lnTo>
                    <a:lnTo>
                      <a:pt x="426" y="546"/>
                    </a:lnTo>
                    <a:lnTo>
                      <a:pt x="426" y="548"/>
                    </a:lnTo>
                    <a:lnTo>
                      <a:pt x="428" y="548"/>
                    </a:lnTo>
                    <a:lnTo>
                      <a:pt x="430" y="548"/>
                    </a:lnTo>
                    <a:lnTo>
                      <a:pt x="430" y="548"/>
                    </a:lnTo>
                    <a:lnTo>
                      <a:pt x="431" y="550"/>
                    </a:lnTo>
                    <a:lnTo>
                      <a:pt x="433" y="552"/>
                    </a:lnTo>
                    <a:lnTo>
                      <a:pt x="433" y="554"/>
                    </a:lnTo>
                    <a:lnTo>
                      <a:pt x="435" y="558"/>
                    </a:lnTo>
                    <a:lnTo>
                      <a:pt x="435" y="558"/>
                    </a:lnTo>
                    <a:lnTo>
                      <a:pt x="437" y="558"/>
                    </a:lnTo>
                    <a:lnTo>
                      <a:pt x="437" y="560"/>
                    </a:lnTo>
                    <a:lnTo>
                      <a:pt x="437" y="562"/>
                    </a:lnTo>
                    <a:lnTo>
                      <a:pt x="437" y="562"/>
                    </a:lnTo>
                    <a:lnTo>
                      <a:pt x="435" y="566"/>
                    </a:lnTo>
                    <a:lnTo>
                      <a:pt x="435" y="566"/>
                    </a:lnTo>
                    <a:lnTo>
                      <a:pt x="435" y="580"/>
                    </a:lnTo>
                    <a:lnTo>
                      <a:pt x="433" y="583"/>
                    </a:lnTo>
                    <a:lnTo>
                      <a:pt x="430" y="587"/>
                    </a:lnTo>
                    <a:lnTo>
                      <a:pt x="428" y="587"/>
                    </a:lnTo>
                    <a:lnTo>
                      <a:pt x="422" y="585"/>
                    </a:lnTo>
                    <a:lnTo>
                      <a:pt x="420" y="587"/>
                    </a:lnTo>
                    <a:lnTo>
                      <a:pt x="418" y="591"/>
                    </a:lnTo>
                    <a:lnTo>
                      <a:pt x="416" y="591"/>
                    </a:lnTo>
                    <a:lnTo>
                      <a:pt x="412" y="591"/>
                    </a:lnTo>
                    <a:lnTo>
                      <a:pt x="396" y="589"/>
                    </a:lnTo>
                    <a:lnTo>
                      <a:pt x="392" y="587"/>
                    </a:lnTo>
                    <a:lnTo>
                      <a:pt x="388" y="583"/>
                    </a:lnTo>
                    <a:lnTo>
                      <a:pt x="387" y="578"/>
                    </a:lnTo>
                    <a:lnTo>
                      <a:pt x="388" y="576"/>
                    </a:lnTo>
                    <a:lnTo>
                      <a:pt x="394" y="576"/>
                    </a:lnTo>
                    <a:lnTo>
                      <a:pt x="394" y="574"/>
                    </a:lnTo>
                    <a:lnTo>
                      <a:pt x="394" y="570"/>
                    </a:lnTo>
                    <a:lnTo>
                      <a:pt x="390" y="568"/>
                    </a:lnTo>
                    <a:lnTo>
                      <a:pt x="390" y="566"/>
                    </a:lnTo>
                    <a:lnTo>
                      <a:pt x="394" y="564"/>
                    </a:lnTo>
                    <a:lnTo>
                      <a:pt x="398" y="564"/>
                    </a:lnTo>
                    <a:lnTo>
                      <a:pt x="398" y="562"/>
                    </a:lnTo>
                    <a:lnTo>
                      <a:pt x="387" y="546"/>
                    </a:lnTo>
                    <a:lnTo>
                      <a:pt x="387" y="544"/>
                    </a:lnTo>
                    <a:lnTo>
                      <a:pt x="385" y="544"/>
                    </a:lnTo>
                    <a:lnTo>
                      <a:pt x="383" y="542"/>
                    </a:lnTo>
                    <a:lnTo>
                      <a:pt x="379" y="544"/>
                    </a:lnTo>
                    <a:lnTo>
                      <a:pt x="373" y="556"/>
                    </a:lnTo>
                    <a:lnTo>
                      <a:pt x="367" y="558"/>
                    </a:lnTo>
                    <a:lnTo>
                      <a:pt x="353" y="558"/>
                    </a:lnTo>
                    <a:lnTo>
                      <a:pt x="344" y="554"/>
                    </a:lnTo>
                    <a:lnTo>
                      <a:pt x="340" y="556"/>
                    </a:lnTo>
                    <a:lnTo>
                      <a:pt x="338" y="560"/>
                    </a:lnTo>
                    <a:lnTo>
                      <a:pt x="336" y="572"/>
                    </a:lnTo>
                    <a:lnTo>
                      <a:pt x="332" y="578"/>
                    </a:lnTo>
                    <a:lnTo>
                      <a:pt x="326" y="585"/>
                    </a:lnTo>
                    <a:lnTo>
                      <a:pt x="318" y="591"/>
                    </a:lnTo>
                    <a:lnTo>
                      <a:pt x="310" y="591"/>
                    </a:lnTo>
                    <a:lnTo>
                      <a:pt x="297" y="587"/>
                    </a:lnTo>
                    <a:lnTo>
                      <a:pt x="289" y="585"/>
                    </a:lnTo>
                    <a:lnTo>
                      <a:pt x="281" y="587"/>
                    </a:lnTo>
                    <a:lnTo>
                      <a:pt x="281" y="587"/>
                    </a:lnTo>
                    <a:lnTo>
                      <a:pt x="277" y="589"/>
                    </a:lnTo>
                    <a:lnTo>
                      <a:pt x="275" y="591"/>
                    </a:lnTo>
                    <a:lnTo>
                      <a:pt x="275" y="593"/>
                    </a:lnTo>
                    <a:lnTo>
                      <a:pt x="275" y="595"/>
                    </a:lnTo>
                    <a:lnTo>
                      <a:pt x="275" y="597"/>
                    </a:lnTo>
                    <a:lnTo>
                      <a:pt x="273" y="599"/>
                    </a:lnTo>
                    <a:lnTo>
                      <a:pt x="271" y="601"/>
                    </a:lnTo>
                    <a:lnTo>
                      <a:pt x="269" y="601"/>
                    </a:lnTo>
                    <a:lnTo>
                      <a:pt x="269" y="601"/>
                    </a:lnTo>
                    <a:lnTo>
                      <a:pt x="271" y="607"/>
                    </a:lnTo>
                    <a:lnTo>
                      <a:pt x="273" y="613"/>
                    </a:lnTo>
                    <a:lnTo>
                      <a:pt x="275" y="617"/>
                    </a:lnTo>
                    <a:lnTo>
                      <a:pt x="275" y="622"/>
                    </a:lnTo>
                    <a:lnTo>
                      <a:pt x="275" y="630"/>
                    </a:lnTo>
                    <a:lnTo>
                      <a:pt x="275" y="630"/>
                    </a:lnTo>
                    <a:lnTo>
                      <a:pt x="273" y="636"/>
                    </a:lnTo>
                    <a:lnTo>
                      <a:pt x="271" y="636"/>
                    </a:lnTo>
                    <a:lnTo>
                      <a:pt x="260" y="638"/>
                    </a:lnTo>
                    <a:lnTo>
                      <a:pt x="258" y="638"/>
                    </a:lnTo>
                    <a:lnTo>
                      <a:pt x="254" y="636"/>
                    </a:lnTo>
                    <a:lnTo>
                      <a:pt x="252" y="630"/>
                    </a:lnTo>
                    <a:lnTo>
                      <a:pt x="252" y="630"/>
                    </a:lnTo>
                    <a:lnTo>
                      <a:pt x="252" y="630"/>
                    </a:lnTo>
                    <a:lnTo>
                      <a:pt x="250" y="630"/>
                    </a:lnTo>
                    <a:lnTo>
                      <a:pt x="246" y="632"/>
                    </a:lnTo>
                    <a:lnTo>
                      <a:pt x="236" y="636"/>
                    </a:lnTo>
                    <a:lnTo>
                      <a:pt x="226" y="640"/>
                    </a:lnTo>
                    <a:lnTo>
                      <a:pt x="209" y="658"/>
                    </a:lnTo>
                    <a:lnTo>
                      <a:pt x="203" y="660"/>
                    </a:lnTo>
                    <a:lnTo>
                      <a:pt x="195" y="660"/>
                    </a:lnTo>
                    <a:lnTo>
                      <a:pt x="191" y="660"/>
                    </a:lnTo>
                    <a:lnTo>
                      <a:pt x="185" y="660"/>
                    </a:lnTo>
                    <a:lnTo>
                      <a:pt x="181" y="658"/>
                    </a:lnTo>
                    <a:lnTo>
                      <a:pt x="179" y="656"/>
                    </a:lnTo>
                    <a:lnTo>
                      <a:pt x="178" y="648"/>
                    </a:lnTo>
                    <a:lnTo>
                      <a:pt x="172" y="642"/>
                    </a:lnTo>
                    <a:lnTo>
                      <a:pt x="168" y="640"/>
                    </a:lnTo>
                    <a:lnTo>
                      <a:pt x="162" y="640"/>
                    </a:lnTo>
                    <a:lnTo>
                      <a:pt x="152" y="646"/>
                    </a:lnTo>
                    <a:lnTo>
                      <a:pt x="146" y="648"/>
                    </a:lnTo>
                    <a:lnTo>
                      <a:pt x="136" y="648"/>
                    </a:lnTo>
                    <a:lnTo>
                      <a:pt x="133" y="648"/>
                    </a:lnTo>
                    <a:lnTo>
                      <a:pt x="129" y="644"/>
                    </a:lnTo>
                    <a:lnTo>
                      <a:pt x="125" y="644"/>
                    </a:lnTo>
                    <a:lnTo>
                      <a:pt x="123" y="644"/>
                    </a:lnTo>
                    <a:lnTo>
                      <a:pt x="109" y="652"/>
                    </a:lnTo>
                    <a:lnTo>
                      <a:pt x="109" y="652"/>
                    </a:lnTo>
                    <a:lnTo>
                      <a:pt x="107" y="652"/>
                    </a:lnTo>
                    <a:lnTo>
                      <a:pt x="105" y="650"/>
                    </a:lnTo>
                    <a:lnTo>
                      <a:pt x="103" y="648"/>
                    </a:lnTo>
                    <a:lnTo>
                      <a:pt x="101" y="650"/>
                    </a:lnTo>
                    <a:lnTo>
                      <a:pt x="97" y="652"/>
                    </a:lnTo>
                    <a:lnTo>
                      <a:pt x="88" y="654"/>
                    </a:lnTo>
                    <a:lnTo>
                      <a:pt x="80" y="658"/>
                    </a:lnTo>
                    <a:lnTo>
                      <a:pt x="76" y="658"/>
                    </a:lnTo>
                    <a:lnTo>
                      <a:pt x="74" y="656"/>
                    </a:lnTo>
                    <a:lnTo>
                      <a:pt x="58" y="648"/>
                    </a:lnTo>
                    <a:lnTo>
                      <a:pt x="52" y="646"/>
                    </a:lnTo>
                    <a:lnTo>
                      <a:pt x="52" y="654"/>
                    </a:lnTo>
                    <a:lnTo>
                      <a:pt x="54" y="662"/>
                    </a:lnTo>
                    <a:lnTo>
                      <a:pt x="54" y="662"/>
                    </a:lnTo>
                    <a:lnTo>
                      <a:pt x="56" y="667"/>
                    </a:lnTo>
                    <a:lnTo>
                      <a:pt x="56" y="667"/>
                    </a:lnTo>
                    <a:lnTo>
                      <a:pt x="58" y="675"/>
                    </a:lnTo>
                    <a:lnTo>
                      <a:pt x="60" y="681"/>
                    </a:lnTo>
                    <a:lnTo>
                      <a:pt x="60" y="689"/>
                    </a:lnTo>
                    <a:lnTo>
                      <a:pt x="62" y="695"/>
                    </a:lnTo>
                    <a:lnTo>
                      <a:pt x="62" y="695"/>
                    </a:lnTo>
                    <a:lnTo>
                      <a:pt x="66" y="701"/>
                    </a:lnTo>
                    <a:lnTo>
                      <a:pt x="66" y="701"/>
                    </a:lnTo>
                    <a:lnTo>
                      <a:pt x="66" y="701"/>
                    </a:lnTo>
                    <a:lnTo>
                      <a:pt x="66" y="718"/>
                    </a:lnTo>
                    <a:lnTo>
                      <a:pt x="70" y="738"/>
                    </a:lnTo>
                    <a:lnTo>
                      <a:pt x="84" y="783"/>
                    </a:lnTo>
                    <a:lnTo>
                      <a:pt x="92" y="798"/>
                    </a:lnTo>
                    <a:lnTo>
                      <a:pt x="94" y="802"/>
                    </a:lnTo>
                    <a:lnTo>
                      <a:pt x="95" y="808"/>
                    </a:lnTo>
                    <a:lnTo>
                      <a:pt x="99" y="822"/>
                    </a:lnTo>
                    <a:lnTo>
                      <a:pt x="103" y="833"/>
                    </a:lnTo>
                    <a:lnTo>
                      <a:pt x="105" y="841"/>
                    </a:lnTo>
                    <a:lnTo>
                      <a:pt x="109" y="845"/>
                    </a:lnTo>
                    <a:lnTo>
                      <a:pt x="109" y="847"/>
                    </a:lnTo>
                    <a:lnTo>
                      <a:pt x="109" y="849"/>
                    </a:lnTo>
                    <a:lnTo>
                      <a:pt x="111" y="851"/>
                    </a:lnTo>
                    <a:lnTo>
                      <a:pt x="111" y="853"/>
                    </a:lnTo>
                    <a:lnTo>
                      <a:pt x="113" y="859"/>
                    </a:lnTo>
                    <a:lnTo>
                      <a:pt x="115" y="861"/>
                    </a:lnTo>
                    <a:lnTo>
                      <a:pt x="117" y="861"/>
                    </a:lnTo>
                    <a:lnTo>
                      <a:pt x="119" y="863"/>
                    </a:lnTo>
                    <a:lnTo>
                      <a:pt x="121" y="867"/>
                    </a:lnTo>
                    <a:lnTo>
                      <a:pt x="121" y="867"/>
                    </a:lnTo>
                    <a:lnTo>
                      <a:pt x="121" y="867"/>
                    </a:lnTo>
                    <a:lnTo>
                      <a:pt x="121" y="870"/>
                    </a:lnTo>
                    <a:lnTo>
                      <a:pt x="121" y="874"/>
                    </a:lnTo>
                    <a:lnTo>
                      <a:pt x="121" y="874"/>
                    </a:lnTo>
                    <a:lnTo>
                      <a:pt x="119" y="878"/>
                    </a:lnTo>
                    <a:lnTo>
                      <a:pt x="117" y="880"/>
                    </a:lnTo>
                    <a:lnTo>
                      <a:pt x="117" y="880"/>
                    </a:lnTo>
                    <a:lnTo>
                      <a:pt x="117" y="882"/>
                    </a:lnTo>
                    <a:lnTo>
                      <a:pt x="115" y="884"/>
                    </a:lnTo>
                    <a:lnTo>
                      <a:pt x="115" y="888"/>
                    </a:lnTo>
                    <a:lnTo>
                      <a:pt x="115" y="890"/>
                    </a:lnTo>
                    <a:lnTo>
                      <a:pt x="115" y="892"/>
                    </a:lnTo>
                    <a:lnTo>
                      <a:pt x="117" y="894"/>
                    </a:lnTo>
                    <a:lnTo>
                      <a:pt x="121" y="900"/>
                    </a:lnTo>
                    <a:lnTo>
                      <a:pt x="121" y="902"/>
                    </a:lnTo>
                    <a:lnTo>
                      <a:pt x="123" y="902"/>
                    </a:lnTo>
                    <a:lnTo>
                      <a:pt x="123" y="906"/>
                    </a:lnTo>
                    <a:lnTo>
                      <a:pt x="125" y="908"/>
                    </a:lnTo>
                    <a:lnTo>
                      <a:pt x="125" y="908"/>
                    </a:lnTo>
                    <a:lnTo>
                      <a:pt x="123" y="911"/>
                    </a:lnTo>
                    <a:lnTo>
                      <a:pt x="123" y="913"/>
                    </a:lnTo>
                    <a:lnTo>
                      <a:pt x="125" y="917"/>
                    </a:lnTo>
                    <a:lnTo>
                      <a:pt x="125" y="921"/>
                    </a:lnTo>
                    <a:lnTo>
                      <a:pt x="125" y="921"/>
                    </a:lnTo>
                    <a:lnTo>
                      <a:pt x="125" y="923"/>
                    </a:lnTo>
                    <a:lnTo>
                      <a:pt x="125" y="923"/>
                    </a:lnTo>
                    <a:lnTo>
                      <a:pt x="125" y="925"/>
                    </a:lnTo>
                    <a:lnTo>
                      <a:pt x="123" y="927"/>
                    </a:lnTo>
                    <a:lnTo>
                      <a:pt x="123" y="929"/>
                    </a:lnTo>
                    <a:lnTo>
                      <a:pt x="123" y="931"/>
                    </a:lnTo>
                    <a:lnTo>
                      <a:pt x="123" y="933"/>
                    </a:lnTo>
                    <a:lnTo>
                      <a:pt x="123" y="935"/>
                    </a:lnTo>
                    <a:lnTo>
                      <a:pt x="123" y="935"/>
                    </a:lnTo>
                    <a:lnTo>
                      <a:pt x="123" y="937"/>
                    </a:lnTo>
                    <a:lnTo>
                      <a:pt x="125" y="939"/>
                    </a:lnTo>
                    <a:lnTo>
                      <a:pt x="125" y="972"/>
                    </a:lnTo>
                    <a:lnTo>
                      <a:pt x="127" y="980"/>
                    </a:lnTo>
                    <a:lnTo>
                      <a:pt x="123" y="992"/>
                    </a:lnTo>
                    <a:lnTo>
                      <a:pt x="121" y="995"/>
                    </a:lnTo>
                    <a:lnTo>
                      <a:pt x="117" y="999"/>
                    </a:lnTo>
                    <a:lnTo>
                      <a:pt x="105" y="1007"/>
                    </a:lnTo>
                    <a:lnTo>
                      <a:pt x="95" y="1015"/>
                    </a:lnTo>
                    <a:lnTo>
                      <a:pt x="66" y="1023"/>
                    </a:lnTo>
                    <a:lnTo>
                      <a:pt x="66" y="1025"/>
                    </a:lnTo>
                    <a:lnTo>
                      <a:pt x="52" y="1033"/>
                    </a:lnTo>
                    <a:lnTo>
                      <a:pt x="41" y="1040"/>
                    </a:lnTo>
                    <a:lnTo>
                      <a:pt x="37" y="1044"/>
                    </a:lnTo>
                    <a:lnTo>
                      <a:pt x="17" y="1075"/>
                    </a:lnTo>
                    <a:lnTo>
                      <a:pt x="17" y="1075"/>
                    </a:lnTo>
                    <a:lnTo>
                      <a:pt x="17" y="1075"/>
                    </a:lnTo>
                    <a:lnTo>
                      <a:pt x="10" y="1083"/>
                    </a:lnTo>
                    <a:lnTo>
                      <a:pt x="8" y="1087"/>
                    </a:lnTo>
                    <a:lnTo>
                      <a:pt x="8" y="1089"/>
                    </a:lnTo>
                    <a:lnTo>
                      <a:pt x="0" y="1105"/>
                    </a:lnTo>
                    <a:lnTo>
                      <a:pt x="0" y="1105"/>
                    </a:lnTo>
                    <a:lnTo>
                      <a:pt x="0" y="1105"/>
                    </a:lnTo>
                    <a:lnTo>
                      <a:pt x="0" y="1105"/>
                    </a:lnTo>
                    <a:lnTo>
                      <a:pt x="0" y="1105"/>
                    </a:lnTo>
                    <a:lnTo>
                      <a:pt x="0" y="1105"/>
                    </a:lnTo>
                    <a:lnTo>
                      <a:pt x="2" y="1105"/>
                    </a:lnTo>
                    <a:lnTo>
                      <a:pt x="2" y="1107"/>
                    </a:lnTo>
                    <a:lnTo>
                      <a:pt x="4" y="1109"/>
                    </a:lnTo>
                    <a:lnTo>
                      <a:pt x="4" y="1113"/>
                    </a:lnTo>
                    <a:lnTo>
                      <a:pt x="4" y="1118"/>
                    </a:lnTo>
                    <a:lnTo>
                      <a:pt x="8" y="1120"/>
                    </a:lnTo>
                    <a:lnTo>
                      <a:pt x="17" y="1122"/>
                    </a:lnTo>
                    <a:lnTo>
                      <a:pt x="19" y="1122"/>
                    </a:lnTo>
                    <a:lnTo>
                      <a:pt x="21" y="1122"/>
                    </a:lnTo>
                    <a:lnTo>
                      <a:pt x="21" y="1122"/>
                    </a:lnTo>
                    <a:lnTo>
                      <a:pt x="23" y="1124"/>
                    </a:lnTo>
                    <a:lnTo>
                      <a:pt x="23" y="1124"/>
                    </a:lnTo>
                    <a:lnTo>
                      <a:pt x="31" y="1126"/>
                    </a:lnTo>
                    <a:lnTo>
                      <a:pt x="35" y="1128"/>
                    </a:lnTo>
                    <a:lnTo>
                      <a:pt x="35" y="1128"/>
                    </a:lnTo>
                    <a:lnTo>
                      <a:pt x="37" y="1128"/>
                    </a:lnTo>
                    <a:lnTo>
                      <a:pt x="37" y="1130"/>
                    </a:lnTo>
                    <a:lnTo>
                      <a:pt x="37" y="1132"/>
                    </a:lnTo>
                    <a:lnTo>
                      <a:pt x="37" y="1132"/>
                    </a:lnTo>
                    <a:lnTo>
                      <a:pt x="37" y="1134"/>
                    </a:lnTo>
                    <a:lnTo>
                      <a:pt x="39" y="1132"/>
                    </a:lnTo>
                    <a:lnTo>
                      <a:pt x="39" y="1132"/>
                    </a:lnTo>
                    <a:lnTo>
                      <a:pt x="41" y="1132"/>
                    </a:lnTo>
                    <a:lnTo>
                      <a:pt x="41" y="1134"/>
                    </a:lnTo>
                    <a:lnTo>
                      <a:pt x="43" y="1134"/>
                    </a:lnTo>
                    <a:lnTo>
                      <a:pt x="43" y="1136"/>
                    </a:lnTo>
                    <a:lnTo>
                      <a:pt x="45" y="1136"/>
                    </a:lnTo>
                    <a:lnTo>
                      <a:pt x="47" y="1134"/>
                    </a:lnTo>
                    <a:lnTo>
                      <a:pt x="47" y="1132"/>
                    </a:lnTo>
                    <a:lnTo>
                      <a:pt x="47" y="1132"/>
                    </a:lnTo>
                    <a:lnTo>
                      <a:pt x="47" y="1132"/>
                    </a:lnTo>
                    <a:lnTo>
                      <a:pt x="47" y="1134"/>
                    </a:lnTo>
                    <a:lnTo>
                      <a:pt x="47" y="1134"/>
                    </a:lnTo>
                    <a:lnTo>
                      <a:pt x="49" y="1134"/>
                    </a:lnTo>
                    <a:lnTo>
                      <a:pt x="49" y="1136"/>
                    </a:lnTo>
                    <a:lnTo>
                      <a:pt x="51" y="1136"/>
                    </a:lnTo>
                    <a:lnTo>
                      <a:pt x="52" y="1134"/>
                    </a:lnTo>
                    <a:lnTo>
                      <a:pt x="52" y="1134"/>
                    </a:lnTo>
                    <a:lnTo>
                      <a:pt x="52" y="1134"/>
                    </a:lnTo>
                    <a:lnTo>
                      <a:pt x="52" y="1134"/>
                    </a:lnTo>
                    <a:lnTo>
                      <a:pt x="54" y="1136"/>
                    </a:lnTo>
                    <a:lnTo>
                      <a:pt x="52" y="1138"/>
                    </a:lnTo>
                    <a:lnTo>
                      <a:pt x="52" y="1140"/>
                    </a:lnTo>
                    <a:lnTo>
                      <a:pt x="52" y="1140"/>
                    </a:lnTo>
                    <a:lnTo>
                      <a:pt x="56" y="1150"/>
                    </a:lnTo>
                    <a:lnTo>
                      <a:pt x="58" y="1150"/>
                    </a:lnTo>
                    <a:lnTo>
                      <a:pt x="60" y="1150"/>
                    </a:lnTo>
                    <a:lnTo>
                      <a:pt x="62" y="1150"/>
                    </a:lnTo>
                    <a:lnTo>
                      <a:pt x="68" y="1150"/>
                    </a:lnTo>
                    <a:lnTo>
                      <a:pt x="70" y="1152"/>
                    </a:lnTo>
                    <a:lnTo>
                      <a:pt x="72" y="1152"/>
                    </a:lnTo>
                    <a:lnTo>
                      <a:pt x="72" y="1152"/>
                    </a:lnTo>
                    <a:lnTo>
                      <a:pt x="72" y="1152"/>
                    </a:lnTo>
                    <a:lnTo>
                      <a:pt x="72" y="1154"/>
                    </a:lnTo>
                    <a:lnTo>
                      <a:pt x="74" y="1156"/>
                    </a:lnTo>
                    <a:lnTo>
                      <a:pt x="74" y="1157"/>
                    </a:lnTo>
                    <a:lnTo>
                      <a:pt x="76" y="1157"/>
                    </a:lnTo>
                    <a:lnTo>
                      <a:pt x="76" y="1159"/>
                    </a:lnTo>
                    <a:lnTo>
                      <a:pt x="78" y="1159"/>
                    </a:lnTo>
                    <a:lnTo>
                      <a:pt x="78" y="1159"/>
                    </a:lnTo>
                    <a:lnTo>
                      <a:pt x="78" y="1163"/>
                    </a:lnTo>
                    <a:lnTo>
                      <a:pt x="80" y="1165"/>
                    </a:lnTo>
                    <a:lnTo>
                      <a:pt x="80" y="1167"/>
                    </a:lnTo>
                    <a:lnTo>
                      <a:pt x="80" y="1169"/>
                    </a:lnTo>
                    <a:lnTo>
                      <a:pt x="82" y="1179"/>
                    </a:lnTo>
                    <a:lnTo>
                      <a:pt x="84" y="1183"/>
                    </a:lnTo>
                    <a:lnTo>
                      <a:pt x="84" y="1185"/>
                    </a:lnTo>
                    <a:lnTo>
                      <a:pt x="84" y="1185"/>
                    </a:lnTo>
                    <a:lnTo>
                      <a:pt x="84" y="1185"/>
                    </a:lnTo>
                    <a:lnTo>
                      <a:pt x="82" y="1187"/>
                    </a:lnTo>
                    <a:lnTo>
                      <a:pt x="80" y="1191"/>
                    </a:lnTo>
                    <a:lnTo>
                      <a:pt x="80" y="1191"/>
                    </a:lnTo>
                    <a:lnTo>
                      <a:pt x="78" y="1195"/>
                    </a:lnTo>
                    <a:lnTo>
                      <a:pt x="76" y="1197"/>
                    </a:lnTo>
                    <a:lnTo>
                      <a:pt x="76" y="1202"/>
                    </a:lnTo>
                    <a:lnTo>
                      <a:pt x="76" y="1210"/>
                    </a:lnTo>
                    <a:lnTo>
                      <a:pt x="74" y="1214"/>
                    </a:lnTo>
                    <a:lnTo>
                      <a:pt x="74" y="1214"/>
                    </a:lnTo>
                    <a:lnTo>
                      <a:pt x="74" y="1214"/>
                    </a:lnTo>
                    <a:lnTo>
                      <a:pt x="76" y="1214"/>
                    </a:lnTo>
                    <a:lnTo>
                      <a:pt x="76" y="1214"/>
                    </a:lnTo>
                    <a:lnTo>
                      <a:pt x="76" y="1214"/>
                    </a:lnTo>
                    <a:lnTo>
                      <a:pt x="76" y="1216"/>
                    </a:lnTo>
                    <a:lnTo>
                      <a:pt x="76" y="1216"/>
                    </a:lnTo>
                    <a:lnTo>
                      <a:pt x="76" y="1216"/>
                    </a:lnTo>
                    <a:lnTo>
                      <a:pt x="76" y="1216"/>
                    </a:lnTo>
                    <a:lnTo>
                      <a:pt x="74" y="1218"/>
                    </a:lnTo>
                    <a:lnTo>
                      <a:pt x="72" y="1224"/>
                    </a:lnTo>
                    <a:lnTo>
                      <a:pt x="72" y="1224"/>
                    </a:lnTo>
                    <a:lnTo>
                      <a:pt x="70" y="1226"/>
                    </a:lnTo>
                    <a:lnTo>
                      <a:pt x="72" y="1230"/>
                    </a:lnTo>
                    <a:lnTo>
                      <a:pt x="74" y="1230"/>
                    </a:lnTo>
                    <a:lnTo>
                      <a:pt x="76" y="1232"/>
                    </a:lnTo>
                    <a:lnTo>
                      <a:pt x="76" y="1234"/>
                    </a:lnTo>
                    <a:lnTo>
                      <a:pt x="76" y="1236"/>
                    </a:lnTo>
                    <a:lnTo>
                      <a:pt x="74" y="1241"/>
                    </a:lnTo>
                    <a:lnTo>
                      <a:pt x="72" y="1243"/>
                    </a:lnTo>
                    <a:lnTo>
                      <a:pt x="72" y="1243"/>
                    </a:lnTo>
                    <a:lnTo>
                      <a:pt x="72" y="1243"/>
                    </a:lnTo>
                    <a:lnTo>
                      <a:pt x="72" y="1243"/>
                    </a:lnTo>
                    <a:lnTo>
                      <a:pt x="70" y="1243"/>
                    </a:lnTo>
                    <a:lnTo>
                      <a:pt x="68" y="1245"/>
                    </a:lnTo>
                    <a:lnTo>
                      <a:pt x="66" y="1249"/>
                    </a:lnTo>
                    <a:lnTo>
                      <a:pt x="64" y="1251"/>
                    </a:lnTo>
                    <a:lnTo>
                      <a:pt x="64" y="1253"/>
                    </a:lnTo>
                    <a:lnTo>
                      <a:pt x="64" y="1255"/>
                    </a:lnTo>
                    <a:lnTo>
                      <a:pt x="62" y="1261"/>
                    </a:lnTo>
                    <a:lnTo>
                      <a:pt x="64" y="1261"/>
                    </a:lnTo>
                    <a:lnTo>
                      <a:pt x="64" y="1263"/>
                    </a:lnTo>
                    <a:lnTo>
                      <a:pt x="64" y="1265"/>
                    </a:lnTo>
                    <a:lnTo>
                      <a:pt x="64" y="1265"/>
                    </a:lnTo>
                    <a:lnTo>
                      <a:pt x="64" y="1265"/>
                    </a:lnTo>
                    <a:lnTo>
                      <a:pt x="64" y="1265"/>
                    </a:lnTo>
                    <a:lnTo>
                      <a:pt x="64" y="1267"/>
                    </a:lnTo>
                    <a:lnTo>
                      <a:pt x="62" y="1267"/>
                    </a:lnTo>
                    <a:lnTo>
                      <a:pt x="64" y="1269"/>
                    </a:lnTo>
                    <a:lnTo>
                      <a:pt x="64" y="1269"/>
                    </a:lnTo>
                    <a:lnTo>
                      <a:pt x="64" y="1271"/>
                    </a:lnTo>
                    <a:lnTo>
                      <a:pt x="66" y="1271"/>
                    </a:lnTo>
                    <a:lnTo>
                      <a:pt x="64" y="1273"/>
                    </a:lnTo>
                    <a:lnTo>
                      <a:pt x="62" y="1275"/>
                    </a:lnTo>
                    <a:lnTo>
                      <a:pt x="62" y="1275"/>
                    </a:lnTo>
                    <a:lnTo>
                      <a:pt x="62" y="1275"/>
                    </a:lnTo>
                    <a:lnTo>
                      <a:pt x="62" y="1275"/>
                    </a:lnTo>
                    <a:lnTo>
                      <a:pt x="62" y="1275"/>
                    </a:lnTo>
                    <a:lnTo>
                      <a:pt x="60" y="1275"/>
                    </a:lnTo>
                    <a:lnTo>
                      <a:pt x="60" y="1277"/>
                    </a:lnTo>
                    <a:lnTo>
                      <a:pt x="62" y="1279"/>
                    </a:lnTo>
                    <a:lnTo>
                      <a:pt x="62" y="1279"/>
                    </a:lnTo>
                    <a:lnTo>
                      <a:pt x="62" y="1280"/>
                    </a:lnTo>
                    <a:lnTo>
                      <a:pt x="62" y="1282"/>
                    </a:lnTo>
                    <a:lnTo>
                      <a:pt x="62" y="1288"/>
                    </a:lnTo>
                    <a:lnTo>
                      <a:pt x="62" y="1288"/>
                    </a:lnTo>
                    <a:lnTo>
                      <a:pt x="62" y="1292"/>
                    </a:lnTo>
                    <a:lnTo>
                      <a:pt x="64" y="1296"/>
                    </a:lnTo>
                    <a:lnTo>
                      <a:pt x="64" y="1296"/>
                    </a:lnTo>
                    <a:lnTo>
                      <a:pt x="68" y="1302"/>
                    </a:lnTo>
                    <a:lnTo>
                      <a:pt x="68" y="1302"/>
                    </a:lnTo>
                    <a:lnTo>
                      <a:pt x="68" y="1302"/>
                    </a:lnTo>
                    <a:lnTo>
                      <a:pt x="66" y="1302"/>
                    </a:lnTo>
                    <a:lnTo>
                      <a:pt x="66" y="1302"/>
                    </a:lnTo>
                    <a:lnTo>
                      <a:pt x="66" y="1302"/>
                    </a:lnTo>
                    <a:lnTo>
                      <a:pt x="66" y="1302"/>
                    </a:lnTo>
                    <a:lnTo>
                      <a:pt x="68" y="1308"/>
                    </a:lnTo>
                    <a:lnTo>
                      <a:pt x="68" y="1308"/>
                    </a:lnTo>
                    <a:lnTo>
                      <a:pt x="70" y="1308"/>
                    </a:lnTo>
                    <a:lnTo>
                      <a:pt x="72" y="1310"/>
                    </a:lnTo>
                    <a:lnTo>
                      <a:pt x="72" y="1314"/>
                    </a:lnTo>
                    <a:lnTo>
                      <a:pt x="74" y="1314"/>
                    </a:lnTo>
                    <a:lnTo>
                      <a:pt x="74" y="1314"/>
                    </a:lnTo>
                    <a:lnTo>
                      <a:pt x="74" y="1314"/>
                    </a:lnTo>
                    <a:lnTo>
                      <a:pt x="76" y="1314"/>
                    </a:lnTo>
                    <a:lnTo>
                      <a:pt x="76" y="1310"/>
                    </a:lnTo>
                    <a:lnTo>
                      <a:pt x="76" y="1310"/>
                    </a:lnTo>
                    <a:lnTo>
                      <a:pt x="76" y="1306"/>
                    </a:lnTo>
                    <a:lnTo>
                      <a:pt x="74" y="1298"/>
                    </a:lnTo>
                    <a:lnTo>
                      <a:pt x="72" y="1294"/>
                    </a:lnTo>
                    <a:lnTo>
                      <a:pt x="70" y="1292"/>
                    </a:lnTo>
                    <a:lnTo>
                      <a:pt x="70" y="1290"/>
                    </a:lnTo>
                    <a:lnTo>
                      <a:pt x="70" y="1290"/>
                    </a:lnTo>
                    <a:lnTo>
                      <a:pt x="72" y="1286"/>
                    </a:lnTo>
                    <a:lnTo>
                      <a:pt x="74" y="1286"/>
                    </a:lnTo>
                    <a:lnTo>
                      <a:pt x="74" y="1284"/>
                    </a:lnTo>
                    <a:lnTo>
                      <a:pt x="76" y="1282"/>
                    </a:lnTo>
                    <a:lnTo>
                      <a:pt x="94" y="1279"/>
                    </a:lnTo>
                    <a:lnTo>
                      <a:pt x="95" y="1279"/>
                    </a:lnTo>
                    <a:lnTo>
                      <a:pt x="97" y="1279"/>
                    </a:lnTo>
                    <a:lnTo>
                      <a:pt x="107" y="1282"/>
                    </a:lnTo>
                    <a:lnTo>
                      <a:pt x="109" y="1282"/>
                    </a:lnTo>
                    <a:lnTo>
                      <a:pt x="113" y="1282"/>
                    </a:lnTo>
                    <a:lnTo>
                      <a:pt x="115" y="1284"/>
                    </a:lnTo>
                    <a:lnTo>
                      <a:pt x="119" y="1286"/>
                    </a:lnTo>
                    <a:lnTo>
                      <a:pt x="119" y="1286"/>
                    </a:lnTo>
                    <a:lnTo>
                      <a:pt x="119" y="1286"/>
                    </a:lnTo>
                    <a:lnTo>
                      <a:pt x="119" y="1286"/>
                    </a:lnTo>
                    <a:lnTo>
                      <a:pt x="125" y="1290"/>
                    </a:lnTo>
                    <a:lnTo>
                      <a:pt x="129" y="1296"/>
                    </a:lnTo>
                    <a:lnTo>
                      <a:pt x="129" y="1296"/>
                    </a:lnTo>
                    <a:lnTo>
                      <a:pt x="136" y="1294"/>
                    </a:lnTo>
                    <a:lnTo>
                      <a:pt x="160" y="1273"/>
                    </a:lnTo>
                    <a:lnTo>
                      <a:pt x="178" y="1261"/>
                    </a:lnTo>
                    <a:lnTo>
                      <a:pt x="179" y="1259"/>
                    </a:lnTo>
                    <a:lnTo>
                      <a:pt x="183" y="1253"/>
                    </a:lnTo>
                    <a:lnTo>
                      <a:pt x="189" y="1236"/>
                    </a:lnTo>
                    <a:lnTo>
                      <a:pt x="189" y="1234"/>
                    </a:lnTo>
                    <a:lnTo>
                      <a:pt x="191" y="1230"/>
                    </a:lnTo>
                    <a:lnTo>
                      <a:pt x="197" y="1220"/>
                    </a:lnTo>
                    <a:lnTo>
                      <a:pt x="199" y="1218"/>
                    </a:lnTo>
                    <a:lnTo>
                      <a:pt x="201" y="1216"/>
                    </a:lnTo>
                    <a:lnTo>
                      <a:pt x="205" y="1216"/>
                    </a:lnTo>
                    <a:lnTo>
                      <a:pt x="246" y="1212"/>
                    </a:lnTo>
                    <a:lnTo>
                      <a:pt x="246" y="1212"/>
                    </a:lnTo>
                    <a:lnTo>
                      <a:pt x="246" y="1212"/>
                    </a:lnTo>
                    <a:lnTo>
                      <a:pt x="256" y="1214"/>
                    </a:lnTo>
                    <a:lnTo>
                      <a:pt x="260" y="1214"/>
                    </a:lnTo>
                    <a:lnTo>
                      <a:pt x="306" y="1206"/>
                    </a:lnTo>
                    <a:lnTo>
                      <a:pt x="312" y="1204"/>
                    </a:lnTo>
                    <a:lnTo>
                      <a:pt x="322" y="1198"/>
                    </a:lnTo>
                    <a:lnTo>
                      <a:pt x="326" y="1198"/>
                    </a:lnTo>
                    <a:lnTo>
                      <a:pt x="330" y="1197"/>
                    </a:lnTo>
                    <a:lnTo>
                      <a:pt x="334" y="1197"/>
                    </a:lnTo>
                    <a:lnTo>
                      <a:pt x="338" y="1197"/>
                    </a:lnTo>
                    <a:lnTo>
                      <a:pt x="365" y="1204"/>
                    </a:lnTo>
                    <a:lnTo>
                      <a:pt x="388" y="1204"/>
                    </a:lnTo>
                    <a:lnTo>
                      <a:pt x="398" y="1204"/>
                    </a:lnTo>
                    <a:lnTo>
                      <a:pt x="420" y="1204"/>
                    </a:lnTo>
                    <a:lnTo>
                      <a:pt x="435" y="1202"/>
                    </a:lnTo>
                    <a:lnTo>
                      <a:pt x="435" y="1202"/>
                    </a:lnTo>
                    <a:lnTo>
                      <a:pt x="435" y="1202"/>
                    </a:lnTo>
                    <a:lnTo>
                      <a:pt x="471" y="1208"/>
                    </a:lnTo>
                    <a:lnTo>
                      <a:pt x="482" y="1208"/>
                    </a:lnTo>
                    <a:lnTo>
                      <a:pt x="486" y="1210"/>
                    </a:lnTo>
                    <a:lnTo>
                      <a:pt x="498" y="1220"/>
                    </a:lnTo>
                    <a:lnTo>
                      <a:pt x="502" y="1220"/>
                    </a:lnTo>
                    <a:lnTo>
                      <a:pt x="502" y="1222"/>
                    </a:lnTo>
                    <a:lnTo>
                      <a:pt x="541" y="1224"/>
                    </a:lnTo>
                    <a:lnTo>
                      <a:pt x="541" y="1224"/>
                    </a:lnTo>
                    <a:lnTo>
                      <a:pt x="543" y="1224"/>
                    </a:lnTo>
                    <a:lnTo>
                      <a:pt x="543" y="1224"/>
                    </a:lnTo>
                    <a:lnTo>
                      <a:pt x="543" y="1224"/>
                    </a:lnTo>
                    <a:lnTo>
                      <a:pt x="543" y="1224"/>
                    </a:lnTo>
                    <a:lnTo>
                      <a:pt x="543" y="1226"/>
                    </a:lnTo>
                    <a:lnTo>
                      <a:pt x="543" y="1228"/>
                    </a:lnTo>
                    <a:lnTo>
                      <a:pt x="543" y="1228"/>
                    </a:lnTo>
                    <a:lnTo>
                      <a:pt x="543" y="1230"/>
                    </a:lnTo>
                    <a:lnTo>
                      <a:pt x="543" y="1232"/>
                    </a:lnTo>
                    <a:lnTo>
                      <a:pt x="545" y="1234"/>
                    </a:lnTo>
                    <a:lnTo>
                      <a:pt x="545" y="1234"/>
                    </a:lnTo>
                    <a:lnTo>
                      <a:pt x="547" y="1236"/>
                    </a:lnTo>
                    <a:lnTo>
                      <a:pt x="549" y="1236"/>
                    </a:lnTo>
                    <a:lnTo>
                      <a:pt x="584" y="1238"/>
                    </a:lnTo>
                    <a:lnTo>
                      <a:pt x="617" y="1251"/>
                    </a:lnTo>
                    <a:lnTo>
                      <a:pt x="627" y="1253"/>
                    </a:lnTo>
                    <a:lnTo>
                      <a:pt x="631" y="1251"/>
                    </a:lnTo>
                    <a:lnTo>
                      <a:pt x="644" y="1247"/>
                    </a:lnTo>
                    <a:lnTo>
                      <a:pt x="656" y="1247"/>
                    </a:lnTo>
                    <a:lnTo>
                      <a:pt x="660" y="1247"/>
                    </a:lnTo>
                    <a:lnTo>
                      <a:pt x="666" y="1249"/>
                    </a:lnTo>
                    <a:lnTo>
                      <a:pt x="668" y="1249"/>
                    </a:lnTo>
                    <a:lnTo>
                      <a:pt x="670" y="1251"/>
                    </a:lnTo>
                    <a:lnTo>
                      <a:pt x="672" y="1255"/>
                    </a:lnTo>
                    <a:lnTo>
                      <a:pt x="672" y="1255"/>
                    </a:lnTo>
                    <a:lnTo>
                      <a:pt x="672" y="1261"/>
                    </a:lnTo>
                    <a:lnTo>
                      <a:pt x="672" y="1269"/>
                    </a:lnTo>
                    <a:lnTo>
                      <a:pt x="672" y="1269"/>
                    </a:lnTo>
                    <a:lnTo>
                      <a:pt x="672" y="1271"/>
                    </a:lnTo>
                    <a:lnTo>
                      <a:pt x="672" y="1275"/>
                    </a:lnTo>
                    <a:lnTo>
                      <a:pt x="676" y="1277"/>
                    </a:lnTo>
                    <a:lnTo>
                      <a:pt x="678" y="1277"/>
                    </a:lnTo>
                    <a:lnTo>
                      <a:pt x="680" y="1277"/>
                    </a:lnTo>
                    <a:lnTo>
                      <a:pt x="682" y="1277"/>
                    </a:lnTo>
                    <a:lnTo>
                      <a:pt x="683" y="1277"/>
                    </a:lnTo>
                    <a:lnTo>
                      <a:pt x="687" y="1277"/>
                    </a:lnTo>
                    <a:lnTo>
                      <a:pt x="687" y="1279"/>
                    </a:lnTo>
                    <a:lnTo>
                      <a:pt x="687" y="1282"/>
                    </a:lnTo>
                    <a:lnTo>
                      <a:pt x="683" y="1288"/>
                    </a:lnTo>
                    <a:lnTo>
                      <a:pt x="683" y="1292"/>
                    </a:lnTo>
                    <a:lnTo>
                      <a:pt x="685" y="1294"/>
                    </a:lnTo>
                    <a:lnTo>
                      <a:pt x="689" y="1294"/>
                    </a:lnTo>
                    <a:lnTo>
                      <a:pt x="693" y="1292"/>
                    </a:lnTo>
                    <a:lnTo>
                      <a:pt x="695" y="1292"/>
                    </a:lnTo>
                    <a:lnTo>
                      <a:pt x="699" y="1292"/>
                    </a:lnTo>
                    <a:lnTo>
                      <a:pt x="705" y="1294"/>
                    </a:lnTo>
                    <a:lnTo>
                      <a:pt x="709" y="1292"/>
                    </a:lnTo>
                    <a:lnTo>
                      <a:pt x="709" y="1292"/>
                    </a:lnTo>
                    <a:lnTo>
                      <a:pt x="713" y="1292"/>
                    </a:lnTo>
                    <a:lnTo>
                      <a:pt x="717" y="1286"/>
                    </a:lnTo>
                    <a:lnTo>
                      <a:pt x="721" y="1284"/>
                    </a:lnTo>
                    <a:lnTo>
                      <a:pt x="721" y="1284"/>
                    </a:lnTo>
                    <a:lnTo>
                      <a:pt x="726" y="1284"/>
                    </a:lnTo>
                    <a:lnTo>
                      <a:pt x="744" y="1292"/>
                    </a:lnTo>
                    <a:lnTo>
                      <a:pt x="750" y="1292"/>
                    </a:lnTo>
                    <a:lnTo>
                      <a:pt x="754" y="1292"/>
                    </a:lnTo>
                    <a:lnTo>
                      <a:pt x="756" y="1292"/>
                    </a:lnTo>
                    <a:lnTo>
                      <a:pt x="756" y="1294"/>
                    </a:lnTo>
                    <a:lnTo>
                      <a:pt x="760" y="1300"/>
                    </a:lnTo>
                    <a:lnTo>
                      <a:pt x="758" y="1306"/>
                    </a:lnTo>
                    <a:lnTo>
                      <a:pt x="752" y="1320"/>
                    </a:lnTo>
                    <a:lnTo>
                      <a:pt x="752" y="1320"/>
                    </a:lnTo>
                    <a:lnTo>
                      <a:pt x="752" y="1320"/>
                    </a:lnTo>
                    <a:lnTo>
                      <a:pt x="754" y="1321"/>
                    </a:lnTo>
                    <a:lnTo>
                      <a:pt x="756" y="1323"/>
                    </a:lnTo>
                    <a:lnTo>
                      <a:pt x="758" y="1325"/>
                    </a:lnTo>
                    <a:lnTo>
                      <a:pt x="758" y="1325"/>
                    </a:lnTo>
                    <a:lnTo>
                      <a:pt x="760" y="1327"/>
                    </a:lnTo>
                    <a:lnTo>
                      <a:pt x="764" y="1327"/>
                    </a:lnTo>
                    <a:lnTo>
                      <a:pt x="766" y="1325"/>
                    </a:lnTo>
                    <a:lnTo>
                      <a:pt x="773" y="1316"/>
                    </a:lnTo>
                    <a:lnTo>
                      <a:pt x="773" y="1314"/>
                    </a:lnTo>
                    <a:lnTo>
                      <a:pt x="773" y="1314"/>
                    </a:lnTo>
                    <a:lnTo>
                      <a:pt x="773" y="1310"/>
                    </a:lnTo>
                    <a:lnTo>
                      <a:pt x="773" y="1308"/>
                    </a:lnTo>
                    <a:lnTo>
                      <a:pt x="773" y="1306"/>
                    </a:lnTo>
                    <a:lnTo>
                      <a:pt x="773" y="1304"/>
                    </a:lnTo>
                    <a:lnTo>
                      <a:pt x="773" y="1302"/>
                    </a:lnTo>
                    <a:lnTo>
                      <a:pt x="773" y="1300"/>
                    </a:lnTo>
                    <a:lnTo>
                      <a:pt x="773" y="1298"/>
                    </a:lnTo>
                    <a:lnTo>
                      <a:pt x="775" y="1294"/>
                    </a:lnTo>
                    <a:lnTo>
                      <a:pt x="777" y="1290"/>
                    </a:lnTo>
                    <a:lnTo>
                      <a:pt x="777" y="1290"/>
                    </a:lnTo>
                    <a:lnTo>
                      <a:pt x="777" y="1290"/>
                    </a:lnTo>
                    <a:lnTo>
                      <a:pt x="779" y="1286"/>
                    </a:lnTo>
                    <a:lnTo>
                      <a:pt x="783" y="1286"/>
                    </a:lnTo>
                    <a:lnTo>
                      <a:pt x="783" y="1286"/>
                    </a:lnTo>
                    <a:lnTo>
                      <a:pt x="783" y="1286"/>
                    </a:lnTo>
                    <a:lnTo>
                      <a:pt x="783" y="1286"/>
                    </a:lnTo>
                    <a:lnTo>
                      <a:pt x="787" y="1288"/>
                    </a:lnTo>
                    <a:lnTo>
                      <a:pt x="797" y="1300"/>
                    </a:lnTo>
                    <a:lnTo>
                      <a:pt x="799" y="1300"/>
                    </a:lnTo>
                    <a:lnTo>
                      <a:pt x="801" y="1302"/>
                    </a:lnTo>
                    <a:lnTo>
                      <a:pt x="803" y="1302"/>
                    </a:lnTo>
                    <a:lnTo>
                      <a:pt x="803" y="1302"/>
                    </a:lnTo>
                    <a:lnTo>
                      <a:pt x="820" y="1302"/>
                    </a:lnTo>
                    <a:lnTo>
                      <a:pt x="820" y="1302"/>
                    </a:lnTo>
                    <a:lnTo>
                      <a:pt x="822" y="1300"/>
                    </a:lnTo>
                    <a:lnTo>
                      <a:pt x="824" y="1300"/>
                    </a:lnTo>
                    <a:lnTo>
                      <a:pt x="828" y="1298"/>
                    </a:lnTo>
                    <a:lnTo>
                      <a:pt x="828" y="1296"/>
                    </a:lnTo>
                    <a:lnTo>
                      <a:pt x="832" y="1286"/>
                    </a:lnTo>
                    <a:lnTo>
                      <a:pt x="834" y="1284"/>
                    </a:lnTo>
                    <a:lnTo>
                      <a:pt x="836" y="1282"/>
                    </a:lnTo>
                    <a:lnTo>
                      <a:pt x="838" y="1280"/>
                    </a:lnTo>
                    <a:lnTo>
                      <a:pt x="840" y="1279"/>
                    </a:lnTo>
                    <a:lnTo>
                      <a:pt x="844" y="1277"/>
                    </a:lnTo>
                    <a:lnTo>
                      <a:pt x="848" y="1277"/>
                    </a:lnTo>
                    <a:lnTo>
                      <a:pt x="848" y="1279"/>
                    </a:lnTo>
                    <a:lnTo>
                      <a:pt x="850" y="1280"/>
                    </a:lnTo>
                    <a:lnTo>
                      <a:pt x="850" y="1282"/>
                    </a:lnTo>
                    <a:lnTo>
                      <a:pt x="850" y="1284"/>
                    </a:lnTo>
                    <a:lnTo>
                      <a:pt x="850" y="1284"/>
                    </a:lnTo>
                    <a:lnTo>
                      <a:pt x="850" y="1286"/>
                    </a:lnTo>
                    <a:lnTo>
                      <a:pt x="851" y="1290"/>
                    </a:lnTo>
                    <a:lnTo>
                      <a:pt x="853" y="1292"/>
                    </a:lnTo>
                    <a:lnTo>
                      <a:pt x="857" y="1296"/>
                    </a:lnTo>
                    <a:lnTo>
                      <a:pt x="859" y="1298"/>
                    </a:lnTo>
                    <a:lnTo>
                      <a:pt x="859" y="1298"/>
                    </a:lnTo>
                    <a:lnTo>
                      <a:pt x="861" y="1300"/>
                    </a:lnTo>
                    <a:lnTo>
                      <a:pt x="861" y="1300"/>
                    </a:lnTo>
                    <a:lnTo>
                      <a:pt x="863" y="1308"/>
                    </a:lnTo>
                    <a:lnTo>
                      <a:pt x="863" y="1310"/>
                    </a:lnTo>
                    <a:lnTo>
                      <a:pt x="865" y="1312"/>
                    </a:lnTo>
                    <a:lnTo>
                      <a:pt x="869" y="1310"/>
                    </a:lnTo>
                    <a:lnTo>
                      <a:pt x="871" y="1306"/>
                    </a:lnTo>
                    <a:lnTo>
                      <a:pt x="873" y="1306"/>
                    </a:lnTo>
                    <a:lnTo>
                      <a:pt x="877" y="1302"/>
                    </a:lnTo>
                    <a:lnTo>
                      <a:pt x="881" y="1300"/>
                    </a:lnTo>
                    <a:lnTo>
                      <a:pt x="885" y="1298"/>
                    </a:lnTo>
                    <a:lnTo>
                      <a:pt x="885" y="1298"/>
                    </a:lnTo>
                    <a:lnTo>
                      <a:pt x="891" y="1298"/>
                    </a:lnTo>
                    <a:lnTo>
                      <a:pt x="891" y="1298"/>
                    </a:lnTo>
                    <a:lnTo>
                      <a:pt x="891" y="1298"/>
                    </a:lnTo>
                    <a:lnTo>
                      <a:pt x="904" y="1302"/>
                    </a:lnTo>
                    <a:lnTo>
                      <a:pt x="906" y="1302"/>
                    </a:lnTo>
                    <a:lnTo>
                      <a:pt x="908" y="1304"/>
                    </a:lnTo>
                    <a:lnTo>
                      <a:pt x="910" y="1306"/>
                    </a:lnTo>
                    <a:lnTo>
                      <a:pt x="910" y="1308"/>
                    </a:lnTo>
                    <a:lnTo>
                      <a:pt x="910" y="1310"/>
                    </a:lnTo>
                    <a:lnTo>
                      <a:pt x="910" y="1312"/>
                    </a:lnTo>
                    <a:lnTo>
                      <a:pt x="914" y="1327"/>
                    </a:lnTo>
                    <a:lnTo>
                      <a:pt x="914" y="1329"/>
                    </a:lnTo>
                    <a:lnTo>
                      <a:pt x="914" y="1331"/>
                    </a:lnTo>
                    <a:lnTo>
                      <a:pt x="916" y="1333"/>
                    </a:lnTo>
                    <a:lnTo>
                      <a:pt x="916" y="1333"/>
                    </a:lnTo>
                    <a:lnTo>
                      <a:pt x="920" y="1335"/>
                    </a:lnTo>
                    <a:lnTo>
                      <a:pt x="922" y="1335"/>
                    </a:lnTo>
                    <a:lnTo>
                      <a:pt x="922" y="1335"/>
                    </a:lnTo>
                    <a:lnTo>
                      <a:pt x="924" y="1333"/>
                    </a:lnTo>
                    <a:lnTo>
                      <a:pt x="926" y="1333"/>
                    </a:lnTo>
                    <a:lnTo>
                      <a:pt x="926" y="1333"/>
                    </a:lnTo>
                    <a:lnTo>
                      <a:pt x="926" y="1333"/>
                    </a:lnTo>
                    <a:lnTo>
                      <a:pt x="928" y="1337"/>
                    </a:lnTo>
                    <a:lnTo>
                      <a:pt x="928" y="1341"/>
                    </a:lnTo>
                    <a:lnTo>
                      <a:pt x="928" y="1341"/>
                    </a:lnTo>
                    <a:lnTo>
                      <a:pt x="928" y="1341"/>
                    </a:lnTo>
                    <a:lnTo>
                      <a:pt x="930" y="1345"/>
                    </a:lnTo>
                    <a:lnTo>
                      <a:pt x="934" y="1341"/>
                    </a:lnTo>
                    <a:lnTo>
                      <a:pt x="934" y="1339"/>
                    </a:lnTo>
                    <a:lnTo>
                      <a:pt x="934" y="1337"/>
                    </a:lnTo>
                    <a:lnTo>
                      <a:pt x="934" y="1327"/>
                    </a:lnTo>
                    <a:lnTo>
                      <a:pt x="934" y="1321"/>
                    </a:lnTo>
                    <a:lnTo>
                      <a:pt x="935" y="1318"/>
                    </a:lnTo>
                    <a:lnTo>
                      <a:pt x="937" y="1314"/>
                    </a:lnTo>
                    <a:lnTo>
                      <a:pt x="941" y="1310"/>
                    </a:lnTo>
                    <a:lnTo>
                      <a:pt x="947" y="1304"/>
                    </a:lnTo>
                    <a:lnTo>
                      <a:pt x="947" y="1304"/>
                    </a:lnTo>
                    <a:lnTo>
                      <a:pt x="949" y="1304"/>
                    </a:lnTo>
                    <a:lnTo>
                      <a:pt x="953" y="1302"/>
                    </a:lnTo>
                    <a:lnTo>
                      <a:pt x="957" y="1300"/>
                    </a:lnTo>
                    <a:lnTo>
                      <a:pt x="965" y="1300"/>
                    </a:lnTo>
                    <a:lnTo>
                      <a:pt x="969" y="1300"/>
                    </a:lnTo>
                    <a:lnTo>
                      <a:pt x="971" y="1300"/>
                    </a:lnTo>
                    <a:lnTo>
                      <a:pt x="973" y="1300"/>
                    </a:lnTo>
                    <a:lnTo>
                      <a:pt x="975" y="1296"/>
                    </a:lnTo>
                    <a:lnTo>
                      <a:pt x="977" y="1292"/>
                    </a:lnTo>
                    <a:lnTo>
                      <a:pt x="977" y="41"/>
                    </a:lnTo>
                    <a:lnTo>
                      <a:pt x="973" y="43"/>
                    </a:lnTo>
                    <a:lnTo>
                      <a:pt x="963" y="4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58" name="Freeform 773">
                <a:extLst>
                  <a:ext uri="{FF2B5EF4-FFF2-40B4-BE49-F238E27FC236}">
                    <a16:creationId xmlns:a16="http://schemas.microsoft.com/office/drawing/2014/main" id="{F8D50A23-C2BE-4563-8F09-61D8FE3635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16"/>
                <a:ext cx="10" cy="47"/>
              </a:xfrm>
              <a:custGeom>
                <a:avLst/>
                <a:gdLst>
                  <a:gd name="T0" fmla="*/ 2 w 10"/>
                  <a:gd name="T1" fmla="*/ 47 h 47"/>
                  <a:gd name="T2" fmla="*/ 2 w 10"/>
                  <a:gd name="T3" fmla="*/ 47 h 47"/>
                  <a:gd name="T4" fmla="*/ 4 w 10"/>
                  <a:gd name="T5" fmla="*/ 47 h 47"/>
                  <a:gd name="T6" fmla="*/ 6 w 10"/>
                  <a:gd name="T7" fmla="*/ 47 h 47"/>
                  <a:gd name="T8" fmla="*/ 8 w 10"/>
                  <a:gd name="T9" fmla="*/ 45 h 47"/>
                  <a:gd name="T10" fmla="*/ 10 w 10"/>
                  <a:gd name="T11" fmla="*/ 45 h 47"/>
                  <a:gd name="T12" fmla="*/ 8 w 10"/>
                  <a:gd name="T13" fmla="*/ 43 h 47"/>
                  <a:gd name="T14" fmla="*/ 8 w 10"/>
                  <a:gd name="T15" fmla="*/ 41 h 47"/>
                  <a:gd name="T16" fmla="*/ 8 w 10"/>
                  <a:gd name="T17" fmla="*/ 41 h 47"/>
                  <a:gd name="T18" fmla="*/ 8 w 10"/>
                  <a:gd name="T19" fmla="*/ 41 h 47"/>
                  <a:gd name="T20" fmla="*/ 2 w 10"/>
                  <a:gd name="T21" fmla="*/ 29 h 47"/>
                  <a:gd name="T22" fmla="*/ 2 w 10"/>
                  <a:gd name="T23" fmla="*/ 27 h 47"/>
                  <a:gd name="T24" fmla="*/ 4 w 10"/>
                  <a:gd name="T25" fmla="*/ 23 h 47"/>
                  <a:gd name="T26" fmla="*/ 4 w 10"/>
                  <a:gd name="T27" fmla="*/ 23 h 47"/>
                  <a:gd name="T28" fmla="*/ 4 w 10"/>
                  <a:gd name="T29" fmla="*/ 18 h 47"/>
                  <a:gd name="T30" fmla="*/ 6 w 10"/>
                  <a:gd name="T31" fmla="*/ 16 h 47"/>
                  <a:gd name="T32" fmla="*/ 6 w 10"/>
                  <a:gd name="T33" fmla="*/ 14 h 47"/>
                  <a:gd name="T34" fmla="*/ 4 w 10"/>
                  <a:gd name="T35" fmla="*/ 12 h 47"/>
                  <a:gd name="T36" fmla="*/ 4 w 10"/>
                  <a:gd name="T37" fmla="*/ 12 h 47"/>
                  <a:gd name="T38" fmla="*/ 2 w 10"/>
                  <a:gd name="T39" fmla="*/ 10 h 47"/>
                  <a:gd name="T40" fmla="*/ 2 w 10"/>
                  <a:gd name="T41" fmla="*/ 10 h 47"/>
                  <a:gd name="T42" fmla="*/ 0 w 10"/>
                  <a:gd name="T43" fmla="*/ 8 h 47"/>
                  <a:gd name="T44" fmla="*/ 0 w 10"/>
                  <a:gd name="T45" fmla="*/ 8 h 47"/>
                  <a:gd name="T46" fmla="*/ 0 w 10"/>
                  <a:gd name="T47" fmla="*/ 4 h 47"/>
                  <a:gd name="T48" fmla="*/ 0 w 10"/>
                  <a:gd name="T49" fmla="*/ 2 h 47"/>
                  <a:gd name="T50" fmla="*/ 0 w 10"/>
                  <a:gd name="T51" fmla="*/ 2 h 47"/>
                  <a:gd name="T52" fmla="*/ 0 w 10"/>
                  <a:gd name="T53" fmla="*/ 2 h 47"/>
                  <a:gd name="T54" fmla="*/ 0 w 10"/>
                  <a:gd name="T55" fmla="*/ 2 h 47"/>
                  <a:gd name="T56" fmla="*/ 2 w 10"/>
                  <a:gd name="T57" fmla="*/ 0 h 47"/>
                  <a:gd name="T58" fmla="*/ 2 w 10"/>
                  <a:gd name="T59" fmla="*/ 0 h 47"/>
                  <a:gd name="T60" fmla="*/ 0 w 10"/>
                  <a:gd name="T61" fmla="*/ 0 h 47"/>
                  <a:gd name="T62" fmla="*/ 0 w 10"/>
                  <a:gd name="T63" fmla="*/ 47 h 47"/>
                  <a:gd name="T64" fmla="*/ 0 w 10"/>
                  <a:gd name="T65" fmla="*/ 47 h 47"/>
                  <a:gd name="T66" fmla="*/ 2 w 10"/>
                  <a:gd name="T67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" h="47">
                    <a:moveTo>
                      <a:pt x="2" y="47"/>
                    </a:moveTo>
                    <a:lnTo>
                      <a:pt x="2" y="47"/>
                    </a:lnTo>
                    <a:lnTo>
                      <a:pt x="4" y="47"/>
                    </a:lnTo>
                    <a:lnTo>
                      <a:pt x="6" y="47"/>
                    </a:lnTo>
                    <a:lnTo>
                      <a:pt x="8" y="45"/>
                    </a:lnTo>
                    <a:lnTo>
                      <a:pt x="10" y="45"/>
                    </a:lnTo>
                    <a:lnTo>
                      <a:pt x="8" y="43"/>
                    </a:lnTo>
                    <a:lnTo>
                      <a:pt x="8" y="41"/>
                    </a:lnTo>
                    <a:lnTo>
                      <a:pt x="8" y="41"/>
                    </a:lnTo>
                    <a:lnTo>
                      <a:pt x="8" y="41"/>
                    </a:lnTo>
                    <a:lnTo>
                      <a:pt x="2" y="29"/>
                    </a:lnTo>
                    <a:lnTo>
                      <a:pt x="2" y="27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18"/>
                    </a:lnTo>
                    <a:lnTo>
                      <a:pt x="6" y="16"/>
                    </a:lnTo>
                    <a:lnTo>
                      <a:pt x="6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47"/>
                    </a:lnTo>
                    <a:lnTo>
                      <a:pt x="0" y="47"/>
                    </a:lnTo>
                    <a:lnTo>
                      <a:pt x="2" y="4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59" name="Freeform 774">
                <a:extLst>
                  <a:ext uri="{FF2B5EF4-FFF2-40B4-BE49-F238E27FC236}">
                    <a16:creationId xmlns:a16="http://schemas.microsoft.com/office/drawing/2014/main" id="{7F107CAD-4D1B-4C08-AC47-DBBAD6B553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2526"/>
                <a:ext cx="1151" cy="1097"/>
              </a:xfrm>
              <a:custGeom>
                <a:avLst/>
                <a:gdLst>
                  <a:gd name="T0" fmla="*/ 1108 w 1151"/>
                  <a:gd name="T1" fmla="*/ 124 h 1097"/>
                  <a:gd name="T2" fmla="*/ 1098 w 1151"/>
                  <a:gd name="T3" fmla="*/ 136 h 1097"/>
                  <a:gd name="T4" fmla="*/ 1082 w 1151"/>
                  <a:gd name="T5" fmla="*/ 107 h 1097"/>
                  <a:gd name="T6" fmla="*/ 1035 w 1151"/>
                  <a:gd name="T7" fmla="*/ 103 h 1097"/>
                  <a:gd name="T8" fmla="*/ 1018 w 1151"/>
                  <a:gd name="T9" fmla="*/ 80 h 1097"/>
                  <a:gd name="T10" fmla="*/ 994 w 1151"/>
                  <a:gd name="T11" fmla="*/ 105 h 1097"/>
                  <a:gd name="T12" fmla="*/ 947 w 1151"/>
                  <a:gd name="T13" fmla="*/ 107 h 1097"/>
                  <a:gd name="T14" fmla="*/ 926 w 1151"/>
                  <a:gd name="T15" fmla="*/ 123 h 1097"/>
                  <a:gd name="T16" fmla="*/ 887 w 1151"/>
                  <a:gd name="T17" fmla="*/ 95 h 1097"/>
                  <a:gd name="T18" fmla="*/ 856 w 1151"/>
                  <a:gd name="T19" fmla="*/ 80 h 1097"/>
                  <a:gd name="T20" fmla="*/ 840 w 1151"/>
                  <a:gd name="T21" fmla="*/ 52 h 1097"/>
                  <a:gd name="T22" fmla="*/ 717 w 1151"/>
                  <a:gd name="T23" fmla="*/ 31 h 1097"/>
                  <a:gd name="T24" fmla="*/ 594 w 1151"/>
                  <a:gd name="T25" fmla="*/ 7 h 1097"/>
                  <a:gd name="T26" fmla="*/ 375 w 1151"/>
                  <a:gd name="T27" fmla="*/ 19 h 1097"/>
                  <a:gd name="T28" fmla="*/ 293 w 1151"/>
                  <a:gd name="T29" fmla="*/ 89 h 1097"/>
                  <a:gd name="T30" fmla="*/ 246 w 1151"/>
                  <a:gd name="T31" fmla="*/ 97 h 1097"/>
                  <a:gd name="T32" fmla="*/ 254 w 1151"/>
                  <a:gd name="T33" fmla="*/ 130 h 1097"/>
                  <a:gd name="T34" fmla="*/ 260 w 1151"/>
                  <a:gd name="T35" fmla="*/ 175 h 1097"/>
                  <a:gd name="T36" fmla="*/ 301 w 1151"/>
                  <a:gd name="T37" fmla="*/ 253 h 1097"/>
                  <a:gd name="T38" fmla="*/ 312 w 1151"/>
                  <a:gd name="T39" fmla="*/ 296 h 1097"/>
                  <a:gd name="T40" fmla="*/ 330 w 1151"/>
                  <a:gd name="T41" fmla="*/ 351 h 1097"/>
                  <a:gd name="T42" fmla="*/ 271 w 1151"/>
                  <a:gd name="T43" fmla="*/ 415 h 1097"/>
                  <a:gd name="T44" fmla="*/ 170 w 1151"/>
                  <a:gd name="T45" fmla="*/ 519 h 1097"/>
                  <a:gd name="T46" fmla="*/ 105 w 1151"/>
                  <a:gd name="T47" fmla="*/ 601 h 1097"/>
                  <a:gd name="T48" fmla="*/ 101 w 1151"/>
                  <a:gd name="T49" fmla="*/ 706 h 1097"/>
                  <a:gd name="T50" fmla="*/ 121 w 1151"/>
                  <a:gd name="T51" fmla="*/ 751 h 1097"/>
                  <a:gd name="T52" fmla="*/ 103 w 1151"/>
                  <a:gd name="T53" fmla="*/ 761 h 1097"/>
                  <a:gd name="T54" fmla="*/ 64 w 1151"/>
                  <a:gd name="T55" fmla="*/ 773 h 1097"/>
                  <a:gd name="T56" fmla="*/ 45 w 1151"/>
                  <a:gd name="T57" fmla="*/ 804 h 1097"/>
                  <a:gd name="T58" fmla="*/ 39 w 1151"/>
                  <a:gd name="T59" fmla="*/ 829 h 1097"/>
                  <a:gd name="T60" fmla="*/ 27 w 1151"/>
                  <a:gd name="T61" fmla="*/ 857 h 1097"/>
                  <a:gd name="T62" fmla="*/ 2 w 1151"/>
                  <a:gd name="T63" fmla="*/ 900 h 1097"/>
                  <a:gd name="T64" fmla="*/ 27 w 1151"/>
                  <a:gd name="T65" fmla="*/ 935 h 1097"/>
                  <a:gd name="T66" fmla="*/ 51 w 1151"/>
                  <a:gd name="T67" fmla="*/ 966 h 1097"/>
                  <a:gd name="T68" fmla="*/ 100 w 1151"/>
                  <a:gd name="T69" fmla="*/ 995 h 1097"/>
                  <a:gd name="T70" fmla="*/ 125 w 1151"/>
                  <a:gd name="T71" fmla="*/ 1038 h 1097"/>
                  <a:gd name="T72" fmla="*/ 146 w 1151"/>
                  <a:gd name="T73" fmla="*/ 1028 h 1097"/>
                  <a:gd name="T74" fmla="*/ 185 w 1151"/>
                  <a:gd name="T75" fmla="*/ 1007 h 1097"/>
                  <a:gd name="T76" fmla="*/ 211 w 1151"/>
                  <a:gd name="T77" fmla="*/ 1027 h 1097"/>
                  <a:gd name="T78" fmla="*/ 240 w 1151"/>
                  <a:gd name="T79" fmla="*/ 1023 h 1097"/>
                  <a:gd name="T80" fmla="*/ 287 w 1151"/>
                  <a:gd name="T81" fmla="*/ 1038 h 1097"/>
                  <a:gd name="T82" fmla="*/ 338 w 1151"/>
                  <a:gd name="T83" fmla="*/ 1046 h 1097"/>
                  <a:gd name="T84" fmla="*/ 408 w 1151"/>
                  <a:gd name="T85" fmla="*/ 1040 h 1097"/>
                  <a:gd name="T86" fmla="*/ 455 w 1151"/>
                  <a:gd name="T87" fmla="*/ 1089 h 1097"/>
                  <a:gd name="T88" fmla="*/ 523 w 1151"/>
                  <a:gd name="T89" fmla="*/ 1050 h 1097"/>
                  <a:gd name="T90" fmla="*/ 664 w 1151"/>
                  <a:gd name="T91" fmla="*/ 1030 h 1097"/>
                  <a:gd name="T92" fmla="*/ 697 w 1151"/>
                  <a:gd name="T93" fmla="*/ 974 h 1097"/>
                  <a:gd name="T94" fmla="*/ 742 w 1151"/>
                  <a:gd name="T95" fmla="*/ 962 h 1097"/>
                  <a:gd name="T96" fmla="*/ 762 w 1151"/>
                  <a:gd name="T97" fmla="*/ 943 h 1097"/>
                  <a:gd name="T98" fmla="*/ 777 w 1151"/>
                  <a:gd name="T99" fmla="*/ 935 h 1097"/>
                  <a:gd name="T100" fmla="*/ 793 w 1151"/>
                  <a:gd name="T101" fmla="*/ 929 h 1097"/>
                  <a:gd name="T102" fmla="*/ 820 w 1151"/>
                  <a:gd name="T103" fmla="*/ 935 h 1097"/>
                  <a:gd name="T104" fmla="*/ 844 w 1151"/>
                  <a:gd name="T105" fmla="*/ 935 h 1097"/>
                  <a:gd name="T106" fmla="*/ 891 w 1151"/>
                  <a:gd name="T107" fmla="*/ 915 h 1097"/>
                  <a:gd name="T108" fmla="*/ 926 w 1151"/>
                  <a:gd name="T109" fmla="*/ 911 h 1097"/>
                  <a:gd name="T110" fmla="*/ 981 w 1151"/>
                  <a:gd name="T111" fmla="*/ 943 h 1097"/>
                  <a:gd name="T112" fmla="*/ 1012 w 1151"/>
                  <a:gd name="T113" fmla="*/ 960 h 1097"/>
                  <a:gd name="T114" fmla="*/ 1041 w 1151"/>
                  <a:gd name="T115" fmla="*/ 964 h 1097"/>
                  <a:gd name="T116" fmla="*/ 1035 w 1151"/>
                  <a:gd name="T117" fmla="*/ 991 h 1097"/>
                  <a:gd name="T118" fmla="*/ 1053 w 1151"/>
                  <a:gd name="T119" fmla="*/ 984 h 1097"/>
                  <a:gd name="T120" fmla="*/ 1067 w 1151"/>
                  <a:gd name="T121" fmla="*/ 997 h 1097"/>
                  <a:gd name="T122" fmla="*/ 1111 w 1151"/>
                  <a:gd name="T123" fmla="*/ 993 h 1097"/>
                  <a:gd name="T124" fmla="*/ 1123 w 1151"/>
                  <a:gd name="T125" fmla="*/ 1021 h 10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51" h="1097">
                    <a:moveTo>
                      <a:pt x="1147" y="103"/>
                    </a:moveTo>
                    <a:lnTo>
                      <a:pt x="1147" y="103"/>
                    </a:lnTo>
                    <a:lnTo>
                      <a:pt x="1147" y="103"/>
                    </a:lnTo>
                    <a:lnTo>
                      <a:pt x="1145" y="103"/>
                    </a:lnTo>
                    <a:lnTo>
                      <a:pt x="1143" y="103"/>
                    </a:lnTo>
                    <a:lnTo>
                      <a:pt x="1139" y="103"/>
                    </a:lnTo>
                    <a:lnTo>
                      <a:pt x="1131" y="103"/>
                    </a:lnTo>
                    <a:lnTo>
                      <a:pt x="1127" y="105"/>
                    </a:lnTo>
                    <a:lnTo>
                      <a:pt x="1123" y="107"/>
                    </a:lnTo>
                    <a:lnTo>
                      <a:pt x="1121" y="107"/>
                    </a:lnTo>
                    <a:lnTo>
                      <a:pt x="1121" y="107"/>
                    </a:lnTo>
                    <a:lnTo>
                      <a:pt x="1115" y="113"/>
                    </a:lnTo>
                    <a:lnTo>
                      <a:pt x="1111" y="117"/>
                    </a:lnTo>
                    <a:lnTo>
                      <a:pt x="1109" y="121"/>
                    </a:lnTo>
                    <a:lnTo>
                      <a:pt x="1108" y="124"/>
                    </a:lnTo>
                    <a:lnTo>
                      <a:pt x="1108" y="130"/>
                    </a:lnTo>
                    <a:lnTo>
                      <a:pt x="1108" y="140"/>
                    </a:lnTo>
                    <a:lnTo>
                      <a:pt x="1108" y="140"/>
                    </a:lnTo>
                    <a:lnTo>
                      <a:pt x="1108" y="140"/>
                    </a:lnTo>
                    <a:lnTo>
                      <a:pt x="1108" y="142"/>
                    </a:lnTo>
                    <a:lnTo>
                      <a:pt x="1108" y="144"/>
                    </a:lnTo>
                    <a:lnTo>
                      <a:pt x="1104" y="148"/>
                    </a:lnTo>
                    <a:lnTo>
                      <a:pt x="1104" y="148"/>
                    </a:lnTo>
                    <a:lnTo>
                      <a:pt x="1104" y="148"/>
                    </a:lnTo>
                    <a:lnTo>
                      <a:pt x="1102" y="144"/>
                    </a:lnTo>
                    <a:lnTo>
                      <a:pt x="1102" y="144"/>
                    </a:lnTo>
                    <a:lnTo>
                      <a:pt x="1102" y="144"/>
                    </a:lnTo>
                    <a:lnTo>
                      <a:pt x="1102" y="140"/>
                    </a:lnTo>
                    <a:lnTo>
                      <a:pt x="1100" y="136"/>
                    </a:lnTo>
                    <a:lnTo>
                      <a:pt x="1098" y="136"/>
                    </a:lnTo>
                    <a:lnTo>
                      <a:pt x="1096" y="138"/>
                    </a:lnTo>
                    <a:lnTo>
                      <a:pt x="1096" y="138"/>
                    </a:lnTo>
                    <a:lnTo>
                      <a:pt x="1096" y="138"/>
                    </a:lnTo>
                    <a:lnTo>
                      <a:pt x="1096" y="138"/>
                    </a:lnTo>
                    <a:lnTo>
                      <a:pt x="1094" y="138"/>
                    </a:lnTo>
                    <a:lnTo>
                      <a:pt x="1090" y="136"/>
                    </a:lnTo>
                    <a:lnTo>
                      <a:pt x="1090" y="136"/>
                    </a:lnTo>
                    <a:lnTo>
                      <a:pt x="1088" y="134"/>
                    </a:lnTo>
                    <a:lnTo>
                      <a:pt x="1088" y="132"/>
                    </a:lnTo>
                    <a:lnTo>
                      <a:pt x="1088" y="130"/>
                    </a:lnTo>
                    <a:lnTo>
                      <a:pt x="1084" y="115"/>
                    </a:lnTo>
                    <a:lnTo>
                      <a:pt x="1084" y="113"/>
                    </a:lnTo>
                    <a:lnTo>
                      <a:pt x="1084" y="111"/>
                    </a:lnTo>
                    <a:lnTo>
                      <a:pt x="1084" y="109"/>
                    </a:lnTo>
                    <a:lnTo>
                      <a:pt x="1082" y="107"/>
                    </a:lnTo>
                    <a:lnTo>
                      <a:pt x="1080" y="105"/>
                    </a:lnTo>
                    <a:lnTo>
                      <a:pt x="1078" y="105"/>
                    </a:lnTo>
                    <a:lnTo>
                      <a:pt x="1065" y="101"/>
                    </a:lnTo>
                    <a:lnTo>
                      <a:pt x="1059" y="101"/>
                    </a:lnTo>
                    <a:lnTo>
                      <a:pt x="1059" y="101"/>
                    </a:lnTo>
                    <a:lnTo>
                      <a:pt x="1055" y="103"/>
                    </a:lnTo>
                    <a:lnTo>
                      <a:pt x="1051" y="105"/>
                    </a:lnTo>
                    <a:lnTo>
                      <a:pt x="1047" y="109"/>
                    </a:lnTo>
                    <a:lnTo>
                      <a:pt x="1045" y="109"/>
                    </a:lnTo>
                    <a:lnTo>
                      <a:pt x="1043" y="113"/>
                    </a:lnTo>
                    <a:lnTo>
                      <a:pt x="1039" y="115"/>
                    </a:lnTo>
                    <a:lnTo>
                      <a:pt x="1037" y="113"/>
                    </a:lnTo>
                    <a:lnTo>
                      <a:pt x="1037" y="111"/>
                    </a:lnTo>
                    <a:lnTo>
                      <a:pt x="1035" y="103"/>
                    </a:lnTo>
                    <a:lnTo>
                      <a:pt x="1035" y="103"/>
                    </a:lnTo>
                    <a:lnTo>
                      <a:pt x="1033" y="101"/>
                    </a:lnTo>
                    <a:lnTo>
                      <a:pt x="1033" y="101"/>
                    </a:lnTo>
                    <a:lnTo>
                      <a:pt x="1031" y="99"/>
                    </a:lnTo>
                    <a:lnTo>
                      <a:pt x="1027" y="95"/>
                    </a:lnTo>
                    <a:lnTo>
                      <a:pt x="1027" y="95"/>
                    </a:lnTo>
                    <a:lnTo>
                      <a:pt x="1027" y="95"/>
                    </a:lnTo>
                    <a:lnTo>
                      <a:pt x="1025" y="93"/>
                    </a:lnTo>
                    <a:lnTo>
                      <a:pt x="1024" y="89"/>
                    </a:lnTo>
                    <a:lnTo>
                      <a:pt x="1024" y="87"/>
                    </a:lnTo>
                    <a:lnTo>
                      <a:pt x="1024" y="87"/>
                    </a:lnTo>
                    <a:lnTo>
                      <a:pt x="1024" y="85"/>
                    </a:lnTo>
                    <a:lnTo>
                      <a:pt x="1024" y="83"/>
                    </a:lnTo>
                    <a:lnTo>
                      <a:pt x="1022" y="82"/>
                    </a:lnTo>
                    <a:lnTo>
                      <a:pt x="1022" y="80"/>
                    </a:lnTo>
                    <a:lnTo>
                      <a:pt x="1018" y="80"/>
                    </a:lnTo>
                    <a:lnTo>
                      <a:pt x="1014" y="82"/>
                    </a:lnTo>
                    <a:lnTo>
                      <a:pt x="1012" y="83"/>
                    </a:lnTo>
                    <a:lnTo>
                      <a:pt x="1010" y="85"/>
                    </a:lnTo>
                    <a:lnTo>
                      <a:pt x="1008" y="87"/>
                    </a:lnTo>
                    <a:lnTo>
                      <a:pt x="1006" y="89"/>
                    </a:lnTo>
                    <a:lnTo>
                      <a:pt x="1002" y="99"/>
                    </a:lnTo>
                    <a:lnTo>
                      <a:pt x="1002" y="101"/>
                    </a:lnTo>
                    <a:lnTo>
                      <a:pt x="998" y="103"/>
                    </a:lnTo>
                    <a:lnTo>
                      <a:pt x="996" y="103"/>
                    </a:lnTo>
                    <a:lnTo>
                      <a:pt x="996" y="103"/>
                    </a:lnTo>
                    <a:lnTo>
                      <a:pt x="996" y="103"/>
                    </a:lnTo>
                    <a:lnTo>
                      <a:pt x="994" y="105"/>
                    </a:lnTo>
                    <a:lnTo>
                      <a:pt x="994" y="105"/>
                    </a:lnTo>
                    <a:lnTo>
                      <a:pt x="994" y="105"/>
                    </a:lnTo>
                    <a:lnTo>
                      <a:pt x="994" y="105"/>
                    </a:lnTo>
                    <a:lnTo>
                      <a:pt x="977" y="105"/>
                    </a:lnTo>
                    <a:lnTo>
                      <a:pt x="977" y="105"/>
                    </a:lnTo>
                    <a:lnTo>
                      <a:pt x="975" y="105"/>
                    </a:lnTo>
                    <a:lnTo>
                      <a:pt x="973" y="103"/>
                    </a:lnTo>
                    <a:lnTo>
                      <a:pt x="971" y="103"/>
                    </a:lnTo>
                    <a:lnTo>
                      <a:pt x="961" y="91"/>
                    </a:lnTo>
                    <a:lnTo>
                      <a:pt x="957" y="89"/>
                    </a:lnTo>
                    <a:lnTo>
                      <a:pt x="957" y="89"/>
                    </a:lnTo>
                    <a:lnTo>
                      <a:pt x="953" y="89"/>
                    </a:lnTo>
                    <a:lnTo>
                      <a:pt x="951" y="93"/>
                    </a:lnTo>
                    <a:lnTo>
                      <a:pt x="949" y="97"/>
                    </a:lnTo>
                    <a:lnTo>
                      <a:pt x="947" y="101"/>
                    </a:lnTo>
                    <a:lnTo>
                      <a:pt x="947" y="103"/>
                    </a:lnTo>
                    <a:lnTo>
                      <a:pt x="947" y="105"/>
                    </a:lnTo>
                    <a:lnTo>
                      <a:pt x="947" y="107"/>
                    </a:lnTo>
                    <a:lnTo>
                      <a:pt x="947" y="109"/>
                    </a:lnTo>
                    <a:lnTo>
                      <a:pt x="947" y="111"/>
                    </a:lnTo>
                    <a:lnTo>
                      <a:pt x="947" y="113"/>
                    </a:lnTo>
                    <a:lnTo>
                      <a:pt x="947" y="117"/>
                    </a:lnTo>
                    <a:lnTo>
                      <a:pt x="947" y="117"/>
                    </a:lnTo>
                    <a:lnTo>
                      <a:pt x="947" y="119"/>
                    </a:lnTo>
                    <a:lnTo>
                      <a:pt x="940" y="128"/>
                    </a:lnTo>
                    <a:lnTo>
                      <a:pt x="938" y="130"/>
                    </a:lnTo>
                    <a:lnTo>
                      <a:pt x="934" y="130"/>
                    </a:lnTo>
                    <a:lnTo>
                      <a:pt x="932" y="128"/>
                    </a:lnTo>
                    <a:lnTo>
                      <a:pt x="932" y="128"/>
                    </a:lnTo>
                    <a:lnTo>
                      <a:pt x="930" y="126"/>
                    </a:lnTo>
                    <a:lnTo>
                      <a:pt x="928" y="124"/>
                    </a:lnTo>
                    <a:lnTo>
                      <a:pt x="926" y="123"/>
                    </a:lnTo>
                    <a:lnTo>
                      <a:pt x="926" y="123"/>
                    </a:lnTo>
                    <a:lnTo>
                      <a:pt x="926" y="123"/>
                    </a:lnTo>
                    <a:lnTo>
                      <a:pt x="926" y="123"/>
                    </a:lnTo>
                    <a:lnTo>
                      <a:pt x="926" y="123"/>
                    </a:lnTo>
                    <a:lnTo>
                      <a:pt x="932" y="109"/>
                    </a:lnTo>
                    <a:lnTo>
                      <a:pt x="934" y="103"/>
                    </a:lnTo>
                    <a:lnTo>
                      <a:pt x="930" y="97"/>
                    </a:lnTo>
                    <a:lnTo>
                      <a:pt x="930" y="95"/>
                    </a:lnTo>
                    <a:lnTo>
                      <a:pt x="928" y="95"/>
                    </a:lnTo>
                    <a:lnTo>
                      <a:pt x="924" y="95"/>
                    </a:lnTo>
                    <a:lnTo>
                      <a:pt x="918" y="95"/>
                    </a:lnTo>
                    <a:lnTo>
                      <a:pt x="900" y="87"/>
                    </a:lnTo>
                    <a:lnTo>
                      <a:pt x="895" y="87"/>
                    </a:lnTo>
                    <a:lnTo>
                      <a:pt x="895" y="87"/>
                    </a:lnTo>
                    <a:lnTo>
                      <a:pt x="891" y="89"/>
                    </a:lnTo>
                    <a:lnTo>
                      <a:pt x="887" y="95"/>
                    </a:lnTo>
                    <a:lnTo>
                      <a:pt x="883" y="95"/>
                    </a:lnTo>
                    <a:lnTo>
                      <a:pt x="883" y="95"/>
                    </a:lnTo>
                    <a:lnTo>
                      <a:pt x="879" y="97"/>
                    </a:lnTo>
                    <a:lnTo>
                      <a:pt x="873" y="95"/>
                    </a:lnTo>
                    <a:lnTo>
                      <a:pt x="869" y="95"/>
                    </a:lnTo>
                    <a:lnTo>
                      <a:pt x="867" y="95"/>
                    </a:lnTo>
                    <a:lnTo>
                      <a:pt x="863" y="97"/>
                    </a:lnTo>
                    <a:lnTo>
                      <a:pt x="859" y="97"/>
                    </a:lnTo>
                    <a:lnTo>
                      <a:pt x="857" y="95"/>
                    </a:lnTo>
                    <a:lnTo>
                      <a:pt x="857" y="91"/>
                    </a:lnTo>
                    <a:lnTo>
                      <a:pt x="861" y="85"/>
                    </a:lnTo>
                    <a:lnTo>
                      <a:pt x="861" y="82"/>
                    </a:lnTo>
                    <a:lnTo>
                      <a:pt x="861" y="80"/>
                    </a:lnTo>
                    <a:lnTo>
                      <a:pt x="857" y="80"/>
                    </a:lnTo>
                    <a:lnTo>
                      <a:pt x="856" y="80"/>
                    </a:lnTo>
                    <a:lnTo>
                      <a:pt x="854" y="80"/>
                    </a:lnTo>
                    <a:lnTo>
                      <a:pt x="852" y="80"/>
                    </a:lnTo>
                    <a:lnTo>
                      <a:pt x="850" y="80"/>
                    </a:lnTo>
                    <a:lnTo>
                      <a:pt x="846" y="78"/>
                    </a:lnTo>
                    <a:lnTo>
                      <a:pt x="846" y="74"/>
                    </a:lnTo>
                    <a:lnTo>
                      <a:pt x="846" y="72"/>
                    </a:lnTo>
                    <a:lnTo>
                      <a:pt x="846" y="72"/>
                    </a:lnTo>
                    <a:lnTo>
                      <a:pt x="846" y="72"/>
                    </a:lnTo>
                    <a:lnTo>
                      <a:pt x="846" y="72"/>
                    </a:lnTo>
                    <a:lnTo>
                      <a:pt x="846" y="64"/>
                    </a:lnTo>
                    <a:lnTo>
                      <a:pt x="846" y="58"/>
                    </a:lnTo>
                    <a:lnTo>
                      <a:pt x="846" y="58"/>
                    </a:lnTo>
                    <a:lnTo>
                      <a:pt x="844" y="54"/>
                    </a:lnTo>
                    <a:lnTo>
                      <a:pt x="842" y="52"/>
                    </a:lnTo>
                    <a:lnTo>
                      <a:pt x="840" y="52"/>
                    </a:lnTo>
                    <a:lnTo>
                      <a:pt x="834" y="50"/>
                    </a:lnTo>
                    <a:lnTo>
                      <a:pt x="830" y="50"/>
                    </a:lnTo>
                    <a:lnTo>
                      <a:pt x="818" y="50"/>
                    </a:lnTo>
                    <a:lnTo>
                      <a:pt x="805" y="54"/>
                    </a:lnTo>
                    <a:lnTo>
                      <a:pt x="801" y="56"/>
                    </a:lnTo>
                    <a:lnTo>
                      <a:pt x="791" y="54"/>
                    </a:lnTo>
                    <a:lnTo>
                      <a:pt x="758" y="41"/>
                    </a:lnTo>
                    <a:lnTo>
                      <a:pt x="723" y="39"/>
                    </a:lnTo>
                    <a:lnTo>
                      <a:pt x="721" y="39"/>
                    </a:lnTo>
                    <a:lnTo>
                      <a:pt x="719" y="37"/>
                    </a:lnTo>
                    <a:lnTo>
                      <a:pt x="719" y="37"/>
                    </a:lnTo>
                    <a:lnTo>
                      <a:pt x="717" y="35"/>
                    </a:lnTo>
                    <a:lnTo>
                      <a:pt x="717" y="33"/>
                    </a:lnTo>
                    <a:lnTo>
                      <a:pt x="717" y="31"/>
                    </a:lnTo>
                    <a:lnTo>
                      <a:pt x="717" y="31"/>
                    </a:lnTo>
                    <a:lnTo>
                      <a:pt x="717" y="29"/>
                    </a:lnTo>
                    <a:lnTo>
                      <a:pt x="717" y="27"/>
                    </a:lnTo>
                    <a:lnTo>
                      <a:pt x="717" y="27"/>
                    </a:lnTo>
                    <a:lnTo>
                      <a:pt x="715" y="27"/>
                    </a:lnTo>
                    <a:lnTo>
                      <a:pt x="715" y="27"/>
                    </a:lnTo>
                    <a:lnTo>
                      <a:pt x="676" y="25"/>
                    </a:lnTo>
                    <a:lnTo>
                      <a:pt x="676" y="23"/>
                    </a:lnTo>
                    <a:lnTo>
                      <a:pt x="672" y="23"/>
                    </a:lnTo>
                    <a:lnTo>
                      <a:pt x="660" y="13"/>
                    </a:lnTo>
                    <a:lnTo>
                      <a:pt x="656" y="11"/>
                    </a:lnTo>
                    <a:lnTo>
                      <a:pt x="645" y="11"/>
                    </a:lnTo>
                    <a:lnTo>
                      <a:pt x="645" y="11"/>
                    </a:lnTo>
                    <a:lnTo>
                      <a:pt x="645" y="11"/>
                    </a:lnTo>
                    <a:lnTo>
                      <a:pt x="609" y="5"/>
                    </a:lnTo>
                    <a:lnTo>
                      <a:pt x="594" y="7"/>
                    </a:lnTo>
                    <a:lnTo>
                      <a:pt x="572" y="7"/>
                    </a:lnTo>
                    <a:lnTo>
                      <a:pt x="562" y="7"/>
                    </a:lnTo>
                    <a:lnTo>
                      <a:pt x="539" y="7"/>
                    </a:lnTo>
                    <a:lnTo>
                      <a:pt x="512" y="0"/>
                    </a:lnTo>
                    <a:lnTo>
                      <a:pt x="508" y="0"/>
                    </a:lnTo>
                    <a:lnTo>
                      <a:pt x="504" y="0"/>
                    </a:lnTo>
                    <a:lnTo>
                      <a:pt x="500" y="1"/>
                    </a:lnTo>
                    <a:lnTo>
                      <a:pt x="496" y="1"/>
                    </a:lnTo>
                    <a:lnTo>
                      <a:pt x="486" y="7"/>
                    </a:lnTo>
                    <a:lnTo>
                      <a:pt x="480" y="9"/>
                    </a:lnTo>
                    <a:lnTo>
                      <a:pt x="434" y="17"/>
                    </a:lnTo>
                    <a:lnTo>
                      <a:pt x="430" y="17"/>
                    </a:lnTo>
                    <a:lnTo>
                      <a:pt x="420" y="15"/>
                    </a:lnTo>
                    <a:lnTo>
                      <a:pt x="379" y="19"/>
                    </a:lnTo>
                    <a:lnTo>
                      <a:pt x="375" y="19"/>
                    </a:lnTo>
                    <a:lnTo>
                      <a:pt x="373" y="21"/>
                    </a:lnTo>
                    <a:lnTo>
                      <a:pt x="371" y="23"/>
                    </a:lnTo>
                    <a:lnTo>
                      <a:pt x="365" y="33"/>
                    </a:lnTo>
                    <a:lnTo>
                      <a:pt x="363" y="37"/>
                    </a:lnTo>
                    <a:lnTo>
                      <a:pt x="363" y="39"/>
                    </a:lnTo>
                    <a:lnTo>
                      <a:pt x="357" y="56"/>
                    </a:lnTo>
                    <a:lnTo>
                      <a:pt x="353" y="62"/>
                    </a:lnTo>
                    <a:lnTo>
                      <a:pt x="352" y="64"/>
                    </a:lnTo>
                    <a:lnTo>
                      <a:pt x="334" y="76"/>
                    </a:lnTo>
                    <a:lnTo>
                      <a:pt x="310" y="97"/>
                    </a:lnTo>
                    <a:lnTo>
                      <a:pt x="303" y="99"/>
                    </a:lnTo>
                    <a:lnTo>
                      <a:pt x="303" y="99"/>
                    </a:lnTo>
                    <a:lnTo>
                      <a:pt x="299" y="93"/>
                    </a:lnTo>
                    <a:lnTo>
                      <a:pt x="293" y="89"/>
                    </a:lnTo>
                    <a:lnTo>
                      <a:pt x="293" y="89"/>
                    </a:lnTo>
                    <a:lnTo>
                      <a:pt x="289" y="87"/>
                    </a:lnTo>
                    <a:lnTo>
                      <a:pt x="287" y="85"/>
                    </a:lnTo>
                    <a:lnTo>
                      <a:pt x="283" y="85"/>
                    </a:lnTo>
                    <a:lnTo>
                      <a:pt x="281" y="85"/>
                    </a:lnTo>
                    <a:lnTo>
                      <a:pt x="271" y="82"/>
                    </a:lnTo>
                    <a:lnTo>
                      <a:pt x="269" y="82"/>
                    </a:lnTo>
                    <a:lnTo>
                      <a:pt x="268" y="82"/>
                    </a:lnTo>
                    <a:lnTo>
                      <a:pt x="250" y="85"/>
                    </a:lnTo>
                    <a:lnTo>
                      <a:pt x="248" y="87"/>
                    </a:lnTo>
                    <a:lnTo>
                      <a:pt x="248" y="89"/>
                    </a:lnTo>
                    <a:lnTo>
                      <a:pt x="246" y="89"/>
                    </a:lnTo>
                    <a:lnTo>
                      <a:pt x="244" y="93"/>
                    </a:lnTo>
                    <a:lnTo>
                      <a:pt x="244" y="93"/>
                    </a:lnTo>
                    <a:lnTo>
                      <a:pt x="244" y="95"/>
                    </a:lnTo>
                    <a:lnTo>
                      <a:pt x="246" y="97"/>
                    </a:lnTo>
                    <a:lnTo>
                      <a:pt x="248" y="101"/>
                    </a:lnTo>
                    <a:lnTo>
                      <a:pt x="250" y="109"/>
                    </a:lnTo>
                    <a:lnTo>
                      <a:pt x="250" y="113"/>
                    </a:lnTo>
                    <a:lnTo>
                      <a:pt x="250" y="113"/>
                    </a:lnTo>
                    <a:lnTo>
                      <a:pt x="250" y="117"/>
                    </a:lnTo>
                    <a:lnTo>
                      <a:pt x="248" y="117"/>
                    </a:lnTo>
                    <a:lnTo>
                      <a:pt x="248" y="117"/>
                    </a:lnTo>
                    <a:lnTo>
                      <a:pt x="248" y="117"/>
                    </a:lnTo>
                    <a:lnTo>
                      <a:pt x="246" y="117"/>
                    </a:lnTo>
                    <a:lnTo>
                      <a:pt x="248" y="117"/>
                    </a:lnTo>
                    <a:lnTo>
                      <a:pt x="248" y="121"/>
                    </a:lnTo>
                    <a:lnTo>
                      <a:pt x="250" y="123"/>
                    </a:lnTo>
                    <a:lnTo>
                      <a:pt x="254" y="124"/>
                    </a:lnTo>
                    <a:lnTo>
                      <a:pt x="256" y="126"/>
                    </a:lnTo>
                    <a:lnTo>
                      <a:pt x="254" y="130"/>
                    </a:lnTo>
                    <a:lnTo>
                      <a:pt x="254" y="132"/>
                    </a:lnTo>
                    <a:lnTo>
                      <a:pt x="262" y="142"/>
                    </a:lnTo>
                    <a:lnTo>
                      <a:pt x="262" y="146"/>
                    </a:lnTo>
                    <a:lnTo>
                      <a:pt x="260" y="148"/>
                    </a:lnTo>
                    <a:lnTo>
                      <a:pt x="260" y="150"/>
                    </a:lnTo>
                    <a:lnTo>
                      <a:pt x="260" y="152"/>
                    </a:lnTo>
                    <a:lnTo>
                      <a:pt x="260" y="156"/>
                    </a:lnTo>
                    <a:lnTo>
                      <a:pt x="258" y="156"/>
                    </a:lnTo>
                    <a:lnTo>
                      <a:pt x="254" y="160"/>
                    </a:lnTo>
                    <a:lnTo>
                      <a:pt x="252" y="164"/>
                    </a:lnTo>
                    <a:lnTo>
                      <a:pt x="250" y="167"/>
                    </a:lnTo>
                    <a:lnTo>
                      <a:pt x="252" y="173"/>
                    </a:lnTo>
                    <a:lnTo>
                      <a:pt x="254" y="173"/>
                    </a:lnTo>
                    <a:lnTo>
                      <a:pt x="258" y="175"/>
                    </a:lnTo>
                    <a:lnTo>
                      <a:pt x="260" y="175"/>
                    </a:lnTo>
                    <a:lnTo>
                      <a:pt x="269" y="197"/>
                    </a:lnTo>
                    <a:lnTo>
                      <a:pt x="273" y="201"/>
                    </a:lnTo>
                    <a:lnTo>
                      <a:pt x="281" y="206"/>
                    </a:lnTo>
                    <a:lnTo>
                      <a:pt x="289" y="214"/>
                    </a:lnTo>
                    <a:lnTo>
                      <a:pt x="291" y="218"/>
                    </a:lnTo>
                    <a:lnTo>
                      <a:pt x="289" y="218"/>
                    </a:lnTo>
                    <a:lnTo>
                      <a:pt x="289" y="222"/>
                    </a:lnTo>
                    <a:lnTo>
                      <a:pt x="291" y="226"/>
                    </a:lnTo>
                    <a:lnTo>
                      <a:pt x="295" y="234"/>
                    </a:lnTo>
                    <a:lnTo>
                      <a:pt x="297" y="238"/>
                    </a:lnTo>
                    <a:lnTo>
                      <a:pt x="299" y="247"/>
                    </a:lnTo>
                    <a:lnTo>
                      <a:pt x="299" y="249"/>
                    </a:lnTo>
                    <a:lnTo>
                      <a:pt x="299" y="251"/>
                    </a:lnTo>
                    <a:lnTo>
                      <a:pt x="299" y="253"/>
                    </a:lnTo>
                    <a:lnTo>
                      <a:pt x="301" y="253"/>
                    </a:lnTo>
                    <a:lnTo>
                      <a:pt x="303" y="255"/>
                    </a:lnTo>
                    <a:lnTo>
                      <a:pt x="305" y="259"/>
                    </a:lnTo>
                    <a:lnTo>
                      <a:pt x="307" y="261"/>
                    </a:lnTo>
                    <a:lnTo>
                      <a:pt x="307" y="263"/>
                    </a:lnTo>
                    <a:lnTo>
                      <a:pt x="307" y="267"/>
                    </a:lnTo>
                    <a:lnTo>
                      <a:pt x="309" y="271"/>
                    </a:lnTo>
                    <a:lnTo>
                      <a:pt x="320" y="281"/>
                    </a:lnTo>
                    <a:lnTo>
                      <a:pt x="334" y="288"/>
                    </a:lnTo>
                    <a:lnTo>
                      <a:pt x="336" y="292"/>
                    </a:lnTo>
                    <a:lnTo>
                      <a:pt x="334" y="296"/>
                    </a:lnTo>
                    <a:lnTo>
                      <a:pt x="330" y="298"/>
                    </a:lnTo>
                    <a:lnTo>
                      <a:pt x="324" y="298"/>
                    </a:lnTo>
                    <a:lnTo>
                      <a:pt x="320" y="298"/>
                    </a:lnTo>
                    <a:lnTo>
                      <a:pt x="316" y="296"/>
                    </a:lnTo>
                    <a:lnTo>
                      <a:pt x="312" y="296"/>
                    </a:lnTo>
                    <a:lnTo>
                      <a:pt x="309" y="300"/>
                    </a:lnTo>
                    <a:lnTo>
                      <a:pt x="307" y="304"/>
                    </a:lnTo>
                    <a:lnTo>
                      <a:pt x="307" y="310"/>
                    </a:lnTo>
                    <a:lnTo>
                      <a:pt x="309" y="314"/>
                    </a:lnTo>
                    <a:lnTo>
                      <a:pt x="312" y="316"/>
                    </a:lnTo>
                    <a:lnTo>
                      <a:pt x="316" y="316"/>
                    </a:lnTo>
                    <a:lnTo>
                      <a:pt x="316" y="318"/>
                    </a:lnTo>
                    <a:lnTo>
                      <a:pt x="314" y="322"/>
                    </a:lnTo>
                    <a:lnTo>
                      <a:pt x="316" y="326"/>
                    </a:lnTo>
                    <a:lnTo>
                      <a:pt x="322" y="329"/>
                    </a:lnTo>
                    <a:lnTo>
                      <a:pt x="326" y="329"/>
                    </a:lnTo>
                    <a:lnTo>
                      <a:pt x="326" y="335"/>
                    </a:lnTo>
                    <a:lnTo>
                      <a:pt x="326" y="341"/>
                    </a:lnTo>
                    <a:lnTo>
                      <a:pt x="330" y="351"/>
                    </a:lnTo>
                    <a:lnTo>
                      <a:pt x="330" y="351"/>
                    </a:lnTo>
                    <a:lnTo>
                      <a:pt x="326" y="359"/>
                    </a:lnTo>
                    <a:lnTo>
                      <a:pt x="328" y="370"/>
                    </a:lnTo>
                    <a:lnTo>
                      <a:pt x="330" y="374"/>
                    </a:lnTo>
                    <a:lnTo>
                      <a:pt x="330" y="374"/>
                    </a:lnTo>
                    <a:lnTo>
                      <a:pt x="330" y="376"/>
                    </a:lnTo>
                    <a:lnTo>
                      <a:pt x="328" y="378"/>
                    </a:lnTo>
                    <a:lnTo>
                      <a:pt x="326" y="382"/>
                    </a:lnTo>
                    <a:lnTo>
                      <a:pt x="314" y="388"/>
                    </a:lnTo>
                    <a:lnTo>
                      <a:pt x="314" y="390"/>
                    </a:lnTo>
                    <a:lnTo>
                      <a:pt x="314" y="396"/>
                    </a:lnTo>
                    <a:lnTo>
                      <a:pt x="314" y="400"/>
                    </a:lnTo>
                    <a:lnTo>
                      <a:pt x="312" y="402"/>
                    </a:lnTo>
                    <a:lnTo>
                      <a:pt x="310" y="411"/>
                    </a:lnTo>
                    <a:lnTo>
                      <a:pt x="301" y="413"/>
                    </a:lnTo>
                    <a:lnTo>
                      <a:pt x="271" y="415"/>
                    </a:lnTo>
                    <a:lnTo>
                      <a:pt x="266" y="417"/>
                    </a:lnTo>
                    <a:lnTo>
                      <a:pt x="262" y="417"/>
                    </a:lnTo>
                    <a:lnTo>
                      <a:pt x="260" y="419"/>
                    </a:lnTo>
                    <a:lnTo>
                      <a:pt x="258" y="423"/>
                    </a:lnTo>
                    <a:lnTo>
                      <a:pt x="256" y="431"/>
                    </a:lnTo>
                    <a:lnTo>
                      <a:pt x="256" y="431"/>
                    </a:lnTo>
                    <a:lnTo>
                      <a:pt x="254" y="435"/>
                    </a:lnTo>
                    <a:lnTo>
                      <a:pt x="240" y="449"/>
                    </a:lnTo>
                    <a:lnTo>
                      <a:pt x="234" y="452"/>
                    </a:lnTo>
                    <a:lnTo>
                      <a:pt x="234" y="452"/>
                    </a:lnTo>
                    <a:lnTo>
                      <a:pt x="226" y="460"/>
                    </a:lnTo>
                    <a:lnTo>
                      <a:pt x="219" y="466"/>
                    </a:lnTo>
                    <a:lnTo>
                      <a:pt x="180" y="507"/>
                    </a:lnTo>
                    <a:lnTo>
                      <a:pt x="176" y="515"/>
                    </a:lnTo>
                    <a:lnTo>
                      <a:pt x="170" y="519"/>
                    </a:lnTo>
                    <a:lnTo>
                      <a:pt x="162" y="527"/>
                    </a:lnTo>
                    <a:lnTo>
                      <a:pt x="144" y="554"/>
                    </a:lnTo>
                    <a:lnTo>
                      <a:pt x="137" y="562"/>
                    </a:lnTo>
                    <a:lnTo>
                      <a:pt x="137" y="564"/>
                    </a:lnTo>
                    <a:lnTo>
                      <a:pt x="135" y="568"/>
                    </a:lnTo>
                    <a:lnTo>
                      <a:pt x="135" y="570"/>
                    </a:lnTo>
                    <a:lnTo>
                      <a:pt x="133" y="572"/>
                    </a:lnTo>
                    <a:lnTo>
                      <a:pt x="131" y="574"/>
                    </a:lnTo>
                    <a:lnTo>
                      <a:pt x="129" y="574"/>
                    </a:lnTo>
                    <a:lnTo>
                      <a:pt x="127" y="575"/>
                    </a:lnTo>
                    <a:lnTo>
                      <a:pt x="117" y="595"/>
                    </a:lnTo>
                    <a:lnTo>
                      <a:pt x="113" y="597"/>
                    </a:lnTo>
                    <a:lnTo>
                      <a:pt x="111" y="597"/>
                    </a:lnTo>
                    <a:lnTo>
                      <a:pt x="107" y="599"/>
                    </a:lnTo>
                    <a:lnTo>
                      <a:pt x="105" y="601"/>
                    </a:lnTo>
                    <a:lnTo>
                      <a:pt x="105" y="603"/>
                    </a:lnTo>
                    <a:lnTo>
                      <a:pt x="101" y="611"/>
                    </a:lnTo>
                    <a:lnTo>
                      <a:pt x="90" y="628"/>
                    </a:lnTo>
                    <a:lnTo>
                      <a:pt x="86" y="638"/>
                    </a:lnTo>
                    <a:lnTo>
                      <a:pt x="88" y="648"/>
                    </a:lnTo>
                    <a:lnTo>
                      <a:pt x="90" y="650"/>
                    </a:lnTo>
                    <a:lnTo>
                      <a:pt x="92" y="661"/>
                    </a:lnTo>
                    <a:lnTo>
                      <a:pt x="92" y="665"/>
                    </a:lnTo>
                    <a:lnTo>
                      <a:pt x="92" y="665"/>
                    </a:lnTo>
                    <a:lnTo>
                      <a:pt x="94" y="669"/>
                    </a:lnTo>
                    <a:lnTo>
                      <a:pt x="98" y="673"/>
                    </a:lnTo>
                    <a:lnTo>
                      <a:pt x="98" y="675"/>
                    </a:lnTo>
                    <a:lnTo>
                      <a:pt x="100" y="679"/>
                    </a:lnTo>
                    <a:lnTo>
                      <a:pt x="101" y="702"/>
                    </a:lnTo>
                    <a:lnTo>
                      <a:pt x="101" y="706"/>
                    </a:lnTo>
                    <a:lnTo>
                      <a:pt x="98" y="714"/>
                    </a:lnTo>
                    <a:lnTo>
                      <a:pt x="96" y="724"/>
                    </a:lnTo>
                    <a:lnTo>
                      <a:pt x="94" y="728"/>
                    </a:lnTo>
                    <a:lnTo>
                      <a:pt x="92" y="732"/>
                    </a:lnTo>
                    <a:lnTo>
                      <a:pt x="94" y="734"/>
                    </a:lnTo>
                    <a:lnTo>
                      <a:pt x="94" y="732"/>
                    </a:lnTo>
                    <a:lnTo>
                      <a:pt x="96" y="730"/>
                    </a:lnTo>
                    <a:lnTo>
                      <a:pt x="100" y="732"/>
                    </a:lnTo>
                    <a:lnTo>
                      <a:pt x="100" y="732"/>
                    </a:lnTo>
                    <a:lnTo>
                      <a:pt x="98" y="732"/>
                    </a:lnTo>
                    <a:lnTo>
                      <a:pt x="103" y="736"/>
                    </a:lnTo>
                    <a:lnTo>
                      <a:pt x="109" y="741"/>
                    </a:lnTo>
                    <a:lnTo>
                      <a:pt x="111" y="745"/>
                    </a:lnTo>
                    <a:lnTo>
                      <a:pt x="119" y="749"/>
                    </a:lnTo>
                    <a:lnTo>
                      <a:pt x="121" y="751"/>
                    </a:lnTo>
                    <a:lnTo>
                      <a:pt x="121" y="753"/>
                    </a:lnTo>
                    <a:lnTo>
                      <a:pt x="119" y="759"/>
                    </a:lnTo>
                    <a:lnTo>
                      <a:pt x="119" y="761"/>
                    </a:lnTo>
                    <a:lnTo>
                      <a:pt x="119" y="765"/>
                    </a:lnTo>
                    <a:lnTo>
                      <a:pt x="123" y="769"/>
                    </a:lnTo>
                    <a:lnTo>
                      <a:pt x="123" y="769"/>
                    </a:lnTo>
                    <a:lnTo>
                      <a:pt x="123" y="771"/>
                    </a:lnTo>
                    <a:lnTo>
                      <a:pt x="121" y="775"/>
                    </a:lnTo>
                    <a:lnTo>
                      <a:pt x="117" y="773"/>
                    </a:lnTo>
                    <a:lnTo>
                      <a:pt x="115" y="769"/>
                    </a:lnTo>
                    <a:lnTo>
                      <a:pt x="111" y="769"/>
                    </a:lnTo>
                    <a:lnTo>
                      <a:pt x="109" y="767"/>
                    </a:lnTo>
                    <a:lnTo>
                      <a:pt x="105" y="763"/>
                    </a:lnTo>
                    <a:lnTo>
                      <a:pt x="105" y="761"/>
                    </a:lnTo>
                    <a:lnTo>
                      <a:pt x="103" y="761"/>
                    </a:lnTo>
                    <a:lnTo>
                      <a:pt x="100" y="763"/>
                    </a:lnTo>
                    <a:lnTo>
                      <a:pt x="94" y="761"/>
                    </a:lnTo>
                    <a:lnTo>
                      <a:pt x="90" y="763"/>
                    </a:lnTo>
                    <a:lnTo>
                      <a:pt x="86" y="761"/>
                    </a:lnTo>
                    <a:lnTo>
                      <a:pt x="82" y="759"/>
                    </a:lnTo>
                    <a:lnTo>
                      <a:pt x="76" y="751"/>
                    </a:lnTo>
                    <a:lnTo>
                      <a:pt x="72" y="751"/>
                    </a:lnTo>
                    <a:lnTo>
                      <a:pt x="68" y="755"/>
                    </a:lnTo>
                    <a:lnTo>
                      <a:pt x="68" y="757"/>
                    </a:lnTo>
                    <a:lnTo>
                      <a:pt x="66" y="759"/>
                    </a:lnTo>
                    <a:lnTo>
                      <a:pt x="66" y="761"/>
                    </a:lnTo>
                    <a:lnTo>
                      <a:pt x="66" y="765"/>
                    </a:lnTo>
                    <a:lnTo>
                      <a:pt x="66" y="769"/>
                    </a:lnTo>
                    <a:lnTo>
                      <a:pt x="64" y="771"/>
                    </a:lnTo>
                    <a:lnTo>
                      <a:pt x="64" y="773"/>
                    </a:lnTo>
                    <a:lnTo>
                      <a:pt x="64" y="775"/>
                    </a:lnTo>
                    <a:lnTo>
                      <a:pt x="62" y="777"/>
                    </a:lnTo>
                    <a:lnTo>
                      <a:pt x="57" y="779"/>
                    </a:lnTo>
                    <a:lnTo>
                      <a:pt x="57" y="779"/>
                    </a:lnTo>
                    <a:lnTo>
                      <a:pt x="53" y="781"/>
                    </a:lnTo>
                    <a:lnTo>
                      <a:pt x="51" y="788"/>
                    </a:lnTo>
                    <a:lnTo>
                      <a:pt x="49" y="790"/>
                    </a:lnTo>
                    <a:lnTo>
                      <a:pt x="47" y="796"/>
                    </a:lnTo>
                    <a:lnTo>
                      <a:pt x="47" y="796"/>
                    </a:lnTo>
                    <a:lnTo>
                      <a:pt x="47" y="800"/>
                    </a:lnTo>
                    <a:lnTo>
                      <a:pt x="47" y="800"/>
                    </a:lnTo>
                    <a:lnTo>
                      <a:pt x="47" y="802"/>
                    </a:lnTo>
                    <a:lnTo>
                      <a:pt x="47" y="802"/>
                    </a:lnTo>
                    <a:lnTo>
                      <a:pt x="45" y="804"/>
                    </a:lnTo>
                    <a:lnTo>
                      <a:pt x="45" y="804"/>
                    </a:lnTo>
                    <a:lnTo>
                      <a:pt x="41" y="808"/>
                    </a:lnTo>
                    <a:lnTo>
                      <a:pt x="41" y="808"/>
                    </a:lnTo>
                    <a:lnTo>
                      <a:pt x="41" y="810"/>
                    </a:lnTo>
                    <a:lnTo>
                      <a:pt x="41" y="810"/>
                    </a:lnTo>
                    <a:lnTo>
                      <a:pt x="39" y="810"/>
                    </a:lnTo>
                    <a:lnTo>
                      <a:pt x="39" y="812"/>
                    </a:lnTo>
                    <a:lnTo>
                      <a:pt x="39" y="814"/>
                    </a:lnTo>
                    <a:lnTo>
                      <a:pt x="39" y="814"/>
                    </a:lnTo>
                    <a:lnTo>
                      <a:pt x="39" y="816"/>
                    </a:lnTo>
                    <a:lnTo>
                      <a:pt x="39" y="816"/>
                    </a:lnTo>
                    <a:lnTo>
                      <a:pt x="39" y="823"/>
                    </a:lnTo>
                    <a:lnTo>
                      <a:pt x="39" y="825"/>
                    </a:lnTo>
                    <a:lnTo>
                      <a:pt x="39" y="825"/>
                    </a:lnTo>
                    <a:lnTo>
                      <a:pt x="39" y="827"/>
                    </a:lnTo>
                    <a:lnTo>
                      <a:pt x="39" y="829"/>
                    </a:lnTo>
                    <a:lnTo>
                      <a:pt x="37" y="829"/>
                    </a:lnTo>
                    <a:lnTo>
                      <a:pt x="37" y="831"/>
                    </a:lnTo>
                    <a:lnTo>
                      <a:pt x="37" y="831"/>
                    </a:lnTo>
                    <a:lnTo>
                      <a:pt x="35" y="833"/>
                    </a:lnTo>
                    <a:lnTo>
                      <a:pt x="35" y="833"/>
                    </a:lnTo>
                    <a:lnTo>
                      <a:pt x="33" y="835"/>
                    </a:lnTo>
                    <a:lnTo>
                      <a:pt x="33" y="837"/>
                    </a:lnTo>
                    <a:lnTo>
                      <a:pt x="33" y="843"/>
                    </a:lnTo>
                    <a:lnTo>
                      <a:pt x="31" y="849"/>
                    </a:lnTo>
                    <a:lnTo>
                      <a:pt x="31" y="849"/>
                    </a:lnTo>
                    <a:lnTo>
                      <a:pt x="31" y="849"/>
                    </a:lnTo>
                    <a:lnTo>
                      <a:pt x="31" y="849"/>
                    </a:lnTo>
                    <a:lnTo>
                      <a:pt x="29" y="853"/>
                    </a:lnTo>
                    <a:lnTo>
                      <a:pt x="29" y="855"/>
                    </a:lnTo>
                    <a:lnTo>
                      <a:pt x="27" y="857"/>
                    </a:lnTo>
                    <a:lnTo>
                      <a:pt x="25" y="859"/>
                    </a:lnTo>
                    <a:lnTo>
                      <a:pt x="21" y="861"/>
                    </a:lnTo>
                    <a:lnTo>
                      <a:pt x="21" y="861"/>
                    </a:lnTo>
                    <a:lnTo>
                      <a:pt x="19" y="861"/>
                    </a:lnTo>
                    <a:lnTo>
                      <a:pt x="17" y="863"/>
                    </a:lnTo>
                    <a:lnTo>
                      <a:pt x="15" y="866"/>
                    </a:lnTo>
                    <a:lnTo>
                      <a:pt x="15" y="868"/>
                    </a:lnTo>
                    <a:lnTo>
                      <a:pt x="15" y="868"/>
                    </a:lnTo>
                    <a:lnTo>
                      <a:pt x="4" y="878"/>
                    </a:lnTo>
                    <a:lnTo>
                      <a:pt x="2" y="882"/>
                    </a:lnTo>
                    <a:lnTo>
                      <a:pt x="2" y="882"/>
                    </a:lnTo>
                    <a:lnTo>
                      <a:pt x="2" y="884"/>
                    </a:lnTo>
                    <a:lnTo>
                      <a:pt x="2" y="886"/>
                    </a:lnTo>
                    <a:lnTo>
                      <a:pt x="4" y="898"/>
                    </a:lnTo>
                    <a:lnTo>
                      <a:pt x="2" y="900"/>
                    </a:lnTo>
                    <a:lnTo>
                      <a:pt x="2" y="902"/>
                    </a:lnTo>
                    <a:lnTo>
                      <a:pt x="0" y="905"/>
                    </a:lnTo>
                    <a:lnTo>
                      <a:pt x="0" y="919"/>
                    </a:lnTo>
                    <a:lnTo>
                      <a:pt x="0" y="923"/>
                    </a:lnTo>
                    <a:lnTo>
                      <a:pt x="4" y="923"/>
                    </a:lnTo>
                    <a:lnTo>
                      <a:pt x="4" y="923"/>
                    </a:lnTo>
                    <a:lnTo>
                      <a:pt x="6" y="923"/>
                    </a:lnTo>
                    <a:lnTo>
                      <a:pt x="6" y="921"/>
                    </a:lnTo>
                    <a:lnTo>
                      <a:pt x="12" y="919"/>
                    </a:lnTo>
                    <a:lnTo>
                      <a:pt x="17" y="921"/>
                    </a:lnTo>
                    <a:lnTo>
                      <a:pt x="23" y="923"/>
                    </a:lnTo>
                    <a:lnTo>
                      <a:pt x="21" y="931"/>
                    </a:lnTo>
                    <a:lnTo>
                      <a:pt x="21" y="935"/>
                    </a:lnTo>
                    <a:lnTo>
                      <a:pt x="25" y="935"/>
                    </a:lnTo>
                    <a:lnTo>
                      <a:pt x="27" y="935"/>
                    </a:lnTo>
                    <a:lnTo>
                      <a:pt x="27" y="937"/>
                    </a:lnTo>
                    <a:lnTo>
                      <a:pt x="27" y="941"/>
                    </a:lnTo>
                    <a:lnTo>
                      <a:pt x="27" y="943"/>
                    </a:lnTo>
                    <a:lnTo>
                      <a:pt x="27" y="946"/>
                    </a:lnTo>
                    <a:lnTo>
                      <a:pt x="29" y="950"/>
                    </a:lnTo>
                    <a:lnTo>
                      <a:pt x="37" y="964"/>
                    </a:lnTo>
                    <a:lnTo>
                      <a:pt x="39" y="964"/>
                    </a:lnTo>
                    <a:lnTo>
                      <a:pt x="41" y="966"/>
                    </a:lnTo>
                    <a:lnTo>
                      <a:pt x="41" y="964"/>
                    </a:lnTo>
                    <a:lnTo>
                      <a:pt x="43" y="964"/>
                    </a:lnTo>
                    <a:lnTo>
                      <a:pt x="43" y="964"/>
                    </a:lnTo>
                    <a:lnTo>
                      <a:pt x="45" y="964"/>
                    </a:lnTo>
                    <a:lnTo>
                      <a:pt x="45" y="964"/>
                    </a:lnTo>
                    <a:lnTo>
                      <a:pt x="49" y="964"/>
                    </a:lnTo>
                    <a:lnTo>
                      <a:pt x="51" y="966"/>
                    </a:lnTo>
                    <a:lnTo>
                      <a:pt x="53" y="966"/>
                    </a:lnTo>
                    <a:lnTo>
                      <a:pt x="57" y="964"/>
                    </a:lnTo>
                    <a:lnTo>
                      <a:pt x="57" y="964"/>
                    </a:lnTo>
                    <a:lnTo>
                      <a:pt x="58" y="964"/>
                    </a:lnTo>
                    <a:lnTo>
                      <a:pt x="58" y="964"/>
                    </a:lnTo>
                    <a:lnTo>
                      <a:pt x="70" y="980"/>
                    </a:lnTo>
                    <a:lnTo>
                      <a:pt x="74" y="986"/>
                    </a:lnTo>
                    <a:lnTo>
                      <a:pt x="76" y="993"/>
                    </a:lnTo>
                    <a:lnTo>
                      <a:pt x="78" y="999"/>
                    </a:lnTo>
                    <a:lnTo>
                      <a:pt x="80" y="1001"/>
                    </a:lnTo>
                    <a:lnTo>
                      <a:pt x="80" y="1001"/>
                    </a:lnTo>
                    <a:lnTo>
                      <a:pt x="82" y="999"/>
                    </a:lnTo>
                    <a:lnTo>
                      <a:pt x="94" y="999"/>
                    </a:lnTo>
                    <a:lnTo>
                      <a:pt x="98" y="997"/>
                    </a:lnTo>
                    <a:lnTo>
                      <a:pt x="100" y="995"/>
                    </a:lnTo>
                    <a:lnTo>
                      <a:pt x="103" y="995"/>
                    </a:lnTo>
                    <a:lnTo>
                      <a:pt x="105" y="997"/>
                    </a:lnTo>
                    <a:lnTo>
                      <a:pt x="105" y="999"/>
                    </a:lnTo>
                    <a:lnTo>
                      <a:pt x="113" y="1001"/>
                    </a:lnTo>
                    <a:lnTo>
                      <a:pt x="117" y="1007"/>
                    </a:lnTo>
                    <a:lnTo>
                      <a:pt x="119" y="1009"/>
                    </a:lnTo>
                    <a:lnTo>
                      <a:pt x="121" y="1013"/>
                    </a:lnTo>
                    <a:lnTo>
                      <a:pt x="123" y="1017"/>
                    </a:lnTo>
                    <a:lnTo>
                      <a:pt x="121" y="1021"/>
                    </a:lnTo>
                    <a:lnTo>
                      <a:pt x="121" y="1023"/>
                    </a:lnTo>
                    <a:lnTo>
                      <a:pt x="121" y="1027"/>
                    </a:lnTo>
                    <a:lnTo>
                      <a:pt x="117" y="1030"/>
                    </a:lnTo>
                    <a:lnTo>
                      <a:pt x="119" y="1032"/>
                    </a:lnTo>
                    <a:lnTo>
                      <a:pt x="125" y="1038"/>
                    </a:lnTo>
                    <a:lnTo>
                      <a:pt x="125" y="1038"/>
                    </a:lnTo>
                    <a:lnTo>
                      <a:pt x="129" y="1036"/>
                    </a:lnTo>
                    <a:lnTo>
                      <a:pt x="129" y="1036"/>
                    </a:lnTo>
                    <a:lnTo>
                      <a:pt x="129" y="1036"/>
                    </a:lnTo>
                    <a:lnTo>
                      <a:pt x="131" y="1034"/>
                    </a:lnTo>
                    <a:lnTo>
                      <a:pt x="133" y="1030"/>
                    </a:lnTo>
                    <a:lnTo>
                      <a:pt x="131" y="1027"/>
                    </a:lnTo>
                    <a:lnTo>
                      <a:pt x="133" y="1023"/>
                    </a:lnTo>
                    <a:lnTo>
                      <a:pt x="135" y="1023"/>
                    </a:lnTo>
                    <a:lnTo>
                      <a:pt x="137" y="1025"/>
                    </a:lnTo>
                    <a:lnTo>
                      <a:pt x="139" y="1025"/>
                    </a:lnTo>
                    <a:lnTo>
                      <a:pt x="141" y="1027"/>
                    </a:lnTo>
                    <a:lnTo>
                      <a:pt x="141" y="1027"/>
                    </a:lnTo>
                    <a:lnTo>
                      <a:pt x="142" y="1027"/>
                    </a:lnTo>
                    <a:lnTo>
                      <a:pt x="144" y="1028"/>
                    </a:lnTo>
                    <a:lnTo>
                      <a:pt x="146" y="1028"/>
                    </a:lnTo>
                    <a:lnTo>
                      <a:pt x="146" y="1028"/>
                    </a:lnTo>
                    <a:lnTo>
                      <a:pt x="148" y="1028"/>
                    </a:lnTo>
                    <a:lnTo>
                      <a:pt x="152" y="1027"/>
                    </a:lnTo>
                    <a:lnTo>
                      <a:pt x="156" y="1023"/>
                    </a:lnTo>
                    <a:lnTo>
                      <a:pt x="158" y="1021"/>
                    </a:lnTo>
                    <a:lnTo>
                      <a:pt x="158" y="1019"/>
                    </a:lnTo>
                    <a:lnTo>
                      <a:pt x="160" y="1011"/>
                    </a:lnTo>
                    <a:lnTo>
                      <a:pt x="162" y="1007"/>
                    </a:lnTo>
                    <a:lnTo>
                      <a:pt x="166" y="1001"/>
                    </a:lnTo>
                    <a:lnTo>
                      <a:pt x="168" y="999"/>
                    </a:lnTo>
                    <a:lnTo>
                      <a:pt x="172" y="1001"/>
                    </a:lnTo>
                    <a:lnTo>
                      <a:pt x="172" y="1001"/>
                    </a:lnTo>
                    <a:lnTo>
                      <a:pt x="180" y="1003"/>
                    </a:lnTo>
                    <a:lnTo>
                      <a:pt x="184" y="1005"/>
                    </a:lnTo>
                    <a:lnTo>
                      <a:pt x="185" y="1007"/>
                    </a:lnTo>
                    <a:lnTo>
                      <a:pt x="187" y="1007"/>
                    </a:lnTo>
                    <a:lnTo>
                      <a:pt x="193" y="1015"/>
                    </a:lnTo>
                    <a:lnTo>
                      <a:pt x="197" y="1019"/>
                    </a:lnTo>
                    <a:lnTo>
                      <a:pt x="201" y="1023"/>
                    </a:lnTo>
                    <a:lnTo>
                      <a:pt x="205" y="1027"/>
                    </a:lnTo>
                    <a:lnTo>
                      <a:pt x="207" y="1027"/>
                    </a:lnTo>
                    <a:lnTo>
                      <a:pt x="207" y="1027"/>
                    </a:lnTo>
                    <a:lnTo>
                      <a:pt x="209" y="1027"/>
                    </a:lnTo>
                    <a:lnTo>
                      <a:pt x="209" y="1027"/>
                    </a:lnTo>
                    <a:lnTo>
                      <a:pt x="209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3" y="1027"/>
                    </a:lnTo>
                    <a:lnTo>
                      <a:pt x="223" y="1032"/>
                    </a:lnTo>
                    <a:lnTo>
                      <a:pt x="226" y="1030"/>
                    </a:lnTo>
                    <a:lnTo>
                      <a:pt x="226" y="1030"/>
                    </a:lnTo>
                    <a:lnTo>
                      <a:pt x="226" y="1030"/>
                    </a:lnTo>
                    <a:lnTo>
                      <a:pt x="228" y="1028"/>
                    </a:lnTo>
                    <a:lnTo>
                      <a:pt x="228" y="1028"/>
                    </a:lnTo>
                    <a:lnTo>
                      <a:pt x="228" y="1028"/>
                    </a:lnTo>
                    <a:lnTo>
                      <a:pt x="230" y="1027"/>
                    </a:lnTo>
                    <a:lnTo>
                      <a:pt x="230" y="1027"/>
                    </a:lnTo>
                    <a:lnTo>
                      <a:pt x="232" y="1025"/>
                    </a:lnTo>
                    <a:lnTo>
                      <a:pt x="234" y="1025"/>
                    </a:lnTo>
                    <a:lnTo>
                      <a:pt x="240" y="1023"/>
                    </a:lnTo>
                    <a:lnTo>
                      <a:pt x="242" y="1025"/>
                    </a:lnTo>
                    <a:lnTo>
                      <a:pt x="242" y="1025"/>
                    </a:lnTo>
                    <a:lnTo>
                      <a:pt x="244" y="1025"/>
                    </a:lnTo>
                    <a:lnTo>
                      <a:pt x="254" y="1025"/>
                    </a:lnTo>
                    <a:lnTo>
                      <a:pt x="260" y="1027"/>
                    </a:lnTo>
                    <a:lnTo>
                      <a:pt x="260" y="1028"/>
                    </a:lnTo>
                    <a:lnTo>
                      <a:pt x="264" y="1028"/>
                    </a:lnTo>
                    <a:lnTo>
                      <a:pt x="264" y="1028"/>
                    </a:lnTo>
                    <a:lnTo>
                      <a:pt x="266" y="1028"/>
                    </a:lnTo>
                    <a:lnTo>
                      <a:pt x="275" y="1028"/>
                    </a:lnTo>
                    <a:lnTo>
                      <a:pt x="279" y="1028"/>
                    </a:lnTo>
                    <a:lnTo>
                      <a:pt x="287" y="1036"/>
                    </a:lnTo>
                    <a:lnTo>
                      <a:pt x="287" y="1036"/>
                    </a:lnTo>
                    <a:lnTo>
                      <a:pt x="287" y="1036"/>
                    </a:lnTo>
                    <a:lnTo>
                      <a:pt x="287" y="1038"/>
                    </a:lnTo>
                    <a:lnTo>
                      <a:pt x="289" y="1040"/>
                    </a:lnTo>
                    <a:lnTo>
                      <a:pt x="293" y="1040"/>
                    </a:lnTo>
                    <a:lnTo>
                      <a:pt x="309" y="1034"/>
                    </a:lnTo>
                    <a:lnTo>
                      <a:pt x="312" y="1034"/>
                    </a:lnTo>
                    <a:lnTo>
                      <a:pt x="314" y="1034"/>
                    </a:lnTo>
                    <a:lnTo>
                      <a:pt x="316" y="1036"/>
                    </a:lnTo>
                    <a:lnTo>
                      <a:pt x="326" y="1038"/>
                    </a:lnTo>
                    <a:lnTo>
                      <a:pt x="328" y="1040"/>
                    </a:lnTo>
                    <a:lnTo>
                      <a:pt x="328" y="1040"/>
                    </a:lnTo>
                    <a:lnTo>
                      <a:pt x="334" y="1046"/>
                    </a:lnTo>
                    <a:lnTo>
                      <a:pt x="336" y="1046"/>
                    </a:lnTo>
                    <a:lnTo>
                      <a:pt x="338" y="1046"/>
                    </a:lnTo>
                    <a:lnTo>
                      <a:pt x="338" y="1046"/>
                    </a:lnTo>
                    <a:lnTo>
                      <a:pt x="338" y="1046"/>
                    </a:lnTo>
                    <a:lnTo>
                      <a:pt x="338" y="1046"/>
                    </a:lnTo>
                    <a:lnTo>
                      <a:pt x="348" y="1050"/>
                    </a:lnTo>
                    <a:lnTo>
                      <a:pt x="352" y="1050"/>
                    </a:lnTo>
                    <a:lnTo>
                      <a:pt x="353" y="1050"/>
                    </a:lnTo>
                    <a:lnTo>
                      <a:pt x="363" y="1044"/>
                    </a:lnTo>
                    <a:lnTo>
                      <a:pt x="371" y="1044"/>
                    </a:lnTo>
                    <a:lnTo>
                      <a:pt x="377" y="1038"/>
                    </a:lnTo>
                    <a:lnTo>
                      <a:pt x="377" y="1038"/>
                    </a:lnTo>
                    <a:lnTo>
                      <a:pt x="381" y="1036"/>
                    </a:lnTo>
                    <a:lnTo>
                      <a:pt x="383" y="1036"/>
                    </a:lnTo>
                    <a:lnTo>
                      <a:pt x="385" y="1036"/>
                    </a:lnTo>
                    <a:lnTo>
                      <a:pt x="389" y="1036"/>
                    </a:lnTo>
                    <a:lnTo>
                      <a:pt x="394" y="1038"/>
                    </a:lnTo>
                    <a:lnTo>
                      <a:pt x="404" y="1038"/>
                    </a:lnTo>
                    <a:lnTo>
                      <a:pt x="406" y="1040"/>
                    </a:lnTo>
                    <a:lnTo>
                      <a:pt x="408" y="1040"/>
                    </a:lnTo>
                    <a:lnTo>
                      <a:pt x="408" y="1040"/>
                    </a:lnTo>
                    <a:lnTo>
                      <a:pt x="414" y="1044"/>
                    </a:lnTo>
                    <a:lnTo>
                      <a:pt x="418" y="1048"/>
                    </a:lnTo>
                    <a:lnTo>
                      <a:pt x="420" y="1048"/>
                    </a:lnTo>
                    <a:lnTo>
                      <a:pt x="422" y="1050"/>
                    </a:lnTo>
                    <a:lnTo>
                      <a:pt x="422" y="1054"/>
                    </a:lnTo>
                    <a:lnTo>
                      <a:pt x="422" y="1058"/>
                    </a:lnTo>
                    <a:lnTo>
                      <a:pt x="424" y="1062"/>
                    </a:lnTo>
                    <a:lnTo>
                      <a:pt x="426" y="1064"/>
                    </a:lnTo>
                    <a:lnTo>
                      <a:pt x="432" y="1068"/>
                    </a:lnTo>
                    <a:lnTo>
                      <a:pt x="445" y="1073"/>
                    </a:lnTo>
                    <a:lnTo>
                      <a:pt x="445" y="1073"/>
                    </a:lnTo>
                    <a:lnTo>
                      <a:pt x="447" y="1075"/>
                    </a:lnTo>
                    <a:lnTo>
                      <a:pt x="449" y="1077"/>
                    </a:lnTo>
                    <a:lnTo>
                      <a:pt x="455" y="1089"/>
                    </a:lnTo>
                    <a:lnTo>
                      <a:pt x="459" y="1095"/>
                    </a:lnTo>
                    <a:lnTo>
                      <a:pt x="461" y="1095"/>
                    </a:lnTo>
                    <a:lnTo>
                      <a:pt x="463" y="1097"/>
                    </a:lnTo>
                    <a:lnTo>
                      <a:pt x="469" y="1095"/>
                    </a:lnTo>
                    <a:lnTo>
                      <a:pt x="471" y="1095"/>
                    </a:lnTo>
                    <a:lnTo>
                      <a:pt x="482" y="1093"/>
                    </a:lnTo>
                    <a:lnTo>
                      <a:pt x="494" y="1089"/>
                    </a:lnTo>
                    <a:lnTo>
                      <a:pt x="494" y="1089"/>
                    </a:lnTo>
                    <a:lnTo>
                      <a:pt x="494" y="1089"/>
                    </a:lnTo>
                    <a:lnTo>
                      <a:pt x="500" y="1083"/>
                    </a:lnTo>
                    <a:lnTo>
                      <a:pt x="500" y="1081"/>
                    </a:lnTo>
                    <a:lnTo>
                      <a:pt x="504" y="1077"/>
                    </a:lnTo>
                    <a:lnTo>
                      <a:pt x="518" y="1054"/>
                    </a:lnTo>
                    <a:lnTo>
                      <a:pt x="523" y="1050"/>
                    </a:lnTo>
                    <a:lnTo>
                      <a:pt x="523" y="1050"/>
                    </a:lnTo>
                    <a:lnTo>
                      <a:pt x="523" y="1050"/>
                    </a:lnTo>
                    <a:lnTo>
                      <a:pt x="537" y="1048"/>
                    </a:lnTo>
                    <a:lnTo>
                      <a:pt x="605" y="1040"/>
                    </a:lnTo>
                    <a:lnTo>
                      <a:pt x="617" y="1036"/>
                    </a:lnTo>
                    <a:lnTo>
                      <a:pt x="621" y="1036"/>
                    </a:lnTo>
                    <a:lnTo>
                      <a:pt x="625" y="1034"/>
                    </a:lnTo>
                    <a:lnTo>
                      <a:pt x="629" y="1034"/>
                    </a:lnTo>
                    <a:lnTo>
                      <a:pt x="631" y="1032"/>
                    </a:lnTo>
                    <a:lnTo>
                      <a:pt x="633" y="1032"/>
                    </a:lnTo>
                    <a:lnTo>
                      <a:pt x="633" y="1032"/>
                    </a:lnTo>
                    <a:lnTo>
                      <a:pt x="637" y="1032"/>
                    </a:lnTo>
                    <a:lnTo>
                      <a:pt x="643" y="1032"/>
                    </a:lnTo>
                    <a:lnTo>
                      <a:pt x="652" y="1030"/>
                    </a:lnTo>
                    <a:lnTo>
                      <a:pt x="658" y="1030"/>
                    </a:lnTo>
                    <a:lnTo>
                      <a:pt x="664" y="1030"/>
                    </a:lnTo>
                    <a:lnTo>
                      <a:pt x="668" y="1030"/>
                    </a:lnTo>
                    <a:lnTo>
                      <a:pt x="676" y="1027"/>
                    </a:lnTo>
                    <a:lnTo>
                      <a:pt x="678" y="1025"/>
                    </a:lnTo>
                    <a:lnTo>
                      <a:pt x="680" y="1021"/>
                    </a:lnTo>
                    <a:lnTo>
                      <a:pt x="682" y="1015"/>
                    </a:lnTo>
                    <a:lnTo>
                      <a:pt x="684" y="1013"/>
                    </a:lnTo>
                    <a:lnTo>
                      <a:pt x="684" y="1013"/>
                    </a:lnTo>
                    <a:lnTo>
                      <a:pt x="688" y="1009"/>
                    </a:lnTo>
                    <a:lnTo>
                      <a:pt x="689" y="1007"/>
                    </a:lnTo>
                    <a:lnTo>
                      <a:pt x="691" y="1003"/>
                    </a:lnTo>
                    <a:lnTo>
                      <a:pt x="693" y="1001"/>
                    </a:lnTo>
                    <a:lnTo>
                      <a:pt x="695" y="993"/>
                    </a:lnTo>
                    <a:lnTo>
                      <a:pt x="697" y="986"/>
                    </a:lnTo>
                    <a:lnTo>
                      <a:pt x="697" y="980"/>
                    </a:lnTo>
                    <a:lnTo>
                      <a:pt x="697" y="974"/>
                    </a:lnTo>
                    <a:lnTo>
                      <a:pt x="697" y="972"/>
                    </a:lnTo>
                    <a:lnTo>
                      <a:pt x="697" y="972"/>
                    </a:lnTo>
                    <a:lnTo>
                      <a:pt x="697" y="972"/>
                    </a:lnTo>
                    <a:lnTo>
                      <a:pt x="699" y="972"/>
                    </a:lnTo>
                    <a:lnTo>
                      <a:pt x="699" y="972"/>
                    </a:lnTo>
                    <a:lnTo>
                      <a:pt x="701" y="972"/>
                    </a:lnTo>
                    <a:lnTo>
                      <a:pt x="703" y="972"/>
                    </a:lnTo>
                    <a:lnTo>
                      <a:pt x="705" y="972"/>
                    </a:lnTo>
                    <a:lnTo>
                      <a:pt x="711" y="968"/>
                    </a:lnTo>
                    <a:lnTo>
                      <a:pt x="713" y="968"/>
                    </a:lnTo>
                    <a:lnTo>
                      <a:pt x="715" y="968"/>
                    </a:lnTo>
                    <a:lnTo>
                      <a:pt x="723" y="968"/>
                    </a:lnTo>
                    <a:lnTo>
                      <a:pt x="723" y="968"/>
                    </a:lnTo>
                    <a:lnTo>
                      <a:pt x="725" y="966"/>
                    </a:lnTo>
                    <a:lnTo>
                      <a:pt x="742" y="962"/>
                    </a:lnTo>
                    <a:lnTo>
                      <a:pt x="746" y="962"/>
                    </a:lnTo>
                    <a:lnTo>
                      <a:pt x="750" y="960"/>
                    </a:lnTo>
                    <a:lnTo>
                      <a:pt x="750" y="958"/>
                    </a:lnTo>
                    <a:lnTo>
                      <a:pt x="752" y="956"/>
                    </a:lnTo>
                    <a:lnTo>
                      <a:pt x="752" y="954"/>
                    </a:lnTo>
                    <a:lnTo>
                      <a:pt x="754" y="950"/>
                    </a:lnTo>
                    <a:lnTo>
                      <a:pt x="754" y="950"/>
                    </a:lnTo>
                    <a:lnTo>
                      <a:pt x="754" y="950"/>
                    </a:lnTo>
                    <a:lnTo>
                      <a:pt x="754" y="950"/>
                    </a:lnTo>
                    <a:lnTo>
                      <a:pt x="760" y="946"/>
                    </a:lnTo>
                    <a:lnTo>
                      <a:pt x="760" y="946"/>
                    </a:lnTo>
                    <a:lnTo>
                      <a:pt x="760" y="945"/>
                    </a:lnTo>
                    <a:lnTo>
                      <a:pt x="762" y="943"/>
                    </a:lnTo>
                    <a:lnTo>
                      <a:pt x="762" y="943"/>
                    </a:lnTo>
                    <a:lnTo>
                      <a:pt x="762" y="943"/>
                    </a:lnTo>
                    <a:lnTo>
                      <a:pt x="762" y="943"/>
                    </a:lnTo>
                    <a:lnTo>
                      <a:pt x="764" y="943"/>
                    </a:lnTo>
                    <a:lnTo>
                      <a:pt x="768" y="946"/>
                    </a:lnTo>
                    <a:lnTo>
                      <a:pt x="768" y="948"/>
                    </a:lnTo>
                    <a:lnTo>
                      <a:pt x="772" y="952"/>
                    </a:lnTo>
                    <a:lnTo>
                      <a:pt x="773" y="952"/>
                    </a:lnTo>
                    <a:lnTo>
                      <a:pt x="775" y="952"/>
                    </a:lnTo>
                    <a:lnTo>
                      <a:pt x="777" y="952"/>
                    </a:lnTo>
                    <a:lnTo>
                      <a:pt x="777" y="952"/>
                    </a:lnTo>
                    <a:lnTo>
                      <a:pt x="779" y="950"/>
                    </a:lnTo>
                    <a:lnTo>
                      <a:pt x="779" y="948"/>
                    </a:lnTo>
                    <a:lnTo>
                      <a:pt x="779" y="945"/>
                    </a:lnTo>
                    <a:lnTo>
                      <a:pt x="779" y="943"/>
                    </a:lnTo>
                    <a:lnTo>
                      <a:pt x="779" y="939"/>
                    </a:lnTo>
                    <a:lnTo>
                      <a:pt x="777" y="935"/>
                    </a:lnTo>
                    <a:lnTo>
                      <a:pt x="777" y="933"/>
                    </a:lnTo>
                    <a:lnTo>
                      <a:pt x="779" y="931"/>
                    </a:lnTo>
                    <a:lnTo>
                      <a:pt x="779" y="931"/>
                    </a:lnTo>
                    <a:lnTo>
                      <a:pt x="779" y="931"/>
                    </a:lnTo>
                    <a:lnTo>
                      <a:pt x="779" y="931"/>
                    </a:lnTo>
                    <a:lnTo>
                      <a:pt x="779" y="931"/>
                    </a:lnTo>
                    <a:lnTo>
                      <a:pt x="783" y="931"/>
                    </a:lnTo>
                    <a:lnTo>
                      <a:pt x="783" y="931"/>
                    </a:lnTo>
                    <a:lnTo>
                      <a:pt x="783" y="931"/>
                    </a:lnTo>
                    <a:lnTo>
                      <a:pt x="785" y="931"/>
                    </a:lnTo>
                    <a:lnTo>
                      <a:pt x="785" y="929"/>
                    </a:lnTo>
                    <a:lnTo>
                      <a:pt x="787" y="927"/>
                    </a:lnTo>
                    <a:lnTo>
                      <a:pt x="787" y="927"/>
                    </a:lnTo>
                    <a:lnTo>
                      <a:pt x="789" y="927"/>
                    </a:lnTo>
                    <a:lnTo>
                      <a:pt x="793" y="929"/>
                    </a:lnTo>
                    <a:lnTo>
                      <a:pt x="799" y="933"/>
                    </a:lnTo>
                    <a:lnTo>
                      <a:pt x="803" y="935"/>
                    </a:lnTo>
                    <a:lnTo>
                      <a:pt x="805" y="937"/>
                    </a:lnTo>
                    <a:lnTo>
                      <a:pt x="809" y="937"/>
                    </a:lnTo>
                    <a:lnTo>
                      <a:pt x="811" y="935"/>
                    </a:lnTo>
                    <a:lnTo>
                      <a:pt x="813" y="935"/>
                    </a:lnTo>
                    <a:lnTo>
                      <a:pt x="813" y="935"/>
                    </a:lnTo>
                    <a:lnTo>
                      <a:pt x="813" y="935"/>
                    </a:lnTo>
                    <a:lnTo>
                      <a:pt x="813" y="935"/>
                    </a:lnTo>
                    <a:lnTo>
                      <a:pt x="815" y="935"/>
                    </a:lnTo>
                    <a:lnTo>
                      <a:pt x="816" y="935"/>
                    </a:lnTo>
                    <a:lnTo>
                      <a:pt x="816" y="935"/>
                    </a:lnTo>
                    <a:lnTo>
                      <a:pt x="818" y="935"/>
                    </a:lnTo>
                    <a:lnTo>
                      <a:pt x="820" y="935"/>
                    </a:lnTo>
                    <a:lnTo>
                      <a:pt x="820" y="935"/>
                    </a:lnTo>
                    <a:lnTo>
                      <a:pt x="820" y="933"/>
                    </a:lnTo>
                    <a:lnTo>
                      <a:pt x="820" y="933"/>
                    </a:lnTo>
                    <a:lnTo>
                      <a:pt x="820" y="931"/>
                    </a:lnTo>
                    <a:lnTo>
                      <a:pt x="820" y="931"/>
                    </a:lnTo>
                    <a:lnTo>
                      <a:pt x="818" y="931"/>
                    </a:lnTo>
                    <a:lnTo>
                      <a:pt x="820" y="929"/>
                    </a:lnTo>
                    <a:lnTo>
                      <a:pt x="818" y="927"/>
                    </a:lnTo>
                    <a:lnTo>
                      <a:pt x="818" y="927"/>
                    </a:lnTo>
                    <a:lnTo>
                      <a:pt x="818" y="927"/>
                    </a:lnTo>
                    <a:lnTo>
                      <a:pt x="818" y="927"/>
                    </a:lnTo>
                    <a:lnTo>
                      <a:pt x="818" y="925"/>
                    </a:lnTo>
                    <a:lnTo>
                      <a:pt x="820" y="925"/>
                    </a:lnTo>
                    <a:lnTo>
                      <a:pt x="822" y="925"/>
                    </a:lnTo>
                    <a:lnTo>
                      <a:pt x="826" y="927"/>
                    </a:lnTo>
                    <a:lnTo>
                      <a:pt x="844" y="935"/>
                    </a:lnTo>
                    <a:lnTo>
                      <a:pt x="848" y="935"/>
                    </a:lnTo>
                    <a:lnTo>
                      <a:pt x="850" y="935"/>
                    </a:lnTo>
                    <a:lnTo>
                      <a:pt x="856" y="931"/>
                    </a:lnTo>
                    <a:lnTo>
                      <a:pt x="856" y="931"/>
                    </a:lnTo>
                    <a:lnTo>
                      <a:pt x="857" y="929"/>
                    </a:lnTo>
                    <a:lnTo>
                      <a:pt x="859" y="925"/>
                    </a:lnTo>
                    <a:lnTo>
                      <a:pt x="865" y="919"/>
                    </a:lnTo>
                    <a:lnTo>
                      <a:pt x="869" y="917"/>
                    </a:lnTo>
                    <a:lnTo>
                      <a:pt x="871" y="915"/>
                    </a:lnTo>
                    <a:lnTo>
                      <a:pt x="875" y="915"/>
                    </a:lnTo>
                    <a:lnTo>
                      <a:pt x="879" y="919"/>
                    </a:lnTo>
                    <a:lnTo>
                      <a:pt x="881" y="921"/>
                    </a:lnTo>
                    <a:lnTo>
                      <a:pt x="883" y="921"/>
                    </a:lnTo>
                    <a:lnTo>
                      <a:pt x="885" y="919"/>
                    </a:lnTo>
                    <a:lnTo>
                      <a:pt x="891" y="915"/>
                    </a:lnTo>
                    <a:lnTo>
                      <a:pt x="895" y="911"/>
                    </a:lnTo>
                    <a:lnTo>
                      <a:pt x="899" y="905"/>
                    </a:lnTo>
                    <a:lnTo>
                      <a:pt x="899" y="905"/>
                    </a:lnTo>
                    <a:lnTo>
                      <a:pt x="899" y="905"/>
                    </a:lnTo>
                    <a:lnTo>
                      <a:pt x="906" y="905"/>
                    </a:lnTo>
                    <a:lnTo>
                      <a:pt x="908" y="905"/>
                    </a:lnTo>
                    <a:lnTo>
                      <a:pt x="912" y="904"/>
                    </a:lnTo>
                    <a:lnTo>
                      <a:pt x="916" y="904"/>
                    </a:lnTo>
                    <a:lnTo>
                      <a:pt x="916" y="904"/>
                    </a:lnTo>
                    <a:lnTo>
                      <a:pt x="916" y="904"/>
                    </a:lnTo>
                    <a:lnTo>
                      <a:pt x="916" y="907"/>
                    </a:lnTo>
                    <a:lnTo>
                      <a:pt x="916" y="909"/>
                    </a:lnTo>
                    <a:lnTo>
                      <a:pt x="918" y="911"/>
                    </a:lnTo>
                    <a:lnTo>
                      <a:pt x="920" y="911"/>
                    </a:lnTo>
                    <a:lnTo>
                      <a:pt x="926" y="911"/>
                    </a:lnTo>
                    <a:lnTo>
                      <a:pt x="940" y="911"/>
                    </a:lnTo>
                    <a:lnTo>
                      <a:pt x="945" y="913"/>
                    </a:lnTo>
                    <a:lnTo>
                      <a:pt x="957" y="921"/>
                    </a:lnTo>
                    <a:lnTo>
                      <a:pt x="957" y="923"/>
                    </a:lnTo>
                    <a:lnTo>
                      <a:pt x="959" y="925"/>
                    </a:lnTo>
                    <a:lnTo>
                      <a:pt x="961" y="927"/>
                    </a:lnTo>
                    <a:lnTo>
                      <a:pt x="963" y="929"/>
                    </a:lnTo>
                    <a:lnTo>
                      <a:pt x="965" y="931"/>
                    </a:lnTo>
                    <a:lnTo>
                      <a:pt x="965" y="933"/>
                    </a:lnTo>
                    <a:lnTo>
                      <a:pt x="967" y="935"/>
                    </a:lnTo>
                    <a:lnTo>
                      <a:pt x="969" y="937"/>
                    </a:lnTo>
                    <a:lnTo>
                      <a:pt x="969" y="939"/>
                    </a:lnTo>
                    <a:lnTo>
                      <a:pt x="973" y="941"/>
                    </a:lnTo>
                    <a:lnTo>
                      <a:pt x="977" y="943"/>
                    </a:lnTo>
                    <a:lnTo>
                      <a:pt x="981" y="943"/>
                    </a:lnTo>
                    <a:lnTo>
                      <a:pt x="983" y="943"/>
                    </a:lnTo>
                    <a:lnTo>
                      <a:pt x="992" y="945"/>
                    </a:lnTo>
                    <a:lnTo>
                      <a:pt x="994" y="946"/>
                    </a:lnTo>
                    <a:lnTo>
                      <a:pt x="996" y="946"/>
                    </a:lnTo>
                    <a:lnTo>
                      <a:pt x="998" y="948"/>
                    </a:lnTo>
                    <a:lnTo>
                      <a:pt x="998" y="948"/>
                    </a:lnTo>
                    <a:lnTo>
                      <a:pt x="998" y="948"/>
                    </a:lnTo>
                    <a:lnTo>
                      <a:pt x="998" y="954"/>
                    </a:lnTo>
                    <a:lnTo>
                      <a:pt x="998" y="956"/>
                    </a:lnTo>
                    <a:lnTo>
                      <a:pt x="996" y="964"/>
                    </a:lnTo>
                    <a:lnTo>
                      <a:pt x="998" y="966"/>
                    </a:lnTo>
                    <a:lnTo>
                      <a:pt x="1002" y="966"/>
                    </a:lnTo>
                    <a:lnTo>
                      <a:pt x="1004" y="964"/>
                    </a:lnTo>
                    <a:lnTo>
                      <a:pt x="1010" y="960"/>
                    </a:lnTo>
                    <a:lnTo>
                      <a:pt x="1012" y="960"/>
                    </a:lnTo>
                    <a:lnTo>
                      <a:pt x="1012" y="960"/>
                    </a:lnTo>
                    <a:lnTo>
                      <a:pt x="1012" y="960"/>
                    </a:lnTo>
                    <a:lnTo>
                      <a:pt x="1014" y="964"/>
                    </a:lnTo>
                    <a:lnTo>
                      <a:pt x="1014" y="968"/>
                    </a:lnTo>
                    <a:lnTo>
                      <a:pt x="1016" y="972"/>
                    </a:lnTo>
                    <a:lnTo>
                      <a:pt x="1018" y="972"/>
                    </a:lnTo>
                    <a:lnTo>
                      <a:pt x="1018" y="972"/>
                    </a:lnTo>
                    <a:lnTo>
                      <a:pt x="1022" y="972"/>
                    </a:lnTo>
                    <a:lnTo>
                      <a:pt x="1024" y="972"/>
                    </a:lnTo>
                    <a:lnTo>
                      <a:pt x="1025" y="970"/>
                    </a:lnTo>
                    <a:lnTo>
                      <a:pt x="1029" y="968"/>
                    </a:lnTo>
                    <a:lnTo>
                      <a:pt x="1031" y="966"/>
                    </a:lnTo>
                    <a:lnTo>
                      <a:pt x="1035" y="964"/>
                    </a:lnTo>
                    <a:lnTo>
                      <a:pt x="1039" y="964"/>
                    </a:lnTo>
                    <a:lnTo>
                      <a:pt x="1041" y="964"/>
                    </a:lnTo>
                    <a:lnTo>
                      <a:pt x="1041" y="964"/>
                    </a:lnTo>
                    <a:lnTo>
                      <a:pt x="1041" y="964"/>
                    </a:lnTo>
                    <a:lnTo>
                      <a:pt x="1043" y="966"/>
                    </a:lnTo>
                    <a:lnTo>
                      <a:pt x="1043" y="966"/>
                    </a:lnTo>
                    <a:lnTo>
                      <a:pt x="1043" y="966"/>
                    </a:lnTo>
                    <a:lnTo>
                      <a:pt x="1043" y="966"/>
                    </a:lnTo>
                    <a:lnTo>
                      <a:pt x="1043" y="972"/>
                    </a:lnTo>
                    <a:lnTo>
                      <a:pt x="1043" y="978"/>
                    </a:lnTo>
                    <a:lnTo>
                      <a:pt x="1041" y="980"/>
                    </a:lnTo>
                    <a:lnTo>
                      <a:pt x="1039" y="980"/>
                    </a:lnTo>
                    <a:lnTo>
                      <a:pt x="1039" y="982"/>
                    </a:lnTo>
                    <a:lnTo>
                      <a:pt x="1035" y="984"/>
                    </a:lnTo>
                    <a:lnTo>
                      <a:pt x="1035" y="987"/>
                    </a:lnTo>
                    <a:lnTo>
                      <a:pt x="1035" y="987"/>
                    </a:lnTo>
                    <a:lnTo>
                      <a:pt x="1035" y="991"/>
                    </a:lnTo>
                    <a:lnTo>
                      <a:pt x="1035" y="991"/>
                    </a:lnTo>
                    <a:lnTo>
                      <a:pt x="1037" y="993"/>
                    </a:lnTo>
                    <a:lnTo>
                      <a:pt x="1041" y="991"/>
                    </a:lnTo>
                    <a:lnTo>
                      <a:pt x="1043" y="989"/>
                    </a:lnTo>
                    <a:lnTo>
                      <a:pt x="1043" y="989"/>
                    </a:lnTo>
                    <a:lnTo>
                      <a:pt x="1045" y="986"/>
                    </a:lnTo>
                    <a:lnTo>
                      <a:pt x="1045" y="984"/>
                    </a:lnTo>
                    <a:lnTo>
                      <a:pt x="1047" y="982"/>
                    </a:lnTo>
                    <a:lnTo>
                      <a:pt x="1051" y="982"/>
                    </a:lnTo>
                    <a:lnTo>
                      <a:pt x="1051" y="982"/>
                    </a:lnTo>
                    <a:lnTo>
                      <a:pt x="1051" y="982"/>
                    </a:lnTo>
                    <a:lnTo>
                      <a:pt x="1053" y="984"/>
                    </a:lnTo>
                    <a:lnTo>
                      <a:pt x="1053" y="984"/>
                    </a:lnTo>
                    <a:lnTo>
                      <a:pt x="1053" y="984"/>
                    </a:lnTo>
                    <a:lnTo>
                      <a:pt x="1053" y="984"/>
                    </a:lnTo>
                    <a:lnTo>
                      <a:pt x="1055" y="986"/>
                    </a:lnTo>
                    <a:lnTo>
                      <a:pt x="1055" y="987"/>
                    </a:lnTo>
                    <a:lnTo>
                      <a:pt x="1055" y="989"/>
                    </a:lnTo>
                    <a:lnTo>
                      <a:pt x="1055" y="991"/>
                    </a:lnTo>
                    <a:lnTo>
                      <a:pt x="1053" y="991"/>
                    </a:lnTo>
                    <a:lnTo>
                      <a:pt x="1053" y="993"/>
                    </a:lnTo>
                    <a:lnTo>
                      <a:pt x="1053" y="993"/>
                    </a:lnTo>
                    <a:lnTo>
                      <a:pt x="1057" y="1003"/>
                    </a:lnTo>
                    <a:lnTo>
                      <a:pt x="1059" y="1005"/>
                    </a:lnTo>
                    <a:lnTo>
                      <a:pt x="1063" y="1009"/>
                    </a:lnTo>
                    <a:lnTo>
                      <a:pt x="1065" y="1009"/>
                    </a:lnTo>
                    <a:lnTo>
                      <a:pt x="1065" y="1005"/>
                    </a:lnTo>
                    <a:lnTo>
                      <a:pt x="1065" y="1001"/>
                    </a:lnTo>
                    <a:lnTo>
                      <a:pt x="1065" y="999"/>
                    </a:lnTo>
                    <a:lnTo>
                      <a:pt x="1067" y="997"/>
                    </a:lnTo>
                    <a:lnTo>
                      <a:pt x="1067" y="997"/>
                    </a:lnTo>
                    <a:lnTo>
                      <a:pt x="1068" y="987"/>
                    </a:lnTo>
                    <a:lnTo>
                      <a:pt x="1068" y="987"/>
                    </a:lnTo>
                    <a:lnTo>
                      <a:pt x="1068" y="987"/>
                    </a:lnTo>
                    <a:lnTo>
                      <a:pt x="1070" y="987"/>
                    </a:lnTo>
                    <a:lnTo>
                      <a:pt x="1072" y="986"/>
                    </a:lnTo>
                    <a:lnTo>
                      <a:pt x="1072" y="986"/>
                    </a:lnTo>
                    <a:lnTo>
                      <a:pt x="1072" y="986"/>
                    </a:lnTo>
                    <a:lnTo>
                      <a:pt x="1072" y="986"/>
                    </a:lnTo>
                    <a:lnTo>
                      <a:pt x="1078" y="986"/>
                    </a:lnTo>
                    <a:lnTo>
                      <a:pt x="1092" y="991"/>
                    </a:lnTo>
                    <a:lnTo>
                      <a:pt x="1094" y="991"/>
                    </a:lnTo>
                    <a:lnTo>
                      <a:pt x="1106" y="993"/>
                    </a:lnTo>
                    <a:lnTo>
                      <a:pt x="1109" y="993"/>
                    </a:lnTo>
                    <a:lnTo>
                      <a:pt x="1111" y="993"/>
                    </a:lnTo>
                    <a:lnTo>
                      <a:pt x="1113" y="995"/>
                    </a:lnTo>
                    <a:lnTo>
                      <a:pt x="1115" y="997"/>
                    </a:lnTo>
                    <a:lnTo>
                      <a:pt x="1117" y="999"/>
                    </a:lnTo>
                    <a:lnTo>
                      <a:pt x="1117" y="999"/>
                    </a:lnTo>
                    <a:lnTo>
                      <a:pt x="1117" y="1001"/>
                    </a:lnTo>
                    <a:lnTo>
                      <a:pt x="1117" y="1001"/>
                    </a:lnTo>
                    <a:lnTo>
                      <a:pt x="1117" y="1003"/>
                    </a:lnTo>
                    <a:lnTo>
                      <a:pt x="1117" y="1003"/>
                    </a:lnTo>
                    <a:lnTo>
                      <a:pt x="1119" y="1009"/>
                    </a:lnTo>
                    <a:lnTo>
                      <a:pt x="1121" y="1011"/>
                    </a:lnTo>
                    <a:lnTo>
                      <a:pt x="1121" y="1011"/>
                    </a:lnTo>
                    <a:lnTo>
                      <a:pt x="1121" y="1017"/>
                    </a:lnTo>
                    <a:lnTo>
                      <a:pt x="1121" y="1019"/>
                    </a:lnTo>
                    <a:lnTo>
                      <a:pt x="1123" y="1021"/>
                    </a:lnTo>
                    <a:lnTo>
                      <a:pt x="1123" y="1021"/>
                    </a:lnTo>
                    <a:lnTo>
                      <a:pt x="1125" y="1023"/>
                    </a:lnTo>
                    <a:lnTo>
                      <a:pt x="1125" y="1025"/>
                    </a:lnTo>
                    <a:lnTo>
                      <a:pt x="1127" y="1025"/>
                    </a:lnTo>
                    <a:lnTo>
                      <a:pt x="1127" y="1027"/>
                    </a:lnTo>
                    <a:lnTo>
                      <a:pt x="1129" y="1030"/>
                    </a:lnTo>
                    <a:lnTo>
                      <a:pt x="1135" y="1036"/>
                    </a:lnTo>
                    <a:lnTo>
                      <a:pt x="1139" y="1038"/>
                    </a:lnTo>
                    <a:lnTo>
                      <a:pt x="1141" y="1040"/>
                    </a:lnTo>
                    <a:lnTo>
                      <a:pt x="1141" y="1040"/>
                    </a:lnTo>
                    <a:lnTo>
                      <a:pt x="1147" y="1042"/>
                    </a:lnTo>
                    <a:lnTo>
                      <a:pt x="1151" y="1042"/>
                    </a:lnTo>
                    <a:lnTo>
                      <a:pt x="1151" y="95"/>
                    </a:lnTo>
                    <a:lnTo>
                      <a:pt x="1149" y="99"/>
                    </a:lnTo>
                    <a:lnTo>
                      <a:pt x="1147" y="10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60" name="Freeform 775">
                <a:extLst>
                  <a:ext uri="{FF2B5EF4-FFF2-40B4-BE49-F238E27FC236}">
                    <a16:creationId xmlns:a16="http://schemas.microsoft.com/office/drawing/2014/main" id="{F2BD8E3B-1785-407A-A6C5-004EF85C13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" y="3387"/>
                <a:ext cx="6" cy="7"/>
              </a:xfrm>
              <a:custGeom>
                <a:avLst/>
                <a:gdLst>
                  <a:gd name="T0" fmla="*/ 2 w 6"/>
                  <a:gd name="T1" fmla="*/ 2 h 7"/>
                  <a:gd name="T2" fmla="*/ 0 w 6"/>
                  <a:gd name="T3" fmla="*/ 5 h 7"/>
                  <a:gd name="T4" fmla="*/ 0 w 6"/>
                  <a:gd name="T5" fmla="*/ 7 h 7"/>
                  <a:gd name="T6" fmla="*/ 0 w 6"/>
                  <a:gd name="T7" fmla="*/ 5 h 7"/>
                  <a:gd name="T8" fmla="*/ 2 w 6"/>
                  <a:gd name="T9" fmla="*/ 2 h 7"/>
                  <a:gd name="T10" fmla="*/ 4 w 6"/>
                  <a:gd name="T11" fmla="*/ 0 h 7"/>
                  <a:gd name="T12" fmla="*/ 6 w 6"/>
                  <a:gd name="T13" fmla="*/ 0 h 7"/>
                  <a:gd name="T14" fmla="*/ 4 w 6"/>
                  <a:gd name="T15" fmla="*/ 0 h 7"/>
                  <a:gd name="T16" fmla="*/ 2 w 6"/>
                  <a:gd name="T17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7">
                    <a:moveTo>
                      <a:pt x="2" y="2"/>
                    </a:moveTo>
                    <a:lnTo>
                      <a:pt x="0" y="5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61" name="Freeform 776">
                <a:extLst>
                  <a:ext uri="{FF2B5EF4-FFF2-40B4-BE49-F238E27FC236}">
                    <a16:creationId xmlns:a16="http://schemas.microsoft.com/office/drawing/2014/main" id="{23ACFD24-F5C8-4946-AEBF-90295069D3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3426"/>
                <a:ext cx="2" cy="19"/>
              </a:xfrm>
              <a:custGeom>
                <a:avLst/>
                <a:gdLst>
                  <a:gd name="T0" fmla="*/ 0 w 2"/>
                  <a:gd name="T1" fmla="*/ 5 h 19"/>
                  <a:gd name="T2" fmla="*/ 0 w 2"/>
                  <a:gd name="T3" fmla="*/ 19 h 19"/>
                  <a:gd name="T4" fmla="*/ 0 w 2"/>
                  <a:gd name="T5" fmla="*/ 5 h 19"/>
                  <a:gd name="T6" fmla="*/ 2 w 2"/>
                  <a:gd name="T7" fmla="*/ 2 h 19"/>
                  <a:gd name="T8" fmla="*/ 2 w 2"/>
                  <a:gd name="T9" fmla="*/ 0 h 19"/>
                  <a:gd name="T10" fmla="*/ 2 w 2"/>
                  <a:gd name="T11" fmla="*/ 2 h 19"/>
                  <a:gd name="T12" fmla="*/ 0 w 2"/>
                  <a:gd name="T13" fmla="*/ 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19">
                    <a:moveTo>
                      <a:pt x="0" y="5"/>
                    </a:moveTo>
                    <a:lnTo>
                      <a:pt x="0" y="19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62" name="Freeform 777">
                <a:extLst>
                  <a:ext uri="{FF2B5EF4-FFF2-40B4-BE49-F238E27FC236}">
                    <a16:creationId xmlns:a16="http://schemas.microsoft.com/office/drawing/2014/main" id="{2B9A548C-757A-496F-AF7C-8B3E45BFDC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7" y="3408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0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63" name="Freeform 778">
                <a:extLst>
                  <a:ext uri="{FF2B5EF4-FFF2-40B4-BE49-F238E27FC236}">
                    <a16:creationId xmlns:a16="http://schemas.microsoft.com/office/drawing/2014/main" id="{C0DE9057-84F8-4CA8-BA45-341C16D945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3340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0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64" name="Freeform 779">
                <a:extLst>
                  <a:ext uri="{FF2B5EF4-FFF2-40B4-BE49-F238E27FC236}">
                    <a16:creationId xmlns:a16="http://schemas.microsoft.com/office/drawing/2014/main" id="{8C15FFBF-18BA-4292-BCE5-5883661CBF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9" y="3295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2 h 4"/>
                  <a:gd name="T4" fmla="*/ 2 w 2"/>
                  <a:gd name="T5" fmla="*/ 0 h 4"/>
                  <a:gd name="T6" fmla="*/ 0 w 2"/>
                  <a:gd name="T7" fmla="*/ 2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65" name="Freeform 780">
                <a:extLst>
                  <a:ext uri="{FF2B5EF4-FFF2-40B4-BE49-F238E27FC236}">
                    <a16:creationId xmlns:a16="http://schemas.microsoft.com/office/drawing/2014/main" id="{851B76F0-60B1-4A16-BA68-5DC237CFE9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" y="3322"/>
                <a:ext cx="0" cy="4"/>
              </a:xfrm>
              <a:custGeom>
                <a:avLst/>
                <a:gdLst>
                  <a:gd name="T0" fmla="*/ 0 h 4"/>
                  <a:gd name="T1" fmla="*/ 4 h 4"/>
                  <a:gd name="T2" fmla="*/ 4 h 4"/>
                  <a:gd name="T3" fmla="*/ 4 h 4"/>
                  <a:gd name="T4" fmla="*/ 0 h 4"/>
                  <a:gd name="T5" fmla="*/ 0 h 4"/>
                  <a:gd name="T6" fmla="*/ 0 h 4"/>
                  <a:gd name="T7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66" name="Freeform 781">
                <a:extLst>
                  <a:ext uri="{FF2B5EF4-FFF2-40B4-BE49-F238E27FC236}">
                    <a16:creationId xmlns:a16="http://schemas.microsoft.com/office/drawing/2014/main" id="{84B52B5C-C64D-4E30-B266-9AF70E577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0" y="3328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2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67" name="Freeform 782">
                <a:extLst>
                  <a:ext uri="{FF2B5EF4-FFF2-40B4-BE49-F238E27FC236}">
                    <a16:creationId xmlns:a16="http://schemas.microsoft.com/office/drawing/2014/main" id="{F172EDE1-4FF2-4109-99AD-922F483C2F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6" y="3305"/>
                <a:ext cx="6" cy="9"/>
              </a:xfrm>
              <a:custGeom>
                <a:avLst/>
                <a:gdLst>
                  <a:gd name="T0" fmla="*/ 0 w 6"/>
                  <a:gd name="T1" fmla="*/ 9 h 9"/>
                  <a:gd name="T2" fmla="*/ 2 w 6"/>
                  <a:gd name="T3" fmla="*/ 2 h 9"/>
                  <a:gd name="T4" fmla="*/ 6 w 6"/>
                  <a:gd name="T5" fmla="*/ 0 h 9"/>
                  <a:gd name="T6" fmla="*/ 2 w 6"/>
                  <a:gd name="T7" fmla="*/ 2 h 9"/>
                  <a:gd name="T8" fmla="*/ 0 w 6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9">
                    <a:moveTo>
                      <a:pt x="0" y="9"/>
                    </a:moveTo>
                    <a:lnTo>
                      <a:pt x="2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68" name="Freeform 783">
                <a:extLst>
                  <a:ext uri="{FF2B5EF4-FFF2-40B4-BE49-F238E27FC236}">
                    <a16:creationId xmlns:a16="http://schemas.microsoft.com/office/drawing/2014/main" id="{A95668C7-C1D6-4703-ABE0-1776AB09A6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1" y="3283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2 h 4"/>
                  <a:gd name="T4" fmla="*/ 2 w 2"/>
                  <a:gd name="T5" fmla="*/ 0 h 4"/>
                  <a:gd name="T6" fmla="*/ 0 w 2"/>
                  <a:gd name="T7" fmla="*/ 2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69" name="Freeform 784">
                <a:extLst>
                  <a:ext uri="{FF2B5EF4-FFF2-40B4-BE49-F238E27FC236}">
                    <a16:creationId xmlns:a16="http://schemas.microsoft.com/office/drawing/2014/main" id="{0898F208-D963-4430-A800-062822D069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6" y="3334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70" name="Freeform 785">
                <a:extLst>
                  <a:ext uri="{FF2B5EF4-FFF2-40B4-BE49-F238E27FC236}">
                    <a16:creationId xmlns:a16="http://schemas.microsoft.com/office/drawing/2014/main" id="{CAC50291-3376-4F6E-96A3-A080EB7F00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2" y="335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71" name="Freeform 786">
                <a:extLst>
                  <a:ext uri="{FF2B5EF4-FFF2-40B4-BE49-F238E27FC236}">
                    <a16:creationId xmlns:a16="http://schemas.microsoft.com/office/drawing/2014/main" id="{67C1AEB5-AF20-475B-ACD7-F5A374168C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4" y="3375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0 w 2"/>
                  <a:gd name="T3" fmla="*/ 4 h 6"/>
                  <a:gd name="T4" fmla="*/ 2 w 2"/>
                  <a:gd name="T5" fmla="*/ 0 h 6"/>
                  <a:gd name="T6" fmla="*/ 0 w 2"/>
                  <a:gd name="T7" fmla="*/ 4 h 6"/>
                  <a:gd name="T8" fmla="*/ 0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0" y="4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72" name="Freeform 787">
                <a:extLst>
                  <a:ext uri="{FF2B5EF4-FFF2-40B4-BE49-F238E27FC236}">
                    <a16:creationId xmlns:a16="http://schemas.microsoft.com/office/drawing/2014/main" id="{CB5F4385-12B1-4BD4-8158-6D9B7B504F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3349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73" name="Freeform 788">
                <a:extLst>
                  <a:ext uri="{FF2B5EF4-FFF2-40B4-BE49-F238E27FC236}">
                    <a16:creationId xmlns:a16="http://schemas.microsoft.com/office/drawing/2014/main" id="{39C06358-1834-4305-A124-8D98B6E9E5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6" y="3359"/>
                <a:ext cx="4" cy="16"/>
              </a:xfrm>
              <a:custGeom>
                <a:avLst/>
                <a:gdLst>
                  <a:gd name="T0" fmla="*/ 2 w 4"/>
                  <a:gd name="T1" fmla="*/ 4 h 16"/>
                  <a:gd name="T2" fmla="*/ 2 w 4"/>
                  <a:gd name="T3" fmla="*/ 10 h 16"/>
                  <a:gd name="T4" fmla="*/ 0 w 4"/>
                  <a:gd name="T5" fmla="*/ 16 h 16"/>
                  <a:gd name="T6" fmla="*/ 0 w 4"/>
                  <a:gd name="T7" fmla="*/ 16 h 16"/>
                  <a:gd name="T8" fmla="*/ 2 w 4"/>
                  <a:gd name="T9" fmla="*/ 10 h 16"/>
                  <a:gd name="T10" fmla="*/ 2 w 4"/>
                  <a:gd name="T11" fmla="*/ 4 h 16"/>
                  <a:gd name="T12" fmla="*/ 2 w 4"/>
                  <a:gd name="T13" fmla="*/ 2 h 16"/>
                  <a:gd name="T14" fmla="*/ 4 w 4"/>
                  <a:gd name="T15" fmla="*/ 0 h 16"/>
                  <a:gd name="T16" fmla="*/ 2 w 4"/>
                  <a:gd name="T17" fmla="*/ 2 h 16"/>
                  <a:gd name="T18" fmla="*/ 2 w 4"/>
                  <a:gd name="T19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16">
                    <a:moveTo>
                      <a:pt x="2" y="4"/>
                    </a:move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0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74" name="Freeform 789">
                <a:extLst>
                  <a:ext uri="{FF2B5EF4-FFF2-40B4-BE49-F238E27FC236}">
                    <a16:creationId xmlns:a16="http://schemas.microsoft.com/office/drawing/2014/main" id="{F75F2A5D-72CC-428A-B0E0-BCBD5B8E64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0" y="3562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0 w 4"/>
                  <a:gd name="T3" fmla="*/ 2 h 2"/>
                  <a:gd name="T4" fmla="*/ 0 w 4"/>
                  <a:gd name="T5" fmla="*/ 2 h 2"/>
                  <a:gd name="T6" fmla="*/ 0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75" name="Freeform 790">
                <a:extLst>
                  <a:ext uri="{FF2B5EF4-FFF2-40B4-BE49-F238E27FC236}">
                    <a16:creationId xmlns:a16="http://schemas.microsoft.com/office/drawing/2014/main" id="{9DC67047-BDD0-4FA4-85C7-CE7AAD9BD4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2" y="3498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76" name="Freeform 791">
                <a:extLst>
                  <a:ext uri="{FF2B5EF4-FFF2-40B4-BE49-F238E27FC236}">
                    <a16:creationId xmlns:a16="http://schemas.microsoft.com/office/drawing/2014/main" id="{BA7811A3-35FF-419F-AE93-B206C04FB9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3" y="3572"/>
                <a:ext cx="15" cy="4"/>
              </a:xfrm>
              <a:custGeom>
                <a:avLst/>
                <a:gdLst>
                  <a:gd name="T0" fmla="*/ 14 w 15"/>
                  <a:gd name="T1" fmla="*/ 4 h 4"/>
                  <a:gd name="T2" fmla="*/ 15 w 15"/>
                  <a:gd name="T3" fmla="*/ 4 h 4"/>
                  <a:gd name="T4" fmla="*/ 14 w 15"/>
                  <a:gd name="T5" fmla="*/ 4 h 4"/>
                  <a:gd name="T6" fmla="*/ 10 w 15"/>
                  <a:gd name="T7" fmla="*/ 4 h 4"/>
                  <a:gd name="T8" fmla="*/ 0 w 15"/>
                  <a:gd name="T9" fmla="*/ 0 h 4"/>
                  <a:gd name="T10" fmla="*/ 0 w 15"/>
                  <a:gd name="T11" fmla="*/ 0 h 4"/>
                  <a:gd name="T12" fmla="*/ 10 w 15"/>
                  <a:gd name="T13" fmla="*/ 4 h 4"/>
                  <a:gd name="T14" fmla="*/ 14 w 15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4">
                    <a:moveTo>
                      <a:pt x="14" y="4"/>
                    </a:moveTo>
                    <a:lnTo>
                      <a:pt x="15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0" y="4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77" name="Freeform 792">
                <a:extLst>
                  <a:ext uri="{FF2B5EF4-FFF2-40B4-BE49-F238E27FC236}">
                    <a16:creationId xmlns:a16="http://schemas.microsoft.com/office/drawing/2014/main" id="{3BC4ABB7-7CB9-4304-8834-84391034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2" y="3562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4 w 6"/>
                  <a:gd name="T3" fmla="*/ 0 h 2"/>
                  <a:gd name="T4" fmla="*/ 0 w 6"/>
                  <a:gd name="T5" fmla="*/ 2 h 2"/>
                  <a:gd name="T6" fmla="*/ 4 w 6"/>
                  <a:gd name="T7" fmla="*/ 0 h 2"/>
                  <a:gd name="T8" fmla="*/ 6 w 6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78" name="Freeform 793">
                <a:extLst>
                  <a:ext uri="{FF2B5EF4-FFF2-40B4-BE49-F238E27FC236}">
                    <a16:creationId xmlns:a16="http://schemas.microsoft.com/office/drawing/2014/main" id="{9C29429B-2517-415D-8EF1-018B2AD3AD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1" y="3572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79" name="Freeform 794">
                <a:extLst>
                  <a:ext uri="{FF2B5EF4-FFF2-40B4-BE49-F238E27FC236}">
                    <a16:creationId xmlns:a16="http://schemas.microsoft.com/office/drawing/2014/main" id="{B56C1A4E-EA9F-4F39-AE0F-D849E13CC3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4" y="3562"/>
                <a:ext cx="19" cy="4"/>
              </a:xfrm>
              <a:custGeom>
                <a:avLst/>
                <a:gdLst>
                  <a:gd name="T0" fmla="*/ 15 w 19"/>
                  <a:gd name="T1" fmla="*/ 2 h 4"/>
                  <a:gd name="T2" fmla="*/ 17 w 19"/>
                  <a:gd name="T3" fmla="*/ 4 h 4"/>
                  <a:gd name="T4" fmla="*/ 19 w 19"/>
                  <a:gd name="T5" fmla="*/ 4 h 4"/>
                  <a:gd name="T6" fmla="*/ 17 w 19"/>
                  <a:gd name="T7" fmla="*/ 4 h 4"/>
                  <a:gd name="T8" fmla="*/ 15 w 19"/>
                  <a:gd name="T9" fmla="*/ 2 h 4"/>
                  <a:gd name="T10" fmla="*/ 5 w 19"/>
                  <a:gd name="T11" fmla="*/ 2 h 4"/>
                  <a:gd name="T12" fmla="*/ 0 w 19"/>
                  <a:gd name="T13" fmla="*/ 0 h 4"/>
                  <a:gd name="T14" fmla="*/ 5 w 19"/>
                  <a:gd name="T15" fmla="*/ 2 h 4"/>
                  <a:gd name="T16" fmla="*/ 15 w 19"/>
                  <a:gd name="T1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4">
                    <a:moveTo>
                      <a:pt x="15" y="2"/>
                    </a:moveTo>
                    <a:lnTo>
                      <a:pt x="17" y="4"/>
                    </a:lnTo>
                    <a:lnTo>
                      <a:pt x="19" y="4"/>
                    </a:lnTo>
                    <a:lnTo>
                      <a:pt x="17" y="4"/>
                    </a:lnTo>
                    <a:lnTo>
                      <a:pt x="15" y="2"/>
                    </a:lnTo>
                    <a:lnTo>
                      <a:pt x="5" y="2"/>
                    </a:lnTo>
                    <a:lnTo>
                      <a:pt x="0" y="0"/>
                    </a:lnTo>
                    <a:lnTo>
                      <a:pt x="5" y="2"/>
                    </a:lnTo>
                    <a:lnTo>
                      <a:pt x="15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80" name="Freeform 795">
                <a:extLst>
                  <a:ext uri="{FF2B5EF4-FFF2-40B4-BE49-F238E27FC236}">
                    <a16:creationId xmlns:a16="http://schemas.microsoft.com/office/drawing/2014/main" id="{6374D774-85B3-4ACB-BC5B-7D2DB7A01E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2" y="3564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81" name="Freeform 796">
                <a:extLst>
                  <a:ext uri="{FF2B5EF4-FFF2-40B4-BE49-F238E27FC236}">
                    <a16:creationId xmlns:a16="http://schemas.microsoft.com/office/drawing/2014/main" id="{A70D4D24-640C-4D25-96D0-A7A0F9DF20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7" y="3560"/>
                <a:ext cx="16" cy="6"/>
              </a:xfrm>
              <a:custGeom>
                <a:avLst/>
                <a:gdLst>
                  <a:gd name="T0" fmla="*/ 4 w 16"/>
                  <a:gd name="T1" fmla="*/ 2 h 6"/>
                  <a:gd name="T2" fmla="*/ 14 w 16"/>
                  <a:gd name="T3" fmla="*/ 4 h 6"/>
                  <a:gd name="T4" fmla="*/ 16 w 16"/>
                  <a:gd name="T5" fmla="*/ 6 h 6"/>
                  <a:gd name="T6" fmla="*/ 14 w 16"/>
                  <a:gd name="T7" fmla="*/ 4 h 6"/>
                  <a:gd name="T8" fmla="*/ 4 w 16"/>
                  <a:gd name="T9" fmla="*/ 2 h 6"/>
                  <a:gd name="T10" fmla="*/ 2 w 16"/>
                  <a:gd name="T11" fmla="*/ 0 h 6"/>
                  <a:gd name="T12" fmla="*/ 0 w 16"/>
                  <a:gd name="T13" fmla="*/ 0 h 6"/>
                  <a:gd name="T14" fmla="*/ 2 w 16"/>
                  <a:gd name="T15" fmla="*/ 0 h 6"/>
                  <a:gd name="T16" fmla="*/ 4 w 16"/>
                  <a:gd name="T1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6">
                    <a:moveTo>
                      <a:pt x="4" y="2"/>
                    </a:moveTo>
                    <a:lnTo>
                      <a:pt x="14" y="4"/>
                    </a:lnTo>
                    <a:lnTo>
                      <a:pt x="16" y="6"/>
                    </a:lnTo>
                    <a:lnTo>
                      <a:pt x="1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82" name="Freeform 797">
                <a:extLst>
                  <a:ext uri="{FF2B5EF4-FFF2-40B4-BE49-F238E27FC236}">
                    <a16:creationId xmlns:a16="http://schemas.microsoft.com/office/drawing/2014/main" id="{84E7CB82-4292-4CFE-8C31-D5D4ABB780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3553"/>
                <a:ext cx="18" cy="3"/>
              </a:xfrm>
              <a:custGeom>
                <a:avLst/>
                <a:gdLst>
                  <a:gd name="T0" fmla="*/ 10 w 18"/>
                  <a:gd name="T1" fmla="*/ 3 h 3"/>
                  <a:gd name="T2" fmla="*/ 18 w 18"/>
                  <a:gd name="T3" fmla="*/ 0 h 3"/>
                  <a:gd name="T4" fmla="*/ 18 w 18"/>
                  <a:gd name="T5" fmla="*/ 0 h 3"/>
                  <a:gd name="T6" fmla="*/ 10 w 18"/>
                  <a:gd name="T7" fmla="*/ 3 h 3"/>
                  <a:gd name="T8" fmla="*/ 6 w 18"/>
                  <a:gd name="T9" fmla="*/ 3 h 3"/>
                  <a:gd name="T10" fmla="*/ 0 w 18"/>
                  <a:gd name="T11" fmla="*/ 3 h 3"/>
                  <a:gd name="T12" fmla="*/ 6 w 18"/>
                  <a:gd name="T13" fmla="*/ 3 h 3"/>
                  <a:gd name="T14" fmla="*/ 10 w 18"/>
                  <a:gd name="T1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3">
                    <a:moveTo>
                      <a:pt x="10" y="3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10" y="3"/>
                    </a:lnTo>
                    <a:lnTo>
                      <a:pt x="6" y="3"/>
                    </a:lnTo>
                    <a:lnTo>
                      <a:pt x="0" y="3"/>
                    </a:lnTo>
                    <a:lnTo>
                      <a:pt x="6" y="3"/>
                    </a:lnTo>
                    <a:lnTo>
                      <a:pt x="10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83" name="Freeform 798">
                <a:extLst>
                  <a:ext uri="{FF2B5EF4-FFF2-40B4-BE49-F238E27FC236}">
                    <a16:creationId xmlns:a16="http://schemas.microsoft.com/office/drawing/2014/main" id="{2A087D32-AF38-424A-A1D0-1C3419BBE6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8" y="3574"/>
                <a:ext cx="14" cy="2"/>
              </a:xfrm>
              <a:custGeom>
                <a:avLst/>
                <a:gdLst>
                  <a:gd name="T0" fmla="*/ 0 w 14"/>
                  <a:gd name="T1" fmla="*/ 2 h 2"/>
                  <a:gd name="T2" fmla="*/ 0 w 14"/>
                  <a:gd name="T3" fmla="*/ 2 h 2"/>
                  <a:gd name="T4" fmla="*/ 14 w 14"/>
                  <a:gd name="T5" fmla="*/ 0 h 2"/>
                  <a:gd name="T6" fmla="*/ 0 w 1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2">
                    <a:moveTo>
                      <a:pt x="0" y="2"/>
                    </a:moveTo>
                    <a:lnTo>
                      <a:pt x="0" y="2"/>
                    </a:lnTo>
                    <a:lnTo>
                      <a:pt x="1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84" name="Freeform 799">
                <a:extLst>
                  <a:ext uri="{FF2B5EF4-FFF2-40B4-BE49-F238E27FC236}">
                    <a16:creationId xmlns:a16="http://schemas.microsoft.com/office/drawing/2014/main" id="{A2174011-CEF2-49A3-BB80-41E22B0BBE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6" y="3560"/>
                <a:ext cx="8" cy="2"/>
              </a:xfrm>
              <a:custGeom>
                <a:avLst/>
                <a:gdLst>
                  <a:gd name="T0" fmla="*/ 8 w 8"/>
                  <a:gd name="T1" fmla="*/ 0 h 2"/>
                  <a:gd name="T2" fmla="*/ 4 w 8"/>
                  <a:gd name="T3" fmla="*/ 0 h 2"/>
                  <a:gd name="T4" fmla="*/ 0 w 8"/>
                  <a:gd name="T5" fmla="*/ 2 h 2"/>
                  <a:gd name="T6" fmla="*/ 4 w 8"/>
                  <a:gd name="T7" fmla="*/ 0 h 2"/>
                  <a:gd name="T8" fmla="*/ 8 w 8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85" name="Freeform 800">
                <a:extLst>
                  <a:ext uri="{FF2B5EF4-FFF2-40B4-BE49-F238E27FC236}">
                    <a16:creationId xmlns:a16="http://schemas.microsoft.com/office/drawing/2014/main" id="{125F46C0-9C41-416B-9E43-51B01AB585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8" y="3558"/>
                <a:ext cx="4" cy="0"/>
              </a:xfrm>
              <a:custGeom>
                <a:avLst/>
                <a:gdLst>
                  <a:gd name="T0" fmla="*/ 4 w 4"/>
                  <a:gd name="T1" fmla="*/ 0 w 4"/>
                  <a:gd name="T2" fmla="*/ 0 w 4"/>
                  <a:gd name="T3" fmla="*/ 0 w 4"/>
                  <a:gd name="T4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86" name="Freeform 801">
                <a:extLst>
                  <a:ext uri="{FF2B5EF4-FFF2-40B4-BE49-F238E27FC236}">
                    <a16:creationId xmlns:a16="http://schemas.microsoft.com/office/drawing/2014/main" id="{4FB77966-2D94-43F9-97E7-87D2C1F4A0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5" y="3603"/>
                <a:ext cx="4" cy="6"/>
              </a:xfrm>
              <a:custGeom>
                <a:avLst/>
                <a:gdLst>
                  <a:gd name="T0" fmla="*/ 4 w 4"/>
                  <a:gd name="T1" fmla="*/ 0 h 6"/>
                  <a:gd name="T2" fmla="*/ 0 w 4"/>
                  <a:gd name="T3" fmla="*/ 4 h 6"/>
                  <a:gd name="T4" fmla="*/ 0 w 4"/>
                  <a:gd name="T5" fmla="*/ 6 h 6"/>
                  <a:gd name="T6" fmla="*/ 0 w 4"/>
                  <a:gd name="T7" fmla="*/ 4 h 6"/>
                  <a:gd name="T8" fmla="*/ 4 w 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4" y="0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87" name="Freeform 802">
                <a:extLst>
                  <a:ext uri="{FF2B5EF4-FFF2-40B4-BE49-F238E27FC236}">
                    <a16:creationId xmlns:a16="http://schemas.microsoft.com/office/drawing/2014/main" id="{914DCDE2-3D8C-4778-8556-4B1635A087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5" y="3574"/>
                <a:ext cx="12" cy="20"/>
              </a:xfrm>
              <a:custGeom>
                <a:avLst/>
                <a:gdLst>
                  <a:gd name="T0" fmla="*/ 2 w 12"/>
                  <a:gd name="T1" fmla="*/ 6 h 20"/>
                  <a:gd name="T2" fmla="*/ 2 w 12"/>
                  <a:gd name="T3" fmla="*/ 10 h 20"/>
                  <a:gd name="T4" fmla="*/ 4 w 12"/>
                  <a:gd name="T5" fmla="*/ 14 h 20"/>
                  <a:gd name="T6" fmla="*/ 6 w 12"/>
                  <a:gd name="T7" fmla="*/ 16 h 20"/>
                  <a:gd name="T8" fmla="*/ 12 w 12"/>
                  <a:gd name="T9" fmla="*/ 20 h 20"/>
                  <a:gd name="T10" fmla="*/ 12 w 12"/>
                  <a:gd name="T11" fmla="*/ 20 h 20"/>
                  <a:gd name="T12" fmla="*/ 6 w 12"/>
                  <a:gd name="T13" fmla="*/ 16 h 20"/>
                  <a:gd name="T14" fmla="*/ 4 w 12"/>
                  <a:gd name="T15" fmla="*/ 14 h 20"/>
                  <a:gd name="T16" fmla="*/ 2 w 12"/>
                  <a:gd name="T17" fmla="*/ 10 h 20"/>
                  <a:gd name="T18" fmla="*/ 2 w 12"/>
                  <a:gd name="T19" fmla="*/ 6 h 20"/>
                  <a:gd name="T20" fmla="*/ 2 w 12"/>
                  <a:gd name="T21" fmla="*/ 2 h 20"/>
                  <a:gd name="T22" fmla="*/ 0 w 12"/>
                  <a:gd name="T23" fmla="*/ 0 h 20"/>
                  <a:gd name="T24" fmla="*/ 2 w 12"/>
                  <a:gd name="T25" fmla="*/ 2 h 20"/>
                  <a:gd name="T26" fmla="*/ 2 w 12"/>
                  <a:gd name="T27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20">
                    <a:moveTo>
                      <a:pt x="2" y="6"/>
                    </a:moveTo>
                    <a:lnTo>
                      <a:pt x="2" y="10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6" y="16"/>
                    </a:lnTo>
                    <a:lnTo>
                      <a:pt x="4" y="14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88" name="Freeform 803">
                <a:extLst>
                  <a:ext uri="{FF2B5EF4-FFF2-40B4-BE49-F238E27FC236}">
                    <a16:creationId xmlns:a16="http://schemas.microsoft.com/office/drawing/2014/main" id="{FF291CB6-F442-423F-92F3-EDA009FC23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1" y="3554"/>
                <a:ext cx="21" cy="8"/>
              </a:xfrm>
              <a:custGeom>
                <a:avLst/>
                <a:gdLst>
                  <a:gd name="T0" fmla="*/ 13 w 21"/>
                  <a:gd name="T1" fmla="*/ 0 h 8"/>
                  <a:gd name="T2" fmla="*/ 21 w 21"/>
                  <a:gd name="T3" fmla="*/ 8 h 8"/>
                  <a:gd name="T4" fmla="*/ 21 w 21"/>
                  <a:gd name="T5" fmla="*/ 8 h 8"/>
                  <a:gd name="T6" fmla="*/ 13 w 21"/>
                  <a:gd name="T7" fmla="*/ 0 h 8"/>
                  <a:gd name="T8" fmla="*/ 9 w 21"/>
                  <a:gd name="T9" fmla="*/ 0 h 8"/>
                  <a:gd name="T10" fmla="*/ 0 w 21"/>
                  <a:gd name="T11" fmla="*/ 0 h 8"/>
                  <a:gd name="T12" fmla="*/ 9 w 21"/>
                  <a:gd name="T13" fmla="*/ 0 h 8"/>
                  <a:gd name="T14" fmla="*/ 13 w 21"/>
                  <a:gd name="T1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8">
                    <a:moveTo>
                      <a:pt x="13" y="0"/>
                    </a:moveTo>
                    <a:lnTo>
                      <a:pt x="21" y="8"/>
                    </a:lnTo>
                    <a:lnTo>
                      <a:pt x="21" y="8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89" name="Freeform 804">
                <a:extLst>
                  <a:ext uri="{FF2B5EF4-FFF2-40B4-BE49-F238E27FC236}">
                    <a16:creationId xmlns:a16="http://schemas.microsoft.com/office/drawing/2014/main" id="{A54D235B-4934-455D-981C-68ADF15068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" y="3599"/>
                <a:ext cx="10" cy="16"/>
              </a:xfrm>
              <a:custGeom>
                <a:avLst/>
                <a:gdLst>
                  <a:gd name="T0" fmla="*/ 4 w 10"/>
                  <a:gd name="T1" fmla="*/ 4 h 16"/>
                  <a:gd name="T2" fmla="*/ 10 w 10"/>
                  <a:gd name="T3" fmla="*/ 16 h 16"/>
                  <a:gd name="T4" fmla="*/ 4 w 10"/>
                  <a:gd name="T5" fmla="*/ 4 h 16"/>
                  <a:gd name="T6" fmla="*/ 2 w 10"/>
                  <a:gd name="T7" fmla="*/ 2 h 16"/>
                  <a:gd name="T8" fmla="*/ 0 w 10"/>
                  <a:gd name="T9" fmla="*/ 0 h 16"/>
                  <a:gd name="T10" fmla="*/ 2 w 10"/>
                  <a:gd name="T11" fmla="*/ 2 h 16"/>
                  <a:gd name="T12" fmla="*/ 4 w 10"/>
                  <a:gd name="T13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6">
                    <a:moveTo>
                      <a:pt x="4" y="4"/>
                    </a:moveTo>
                    <a:lnTo>
                      <a:pt x="10" y="16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90" name="Freeform 805">
                <a:extLst>
                  <a:ext uri="{FF2B5EF4-FFF2-40B4-BE49-F238E27FC236}">
                    <a16:creationId xmlns:a16="http://schemas.microsoft.com/office/drawing/2014/main" id="{48AD5374-CD94-4ED2-83EF-DE1B885C2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4" y="3560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91" name="Freeform 806">
                <a:extLst>
                  <a:ext uri="{FF2B5EF4-FFF2-40B4-BE49-F238E27FC236}">
                    <a16:creationId xmlns:a16="http://schemas.microsoft.com/office/drawing/2014/main" id="{B30DEE5A-B19A-4814-8C69-47B09CDBB1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0" y="3615"/>
                <a:ext cx="6" cy="6"/>
              </a:xfrm>
              <a:custGeom>
                <a:avLst/>
                <a:gdLst>
                  <a:gd name="T0" fmla="*/ 6 w 6"/>
                  <a:gd name="T1" fmla="*/ 6 h 6"/>
                  <a:gd name="T2" fmla="*/ 4 w 6"/>
                  <a:gd name="T3" fmla="*/ 6 h 6"/>
                  <a:gd name="T4" fmla="*/ 0 w 6"/>
                  <a:gd name="T5" fmla="*/ 0 h 6"/>
                  <a:gd name="T6" fmla="*/ 4 w 6"/>
                  <a:gd name="T7" fmla="*/ 6 h 6"/>
                  <a:gd name="T8" fmla="*/ 6 w 6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4" y="6"/>
                    </a:lnTo>
                    <a:lnTo>
                      <a:pt x="0" y="0"/>
                    </a:lnTo>
                    <a:lnTo>
                      <a:pt x="4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92" name="Freeform 807">
                <a:extLst>
                  <a:ext uri="{FF2B5EF4-FFF2-40B4-BE49-F238E27FC236}">
                    <a16:creationId xmlns:a16="http://schemas.microsoft.com/office/drawing/2014/main" id="{C6C9CFDF-BDCA-4368-BED5-4AB0953017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8" y="3488"/>
                <a:ext cx="19" cy="6"/>
              </a:xfrm>
              <a:custGeom>
                <a:avLst/>
                <a:gdLst>
                  <a:gd name="T0" fmla="*/ 19 w 19"/>
                  <a:gd name="T1" fmla="*/ 0 h 6"/>
                  <a:gd name="T2" fmla="*/ 2 w 19"/>
                  <a:gd name="T3" fmla="*/ 4 h 6"/>
                  <a:gd name="T4" fmla="*/ 0 w 19"/>
                  <a:gd name="T5" fmla="*/ 6 h 6"/>
                  <a:gd name="T6" fmla="*/ 2 w 19"/>
                  <a:gd name="T7" fmla="*/ 4 h 6"/>
                  <a:gd name="T8" fmla="*/ 19 w 19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6">
                    <a:moveTo>
                      <a:pt x="19" y="0"/>
                    </a:moveTo>
                    <a:lnTo>
                      <a:pt x="2" y="4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</p:grpSp>
        <p:grpSp>
          <p:nvGrpSpPr>
            <p:cNvPr id="531" name="Group 1210">
              <a:extLst>
                <a:ext uri="{FF2B5EF4-FFF2-40B4-BE49-F238E27FC236}">
                  <a16:creationId xmlns:a16="http://schemas.microsoft.com/office/drawing/2014/main" id="{312E4CDE-BD79-4586-BA11-E4EC245D591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29" y="2689012"/>
              <a:ext cx="2887667" cy="3361796"/>
              <a:chOff x="2" y="1698"/>
              <a:chExt cx="1819" cy="2118"/>
            </a:xfrm>
            <a:grpFill/>
          </p:grpSpPr>
          <p:sp>
            <p:nvSpPr>
              <p:cNvPr id="893" name="Freeform 1010">
                <a:extLst>
                  <a:ext uri="{FF2B5EF4-FFF2-40B4-BE49-F238E27FC236}">
                    <a16:creationId xmlns:a16="http://schemas.microsoft.com/office/drawing/2014/main" id="{0E5D96CF-0B6C-4F89-A1C0-C7BDE3093C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" y="1752"/>
                <a:ext cx="17" cy="28"/>
              </a:xfrm>
              <a:custGeom>
                <a:avLst/>
                <a:gdLst>
                  <a:gd name="T0" fmla="*/ 6 w 17"/>
                  <a:gd name="T1" fmla="*/ 6 h 28"/>
                  <a:gd name="T2" fmla="*/ 8 w 17"/>
                  <a:gd name="T3" fmla="*/ 4 h 28"/>
                  <a:gd name="T4" fmla="*/ 10 w 17"/>
                  <a:gd name="T5" fmla="*/ 2 h 28"/>
                  <a:gd name="T6" fmla="*/ 10 w 17"/>
                  <a:gd name="T7" fmla="*/ 2 h 28"/>
                  <a:gd name="T8" fmla="*/ 12 w 17"/>
                  <a:gd name="T9" fmla="*/ 2 h 28"/>
                  <a:gd name="T10" fmla="*/ 12 w 17"/>
                  <a:gd name="T11" fmla="*/ 2 h 28"/>
                  <a:gd name="T12" fmla="*/ 12 w 17"/>
                  <a:gd name="T13" fmla="*/ 0 h 28"/>
                  <a:gd name="T14" fmla="*/ 8 w 17"/>
                  <a:gd name="T15" fmla="*/ 2 h 28"/>
                  <a:gd name="T16" fmla="*/ 4 w 17"/>
                  <a:gd name="T17" fmla="*/ 6 h 28"/>
                  <a:gd name="T18" fmla="*/ 0 w 17"/>
                  <a:gd name="T19" fmla="*/ 14 h 28"/>
                  <a:gd name="T20" fmla="*/ 2 w 17"/>
                  <a:gd name="T21" fmla="*/ 20 h 28"/>
                  <a:gd name="T22" fmla="*/ 6 w 17"/>
                  <a:gd name="T23" fmla="*/ 26 h 28"/>
                  <a:gd name="T24" fmla="*/ 10 w 17"/>
                  <a:gd name="T25" fmla="*/ 28 h 28"/>
                  <a:gd name="T26" fmla="*/ 16 w 17"/>
                  <a:gd name="T27" fmla="*/ 26 h 28"/>
                  <a:gd name="T28" fmla="*/ 17 w 17"/>
                  <a:gd name="T29" fmla="*/ 24 h 28"/>
                  <a:gd name="T30" fmla="*/ 16 w 17"/>
                  <a:gd name="T31" fmla="*/ 22 h 28"/>
                  <a:gd name="T32" fmla="*/ 6 w 17"/>
                  <a:gd name="T33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" h="28">
                    <a:moveTo>
                      <a:pt x="6" y="6"/>
                    </a:moveTo>
                    <a:lnTo>
                      <a:pt x="8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4" y="6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6" y="26"/>
                    </a:lnTo>
                    <a:lnTo>
                      <a:pt x="17" y="24"/>
                    </a:lnTo>
                    <a:lnTo>
                      <a:pt x="16" y="22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94" name="Freeform 1011">
                <a:extLst>
                  <a:ext uri="{FF2B5EF4-FFF2-40B4-BE49-F238E27FC236}">
                    <a16:creationId xmlns:a16="http://schemas.microsoft.com/office/drawing/2014/main" id="{1E3B5F81-EFDB-46E7-AF40-6D77058DE1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" y="2032"/>
                <a:ext cx="13" cy="5"/>
              </a:xfrm>
              <a:custGeom>
                <a:avLst/>
                <a:gdLst>
                  <a:gd name="T0" fmla="*/ 2 w 13"/>
                  <a:gd name="T1" fmla="*/ 5 h 5"/>
                  <a:gd name="T2" fmla="*/ 4 w 13"/>
                  <a:gd name="T3" fmla="*/ 5 h 5"/>
                  <a:gd name="T4" fmla="*/ 5 w 13"/>
                  <a:gd name="T5" fmla="*/ 5 h 5"/>
                  <a:gd name="T6" fmla="*/ 5 w 13"/>
                  <a:gd name="T7" fmla="*/ 5 h 5"/>
                  <a:gd name="T8" fmla="*/ 7 w 13"/>
                  <a:gd name="T9" fmla="*/ 3 h 5"/>
                  <a:gd name="T10" fmla="*/ 9 w 13"/>
                  <a:gd name="T11" fmla="*/ 1 h 5"/>
                  <a:gd name="T12" fmla="*/ 13 w 13"/>
                  <a:gd name="T13" fmla="*/ 1 h 5"/>
                  <a:gd name="T14" fmla="*/ 9 w 13"/>
                  <a:gd name="T15" fmla="*/ 0 h 5"/>
                  <a:gd name="T16" fmla="*/ 5 w 13"/>
                  <a:gd name="T17" fmla="*/ 0 h 5"/>
                  <a:gd name="T18" fmla="*/ 2 w 13"/>
                  <a:gd name="T19" fmla="*/ 1 h 5"/>
                  <a:gd name="T20" fmla="*/ 0 w 13"/>
                  <a:gd name="T21" fmla="*/ 3 h 5"/>
                  <a:gd name="T22" fmla="*/ 0 w 13"/>
                  <a:gd name="T23" fmla="*/ 5 h 5"/>
                  <a:gd name="T24" fmla="*/ 2 w 13"/>
                  <a:gd name="T25" fmla="*/ 5 h 5"/>
                  <a:gd name="T26" fmla="*/ 2 w 13"/>
                  <a:gd name="T2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5">
                    <a:moveTo>
                      <a:pt x="2" y="5"/>
                    </a:moveTo>
                    <a:lnTo>
                      <a:pt x="4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9" y="1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95" name="Freeform 1012">
                <a:extLst>
                  <a:ext uri="{FF2B5EF4-FFF2-40B4-BE49-F238E27FC236}">
                    <a16:creationId xmlns:a16="http://schemas.microsoft.com/office/drawing/2014/main" id="{F2329201-3DDB-4E0C-B12E-C5DC6124D2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" y="1741"/>
                <a:ext cx="34" cy="21"/>
              </a:xfrm>
              <a:custGeom>
                <a:avLst/>
                <a:gdLst>
                  <a:gd name="T0" fmla="*/ 26 w 34"/>
                  <a:gd name="T1" fmla="*/ 0 h 21"/>
                  <a:gd name="T2" fmla="*/ 16 w 34"/>
                  <a:gd name="T3" fmla="*/ 0 h 21"/>
                  <a:gd name="T4" fmla="*/ 10 w 34"/>
                  <a:gd name="T5" fmla="*/ 0 h 21"/>
                  <a:gd name="T6" fmla="*/ 6 w 34"/>
                  <a:gd name="T7" fmla="*/ 2 h 21"/>
                  <a:gd name="T8" fmla="*/ 2 w 34"/>
                  <a:gd name="T9" fmla="*/ 5 h 21"/>
                  <a:gd name="T10" fmla="*/ 0 w 34"/>
                  <a:gd name="T11" fmla="*/ 11 h 21"/>
                  <a:gd name="T12" fmla="*/ 10 w 34"/>
                  <a:gd name="T13" fmla="*/ 17 h 21"/>
                  <a:gd name="T14" fmla="*/ 14 w 34"/>
                  <a:gd name="T15" fmla="*/ 19 h 21"/>
                  <a:gd name="T16" fmla="*/ 20 w 34"/>
                  <a:gd name="T17" fmla="*/ 17 h 21"/>
                  <a:gd name="T18" fmla="*/ 20 w 34"/>
                  <a:gd name="T19" fmla="*/ 19 h 21"/>
                  <a:gd name="T20" fmla="*/ 24 w 34"/>
                  <a:gd name="T21" fmla="*/ 19 h 21"/>
                  <a:gd name="T22" fmla="*/ 26 w 34"/>
                  <a:gd name="T23" fmla="*/ 21 h 21"/>
                  <a:gd name="T24" fmla="*/ 28 w 34"/>
                  <a:gd name="T25" fmla="*/ 19 h 21"/>
                  <a:gd name="T26" fmla="*/ 30 w 34"/>
                  <a:gd name="T27" fmla="*/ 17 h 21"/>
                  <a:gd name="T28" fmla="*/ 32 w 34"/>
                  <a:gd name="T29" fmla="*/ 11 h 21"/>
                  <a:gd name="T30" fmla="*/ 34 w 34"/>
                  <a:gd name="T31" fmla="*/ 9 h 21"/>
                  <a:gd name="T32" fmla="*/ 34 w 34"/>
                  <a:gd name="T33" fmla="*/ 7 h 21"/>
                  <a:gd name="T34" fmla="*/ 30 w 34"/>
                  <a:gd name="T35" fmla="*/ 4 h 21"/>
                  <a:gd name="T36" fmla="*/ 26 w 34"/>
                  <a:gd name="T3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21">
                    <a:moveTo>
                      <a:pt x="2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5"/>
                    </a:lnTo>
                    <a:lnTo>
                      <a:pt x="0" y="11"/>
                    </a:lnTo>
                    <a:lnTo>
                      <a:pt x="10" y="17"/>
                    </a:lnTo>
                    <a:lnTo>
                      <a:pt x="14" y="19"/>
                    </a:lnTo>
                    <a:lnTo>
                      <a:pt x="20" y="17"/>
                    </a:lnTo>
                    <a:lnTo>
                      <a:pt x="20" y="19"/>
                    </a:lnTo>
                    <a:lnTo>
                      <a:pt x="24" y="19"/>
                    </a:lnTo>
                    <a:lnTo>
                      <a:pt x="26" y="21"/>
                    </a:lnTo>
                    <a:lnTo>
                      <a:pt x="28" y="19"/>
                    </a:lnTo>
                    <a:lnTo>
                      <a:pt x="30" y="17"/>
                    </a:lnTo>
                    <a:lnTo>
                      <a:pt x="32" y="11"/>
                    </a:lnTo>
                    <a:lnTo>
                      <a:pt x="34" y="9"/>
                    </a:lnTo>
                    <a:lnTo>
                      <a:pt x="34" y="7"/>
                    </a:lnTo>
                    <a:lnTo>
                      <a:pt x="30" y="4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96" name="Freeform 1013">
                <a:extLst>
                  <a:ext uri="{FF2B5EF4-FFF2-40B4-BE49-F238E27FC236}">
                    <a16:creationId xmlns:a16="http://schemas.microsoft.com/office/drawing/2014/main" id="{78BF66D9-232B-4952-B74A-077E11D30D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" y="1805"/>
                <a:ext cx="53" cy="35"/>
              </a:xfrm>
              <a:custGeom>
                <a:avLst/>
                <a:gdLst>
                  <a:gd name="T0" fmla="*/ 39 w 53"/>
                  <a:gd name="T1" fmla="*/ 12 h 35"/>
                  <a:gd name="T2" fmla="*/ 39 w 53"/>
                  <a:gd name="T3" fmla="*/ 10 h 35"/>
                  <a:gd name="T4" fmla="*/ 33 w 53"/>
                  <a:gd name="T5" fmla="*/ 6 h 35"/>
                  <a:gd name="T6" fmla="*/ 20 w 53"/>
                  <a:gd name="T7" fmla="*/ 0 h 35"/>
                  <a:gd name="T8" fmla="*/ 12 w 53"/>
                  <a:gd name="T9" fmla="*/ 0 h 35"/>
                  <a:gd name="T10" fmla="*/ 6 w 53"/>
                  <a:gd name="T11" fmla="*/ 8 h 35"/>
                  <a:gd name="T12" fmla="*/ 0 w 53"/>
                  <a:gd name="T13" fmla="*/ 20 h 35"/>
                  <a:gd name="T14" fmla="*/ 0 w 53"/>
                  <a:gd name="T15" fmla="*/ 23 h 35"/>
                  <a:gd name="T16" fmla="*/ 2 w 53"/>
                  <a:gd name="T17" fmla="*/ 22 h 35"/>
                  <a:gd name="T18" fmla="*/ 4 w 53"/>
                  <a:gd name="T19" fmla="*/ 22 h 35"/>
                  <a:gd name="T20" fmla="*/ 4 w 53"/>
                  <a:gd name="T21" fmla="*/ 23 h 35"/>
                  <a:gd name="T22" fmla="*/ 4 w 53"/>
                  <a:gd name="T23" fmla="*/ 25 h 35"/>
                  <a:gd name="T24" fmla="*/ 6 w 53"/>
                  <a:gd name="T25" fmla="*/ 25 h 35"/>
                  <a:gd name="T26" fmla="*/ 8 w 53"/>
                  <a:gd name="T27" fmla="*/ 23 h 35"/>
                  <a:gd name="T28" fmla="*/ 10 w 53"/>
                  <a:gd name="T29" fmla="*/ 22 h 35"/>
                  <a:gd name="T30" fmla="*/ 14 w 53"/>
                  <a:gd name="T31" fmla="*/ 23 h 35"/>
                  <a:gd name="T32" fmla="*/ 16 w 53"/>
                  <a:gd name="T33" fmla="*/ 23 h 35"/>
                  <a:gd name="T34" fmla="*/ 18 w 53"/>
                  <a:gd name="T35" fmla="*/ 25 h 35"/>
                  <a:gd name="T36" fmla="*/ 16 w 53"/>
                  <a:gd name="T37" fmla="*/ 31 h 35"/>
                  <a:gd name="T38" fmla="*/ 18 w 53"/>
                  <a:gd name="T39" fmla="*/ 33 h 35"/>
                  <a:gd name="T40" fmla="*/ 24 w 53"/>
                  <a:gd name="T41" fmla="*/ 35 h 35"/>
                  <a:gd name="T42" fmla="*/ 29 w 53"/>
                  <a:gd name="T43" fmla="*/ 33 h 35"/>
                  <a:gd name="T44" fmla="*/ 29 w 53"/>
                  <a:gd name="T45" fmla="*/ 33 h 35"/>
                  <a:gd name="T46" fmla="*/ 27 w 53"/>
                  <a:gd name="T47" fmla="*/ 33 h 35"/>
                  <a:gd name="T48" fmla="*/ 31 w 53"/>
                  <a:gd name="T49" fmla="*/ 31 h 35"/>
                  <a:gd name="T50" fmla="*/ 53 w 53"/>
                  <a:gd name="T51" fmla="*/ 35 h 35"/>
                  <a:gd name="T52" fmla="*/ 43 w 53"/>
                  <a:gd name="T53" fmla="*/ 16 h 35"/>
                  <a:gd name="T54" fmla="*/ 39 w 53"/>
                  <a:gd name="T55" fmla="*/ 1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3" h="35">
                    <a:moveTo>
                      <a:pt x="39" y="12"/>
                    </a:moveTo>
                    <a:lnTo>
                      <a:pt x="39" y="10"/>
                    </a:lnTo>
                    <a:lnTo>
                      <a:pt x="33" y="6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6" y="8"/>
                    </a:lnTo>
                    <a:lnTo>
                      <a:pt x="0" y="20"/>
                    </a:lnTo>
                    <a:lnTo>
                      <a:pt x="0" y="23"/>
                    </a:lnTo>
                    <a:lnTo>
                      <a:pt x="2" y="22"/>
                    </a:lnTo>
                    <a:lnTo>
                      <a:pt x="4" y="22"/>
                    </a:lnTo>
                    <a:lnTo>
                      <a:pt x="4" y="23"/>
                    </a:lnTo>
                    <a:lnTo>
                      <a:pt x="4" y="25"/>
                    </a:lnTo>
                    <a:lnTo>
                      <a:pt x="6" y="25"/>
                    </a:lnTo>
                    <a:lnTo>
                      <a:pt x="8" y="23"/>
                    </a:lnTo>
                    <a:lnTo>
                      <a:pt x="10" y="22"/>
                    </a:lnTo>
                    <a:lnTo>
                      <a:pt x="14" y="23"/>
                    </a:lnTo>
                    <a:lnTo>
                      <a:pt x="16" y="23"/>
                    </a:lnTo>
                    <a:lnTo>
                      <a:pt x="18" y="25"/>
                    </a:lnTo>
                    <a:lnTo>
                      <a:pt x="16" y="31"/>
                    </a:lnTo>
                    <a:lnTo>
                      <a:pt x="18" y="33"/>
                    </a:lnTo>
                    <a:lnTo>
                      <a:pt x="24" y="35"/>
                    </a:lnTo>
                    <a:lnTo>
                      <a:pt x="29" y="33"/>
                    </a:lnTo>
                    <a:lnTo>
                      <a:pt x="29" y="33"/>
                    </a:lnTo>
                    <a:lnTo>
                      <a:pt x="27" y="33"/>
                    </a:lnTo>
                    <a:lnTo>
                      <a:pt x="31" y="31"/>
                    </a:lnTo>
                    <a:lnTo>
                      <a:pt x="53" y="35"/>
                    </a:lnTo>
                    <a:lnTo>
                      <a:pt x="43" y="16"/>
                    </a:lnTo>
                    <a:lnTo>
                      <a:pt x="39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97" name="Freeform 1014">
                <a:extLst>
                  <a:ext uri="{FF2B5EF4-FFF2-40B4-BE49-F238E27FC236}">
                    <a16:creationId xmlns:a16="http://schemas.microsoft.com/office/drawing/2014/main" id="{6218827E-5899-4FE4-AEB4-F135FA7DFF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" y="1903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0 h 2"/>
                  <a:gd name="T4" fmla="*/ 0 w 4"/>
                  <a:gd name="T5" fmla="*/ 0 h 2"/>
                  <a:gd name="T6" fmla="*/ 2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98" name="Freeform 1015">
                <a:extLst>
                  <a:ext uri="{FF2B5EF4-FFF2-40B4-BE49-F238E27FC236}">
                    <a16:creationId xmlns:a16="http://schemas.microsoft.com/office/drawing/2014/main" id="{8F22055D-18F7-4BC3-9D1E-A9671AFE49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7" y="1760"/>
                <a:ext cx="109" cy="133"/>
              </a:xfrm>
              <a:custGeom>
                <a:avLst/>
                <a:gdLst>
                  <a:gd name="T0" fmla="*/ 27 w 109"/>
                  <a:gd name="T1" fmla="*/ 41 h 133"/>
                  <a:gd name="T2" fmla="*/ 8 w 109"/>
                  <a:gd name="T3" fmla="*/ 41 h 133"/>
                  <a:gd name="T4" fmla="*/ 8 w 109"/>
                  <a:gd name="T5" fmla="*/ 45 h 133"/>
                  <a:gd name="T6" fmla="*/ 10 w 109"/>
                  <a:gd name="T7" fmla="*/ 51 h 133"/>
                  <a:gd name="T8" fmla="*/ 19 w 109"/>
                  <a:gd name="T9" fmla="*/ 49 h 133"/>
                  <a:gd name="T10" fmla="*/ 17 w 109"/>
                  <a:gd name="T11" fmla="*/ 55 h 133"/>
                  <a:gd name="T12" fmla="*/ 25 w 109"/>
                  <a:gd name="T13" fmla="*/ 61 h 133"/>
                  <a:gd name="T14" fmla="*/ 21 w 109"/>
                  <a:gd name="T15" fmla="*/ 65 h 133"/>
                  <a:gd name="T16" fmla="*/ 6 w 109"/>
                  <a:gd name="T17" fmla="*/ 76 h 133"/>
                  <a:gd name="T18" fmla="*/ 17 w 109"/>
                  <a:gd name="T19" fmla="*/ 78 h 133"/>
                  <a:gd name="T20" fmla="*/ 21 w 109"/>
                  <a:gd name="T21" fmla="*/ 86 h 133"/>
                  <a:gd name="T22" fmla="*/ 17 w 109"/>
                  <a:gd name="T23" fmla="*/ 92 h 133"/>
                  <a:gd name="T24" fmla="*/ 6 w 109"/>
                  <a:gd name="T25" fmla="*/ 90 h 133"/>
                  <a:gd name="T26" fmla="*/ 10 w 109"/>
                  <a:gd name="T27" fmla="*/ 111 h 133"/>
                  <a:gd name="T28" fmla="*/ 6 w 109"/>
                  <a:gd name="T29" fmla="*/ 115 h 133"/>
                  <a:gd name="T30" fmla="*/ 13 w 109"/>
                  <a:gd name="T31" fmla="*/ 117 h 133"/>
                  <a:gd name="T32" fmla="*/ 21 w 109"/>
                  <a:gd name="T33" fmla="*/ 121 h 133"/>
                  <a:gd name="T34" fmla="*/ 27 w 109"/>
                  <a:gd name="T35" fmla="*/ 123 h 133"/>
                  <a:gd name="T36" fmla="*/ 31 w 109"/>
                  <a:gd name="T37" fmla="*/ 121 h 133"/>
                  <a:gd name="T38" fmla="*/ 35 w 109"/>
                  <a:gd name="T39" fmla="*/ 121 h 133"/>
                  <a:gd name="T40" fmla="*/ 43 w 109"/>
                  <a:gd name="T41" fmla="*/ 131 h 133"/>
                  <a:gd name="T42" fmla="*/ 51 w 109"/>
                  <a:gd name="T43" fmla="*/ 121 h 133"/>
                  <a:gd name="T44" fmla="*/ 41 w 109"/>
                  <a:gd name="T45" fmla="*/ 123 h 133"/>
                  <a:gd name="T46" fmla="*/ 41 w 109"/>
                  <a:gd name="T47" fmla="*/ 119 h 133"/>
                  <a:gd name="T48" fmla="*/ 52 w 109"/>
                  <a:gd name="T49" fmla="*/ 109 h 133"/>
                  <a:gd name="T50" fmla="*/ 82 w 109"/>
                  <a:gd name="T51" fmla="*/ 98 h 133"/>
                  <a:gd name="T52" fmla="*/ 90 w 109"/>
                  <a:gd name="T53" fmla="*/ 98 h 133"/>
                  <a:gd name="T54" fmla="*/ 94 w 109"/>
                  <a:gd name="T55" fmla="*/ 100 h 133"/>
                  <a:gd name="T56" fmla="*/ 99 w 109"/>
                  <a:gd name="T57" fmla="*/ 104 h 133"/>
                  <a:gd name="T58" fmla="*/ 90 w 109"/>
                  <a:gd name="T59" fmla="*/ 113 h 133"/>
                  <a:gd name="T60" fmla="*/ 97 w 109"/>
                  <a:gd name="T61" fmla="*/ 111 h 133"/>
                  <a:gd name="T62" fmla="*/ 97 w 109"/>
                  <a:gd name="T63" fmla="*/ 117 h 133"/>
                  <a:gd name="T64" fmla="*/ 101 w 109"/>
                  <a:gd name="T65" fmla="*/ 117 h 133"/>
                  <a:gd name="T66" fmla="*/ 107 w 109"/>
                  <a:gd name="T67" fmla="*/ 100 h 133"/>
                  <a:gd name="T68" fmla="*/ 97 w 109"/>
                  <a:gd name="T69" fmla="*/ 86 h 133"/>
                  <a:gd name="T70" fmla="*/ 80 w 109"/>
                  <a:gd name="T71" fmla="*/ 76 h 133"/>
                  <a:gd name="T72" fmla="*/ 78 w 109"/>
                  <a:gd name="T73" fmla="*/ 59 h 133"/>
                  <a:gd name="T74" fmla="*/ 92 w 109"/>
                  <a:gd name="T75" fmla="*/ 35 h 133"/>
                  <a:gd name="T76" fmla="*/ 51 w 109"/>
                  <a:gd name="T77" fmla="*/ 29 h 133"/>
                  <a:gd name="T78" fmla="*/ 45 w 109"/>
                  <a:gd name="T79" fmla="*/ 16 h 133"/>
                  <a:gd name="T80" fmla="*/ 54 w 109"/>
                  <a:gd name="T81" fmla="*/ 4 h 133"/>
                  <a:gd name="T82" fmla="*/ 23 w 109"/>
                  <a:gd name="T83" fmla="*/ 8 h 133"/>
                  <a:gd name="T84" fmla="*/ 17 w 109"/>
                  <a:gd name="T85" fmla="*/ 16 h 133"/>
                  <a:gd name="T86" fmla="*/ 29 w 109"/>
                  <a:gd name="T87" fmla="*/ 14 h 133"/>
                  <a:gd name="T88" fmla="*/ 25 w 109"/>
                  <a:gd name="T89" fmla="*/ 22 h 133"/>
                  <a:gd name="T90" fmla="*/ 25 w 109"/>
                  <a:gd name="T91" fmla="*/ 37 h 133"/>
                  <a:gd name="T92" fmla="*/ 39 w 109"/>
                  <a:gd name="T93" fmla="*/ 26 h 133"/>
                  <a:gd name="T94" fmla="*/ 45 w 109"/>
                  <a:gd name="T95" fmla="*/ 26 h 133"/>
                  <a:gd name="T96" fmla="*/ 49 w 109"/>
                  <a:gd name="T97" fmla="*/ 31 h 133"/>
                  <a:gd name="T98" fmla="*/ 54 w 109"/>
                  <a:gd name="T99" fmla="*/ 37 h 133"/>
                  <a:gd name="T100" fmla="*/ 64 w 109"/>
                  <a:gd name="T101" fmla="*/ 35 h 133"/>
                  <a:gd name="T102" fmla="*/ 66 w 109"/>
                  <a:gd name="T103" fmla="*/ 37 h 133"/>
                  <a:gd name="T104" fmla="*/ 64 w 109"/>
                  <a:gd name="T105" fmla="*/ 39 h 133"/>
                  <a:gd name="T106" fmla="*/ 68 w 109"/>
                  <a:gd name="T107" fmla="*/ 49 h 133"/>
                  <a:gd name="T108" fmla="*/ 64 w 109"/>
                  <a:gd name="T109" fmla="*/ 59 h 133"/>
                  <a:gd name="T110" fmla="*/ 51 w 109"/>
                  <a:gd name="T111" fmla="*/ 47 h 133"/>
                  <a:gd name="T112" fmla="*/ 41 w 109"/>
                  <a:gd name="T113" fmla="*/ 37 h 133"/>
                  <a:gd name="T114" fmla="*/ 45 w 109"/>
                  <a:gd name="T115" fmla="*/ 43 h 133"/>
                  <a:gd name="T116" fmla="*/ 39 w 109"/>
                  <a:gd name="T117" fmla="*/ 47 h 133"/>
                  <a:gd name="T118" fmla="*/ 39 w 109"/>
                  <a:gd name="T119" fmla="*/ 41 h 133"/>
                  <a:gd name="T120" fmla="*/ 41 w 109"/>
                  <a:gd name="T121" fmla="*/ 35 h 133"/>
                  <a:gd name="T122" fmla="*/ 33 w 109"/>
                  <a:gd name="T123" fmla="*/ 37 h 133"/>
                  <a:gd name="T124" fmla="*/ 31 w 109"/>
                  <a:gd name="T125" fmla="*/ 49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9" h="133">
                    <a:moveTo>
                      <a:pt x="31" y="49"/>
                    </a:moveTo>
                    <a:lnTo>
                      <a:pt x="29" y="47"/>
                    </a:lnTo>
                    <a:lnTo>
                      <a:pt x="29" y="43"/>
                    </a:lnTo>
                    <a:lnTo>
                      <a:pt x="27" y="41"/>
                    </a:lnTo>
                    <a:lnTo>
                      <a:pt x="25" y="41"/>
                    </a:lnTo>
                    <a:lnTo>
                      <a:pt x="23" y="39"/>
                    </a:lnTo>
                    <a:lnTo>
                      <a:pt x="21" y="39"/>
                    </a:lnTo>
                    <a:lnTo>
                      <a:pt x="8" y="41"/>
                    </a:lnTo>
                    <a:lnTo>
                      <a:pt x="4" y="43"/>
                    </a:lnTo>
                    <a:lnTo>
                      <a:pt x="6" y="43"/>
                    </a:lnTo>
                    <a:lnTo>
                      <a:pt x="8" y="43"/>
                    </a:lnTo>
                    <a:lnTo>
                      <a:pt x="8" y="45"/>
                    </a:lnTo>
                    <a:lnTo>
                      <a:pt x="8" y="47"/>
                    </a:lnTo>
                    <a:lnTo>
                      <a:pt x="8" y="49"/>
                    </a:lnTo>
                    <a:lnTo>
                      <a:pt x="10" y="49"/>
                    </a:lnTo>
                    <a:lnTo>
                      <a:pt x="10" y="51"/>
                    </a:lnTo>
                    <a:lnTo>
                      <a:pt x="10" y="51"/>
                    </a:lnTo>
                    <a:lnTo>
                      <a:pt x="11" y="53"/>
                    </a:lnTo>
                    <a:lnTo>
                      <a:pt x="13" y="51"/>
                    </a:lnTo>
                    <a:lnTo>
                      <a:pt x="19" y="49"/>
                    </a:lnTo>
                    <a:lnTo>
                      <a:pt x="19" y="53"/>
                    </a:lnTo>
                    <a:lnTo>
                      <a:pt x="19" y="53"/>
                    </a:lnTo>
                    <a:lnTo>
                      <a:pt x="19" y="53"/>
                    </a:lnTo>
                    <a:lnTo>
                      <a:pt x="17" y="55"/>
                    </a:lnTo>
                    <a:lnTo>
                      <a:pt x="19" y="57"/>
                    </a:lnTo>
                    <a:lnTo>
                      <a:pt x="21" y="59"/>
                    </a:lnTo>
                    <a:lnTo>
                      <a:pt x="25" y="61"/>
                    </a:lnTo>
                    <a:lnTo>
                      <a:pt x="25" y="61"/>
                    </a:lnTo>
                    <a:lnTo>
                      <a:pt x="23" y="61"/>
                    </a:lnTo>
                    <a:lnTo>
                      <a:pt x="23" y="63"/>
                    </a:lnTo>
                    <a:lnTo>
                      <a:pt x="23" y="65"/>
                    </a:lnTo>
                    <a:lnTo>
                      <a:pt x="21" y="65"/>
                    </a:lnTo>
                    <a:lnTo>
                      <a:pt x="15" y="67"/>
                    </a:lnTo>
                    <a:lnTo>
                      <a:pt x="11" y="68"/>
                    </a:lnTo>
                    <a:lnTo>
                      <a:pt x="10" y="70"/>
                    </a:lnTo>
                    <a:lnTo>
                      <a:pt x="6" y="76"/>
                    </a:lnTo>
                    <a:lnTo>
                      <a:pt x="13" y="74"/>
                    </a:lnTo>
                    <a:lnTo>
                      <a:pt x="15" y="74"/>
                    </a:lnTo>
                    <a:lnTo>
                      <a:pt x="17" y="76"/>
                    </a:lnTo>
                    <a:lnTo>
                      <a:pt x="17" y="78"/>
                    </a:lnTo>
                    <a:lnTo>
                      <a:pt x="21" y="78"/>
                    </a:lnTo>
                    <a:lnTo>
                      <a:pt x="21" y="80"/>
                    </a:lnTo>
                    <a:lnTo>
                      <a:pt x="19" y="82"/>
                    </a:lnTo>
                    <a:lnTo>
                      <a:pt x="21" y="86"/>
                    </a:lnTo>
                    <a:lnTo>
                      <a:pt x="23" y="88"/>
                    </a:lnTo>
                    <a:lnTo>
                      <a:pt x="25" y="88"/>
                    </a:lnTo>
                    <a:lnTo>
                      <a:pt x="19" y="90"/>
                    </a:lnTo>
                    <a:lnTo>
                      <a:pt x="17" y="92"/>
                    </a:lnTo>
                    <a:lnTo>
                      <a:pt x="15" y="90"/>
                    </a:lnTo>
                    <a:lnTo>
                      <a:pt x="15" y="92"/>
                    </a:lnTo>
                    <a:lnTo>
                      <a:pt x="10" y="88"/>
                    </a:lnTo>
                    <a:lnTo>
                      <a:pt x="6" y="90"/>
                    </a:lnTo>
                    <a:lnTo>
                      <a:pt x="2" y="94"/>
                    </a:lnTo>
                    <a:lnTo>
                      <a:pt x="0" y="102"/>
                    </a:lnTo>
                    <a:lnTo>
                      <a:pt x="10" y="109"/>
                    </a:lnTo>
                    <a:lnTo>
                      <a:pt x="10" y="111"/>
                    </a:lnTo>
                    <a:lnTo>
                      <a:pt x="8" y="109"/>
                    </a:lnTo>
                    <a:lnTo>
                      <a:pt x="6" y="111"/>
                    </a:lnTo>
                    <a:lnTo>
                      <a:pt x="4" y="113"/>
                    </a:lnTo>
                    <a:lnTo>
                      <a:pt x="6" y="115"/>
                    </a:lnTo>
                    <a:lnTo>
                      <a:pt x="8" y="115"/>
                    </a:lnTo>
                    <a:lnTo>
                      <a:pt x="11" y="111"/>
                    </a:lnTo>
                    <a:lnTo>
                      <a:pt x="15" y="113"/>
                    </a:lnTo>
                    <a:lnTo>
                      <a:pt x="13" y="117"/>
                    </a:lnTo>
                    <a:lnTo>
                      <a:pt x="15" y="119"/>
                    </a:lnTo>
                    <a:lnTo>
                      <a:pt x="19" y="121"/>
                    </a:lnTo>
                    <a:lnTo>
                      <a:pt x="21" y="121"/>
                    </a:lnTo>
                    <a:lnTo>
                      <a:pt x="21" y="121"/>
                    </a:lnTo>
                    <a:lnTo>
                      <a:pt x="23" y="123"/>
                    </a:lnTo>
                    <a:lnTo>
                      <a:pt x="25" y="125"/>
                    </a:lnTo>
                    <a:lnTo>
                      <a:pt x="27" y="123"/>
                    </a:lnTo>
                    <a:lnTo>
                      <a:pt x="27" y="123"/>
                    </a:lnTo>
                    <a:lnTo>
                      <a:pt x="29" y="121"/>
                    </a:lnTo>
                    <a:lnTo>
                      <a:pt x="33" y="123"/>
                    </a:lnTo>
                    <a:lnTo>
                      <a:pt x="33" y="121"/>
                    </a:lnTo>
                    <a:lnTo>
                      <a:pt x="31" y="121"/>
                    </a:lnTo>
                    <a:lnTo>
                      <a:pt x="33" y="119"/>
                    </a:lnTo>
                    <a:lnTo>
                      <a:pt x="33" y="117"/>
                    </a:lnTo>
                    <a:lnTo>
                      <a:pt x="37" y="117"/>
                    </a:lnTo>
                    <a:lnTo>
                      <a:pt x="35" y="121"/>
                    </a:lnTo>
                    <a:lnTo>
                      <a:pt x="33" y="125"/>
                    </a:lnTo>
                    <a:lnTo>
                      <a:pt x="33" y="125"/>
                    </a:lnTo>
                    <a:lnTo>
                      <a:pt x="39" y="129"/>
                    </a:lnTo>
                    <a:lnTo>
                      <a:pt x="43" y="131"/>
                    </a:lnTo>
                    <a:lnTo>
                      <a:pt x="49" y="133"/>
                    </a:lnTo>
                    <a:lnTo>
                      <a:pt x="51" y="131"/>
                    </a:lnTo>
                    <a:lnTo>
                      <a:pt x="51" y="129"/>
                    </a:lnTo>
                    <a:lnTo>
                      <a:pt x="51" y="121"/>
                    </a:lnTo>
                    <a:lnTo>
                      <a:pt x="49" y="121"/>
                    </a:lnTo>
                    <a:lnTo>
                      <a:pt x="41" y="123"/>
                    </a:lnTo>
                    <a:lnTo>
                      <a:pt x="41" y="123"/>
                    </a:lnTo>
                    <a:lnTo>
                      <a:pt x="41" y="123"/>
                    </a:lnTo>
                    <a:lnTo>
                      <a:pt x="43" y="123"/>
                    </a:lnTo>
                    <a:lnTo>
                      <a:pt x="43" y="125"/>
                    </a:lnTo>
                    <a:lnTo>
                      <a:pt x="39" y="127"/>
                    </a:lnTo>
                    <a:lnTo>
                      <a:pt x="41" y="119"/>
                    </a:lnTo>
                    <a:lnTo>
                      <a:pt x="45" y="117"/>
                    </a:lnTo>
                    <a:lnTo>
                      <a:pt x="49" y="115"/>
                    </a:lnTo>
                    <a:lnTo>
                      <a:pt x="51" y="111"/>
                    </a:lnTo>
                    <a:lnTo>
                      <a:pt x="52" y="109"/>
                    </a:lnTo>
                    <a:lnTo>
                      <a:pt x="60" y="102"/>
                    </a:lnTo>
                    <a:lnTo>
                      <a:pt x="64" y="100"/>
                    </a:lnTo>
                    <a:lnTo>
                      <a:pt x="80" y="98"/>
                    </a:lnTo>
                    <a:lnTo>
                      <a:pt x="82" y="98"/>
                    </a:lnTo>
                    <a:lnTo>
                      <a:pt x="84" y="100"/>
                    </a:lnTo>
                    <a:lnTo>
                      <a:pt x="86" y="102"/>
                    </a:lnTo>
                    <a:lnTo>
                      <a:pt x="88" y="98"/>
                    </a:lnTo>
                    <a:lnTo>
                      <a:pt x="90" y="98"/>
                    </a:lnTo>
                    <a:lnTo>
                      <a:pt x="92" y="96"/>
                    </a:lnTo>
                    <a:lnTo>
                      <a:pt x="95" y="98"/>
                    </a:lnTo>
                    <a:lnTo>
                      <a:pt x="95" y="100"/>
                    </a:lnTo>
                    <a:lnTo>
                      <a:pt x="94" y="100"/>
                    </a:lnTo>
                    <a:lnTo>
                      <a:pt x="84" y="108"/>
                    </a:lnTo>
                    <a:lnTo>
                      <a:pt x="88" y="106"/>
                    </a:lnTo>
                    <a:lnTo>
                      <a:pt x="92" y="104"/>
                    </a:lnTo>
                    <a:lnTo>
                      <a:pt x="99" y="104"/>
                    </a:lnTo>
                    <a:lnTo>
                      <a:pt x="97" y="106"/>
                    </a:lnTo>
                    <a:lnTo>
                      <a:pt x="95" y="108"/>
                    </a:lnTo>
                    <a:lnTo>
                      <a:pt x="90" y="111"/>
                    </a:lnTo>
                    <a:lnTo>
                      <a:pt x="90" y="113"/>
                    </a:lnTo>
                    <a:lnTo>
                      <a:pt x="92" y="113"/>
                    </a:lnTo>
                    <a:lnTo>
                      <a:pt x="94" y="113"/>
                    </a:lnTo>
                    <a:lnTo>
                      <a:pt x="97" y="113"/>
                    </a:lnTo>
                    <a:lnTo>
                      <a:pt x="97" y="111"/>
                    </a:lnTo>
                    <a:lnTo>
                      <a:pt x="99" y="111"/>
                    </a:lnTo>
                    <a:lnTo>
                      <a:pt x="99" y="113"/>
                    </a:lnTo>
                    <a:lnTo>
                      <a:pt x="99" y="115"/>
                    </a:lnTo>
                    <a:lnTo>
                      <a:pt x="97" y="117"/>
                    </a:lnTo>
                    <a:lnTo>
                      <a:pt x="95" y="117"/>
                    </a:lnTo>
                    <a:lnTo>
                      <a:pt x="99" y="117"/>
                    </a:lnTo>
                    <a:lnTo>
                      <a:pt x="101" y="117"/>
                    </a:lnTo>
                    <a:lnTo>
                      <a:pt x="101" y="117"/>
                    </a:lnTo>
                    <a:lnTo>
                      <a:pt x="101" y="111"/>
                    </a:lnTo>
                    <a:lnTo>
                      <a:pt x="103" y="108"/>
                    </a:lnTo>
                    <a:lnTo>
                      <a:pt x="103" y="104"/>
                    </a:lnTo>
                    <a:lnTo>
                      <a:pt x="107" y="100"/>
                    </a:lnTo>
                    <a:lnTo>
                      <a:pt x="109" y="100"/>
                    </a:lnTo>
                    <a:lnTo>
                      <a:pt x="105" y="98"/>
                    </a:lnTo>
                    <a:lnTo>
                      <a:pt x="101" y="94"/>
                    </a:lnTo>
                    <a:lnTo>
                      <a:pt x="97" y="86"/>
                    </a:lnTo>
                    <a:lnTo>
                      <a:pt x="94" y="82"/>
                    </a:lnTo>
                    <a:lnTo>
                      <a:pt x="86" y="80"/>
                    </a:lnTo>
                    <a:lnTo>
                      <a:pt x="82" y="80"/>
                    </a:lnTo>
                    <a:lnTo>
                      <a:pt x="80" y="76"/>
                    </a:lnTo>
                    <a:lnTo>
                      <a:pt x="78" y="72"/>
                    </a:lnTo>
                    <a:lnTo>
                      <a:pt x="78" y="68"/>
                    </a:lnTo>
                    <a:lnTo>
                      <a:pt x="76" y="63"/>
                    </a:lnTo>
                    <a:lnTo>
                      <a:pt x="78" y="59"/>
                    </a:lnTo>
                    <a:lnTo>
                      <a:pt x="82" y="55"/>
                    </a:lnTo>
                    <a:lnTo>
                      <a:pt x="90" y="49"/>
                    </a:lnTo>
                    <a:lnTo>
                      <a:pt x="94" y="43"/>
                    </a:lnTo>
                    <a:lnTo>
                      <a:pt x="92" y="35"/>
                    </a:lnTo>
                    <a:lnTo>
                      <a:pt x="88" y="29"/>
                    </a:lnTo>
                    <a:lnTo>
                      <a:pt x="80" y="27"/>
                    </a:lnTo>
                    <a:lnTo>
                      <a:pt x="58" y="33"/>
                    </a:lnTo>
                    <a:lnTo>
                      <a:pt x="51" y="29"/>
                    </a:lnTo>
                    <a:lnTo>
                      <a:pt x="49" y="27"/>
                    </a:lnTo>
                    <a:lnTo>
                      <a:pt x="47" y="24"/>
                    </a:lnTo>
                    <a:lnTo>
                      <a:pt x="45" y="20"/>
                    </a:lnTo>
                    <a:lnTo>
                      <a:pt x="45" y="16"/>
                    </a:lnTo>
                    <a:lnTo>
                      <a:pt x="45" y="12"/>
                    </a:lnTo>
                    <a:lnTo>
                      <a:pt x="49" y="8"/>
                    </a:lnTo>
                    <a:lnTo>
                      <a:pt x="52" y="6"/>
                    </a:lnTo>
                    <a:lnTo>
                      <a:pt x="54" y="4"/>
                    </a:lnTo>
                    <a:lnTo>
                      <a:pt x="54" y="2"/>
                    </a:lnTo>
                    <a:lnTo>
                      <a:pt x="51" y="0"/>
                    </a:lnTo>
                    <a:lnTo>
                      <a:pt x="45" y="0"/>
                    </a:lnTo>
                    <a:lnTo>
                      <a:pt x="23" y="8"/>
                    </a:lnTo>
                    <a:lnTo>
                      <a:pt x="21" y="8"/>
                    </a:lnTo>
                    <a:lnTo>
                      <a:pt x="19" y="10"/>
                    </a:lnTo>
                    <a:lnTo>
                      <a:pt x="17" y="12"/>
                    </a:lnTo>
                    <a:lnTo>
                      <a:pt x="17" y="16"/>
                    </a:lnTo>
                    <a:lnTo>
                      <a:pt x="19" y="16"/>
                    </a:lnTo>
                    <a:lnTo>
                      <a:pt x="21" y="14"/>
                    </a:lnTo>
                    <a:lnTo>
                      <a:pt x="29" y="12"/>
                    </a:lnTo>
                    <a:lnTo>
                      <a:pt x="29" y="14"/>
                    </a:lnTo>
                    <a:lnTo>
                      <a:pt x="29" y="16"/>
                    </a:lnTo>
                    <a:lnTo>
                      <a:pt x="29" y="20"/>
                    </a:lnTo>
                    <a:lnTo>
                      <a:pt x="27" y="20"/>
                    </a:lnTo>
                    <a:lnTo>
                      <a:pt x="25" y="22"/>
                    </a:lnTo>
                    <a:lnTo>
                      <a:pt x="23" y="27"/>
                    </a:lnTo>
                    <a:lnTo>
                      <a:pt x="21" y="33"/>
                    </a:lnTo>
                    <a:lnTo>
                      <a:pt x="23" y="35"/>
                    </a:lnTo>
                    <a:lnTo>
                      <a:pt x="25" y="37"/>
                    </a:lnTo>
                    <a:lnTo>
                      <a:pt x="29" y="35"/>
                    </a:lnTo>
                    <a:lnTo>
                      <a:pt x="31" y="31"/>
                    </a:lnTo>
                    <a:lnTo>
                      <a:pt x="35" y="29"/>
                    </a:lnTo>
                    <a:lnTo>
                      <a:pt x="39" y="26"/>
                    </a:lnTo>
                    <a:lnTo>
                      <a:pt x="39" y="24"/>
                    </a:lnTo>
                    <a:lnTo>
                      <a:pt x="43" y="22"/>
                    </a:lnTo>
                    <a:lnTo>
                      <a:pt x="43" y="24"/>
                    </a:lnTo>
                    <a:lnTo>
                      <a:pt x="45" y="26"/>
                    </a:lnTo>
                    <a:lnTo>
                      <a:pt x="45" y="27"/>
                    </a:lnTo>
                    <a:lnTo>
                      <a:pt x="47" y="29"/>
                    </a:lnTo>
                    <a:lnTo>
                      <a:pt x="47" y="31"/>
                    </a:lnTo>
                    <a:lnTo>
                      <a:pt x="49" y="31"/>
                    </a:lnTo>
                    <a:lnTo>
                      <a:pt x="51" y="33"/>
                    </a:lnTo>
                    <a:lnTo>
                      <a:pt x="52" y="35"/>
                    </a:lnTo>
                    <a:lnTo>
                      <a:pt x="52" y="37"/>
                    </a:lnTo>
                    <a:lnTo>
                      <a:pt x="54" y="37"/>
                    </a:lnTo>
                    <a:lnTo>
                      <a:pt x="60" y="39"/>
                    </a:lnTo>
                    <a:lnTo>
                      <a:pt x="62" y="37"/>
                    </a:lnTo>
                    <a:lnTo>
                      <a:pt x="62" y="37"/>
                    </a:lnTo>
                    <a:lnTo>
                      <a:pt x="64" y="35"/>
                    </a:lnTo>
                    <a:lnTo>
                      <a:pt x="66" y="35"/>
                    </a:lnTo>
                    <a:lnTo>
                      <a:pt x="68" y="33"/>
                    </a:lnTo>
                    <a:lnTo>
                      <a:pt x="68" y="35"/>
                    </a:lnTo>
                    <a:lnTo>
                      <a:pt x="66" y="37"/>
                    </a:lnTo>
                    <a:lnTo>
                      <a:pt x="66" y="37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4" y="39"/>
                    </a:lnTo>
                    <a:lnTo>
                      <a:pt x="64" y="41"/>
                    </a:lnTo>
                    <a:lnTo>
                      <a:pt x="66" y="43"/>
                    </a:lnTo>
                    <a:lnTo>
                      <a:pt x="68" y="47"/>
                    </a:lnTo>
                    <a:lnTo>
                      <a:pt x="68" y="49"/>
                    </a:lnTo>
                    <a:lnTo>
                      <a:pt x="66" y="51"/>
                    </a:lnTo>
                    <a:lnTo>
                      <a:pt x="66" y="53"/>
                    </a:lnTo>
                    <a:lnTo>
                      <a:pt x="64" y="57"/>
                    </a:lnTo>
                    <a:lnTo>
                      <a:pt x="64" y="59"/>
                    </a:lnTo>
                    <a:lnTo>
                      <a:pt x="56" y="59"/>
                    </a:lnTo>
                    <a:lnTo>
                      <a:pt x="52" y="57"/>
                    </a:lnTo>
                    <a:lnTo>
                      <a:pt x="49" y="51"/>
                    </a:lnTo>
                    <a:lnTo>
                      <a:pt x="51" y="47"/>
                    </a:lnTo>
                    <a:lnTo>
                      <a:pt x="49" y="43"/>
                    </a:lnTo>
                    <a:lnTo>
                      <a:pt x="45" y="39"/>
                    </a:lnTo>
                    <a:lnTo>
                      <a:pt x="43" y="35"/>
                    </a:lnTo>
                    <a:lnTo>
                      <a:pt x="41" y="37"/>
                    </a:lnTo>
                    <a:lnTo>
                      <a:pt x="41" y="39"/>
                    </a:lnTo>
                    <a:lnTo>
                      <a:pt x="43" y="41"/>
                    </a:lnTo>
                    <a:lnTo>
                      <a:pt x="45" y="41"/>
                    </a:lnTo>
                    <a:lnTo>
                      <a:pt x="45" y="43"/>
                    </a:lnTo>
                    <a:lnTo>
                      <a:pt x="45" y="45"/>
                    </a:lnTo>
                    <a:lnTo>
                      <a:pt x="43" y="47"/>
                    </a:lnTo>
                    <a:lnTo>
                      <a:pt x="41" y="47"/>
                    </a:lnTo>
                    <a:lnTo>
                      <a:pt x="39" y="47"/>
                    </a:lnTo>
                    <a:lnTo>
                      <a:pt x="41" y="43"/>
                    </a:lnTo>
                    <a:lnTo>
                      <a:pt x="41" y="43"/>
                    </a:lnTo>
                    <a:lnTo>
                      <a:pt x="41" y="41"/>
                    </a:lnTo>
                    <a:lnTo>
                      <a:pt x="39" y="41"/>
                    </a:lnTo>
                    <a:lnTo>
                      <a:pt x="39" y="39"/>
                    </a:lnTo>
                    <a:lnTo>
                      <a:pt x="37" y="39"/>
                    </a:lnTo>
                    <a:lnTo>
                      <a:pt x="39" y="39"/>
                    </a:lnTo>
                    <a:lnTo>
                      <a:pt x="41" y="35"/>
                    </a:lnTo>
                    <a:lnTo>
                      <a:pt x="43" y="29"/>
                    </a:lnTo>
                    <a:lnTo>
                      <a:pt x="39" y="31"/>
                    </a:lnTo>
                    <a:lnTo>
                      <a:pt x="37" y="33"/>
                    </a:lnTo>
                    <a:lnTo>
                      <a:pt x="33" y="37"/>
                    </a:lnTo>
                    <a:lnTo>
                      <a:pt x="31" y="39"/>
                    </a:lnTo>
                    <a:lnTo>
                      <a:pt x="31" y="45"/>
                    </a:lnTo>
                    <a:lnTo>
                      <a:pt x="31" y="47"/>
                    </a:lnTo>
                    <a:lnTo>
                      <a:pt x="31" y="4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99" name="Freeform 1016">
                <a:extLst>
                  <a:ext uri="{FF2B5EF4-FFF2-40B4-BE49-F238E27FC236}">
                    <a16:creationId xmlns:a16="http://schemas.microsoft.com/office/drawing/2014/main" id="{9B3E90CB-4910-412F-BC60-FF971C4745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2" y="1907"/>
                <a:ext cx="78" cy="95"/>
              </a:xfrm>
              <a:custGeom>
                <a:avLst/>
                <a:gdLst>
                  <a:gd name="T0" fmla="*/ 74 w 78"/>
                  <a:gd name="T1" fmla="*/ 76 h 95"/>
                  <a:gd name="T2" fmla="*/ 78 w 78"/>
                  <a:gd name="T3" fmla="*/ 68 h 95"/>
                  <a:gd name="T4" fmla="*/ 74 w 78"/>
                  <a:gd name="T5" fmla="*/ 66 h 95"/>
                  <a:gd name="T6" fmla="*/ 39 w 78"/>
                  <a:gd name="T7" fmla="*/ 31 h 95"/>
                  <a:gd name="T8" fmla="*/ 24 w 78"/>
                  <a:gd name="T9" fmla="*/ 21 h 95"/>
                  <a:gd name="T10" fmla="*/ 16 w 78"/>
                  <a:gd name="T11" fmla="*/ 13 h 95"/>
                  <a:gd name="T12" fmla="*/ 12 w 78"/>
                  <a:gd name="T13" fmla="*/ 2 h 95"/>
                  <a:gd name="T14" fmla="*/ 6 w 78"/>
                  <a:gd name="T15" fmla="*/ 2 h 95"/>
                  <a:gd name="T16" fmla="*/ 0 w 78"/>
                  <a:gd name="T17" fmla="*/ 7 h 95"/>
                  <a:gd name="T18" fmla="*/ 10 w 78"/>
                  <a:gd name="T19" fmla="*/ 17 h 95"/>
                  <a:gd name="T20" fmla="*/ 10 w 78"/>
                  <a:gd name="T21" fmla="*/ 29 h 95"/>
                  <a:gd name="T22" fmla="*/ 4 w 78"/>
                  <a:gd name="T23" fmla="*/ 44 h 95"/>
                  <a:gd name="T24" fmla="*/ 10 w 78"/>
                  <a:gd name="T25" fmla="*/ 43 h 95"/>
                  <a:gd name="T26" fmla="*/ 18 w 78"/>
                  <a:gd name="T27" fmla="*/ 37 h 95"/>
                  <a:gd name="T28" fmla="*/ 22 w 78"/>
                  <a:gd name="T29" fmla="*/ 37 h 95"/>
                  <a:gd name="T30" fmla="*/ 22 w 78"/>
                  <a:gd name="T31" fmla="*/ 43 h 95"/>
                  <a:gd name="T32" fmla="*/ 18 w 78"/>
                  <a:gd name="T33" fmla="*/ 46 h 95"/>
                  <a:gd name="T34" fmla="*/ 24 w 78"/>
                  <a:gd name="T35" fmla="*/ 48 h 95"/>
                  <a:gd name="T36" fmla="*/ 26 w 78"/>
                  <a:gd name="T37" fmla="*/ 44 h 95"/>
                  <a:gd name="T38" fmla="*/ 30 w 78"/>
                  <a:gd name="T39" fmla="*/ 41 h 95"/>
                  <a:gd name="T40" fmla="*/ 30 w 78"/>
                  <a:gd name="T41" fmla="*/ 39 h 95"/>
                  <a:gd name="T42" fmla="*/ 30 w 78"/>
                  <a:gd name="T43" fmla="*/ 33 h 95"/>
                  <a:gd name="T44" fmla="*/ 37 w 78"/>
                  <a:gd name="T45" fmla="*/ 33 h 95"/>
                  <a:gd name="T46" fmla="*/ 41 w 78"/>
                  <a:gd name="T47" fmla="*/ 37 h 95"/>
                  <a:gd name="T48" fmla="*/ 45 w 78"/>
                  <a:gd name="T49" fmla="*/ 46 h 95"/>
                  <a:gd name="T50" fmla="*/ 51 w 78"/>
                  <a:gd name="T51" fmla="*/ 48 h 95"/>
                  <a:gd name="T52" fmla="*/ 49 w 78"/>
                  <a:gd name="T53" fmla="*/ 64 h 95"/>
                  <a:gd name="T54" fmla="*/ 45 w 78"/>
                  <a:gd name="T55" fmla="*/ 66 h 95"/>
                  <a:gd name="T56" fmla="*/ 45 w 78"/>
                  <a:gd name="T57" fmla="*/ 62 h 95"/>
                  <a:gd name="T58" fmla="*/ 47 w 78"/>
                  <a:gd name="T59" fmla="*/ 62 h 95"/>
                  <a:gd name="T60" fmla="*/ 37 w 78"/>
                  <a:gd name="T61" fmla="*/ 62 h 95"/>
                  <a:gd name="T62" fmla="*/ 35 w 78"/>
                  <a:gd name="T63" fmla="*/ 62 h 95"/>
                  <a:gd name="T64" fmla="*/ 37 w 78"/>
                  <a:gd name="T65" fmla="*/ 56 h 95"/>
                  <a:gd name="T66" fmla="*/ 35 w 78"/>
                  <a:gd name="T67" fmla="*/ 52 h 95"/>
                  <a:gd name="T68" fmla="*/ 26 w 78"/>
                  <a:gd name="T69" fmla="*/ 58 h 95"/>
                  <a:gd name="T70" fmla="*/ 31 w 78"/>
                  <a:gd name="T71" fmla="*/ 80 h 95"/>
                  <a:gd name="T72" fmla="*/ 24 w 78"/>
                  <a:gd name="T73" fmla="*/ 84 h 95"/>
                  <a:gd name="T74" fmla="*/ 14 w 78"/>
                  <a:gd name="T75" fmla="*/ 87 h 95"/>
                  <a:gd name="T76" fmla="*/ 16 w 78"/>
                  <a:gd name="T77" fmla="*/ 93 h 95"/>
                  <a:gd name="T78" fmla="*/ 31 w 78"/>
                  <a:gd name="T79" fmla="*/ 95 h 95"/>
                  <a:gd name="T80" fmla="*/ 47 w 78"/>
                  <a:gd name="T81" fmla="*/ 89 h 95"/>
                  <a:gd name="T82" fmla="*/ 53 w 78"/>
                  <a:gd name="T83" fmla="*/ 87 h 95"/>
                  <a:gd name="T84" fmla="*/ 76 w 78"/>
                  <a:gd name="T85" fmla="*/ 85 h 95"/>
                  <a:gd name="T86" fmla="*/ 73 w 78"/>
                  <a:gd name="T87" fmla="*/ 78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8" h="95">
                    <a:moveTo>
                      <a:pt x="73" y="78"/>
                    </a:moveTo>
                    <a:lnTo>
                      <a:pt x="74" y="76"/>
                    </a:lnTo>
                    <a:lnTo>
                      <a:pt x="74" y="76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74" y="66"/>
                    </a:lnTo>
                    <a:lnTo>
                      <a:pt x="45" y="33"/>
                    </a:lnTo>
                    <a:lnTo>
                      <a:pt x="39" y="31"/>
                    </a:lnTo>
                    <a:lnTo>
                      <a:pt x="33" y="27"/>
                    </a:lnTo>
                    <a:lnTo>
                      <a:pt x="24" y="21"/>
                    </a:lnTo>
                    <a:lnTo>
                      <a:pt x="18" y="17"/>
                    </a:lnTo>
                    <a:lnTo>
                      <a:pt x="16" y="13"/>
                    </a:lnTo>
                    <a:lnTo>
                      <a:pt x="14" y="3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4" y="9"/>
                    </a:lnTo>
                    <a:lnTo>
                      <a:pt x="10" y="17"/>
                    </a:lnTo>
                    <a:lnTo>
                      <a:pt x="12" y="21"/>
                    </a:lnTo>
                    <a:lnTo>
                      <a:pt x="10" y="29"/>
                    </a:lnTo>
                    <a:lnTo>
                      <a:pt x="6" y="39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10" y="43"/>
                    </a:lnTo>
                    <a:lnTo>
                      <a:pt x="12" y="41"/>
                    </a:lnTo>
                    <a:lnTo>
                      <a:pt x="18" y="37"/>
                    </a:lnTo>
                    <a:lnTo>
                      <a:pt x="20" y="37"/>
                    </a:lnTo>
                    <a:lnTo>
                      <a:pt x="22" y="37"/>
                    </a:lnTo>
                    <a:lnTo>
                      <a:pt x="22" y="41"/>
                    </a:lnTo>
                    <a:lnTo>
                      <a:pt x="22" y="43"/>
                    </a:lnTo>
                    <a:lnTo>
                      <a:pt x="20" y="44"/>
                    </a:lnTo>
                    <a:lnTo>
                      <a:pt x="18" y="46"/>
                    </a:lnTo>
                    <a:lnTo>
                      <a:pt x="18" y="50"/>
                    </a:lnTo>
                    <a:lnTo>
                      <a:pt x="24" y="48"/>
                    </a:lnTo>
                    <a:lnTo>
                      <a:pt x="26" y="46"/>
                    </a:lnTo>
                    <a:lnTo>
                      <a:pt x="26" y="44"/>
                    </a:lnTo>
                    <a:lnTo>
                      <a:pt x="28" y="43"/>
                    </a:lnTo>
                    <a:lnTo>
                      <a:pt x="30" y="41"/>
                    </a:lnTo>
                    <a:lnTo>
                      <a:pt x="30" y="41"/>
                    </a:lnTo>
                    <a:lnTo>
                      <a:pt x="30" y="39"/>
                    </a:lnTo>
                    <a:lnTo>
                      <a:pt x="28" y="35"/>
                    </a:lnTo>
                    <a:lnTo>
                      <a:pt x="30" y="33"/>
                    </a:lnTo>
                    <a:lnTo>
                      <a:pt x="33" y="31"/>
                    </a:lnTo>
                    <a:lnTo>
                      <a:pt x="37" y="33"/>
                    </a:lnTo>
                    <a:lnTo>
                      <a:pt x="39" y="35"/>
                    </a:lnTo>
                    <a:lnTo>
                      <a:pt x="41" y="37"/>
                    </a:lnTo>
                    <a:lnTo>
                      <a:pt x="43" y="41"/>
                    </a:lnTo>
                    <a:lnTo>
                      <a:pt x="45" y="46"/>
                    </a:lnTo>
                    <a:lnTo>
                      <a:pt x="49" y="44"/>
                    </a:lnTo>
                    <a:lnTo>
                      <a:pt x="51" y="48"/>
                    </a:lnTo>
                    <a:lnTo>
                      <a:pt x="51" y="56"/>
                    </a:lnTo>
                    <a:lnTo>
                      <a:pt x="49" y="64"/>
                    </a:lnTo>
                    <a:lnTo>
                      <a:pt x="51" y="68"/>
                    </a:lnTo>
                    <a:lnTo>
                      <a:pt x="45" y="66"/>
                    </a:lnTo>
                    <a:lnTo>
                      <a:pt x="45" y="64"/>
                    </a:lnTo>
                    <a:lnTo>
                      <a:pt x="45" y="62"/>
                    </a:lnTo>
                    <a:lnTo>
                      <a:pt x="47" y="62"/>
                    </a:lnTo>
                    <a:lnTo>
                      <a:pt x="47" y="62"/>
                    </a:lnTo>
                    <a:lnTo>
                      <a:pt x="41" y="62"/>
                    </a:lnTo>
                    <a:lnTo>
                      <a:pt x="37" y="62"/>
                    </a:lnTo>
                    <a:lnTo>
                      <a:pt x="35" y="68"/>
                    </a:lnTo>
                    <a:lnTo>
                      <a:pt x="35" y="62"/>
                    </a:lnTo>
                    <a:lnTo>
                      <a:pt x="37" y="56"/>
                    </a:lnTo>
                    <a:lnTo>
                      <a:pt x="37" y="56"/>
                    </a:lnTo>
                    <a:lnTo>
                      <a:pt x="37" y="54"/>
                    </a:lnTo>
                    <a:lnTo>
                      <a:pt x="35" y="52"/>
                    </a:lnTo>
                    <a:lnTo>
                      <a:pt x="26" y="52"/>
                    </a:lnTo>
                    <a:lnTo>
                      <a:pt x="26" y="58"/>
                    </a:lnTo>
                    <a:lnTo>
                      <a:pt x="31" y="70"/>
                    </a:lnTo>
                    <a:lnTo>
                      <a:pt x="31" y="80"/>
                    </a:lnTo>
                    <a:lnTo>
                      <a:pt x="30" y="82"/>
                    </a:lnTo>
                    <a:lnTo>
                      <a:pt x="24" y="84"/>
                    </a:lnTo>
                    <a:lnTo>
                      <a:pt x="18" y="85"/>
                    </a:lnTo>
                    <a:lnTo>
                      <a:pt x="14" y="87"/>
                    </a:lnTo>
                    <a:lnTo>
                      <a:pt x="12" y="89"/>
                    </a:lnTo>
                    <a:lnTo>
                      <a:pt x="16" y="93"/>
                    </a:lnTo>
                    <a:lnTo>
                      <a:pt x="22" y="95"/>
                    </a:lnTo>
                    <a:lnTo>
                      <a:pt x="31" y="95"/>
                    </a:lnTo>
                    <a:lnTo>
                      <a:pt x="41" y="91"/>
                    </a:lnTo>
                    <a:lnTo>
                      <a:pt x="47" y="89"/>
                    </a:lnTo>
                    <a:lnTo>
                      <a:pt x="51" y="85"/>
                    </a:lnTo>
                    <a:lnTo>
                      <a:pt x="53" y="87"/>
                    </a:lnTo>
                    <a:lnTo>
                      <a:pt x="57" y="87"/>
                    </a:lnTo>
                    <a:lnTo>
                      <a:pt x="76" y="85"/>
                    </a:lnTo>
                    <a:lnTo>
                      <a:pt x="74" y="80"/>
                    </a:lnTo>
                    <a:lnTo>
                      <a:pt x="73" y="7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00" name="Freeform 1017">
                <a:extLst>
                  <a:ext uri="{FF2B5EF4-FFF2-40B4-BE49-F238E27FC236}">
                    <a16:creationId xmlns:a16="http://schemas.microsoft.com/office/drawing/2014/main" id="{3E3D0785-15E2-4F76-B3AD-E6A0E8C0D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1" y="1926"/>
                <a:ext cx="14" cy="16"/>
              </a:xfrm>
              <a:custGeom>
                <a:avLst/>
                <a:gdLst>
                  <a:gd name="T0" fmla="*/ 0 w 14"/>
                  <a:gd name="T1" fmla="*/ 8 h 16"/>
                  <a:gd name="T2" fmla="*/ 0 w 14"/>
                  <a:gd name="T3" fmla="*/ 10 h 16"/>
                  <a:gd name="T4" fmla="*/ 0 w 14"/>
                  <a:gd name="T5" fmla="*/ 10 h 16"/>
                  <a:gd name="T6" fmla="*/ 0 w 14"/>
                  <a:gd name="T7" fmla="*/ 16 h 16"/>
                  <a:gd name="T8" fmla="*/ 2 w 14"/>
                  <a:gd name="T9" fmla="*/ 16 h 16"/>
                  <a:gd name="T10" fmla="*/ 4 w 14"/>
                  <a:gd name="T11" fmla="*/ 10 h 16"/>
                  <a:gd name="T12" fmla="*/ 12 w 14"/>
                  <a:gd name="T13" fmla="*/ 4 h 16"/>
                  <a:gd name="T14" fmla="*/ 14 w 14"/>
                  <a:gd name="T15" fmla="*/ 0 h 16"/>
                  <a:gd name="T16" fmla="*/ 12 w 14"/>
                  <a:gd name="T17" fmla="*/ 2 h 16"/>
                  <a:gd name="T18" fmla="*/ 0 w 14"/>
                  <a:gd name="T1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16">
                    <a:moveTo>
                      <a:pt x="0" y="8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4" y="10"/>
                    </a:lnTo>
                    <a:lnTo>
                      <a:pt x="12" y="4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01" name="Freeform 1018">
                <a:extLst>
                  <a:ext uri="{FF2B5EF4-FFF2-40B4-BE49-F238E27FC236}">
                    <a16:creationId xmlns:a16="http://schemas.microsoft.com/office/drawing/2014/main" id="{C39689DE-0939-4CFA-ABE4-27D75853CE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7" y="1784"/>
                <a:ext cx="16" cy="41"/>
              </a:xfrm>
              <a:custGeom>
                <a:avLst/>
                <a:gdLst>
                  <a:gd name="T0" fmla="*/ 2 w 16"/>
                  <a:gd name="T1" fmla="*/ 33 h 41"/>
                  <a:gd name="T2" fmla="*/ 2 w 16"/>
                  <a:gd name="T3" fmla="*/ 31 h 41"/>
                  <a:gd name="T4" fmla="*/ 2 w 16"/>
                  <a:gd name="T5" fmla="*/ 27 h 41"/>
                  <a:gd name="T6" fmla="*/ 4 w 16"/>
                  <a:gd name="T7" fmla="*/ 25 h 41"/>
                  <a:gd name="T8" fmla="*/ 6 w 16"/>
                  <a:gd name="T9" fmla="*/ 23 h 41"/>
                  <a:gd name="T10" fmla="*/ 8 w 16"/>
                  <a:gd name="T11" fmla="*/ 21 h 41"/>
                  <a:gd name="T12" fmla="*/ 10 w 16"/>
                  <a:gd name="T13" fmla="*/ 15 h 41"/>
                  <a:gd name="T14" fmla="*/ 10 w 16"/>
                  <a:gd name="T15" fmla="*/ 11 h 41"/>
                  <a:gd name="T16" fmla="*/ 10 w 16"/>
                  <a:gd name="T17" fmla="*/ 5 h 41"/>
                  <a:gd name="T18" fmla="*/ 14 w 16"/>
                  <a:gd name="T19" fmla="*/ 2 h 41"/>
                  <a:gd name="T20" fmla="*/ 14 w 16"/>
                  <a:gd name="T21" fmla="*/ 7 h 41"/>
                  <a:gd name="T22" fmla="*/ 16 w 16"/>
                  <a:gd name="T23" fmla="*/ 7 h 41"/>
                  <a:gd name="T24" fmla="*/ 16 w 16"/>
                  <a:gd name="T25" fmla="*/ 3 h 41"/>
                  <a:gd name="T26" fmla="*/ 16 w 16"/>
                  <a:gd name="T27" fmla="*/ 3 h 41"/>
                  <a:gd name="T28" fmla="*/ 16 w 16"/>
                  <a:gd name="T29" fmla="*/ 5 h 41"/>
                  <a:gd name="T30" fmla="*/ 16 w 16"/>
                  <a:gd name="T31" fmla="*/ 2 h 41"/>
                  <a:gd name="T32" fmla="*/ 16 w 16"/>
                  <a:gd name="T33" fmla="*/ 0 h 41"/>
                  <a:gd name="T34" fmla="*/ 14 w 16"/>
                  <a:gd name="T35" fmla="*/ 0 h 41"/>
                  <a:gd name="T36" fmla="*/ 12 w 16"/>
                  <a:gd name="T37" fmla="*/ 0 h 41"/>
                  <a:gd name="T38" fmla="*/ 8 w 16"/>
                  <a:gd name="T39" fmla="*/ 2 h 41"/>
                  <a:gd name="T40" fmla="*/ 8 w 16"/>
                  <a:gd name="T41" fmla="*/ 3 h 41"/>
                  <a:gd name="T42" fmla="*/ 6 w 16"/>
                  <a:gd name="T43" fmla="*/ 9 h 41"/>
                  <a:gd name="T44" fmla="*/ 2 w 16"/>
                  <a:gd name="T45" fmla="*/ 29 h 41"/>
                  <a:gd name="T46" fmla="*/ 0 w 16"/>
                  <a:gd name="T47" fmla="*/ 37 h 41"/>
                  <a:gd name="T48" fmla="*/ 0 w 16"/>
                  <a:gd name="T49" fmla="*/ 41 h 41"/>
                  <a:gd name="T50" fmla="*/ 2 w 16"/>
                  <a:gd name="T51" fmla="*/ 41 h 41"/>
                  <a:gd name="T52" fmla="*/ 2 w 16"/>
                  <a:gd name="T53" fmla="*/ 33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6" h="41">
                    <a:moveTo>
                      <a:pt x="2" y="33"/>
                    </a:moveTo>
                    <a:lnTo>
                      <a:pt x="2" y="31"/>
                    </a:lnTo>
                    <a:lnTo>
                      <a:pt x="2" y="27"/>
                    </a:lnTo>
                    <a:lnTo>
                      <a:pt x="4" y="25"/>
                    </a:lnTo>
                    <a:lnTo>
                      <a:pt x="6" y="23"/>
                    </a:lnTo>
                    <a:lnTo>
                      <a:pt x="8" y="21"/>
                    </a:lnTo>
                    <a:lnTo>
                      <a:pt x="10" y="15"/>
                    </a:lnTo>
                    <a:lnTo>
                      <a:pt x="10" y="11"/>
                    </a:lnTo>
                    <a:lnTo>
                      <a:pt x="10" y="5"/>
                    </a:lnTo>
                    <a:lnTo>
                      <a:pt x="14" y="2"/>
                    </a:lnTo>
                    <a:lnTo>
                      <a:pt x="14" y="7"/>
                    </a:lnTo>
                    <a:lnTo>
                      <a:pt x="16" y="7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16" y="5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8" y="3"/>
                    </a:lnTo>
                    <a:lnTo>
                      <a:pt x="6" y="9"/>
                    </a:lnTo>
                    <a:lnTo>
                      <a:pt x="2" y="29"/>
                    </a:lnTo>
                    <a:lnTo>
                      <a:pt x="0" y="37"/>
                    </a:lnTo>
                    <a:lnTo>
                      <a:pt x="0" y="41"/>
                    </a:lnTo>
                    <a:lnTo>
                      <a:pt x="2" y="41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02" name="Freeform 1019">
                <a:extLst>
                  <a:ext uri="{FF2B5EF4-FFF2-40B4-BE49-F238E27FC236}">
                    <a16:creationId xmlns:a16="http://schemas.microsoft.com/office/drawing/2014/main" id="{313A9169-6DA4-4B3E-B5D4-B89E36B39D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6" y="1950"/>
                <a:ext cx="19" cy="19"/>
              </a:xfrm>
              <a:custGeom>
                <a:avLst/>
                <a:gdLst>
                  <a:gd name="T0" fmla="*/ 7 w 19"/>
                  <a:gd name="T1" fmla="*/ 1 h 19"/>
                  <a:gd name="T2" fmla="*/ 2 w 19"/>
                  <a:gd name="T3" fmla="*/ 5 h 19"/>
                  <a:gd name="T4" fmla="*/ 0 w 19"/>
                  <a:gd name="T5" fmla="*/ 13 h 19"/>
                  <a:gd name="T6" fmla="*/ 2 w 19"/>
                  <a:gd name="T7" fmla="*/ 15 h 19"/>
                  <a:gd name="T8" fmla="*/ 6 w 19"/>
                  <a:gd name="T9" fmla="*/ 17 h 19"/>
                  <a:gd name="T10" fmla="*/ 7 w 19"/>
                  <a:gd name="T11" fmla="*/ 17 h 19"/>
                  <a:gd name="T12" fmla="*/ 9 w 19"/>
                  <a:gd name="T13" fmla="*/ 15 h 19"/>
                  <a:gd name="T14" fmla="*/ 9 w 19"/>
                  <a:gd name="T15" fmla="*/ 11 h 19"/>
                  <a:gd name="T16" fmla="*/ 9 w 19"/>
                  <a:gd name="T17" fmla="*/ 7 h 19"/>
                  <a:gd name="T18" fmla="*/ 11 w 19"/>
                  <a:gd name="T19" fmla="*/ 7 h 19"/>
                  <a:gd name="T20" fmla="*/ 11 w 19"/>
                  <a:gd name="T21" fmla="*/ 11 h 19"/>
                  <a:gd name="T22" fmla="*/ 11 w 19"/>
                  <a:gd name="T23" fmla="*/ 17 h 19"/>
                  <a:gd name="T24" fmla="*/ 11 w 19"/>
                  <a:gd name="T25" fmla="*/ 19 h 19"/>
                  <a:gd name="T26" fmla="*/ 13 w 19"/>
                  <a:gd name="T27" fmla="*/ 19 h 19"/>
                  <a:gd name="T28" fmla="*/ 15 w 19"/>
                  <a:gd name="T29" fmla="*/ 15 h 19"/>
                  <a:gd name="T30" fmla="*/ 19 w 19"/>
                  <a:gd name="T31" fmla="*/ 1 h 19"/>
                  <a:gd name="T32" fmla="*/ 15 w 19"/>
                  <a:gd name="T33" fmla="*/ 0 h 19"/>
                  <a:gd name="T34" fmla="*/ 7 w 19"/>
                  <a:gd name="T35" fmla="*/ 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" h="19">
                    <a:moveTo>
                      <a:pt x="7" y="1"/>
                    </a:moveTo>
                    <a:lnTo>
                      <a:pt x="2" y="5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6" y="17"/>
                    </a:lnTo>
                    <a:lnTo>
                      <a:pt x="7" y="17"/>
                    </a:lnTo>
                    <a:lnTo>
                      <a:pt x="9" y="15"/>
                    </a:lnTo>
                    <a:lnTo>
                      <a:pt x="9" y="11"/>
                    </a:lnTo>
                    <a:lnTo>
                      <a:pt x="9" y="7"/>
                    </a:lnTo>
                    <a:lnTo>
                      <a:pt x="11" y="7"/>
                    </a:lnTo>
                    <a:lnTo>
                      <a:pt x="11" y="11"/>
                    </a:lnTo>
                    <a:lnTo>
                      <a:pt x="11" y="17"/>
                    </a:lnTo>
                    <a:lnTo>
                      <a:pt x="11" y="19"/>
                    </a:lnTo>
                    <a:lnTo>
                      <a:pt x="13" y="19"/>
                    </a:lnTo>
                    <a:lnTo>
                      <a:pt x="15" y="15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7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03" name="Freeform 1020">
                <a:extLst>
                  <a:ext uri="{FF2B5EF4-FFF2-40B4-BE49-F238E27FC236}">
                    <a16:creationId xmlns:a16="http://schemas.microsoft.com/office/drawing/2014/main" id="{76E8F7EF-3803-4B5F-9C66-63554DE157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" y="1698"/>
                <a:ext cx="1455" cy="2032"/>
              </a:xfrm>
              <a:custGeom>
                <a:avLst/>
                <a:gdLst>
                  <a:gd name="T0" fmla="*/ 10 w 1455"/>
                  <a:gd name="T1" fmla="*/ 1392 h 2032"/>
                  <a:gd name="T2" fmla="*/ 13 w 1455"/>
                  <a:gd name="T3" fmla="*/ 1433 h 2032"/>
                  <a:gd name="T4" fmla="*/ 33 w 1455"/>
                  <a:gd name="T5" fmla="*/ 1497 h 2032"/>
                  <a:gd name="T6" fmla="*/ 94 w 1455"/>
                  <a:gd name="T7" fmla="*/ 1548 h 2032"/>
                  <a:gd name="T8" fmla="*/ 191 w 1455"/>
                  <a:gd name="T9" fmla="*/ 1567 h 2032"/>
                  <a:gd name="T10" fmla="*/ 285 w 1455"/>
                  <a:gd name="T11" fmla="*/ 1661 h 2032"/>
                  <a:gd name="T12" fmla="*/ 228 w 1455"/>
                  <a:gd name="T13" fmla="*/ 1790 h 2032"/>
                  <a:gd name="T14" fmla="*/ 201 w 1455"/>
                  <a:gd name="T15" fmla="*/ 1935 h 2032"/>
                  <a:gd name="T16" fmla="*/ 308 w 1455"/>
                  <a:gd name="T17" fmla="*/ 1950 h 2032"/>
                  <a:gd name="T18" fmla="*/ 383 w 1455"/>
                  <a:gd name="T19" fmla="*/ 1938 h 2032"/>
                  <a:gd name="T20" fmla="*/ 390 w 1455"/>
                  <a:gd name="T21" fmla="*/ 1905 h 2032"/>
                  <a:gd name="T22" fmla="*/ 476 w 1455"/>
                  <a:gd name="T23" fmla="*/ 1923 h 2032"/>
                  <a:gd name="T24" fmla="*/ 584 w 1455"/>
                  <a:gd name="T25" fmla="*/ 1960 h 2032"/>
                  <a:gd name="T26" fmla="*/ 646 w 1455"/>
                  <a:gd name="T27" fmla="*/ 2007 h 2032"/>
                  <a:gd name="T28" fmla="*/ 691 w 1455"/>
                  <a:gd name="T29" fmla="*/ 1956 h 2032"/>
                  <a:gd name="T30" fmla="*/ 797 w 1455"/>
                  <a:gd name="T31" fmla="*/ 2003 h 2032"/>
                  <a:gd name="T32" fmla="*/ 978 w 1455"/>
                  <a:gd name="T33" fmla="*/ 1950 h 2032"/>
                  <a:gd name="T34" fmla="*/ 1045 w 1455"/>
                  <a:gd name="T35" fmla="*/ 1942 h 2032"/>
                  <a:gd name="T36" fmla="*/ 1123 w 1455"/>
                  <a:gd name="T37" fmla="*/ 1962 h 2032"/>
                  <a:gd name="T38" fmla="*/ 1076 w 1455"/>
                  <a:gd name="T39" fmla="*/ 1837 h 2032"/>
                  <a:gd name="T40" fmla="*/ 1191 w 1455"/>
                  <a:gd name="T41" fmla="*/ 1714 h 2032"/>
                  <a:gd name="T42" fmla="*/ 1236 w 1455"/>
                  <a:gd name="T43" fmla="*/ 1634 h 2032"/>
                  <a:gd name="T44" fmla="*/ 1168 w 1455"/>
                  <a:gd name="T45" fmla="*/ 1577 h 2032"/>
                  <a:gd name="T46" fmla="*/ 1094 w 1455"/>
                  <a:gd name="T47" fmla="*/ 1519 h 2032"/>
                  <a:gd name="T48" fmla="*/ 1035 w 1455"/>
                  <a:gd name="T49" fmla="*/ 1444 h 2032"/>
                  <a:gd name="T50" fmla="*/ 1031 w 1455"/>
                  <a:gd name="T51" fmla="*/ 1384 h 2032"/>
                  <a:gd name="T52" fmla="*/ 980 w 1455"/>
                  <a:gd name="T53" fmla="*/ 1304 h 2032"/>
                  <a:gd name="T54" fmla="*/ 990 w 1455"/>
                  <a:gd name="T55" fmla="*/ 1277 h 2032"/>
                  <a:gd name="T56" fmla="*/ 1008 w 1455"/>
                  <a:gd name="T57" fmla="*/ 1275 h 2032"/>
                  <a:gd name="T58" fmla="*/ 1076 w 1455"/>
                  <a:gd name="T59" fmla="*/ 1232 h 2032"/>
                  <a:gd name="T60" fmla="*/ 1145 w 1455"/>
                  <a:gd name="T61" fmla="*/ 1214 h 2032"/>
                  <a:gd name="T62" fmla="*/ 1199 w 1455"/>
                  <a:gd name="T63" fmla="*/ 1177 h 2032"/>
                  <a:gd name="T64" fmla="*/ 1270 w 1455"/>
                  <a:gd name="T65" fmla="*/ 1140 h 2032"/>
                  <a:gd name="T66" fmla="*/ 1328 w 1455"/>
                  <a:gd name="T67" fmla="*/ 1075 h 2032"/>
                  <a:gd name="T68" fmla="*/ 1379 w 1455"/>
                  <a:gd name="T69" fmla="*/ 1107 h 2032"/>
                  <a:gd name="T70" fmla="*/ 1455 w 1455"/>
                  <a:gd name="T71" fmla="*/ 1019 h 2032"/>
                  <a:gd name="T72" fmla="*/ 1395 w 1455"/>
                  <a:gd name="T73" fmla="*/ 847 h 2032"/>
                  <a:gd name="T74" fmla="*/ 1377 w 1455"/>
                  <a:gd name="T75" fmla="*/ 640 h 2032"/>
                  <a:gd name="T76" fmla="*/ 1356 w 1455"/>
                  <a:gd name="T77" fmla="*/ 466 h 2032"/>
                  <a:gd name="T78" fmla="*/ 1281 w 1455"/>
                  <a:gd name="T79" fmla="*/ 324 h 2032"/>
                  <a:gd name="T80" fmla="*/ 1252 w 1455"/>
                  <a:gd name="T81" fmla="*/ 230 h 2032"/>
                  <a:gd name="T82" fmla="*/ 1147 w 1455"/>
                  <a:gd name="T83" fmla="*/ 183 h 2032"/>
                  <a:gd name="T84" fmla="*/ 1076 w 1455"/>
                  <a:gd name="T85" fmla="*/ 152 h 2032"/>
                  <a:gd name="T86" fmla="*/ 1021 w 1455"/>
                  <a:gd name="T87" fmla="*/ 177 h 2032"/>
                  <a:gd name="T88" fmla="*/ 1047 w 1455"/>
                  <a:gd name="T89" fmla="*/ 144 h 2032"/>
                  <a:gd name="T90" fmla="*/ 975 w 1455"/>
                  <a:gd name="T91" fmla="*/ 201 h 2032"/>
                  <a:gd name="T92" fmla="*/ 871 w 1455"/>
                  <a:gd name="T93" fmla="*/ 252 h 2032"/>
                  <a:gd name="T94" fmla="*/ 769 w 1455"/>
                  <a:gd name="T95" fmla="*/ 271 h 2032"/>
                  <a:gd name="T96" fmla="*/ 799 w 1455"/>
                  <a:gd name="T97" fmla="*/ 156 h 2032"/>
                  <a:gd name="T98" fmla="*/ 641 w 1455"/>
                  <a:gd name="T99" fmla="*/ 154 h 2032"/>
                  <a:gd name="T100" fmla="*/ 605 w 1455"/>
                  <a:gd name="T101" fmla="*/ 62 h 2032"/>
                  <a:gd name="T102" fmla="*/ 516 w 1455"/>
                  <a:gd name="T103" fmla="*/ 27 h 2032"/>
                  <a:gd name="T104" fmla="*/ 402 w 1455"/>
                  <a:gd name="T105" fmla="*/ 52 h 2032"/>
                  <a:gd name="T106" fmla="*/ 385 w 1455"/>
                  <a:gd name="T107" fmla="*/ 177 h 2032"/>
                  <a:gd name="T108" fmla="*/ 449 w 1455"/>
                  <a:gd name="T109" fmla="*/ 228 h 2032"/>
                  <a:gd name="T110" fmla="*/ 586 w 1455"/>
                  <a:gd name="T111" fmla="*/ 384 h 2032"/>
                  <a:gd name="T112" fmla="*/ 369 w 1455"/>
                  <a:gd name="T113" fmla="*/ 324 h 2032"/>
                  <a:gd name="T114" fmla="*/ 320 w 1455"/>
                  <a:gd name="T115" fmla="*/ 390 h 2032"/>
                  <a:gd name="T116" fmla="*/ 285 w 1455"/>
                  <a:gd name="T117" fmla="*/ 343 h 2032"/>
                  <a:gd name="T118" fmla="*/ 156 w 1455"/>
                  <a:gd name="T119" fmla="*/ 451 h 2032"/>
                  <a:gd name="T120" fmla="*/ 64 w 1455"/>
                  <a:gd name="T121" fmla="*/ 652 h 2032"/>
                  <a:gd name="T122" fmla="*/ 74 w 1455"/>
                  <a:gd name="T123" fmla="*/ 785 h 2032"/>
                  <a:gd name="T124" fmla="*/ 437 w 1455"/>
                  <a:gd name="T125" fmla="*/ 1935 h 20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55" h="2032">
                    <a:moveTo>
                      <a:pt x="2" y="1218"/>
                    </a:moveTo>
                    <a:lnTo>
                      <a:pt x="2" y="1218"/>
                    </a:lnTo>
                    <a:lnTo>
                      <a:pt x="2" y="1218"/>
                    </a:lnTo>
                    <a:lnTo>
                      <a:pt x="2" y="1218"/>
                    </a:lnTo>
                    <a:lnTo>
                      <a:pt x="0" y="1220"/>
                    </a:lnTo>
                    <a:lnTo>
                      <a:pt x="0" y="1220"/>
                    </a:lnTo>
                    <a:lnTo>
                      <a:pt x="0" y="1222"/>
                    </a:lnTo>
                    <a:lnTo>
                      <a:pt x="0" y="1226"/>
                    </a:lnTo>
                    <a:lnTo>
                      <a:pt x="0" y="1226"/>
                    </a:lnTo>
                    <a:lnTo>
                      <a:pt x="2" y="1228"/>
                    </a:lnTo>
                    <a:lnTo>
                      <a:pt x="2" y="1228"/>
                    </a:lnTo>
                    <a:lnTo>
                      <a:pt x="4" y="1230"/>
                    </a:lnTo>
                    <a:lnTo>
                      <a:pt x="4" y="1230"/>
                    </a:lnTo>
                    <a:lnTo>
                      <a:pt x="6" y="1232"/>
                    </a:lnTo>
                    <a:lnTo>
                      <a:pt x="6" y="1234"/>
                    </a:lnTo>
                    <a:lnTo>
                      <a:pt x="4" y="1236"/>
                    </a:lnTo>
                    <a:lnTo>
                      <a:pt x="4" y="1241"/>
                    </a:lnTo>
                    <a:lnTo>
                      <a:pt x="4" y="1241"/>
                    </a:lnTo>
                    <a:lnTo>
                      <a:pt x="2" y="1245"/>
                    </a:lnTo>
                    <a:lnTo>
                      <a:pt x="2" y="1247"/>
                    </a:lnTo>
                    <a:lnTo>
                      <a:pt x="8" y="1259"/>
                    </a:lnTo>
                    <a:lnTo>
                      <a:pt x="8" y="1259"/>
                    </a:lnTo>
                    <a:lnTo>
                      <a:pt x="8" y="1259"/>
                    </a:lnTo>
                    <a:lnTo>
                      <a:pt x="8" y="1261"/>
                    </a:lnTo>
                    <a:lnTo>
                      <a:pt x="10" y="1263"/>
                    </a:lnTo>
                    <a:lnTo>
                      <a:pt x="10" y="1263"/>
                    </a:lnTo>
                    <a:lnTo>
                      <a:pt x="10" y="1263"/>
                    </a:lnTo>
                    <a:lnTo>
                      <a:pt x="8" y="1263"/>
                    </a:lnTo>
                    <a:lnTo>
                      <a:pt x="6" y="1265"/>
                    </a:lnTo>
                    <a:lnTo>
                      <a:pt x="4" y="1265"/>
                    </a:lnTo>
                    <a:lnTo>
                      <a:pt x="2" y="1265"/>
                    </a:lnTo>
                    <a:lnTo>
                      <a:pt x="2" y="1265"/>
                    </a:lnTo>
                    <a:lnTo>
                      <a:pt x="0" y="1265"/>
                    </a:lnTo>
                    <a:lnTo>
                      <a:pt x="0" y="1265"/>
                    </a:lnTo>
                    <a:lnTo>
                      <a:pt x="0" y="1386"/>
                    </a:lnTo>
                    <a:lnTo>
                      <a:pt x="0" y="1386"/>
                    </a:lnTo>
                    <a:lnTo>
                      <a:pt x="2" y="1386"/>
                    </a:lnTo>
                    <a:lnTo>
                      <a:pt x="6" y="1388"/>
                    </a:lnTo>
                    <a:lnTo>
                      <a:pt x="10" y="1392"/>
                    </a:lnTo>
                    <a:lnTo>
                      <a:pt x="11" y="1392"/>
                    </a:lnTo>
                    <a:lnTo>
                      <a:pt x="11" y="1394"/>
                    </a:lnTo>
                    <a:lnTo>
                      <a:pt x="15" y="1394"/>
                    </a:lnTo>
                    <a:lnTo>
                      <a:pt x="23" y="1394"/>
                    </a:lnTo>
                    <a:lnTo>
                      <a:pt x="29" y="1396"/>
                    </a:lnTo>
                    <a:lnTo>
                      <a:pt x="29" y="1396"/>
                    </a:lnTo>
                    <a:lnTo>
                      <a:pt x="29" y="1396"/>
                    </a:lnTo>
                    <a:lnTo>
                      <a:pt x="29" y="1396"/>
                    </a:lnTo>
                    <a:lnTo>
                      <a:pt x="31" y="1398"/>
                    </a:lnTo>
                    <a:lnTo>
                      <a:pt x="29" y="1398"/>
                    </a:lnTo>
                    <a:lnTo>
                      <a:pt x="29" y="1398"/>
                    </a:lnTo>
                    <a:lnTo>
                      <a:pt x="29" y="1398"/>
                    </a:lnTo>
                    <a:lnTo>
                      <a:pt x="29" y="1398"/>
                    </a:lnTo>
                    <a:lnTo>
                      <a:pt x="29" y="1400"/>
                    </a:lnTo>
                    <a:lnTo>
                      <a:pt x="29" y="1400"/>
                    </a:lnTo>
                    <a:lnTo>
                      <a:pt x="29" y="1400"/>
                    </a:lnTo>
                    <a:lnTo>
                      <a:pt x="29" y="1405"/>
                    </a:lnTo>
                    <a:lnTo>
                      <a:pt x="29" y="1407"/>
                    </a:lnTo>
                    <a:lnTo>
                      <a:pt x="29" y="1407"/>
                    </a:lnTo>
                    <a:lnTo>
                      <a:pt x="29" y="1407"/>
                    </a:lnTo>
                    <a:lnTo>
                      <a:pt x="29" y="1409"/>
                    </a:lnTo>
                    <a:lnTo>
                      <a:pt x="29" y="1409"/>
                    </a:lnTo>
                    <a:lnTo>
                      <a:pt x="27" y="1411"/>
                    </a:lnTo>
                    <a:lnTo>
                      <a:pt x="27" y="1413"/>
                    </a:lnTo>
                    <a:lnTo>
                      <a:pt x="27" y="1415"/>
                    </a:lnTo>
                    <a:lnTo>
                      <a:pt x="29" y="1417"/>
                    </a:lnTo>
                    <a:lnTo>
                      <a:pt x="29" y="1417"/>
                    </a:lnTo>
                    <a:lnTo>
                      <a:pt x="29" y="1419"/>
                    </a:lnTo>
                    <a:lnTo>
                      <a:pt x="29" y="1419"/>
                    </a:lnTo>
                    <a:lnTo>
                      <a:pt x="29" y="1419"/>
                    </a:lnTo>
                    <a:lnTo>
                      <a:pt x="29" y="1417"/>
                    </a:lnTo>
                    <a:lnTo>
                      <a:pt x="27" y="1417"/>
                    </a:lnTo>
                    <a:lnTo>
                      <a:pt x="27" y="1419"/>
                    </a:lnTo>
                    <a:lnTo>
                      <a:pt x="27" y="1419"/>
                    </a:lnTo>
                    <a:lnTo>
                      <a:pt x="27" y="1421"/>
                    </a:lnTo>
                    <a:lnTo>
                      <a:pt x="27" y="1421"/>
                    </a:lnTo>
                    <a:lnTo>
                      <a:pt x="29" y="1421"/>
                    </a:lnTo>
                    <a:lnTo>
                      <a:pt x="15" y="1429"/>
                    </a:lnTo>
                    <a:lnTo>
                      <a:pt x="13" y="1433"/>
                    </a:lnTo>
                    <a:lnTo>
                      <a:pt x="13" y="1433"/>
                    </a:lnTo>
                    <a:lnTo>
                      <a:pt x="13" y="1435"/>
                    </a:lnTo>
                    <a:lnTo>
                      <a:pt x="13" y="1435"/>
                    </a:lnTo>
                    <a:lnTo>
                      <a:pt x="15" y="1435"/>
                    </a:lnTo>
                    <a:lnTo>
                      <a:pt x="15" y="1435"/>
                    </a:lnTo>
                    <a:lnTo>
                      <a:pt x="15" y="1435"/>
                    </a:lnTo>
                    <a:lnTo>
                      <a:pt x="15" y="1435"/>
                    </a:lnTo>
                    <a:lnTo>
                      <a:pt x="15" y="1435"/>
                    </a:lnTo>
                    <a:lnTo>
                      <a:pt x="15" y="1437"/>
                    </a:lnTo>
                    <a:lnTo>
                      <a:pt x="15" y="1439"/>
                    </a:lnTo>
                    <a:lnTo>
                      <a:pt x="15" y="1439"/>
                    </a:lnTo>
                    <a:lnTo>
                      <a:pt x="15" y="1439"/>
                    </a:lnTo>
                    <a:lnTo>
                      <a:pt x="15" y="1439"/>
                    </a:lnTo>
                    <a:lnTo>
                      <a:pt x="15" y="1439"/>
                    </a:lnTo>
                    <a:lnTo>
                      <a:pt x="13" y="1441"/>
                    </a:lnTo>
                    <a:lnTo>
                      <a:pt x="13" y="1443"/>
                    </a:lnTo>
                    <a:lnTo>
                      <a:pt x="13" y="1444"/>
                    </a:lnTo>
                    <a:lnTo>
                      <a:pt x="11" y="1444"/>
                    </a:lnTo>
                    <a:lnTo>
                      <a:pt x="8" y="1448"/>
                    </a:lnTo>
                    <a:lnTo>
                      <a:pt x="6" y="1452"/>
                    </a:lnTo>
                    <a:lnTo>
                      <a:pt x="6" y="1452"/>
                    </a:lnTo>
                    <a:lnTo>
                      <a:pt x="4" y="1456"/>
                    </a:lnTo>
                    <a:lnTo>
                      <a:pt x="4" y="1464"/>
                    </a:lnTo>
                    <a:lnTo>
                      <a:pt x="4" y="1466"/>
                    </a:lnTo>
                    <a:lnTo>
                      <a:pt x="4" y="1470"/>
                    </a:lnTo>
                    <a:lnTo>
                      <a:pt x="4" y="1476"/>
                    </a:lnTo>
                    <a:lnTo>
                      <a:pt x="4" y="1484"/>
                    </a:lnTo>
                    <a:lnTo>
                      <a:pt x="4" y="1485"/>
                    </a:lnTo>
                    <a:lnTo>
                      <a:pt x="4" y="1485"/>
                    </a:lnTo>
                    <a:lnTo>
                      <a:pt x="4" y="1485"/>
                    </a:lnTo>
                    <a:lnTo>
                      <a:pt x="6" y="1485"/>
                    </a:lnTo>
                    <a:lnTo>
                      <a:pt x="8" y="1484"/>
                    </a:lnTo>
                    <a:lnTo>
                      <a:pt x="10" y="1482"/>
                    </a:lnTo>
                    <a:lnTo>
                      <a:pt x="11" y="1482"/>
                    </a:lnTo>
                    <a:lnTo>
                      <a:pt x="13" y="1482"/>
                    </a:lnTo>
                    <a:lnTo>
                      <a:pt x="29" y="1489"/>
                    </a:lnTo>
                    <a:lnTo>
                      <a:pt x="31" y="1493"/>
                    </a:lnTo>
                    <a:lnTo>
                      <a:pt x="33" y="1495"/>
                    </a:lnTo>
                    <a:lnTo>
                      <a:pt x="33" y="1497"/>
                    </a:lnTo>
                    <a:lnTo>
                      <a:pt x="33" y="1497"/>
                    </a:lnTo>
                    <a:lnTo>
                      <a:pt x="33" y="1497"/>
                    </a:lnTo>
                    <a:lnTo>
                      <a:pt x="35" y="1499"/>
                    </a:lnTo>
                    <a:lnTo>
                      <a:pt x="43" y="1509"/>
                    </a:lnTo>
                    <a:lnTo>
                      <a:pt x="43" y="1511"/>
                    </a:lnTo>
                    <a:lnTo>
                      <a:pt x="43" y="1513"/>
                    </a:lnTo>
                    <a:lnTo>
                      <a:pt x="39" y="1513"/>
                    </a:lnTo>
                    <a:lnTo>
                      <a:pt x="39" y="1515"/>
                    </a:lnTo>
                    <a:lnTo>
                      <a:pt x="39" y="1517"/>
                    </a:lnTo>
                    <a:lnTo>
                      <a:pt x="43" y="1521"/>
                    </a:lnTo>
                    <a:lnTo>
                      <a:pt x="53" y="1532"/>
                    </a:lnTo>
                    <a:lnTo>
                      <a:pt x="53" y="1532"/>
                    </a:lnTo>
                    <a:lnTo>
                      <a:pt x="53" y="1536"/>
                    </a:lnTo>
                    <a:lnTo>
                      <a:pt x="53" y="1536"/>
                    </a:lnTo>
                    <a:lnTo>
                      <a:pt x="54" y="1536"/>
                    </a:lnTo>
                    <a:lnTo>
                      <a:pt x="56" y="1538"/>
                    </a:lnTo>
                    <a:lnTo>
                      <a:pt x="56" y="1538"/>
                    </a:lnTo>
                    <a:lnTo>
                      <a:pt x="58" y="1544"/>
                    </a:lnTo>
                    <a:lnTo>
                      <a:pt x="58" y="1544"/>
                    </a:lnTo>
                    <a:lnTo>
                      <a:pt x="58" y="1546"/>
                    </a:lnTo>
                    <a:lnTo>
                      <a:pt x="60" y="1548"/>
                    </a:lnTo>
                    <a:lnTo>
                      <a:pt x="60" y="1548"/>
                    </a:lnTo>
                    <a:lnTo>
                      <a:pt x="60" y="1548"/>
                    </a:lnTo>
                    <a:lnTo>
                      <a:pt x="62" y="1546"/>
                    </a:lnTo>
                    <a:lnTo>
                      <a:pt x="64" y="1546"/>
                    </a:lnTo>
                    <a:lnTo>
                      <a:pt x="64" y="1550"/>
                    </a:lnTo>
                    <a:lnTo>
                      <a:pt x="64" y="1554"/>
                    </a:lnTo>
                    <a:lnTo>
                      <a:pt x="64" y="1558"/>
                    </a:lnTo>
                    <a:lnTo>
                      <a:pt x="66" y="1560"/>
                    </a:lnTo>
                    <a:lnTo>
                      <a:pt x="68" y="1562"/>
                    </a:lnTo>
                    <a:lnTo>
                      <a:pt x="74" y="1562"/>
                    </a:lnTo>
                    <a:lnTo>
                      <a:pt x="82" y="1564"/>
                    </a:lnTo>
                    <a:lnTo>
                      <a:pt x="84" y="1564"/>
                    </a:lnTo>
                    <a:lnTo>
                      <a:pt x="86" y="1560"/>
                    </a:lnTo>
                    <a:lnTo>
                      <a:pt x="86" y="1556"/>
                    </a:lnTo>
                    <a:lnTo>
                      <a:pt x="84" y="1552"/>
                    </a:lnTo>
                    <a:lnTo>
                      <a:pt x="86" y="1548"/>
                    </a:lnTo>
                    <a:lnTo>
                      <a:pt x="88" y="1548"/>
                    </a:lnTo>
                    <a:lnTo>
                      <a:pt x="94" y="1548"/>
                    </a:lnTo>
                    <a:lnTo>
                      <a:pt x="99" y="1548"/>
                    </a:lnTo>
                    <a:lnTo>
                      <a:pt x="101" y="1548"/>
                    </a:lnTo>
                    <a:lnTo>
                      <a:pt x="111" y="1554"/>
                    </a:lnTo>
                    <a:lnTo>
                      <a:pt x="115" y="1554"/>
                    </a:lnTo>
                    <a:lnTo>
                      <a:pt x="115" y="1564"/>
                    </a:lnTo>
                    <a:lnTo>
                      <a:pt x="117" y="1571"/>
                    </a:lnTo>
                    <a:lnTo>
                      <a:pt x="121" y="1573"/>
                    </a:lnTo>
                    <a:lnTo>
                      <a:pt x="125" y="1569"/>
                    </a:lnTo>
                    <a:lnTo>
                      <a:pt x="127" y="1569"/>
                    </a:lnTo>
                    <a:lnTo>
                      <a:pt x="125" y="1567"/>
                    </a:lnTo>
                    <a:lnTo>
                      <a:pt x="125" y="1566"/>
                    </a:lnTo>
                    <a:lnTo>
                      <a:pt x="127" y="1566"/>
                    </a:lnTo>
                    <a:lnTo>
                      <a:pt x="127" y="1566"/>
                    </a:lnTo>
                    <a:lnTo>
                      <a:pt x="135" y="1569"/>
                    </a:lnTo>
                    <a:lnTo>
                      <a:pt x="137" y="1571"/>
                    </a:lnTo>
                    <a:lnTo>
                      <a:pt x="138" y="1571"/>
                    </a:lnTo>
                    <a:lnTo>
                      <a:pt x="154" y="1571"/>
                    </a:lnTo>
                    <a:lnTo>
                      <a:pt x="158" y="1573"/>
                    </a:lnTo>
                    <a:lnTo>
                      <a:pt x="160" y="1573"/>
                    </a:lnTo>
                    <a:lnTo>
                      <a:pt x="160" y="1573"/>
                    </a:lnTo>
                    <a:lnTo>
                      <a:pt x="162" y="1569"/>
                    </a:lnTo>
                    <a:lnTo>
                      <a:pt x="164" y="1567"/>
                    </a:lnTo>
                    <a:lnTo>
                      <a:pt x="164" y="1567"/>
                    </a:lnTo>
                    <a:lnTo>
                      <a:pt x="168" y="1567"/>
                    </a:lnTo>
                    <a:lnTo>
                      <a:pt x="170" y="1567"/>
                    </a:lnTo>
                    <a:lnTo>
                      <a:pt x="170" y="1566"/>
                    </a:lnTo>
                    <a:lnTo>
                      <a:pt x="172" y="1562"/>
                    </a:lnTo>
                    <a:lnTo>
                      <a:pt x="172" y="1560"/>
                    </a:lnTo>
                    <a:lnTo>
                      <a:pt x="176" y="1560"/>
                    </a:lnTo>
                    <a:lnTo>
                      <a:pt x="176" y="1558"/>
                    </a:lnTo>
                    <a:lnTo>
                      <a:pt x="179" y="1558"/>
                    </a:lnTo>
                    <a:lnTo>
                      <a:pt x="181" y="1558"/>
                    </a:lnTo>
                    <a:lnTo>
                      <a:pt x="183" y="1562"/>
                    </a:lnTo>
                    <a:lnTo>
                      <a:pt x="189" y="1562"/>
                    </a:lnTo>
                    <a:lnTo>
                      <a:pt x="193" y="1562"/>
                    </a:lnTo>
                    <a:lnTo>
                      <a:pt x="193" y="1566"/>
                    </a:lnTo>
                    <a:lnTo>
                      <a:pt x="193" y="1567"/>
                    </a:lnTo>
                    <a:lnTo>
                      <a:pt x="193" y="1567"/>
                    </a:lnTo>
                    <a:lnTo>
                      <a:pt x="191" y="1567"/>
                    </a:lnTo>
                    <a:lnTo>
                      <a:pt x="195" y="1571"/>
                    </a:lnTo>
                    <a:lnTo>
                      <a:pt x="199" y="1577"/>
                    </a:lnTo>
                    <a:lnTo>
                      <a:pt x="201" y="1579"/>
                    </a:lnTo>
                    <a:lnTo>
                      <a:pt x="205" y="1581"/>
                    </a:lnTo>
                    <a:lnTo>
                      <a:pt x="211" y="1583"/>
                    </a:lnTo>
                    <a:lnTo>
                      <a:pt x="215" y="1585"/>
                    </a:lnTo>
                    <a:lnTo>
                      <a:pt x="217" y="1587"/>
                    </a:lnTo>
                    <a:lnTo>
                      <a:pt x="219" y="1589"/>
                    </a:lnTo>
                    <a:lnTo>
                      <a:pt x="219" y="1591"/>
                    </a:lnTo>
                    <a:lnTo>
                      <a:pt x="221" y="1591"/>
                    </a:lnTo>
                    <a:lnTo>
                      <a:pt x="222" y="1591"/>
                    </a:lnTo>
                    <a:lnTo>
                      <a:pt x="224" y="1591"/>
                    </a:lnTo>
                    <a:lnTo>
                      <a:pt x="226" y="1591"/>
                    </a:lnTo>
                    <a:lnTo>
                      <a:pt x="228" y="1589"/>
                    </a:lnTo>
                    <a:lnTo>
                      <a:pt x="230" y="1591"/>
                    </a:lnTo>
                    <a:lnTo>
                      <a:pt x="234" y="1591"/>
                    </a:lnTo>
                    <a:lnTo>
                      <a:pt x="234" y="1591"/>
                    </a:lnTo>
                    <a:lnTo>
                      <a:pt x="236" y="1591"/>
                    </a:lnTo>
                    <a:lnTo>
                      <a:pt x="240" y="1589"/>
                    </a:lnTo>
                    <a:lnTo>
                      <a:pt x="242" y="1589"/>
                    </a:lnTo>
                    <a:lnTo>
                      <a:pt x="258" y="1593"/>
                    </a:lnTo>
                    <a:lnTo>
                      <a:pt x="265" y="1591"/>
                    </a:lnTo>
                    <a:lnTo>
                      <a:pt x="269" y="1593"/>
                    </a:lnTo>
                    <a:lnTo>
                      <a:pt x="297" y="1607"/>
                    </a:lnTo>
                    <a:lnTo>
                      <a:pt x="312" y="1610"/>
                    </a:lnTo>
                    <a:lnTo>
                      <a:pt x="314" y="1610"/>
                    </a:lnTo>
                    <a:lnTo>
                      <a:pt x="314" y="1610"/>
                    </a:lnTo>
                    <a:lnTo>
                      <a:pt x="310" y="1616"/>
                    </a:lnTo>
                    <a:lnTo>
                      <a:pt x="305" y="1626"/>
                    </a:lnTo>
                    <a:lnTo>
                      <a:pt x="299" y="1646"/>
                    </a:lnTo>
                    <a:lnTo>
                      <a:pt x="297" y="1650"/>
                    </a:lnTo>
                    <a:lnTo>
                      <a:pt x="295" y="1651"/>
                    </a:lnTo>
                    <a:lnTo>
                      <a:pt x="289" y="1653"/>
                    </a:lnTo>
                    <a:lnTo>
                      <a:pt x="287" y="1653"/>
                    </a:lnTo>
                    <a:lnTo>
                      <a:pt x="287" y="1655"/>
                    </a:lnTo>
                    <a:lnTo>
                      <a:pt x="287" y="1655"/>
                    </a:lnTo>
                    <a:lnTo>
                      <a:pt x="285" y="1657"/>
                    </a:lnTo>
                    <a:lnTo>
                      <a:pt x="285" y="1659"/>
                    </a:lnTo>
                    <a:lnTo>
                      <a:pt x="285" y="1661"/>
                    </a:lnTo>
                    <a:lnTo>
                      <a:pt x="283" y="1661"/>
                    </a:lnTo>
                    <a:lnTo>
                      <a:pt x="283" y="1661"/>
                    </a:lnTo>
                    <a:lnTo>
                      <a:pt x="277" y="1661"/>
                    </a:lnTo>
                    <a:lnTo>
                      <a:pt x="275" y="1663"/>
                    </a:lnTo>
                    <a:lnTo>
                      <a:pt x="275" y="1665"/>
                    </a:lnTo>
                    <a:lnTo>
                      <a:pt x="275" y="1669"/>
                    </a:lnTo>
                    <a:lnTo>
                      <a:pt x="273" y="1671"/>
                    </a:lnTo>
                    <a:lnTo>
                      <a:pt x="271" y="1673"/>
                    </a:lnTo>
                    <a:lnTo>
                      <a:pt x="269" y="1677"/>
                    </a:lnTo>
                    <a:lnTo>
                      <a:pt x="267" y="1677"/>
                    </a:lnTo>
                    <a:lnTo>
                      <a:pt x="263" y="1683"/>
                    </a:lnTo>
                    <a:lnTo>
                      <a:pt x="262" y="1685"/>
                    </a:lnTo>
                    <a:lnTo>
                      <a:pt x="258" y="1687"/>
                    </a:lnTo>
                    <a:lnTo>
                      <a:pt x="256" y="1687"/>
                    </a:lnTo>
                    <a:lnTo>
                      <a:pt x="250" y="1698"/>
                    </a:lnTo>
                    <a:lnTo>
                      <a:pt x="248" y="1706"/>
                    </a:lnTo>
                    <a:lnTo>
                      <a:pt x="248" y="1716"/>
                    </a:lnTo>
                    <a:lnTo>
                      <a:pt x="250" y="1720"/>
                    </a:lnTo>
                    <a:lnTo>
                      <a:pt x="250" y="1722"/>
                    </a:lnTo>
                    <a:lnTo>
                      <a:pt x="246" y="1726"/>
                    </a:lnTo>
                    <a:lnTo>
                      <a:pt x="244" y="1728"/>
                    </a:lnTo>
                    <a:lnTo>
                      <a:pt x="242" y="1730"/>
                    </a:lnTo>
                    <a:lnTo>
                      <a:pt x="242" y="1735"/>
                    </a:lnTo>
                    <a:lnTo>
                      <a:pt x="242" y="1737"/>
                    </a:lnTo>
                    <a:lnTo>
                      <a:pt x="240" y="1739"/>
                    </a:lnTo>
                    <a:lnTo>
                      <a:pt x="238" y="1741"/>
                    </a:lnTo>
                    <a:lnTo>
                      <a:pt x="238" y="1743"/>
                    </a:lnTo>
                    <a:lnTo>
                      <a:pt x="236" y="1751"/>
                    </a:lnTo>
                    <a:lnTo>
                      <a:pt x="236" y="1755"/>
                    </a:lnTo>
                    <a:lnTo>
                      <a:pt x="238" y="1757"/>
                    </a:lnTo>
                    <a:lnTo>
                      <a:pt x="238" y="1761"/>
                    </a:lnTo>
                    <a:lnTo>
                      <a:pt x="240" y="1763"/>
                    </a:lnTo>
                    <a:lnTo>
                      <a:pt x="238" y="1767"/>
                    </a:lnTo>
                    <a:lnTo>
                      <a:pt x="236" y="1771"/>
                    </a:lnTo>
                    <a:lnTo>
                      <a:pt x="234" y="1773"/>
                    </a:lnTo>
                    <a:lnTo>
                      <a:pt x="230" y="1774"/>
                    </a:lnTo>
                    <a:lnTo>
                      <a:pt x="230" y="1780"/>
                    </a:lnTo>
                    <a:lnTo>
                      <a:pt x="230" y="1784"/>
                    </a:lnTo>
                    <a:lnTo>
                      <a:pt x="228" y="1790"/>
                    </a:lnTo>
                    <a:lnTo>
                      <a:pt x="226" y="1792"/>
                    </a:lnTo>
                    <a:lnTo>
                      <a:pt x="217" y="1808"/>
                    </a:lnTo>
                    <a:lnTo>
                      <a:pt x="215" y="1812"/>
                    </a:lnTo>
                    <a:lnTo>
                      <a:pt x="215" y="1814"/>
                    </a:lnTo>
                    <a:lnTo>
                      <a:pt x="213" y="1815"/>
                    </a:lnTo>
                    <a:lnTo>
                      <a:pt x="213" y="1817"/>
                    </a:lnTo>
                    <a:lnTo>
                      <a:pt x="211" y="1819"/>
                    </a:lnTo>
                    <a:lnTo>
                      <a:pt x="211" y="1823"/>
                    </a:lnTo>
                    <a:lnTo>
                      <a:pt x="209" y="1829"/>
                    </a:lnTo>
                    <a:lnTo>
                      <a:pt x="209" y="1839"/>
                    </a:lnTo>
                    <a:lnTo>
                      <a:pt x="217" y="1853"/>
                    </a:lnTo>
                    <a:lnTo>
                      <a:pt x="217" y="1860"/>
                    </a:lnTo>
                    <a:lnTo>
                      <a:pt x="217" y="1862"/>
                    </a:lnTo>
                    <a:lnTo>
                      <a:pt x="211" y="1868"/>
                    </a:lnTo>
                    <a:lnTo>
                      <a:pt x="211" y="1870"/>
                    </a:lnTo>
                    <a:lnTo>
                      <a:pt x="211" y="1874"/>
                    </a:lnTo>
                    <a:lnTo>
                      <a:pt x="211" y="1876"/>
                    </a:lnTo>
                    <a:lnTo>
                      <a:pt x="209" y="1878"/>
                    </a:lnTo>
                    <a:lnTo>
                      <a:pt x="209" y="1880"/>
                    </a:lnTo>
                    <a:lnTo>
                      <a:pt x="207" y="1880"/>
                    </a:lnTo>
                    <a:lnTo>
                      <a:pt x="207" y="1882"/>
                    </a:lnTo>
                    <a:lnTo>
                      <a:pt x="207" y="1882"/>
                    </a:lnTo>
                    <a:lnTo>
                      <a:pt x="207" y="1884"/>
                    </a:lnTo>
                    <a:lnTo>
                      <a:pt x="207" y="1884"/>
                    </a:lnTo>
                    <a:lnTo>
                      <a:pt x="207" y="1886"/>
                    </a:lnTo>
                    <a:lnTo>
                      <a:pt x="207" y="1890"/>
                    </a:lnTo>
                    <a:lnTo>
                      <a:pt x="207" y="1892"/>
                    </a:lnTo>
                    <a:lnTo>
                      <a:pt x="205" y="1894"/>
                    </a:lnTo>
                    <a:lnTo>
                      <a:pt x="205" y="1896"/>
                    </a:lnTo>
                    <a:lnTo>
                      <a:pt x="201" y="1903"/>
                    </a:lnTo>
                    <a:lnTo>
                      <a:pt x="201" y="1907"/>
                    </a:lnTo>
                    <a:lnTo>
                      <a:pt x="203" y="1915"/>
                    </a:lnTo>
                    <a:lnTo>
                      <a:pt x="203" y="1919"/>
                    </a:lnTo>
                    <a:lnTo>
                      <a:pt x="203" y="1921"/>
                    </a:lnTo>
                    <a:lnTo>
                      <a:pt x="199" y="1923"/>
                    </a:lnTo>
                    <a:lnTo>
                      <a:pt x="199" y="1925"/>
                    </a:lnTo>
                    <a:lnTo>
                      <a:pt x="199" y="1931"/>
                    </a:lnTo>
                    <a:lnTo>
                      <a:pt x="199" y="1933"/>
                    </a:lnTo>
                    <a:lnTo>
                      <a:pt x="201" y="1935"/>
                    </a:lnTo>
                    <a:lnTo>
                      <a:pt x="203" y="1937"/>
                    </a:lnTo>
                    <a:lnTo>
                      <a:pt x="205" y="1938"/>
                    </a:lnTo>
                    <a:lnTo>
                      <a:pt x="209" y="1946"/>
                    </a:lnTo>
                    <a:lnTo>
                      <a:pt x="211" y="1948"/>
                    </a:lnTo>
                    <a:lnTo>
                      <a:pt x="211" y="1948"/>
                    </a:lnTo>
                    <a:lnTo>
                      <a:pt x="213" y="1950"/>
                    </a:lnTo>
                    <a:lnTo>
                      <a:pt x="213" y="1952"/>
                    </a:lnTo>
                    <a:lnTo>
                      <a:pt x="213" y="1952"/>
                    </a:lnTo>
                    <a:lnTo>
                      <a:pt x="211" y="1956"/>
                    </a:lnTo>
                    <a:lnTo>
                      <a:pt x="221" y="1952"/>
                    </a:lnTo>
                    <a:lnTo>
                      <a:pt x="224" y="1952"/>
                    </a:lnTo>
                    <a:lnTo>
                      <a:pt x="221" y="1958"/>
                    </a:lnTo>
                    <a:lnTo>
                      <a:pt x="221" y="1960"/>
                    </a:lnTo>
                    <a:lnTo>
                      <a:pt x="217" y="1960"/>
                    </a:lnTo>
                    <a:lnTo>
                      <a:pt x="215" y="1960"/>
                    </a:lnTo>
                    <a:lnTo>
                      <a:pt x="222" y="1964"/>
                    </a:lnTo>
                    <a:lnTo>
                      <a:pt x="224" y="1966"/>
                    </a:lnTo>
                    <a:lnTo>
                      <a:pt x="228" y="1966"/>
                    </a:lnTo>
                    <a:lnTo>
                      <a:pt x="234" y="1964"/>
                    </a:lnTo>
                    <a:lnTo>
                      <a:pt x="242" y="1962"/>
                    </a:lnTo>
                    <a:lnTo>
                      <a:pt x="244" y="1960"/>
                    </a:lnTo>
                    <a:lnTo>
                      <a:pt x="248" y="1958"/>
                    </a:lnTo>
                    <a:lnTo>
                      <a:pt x="250" y="1952"/>
                    </a:lnTo>
                    <a:lnTo>
                      <a:pt x="254" y="1954"/>
                    </a:lnTo>
                    <a:lnTo>
                      <a:pt x="263" y="1954"/>
                    </a:lnTo>
                    <a:lnTo>
                      <a:pt x="265" y="1956"/>
                    </a:lnTo>
                    <a:lnTo>
                      <a:pt x="265" y="1958"/>
                    </a:lnTo>
                    <a:lnTo>
                      <a:pt x="265" y="1960"/>
                    </a:lnTo>
                    <a:lnTo>
                      <a:pt x="265" y="1962"/>
                    </a:lnTo>
                    <a:lnTo>
                      <a:pt x="287" y="1962"/>
                    </a:lnTo>
                    <a:lnTo>
                      <a:pt x="295" y="1960"/>
                    </a:lnTo>
                    <a:lnTo>
                      <a:pt x="297" y="1958"/>
                    </a:lnTo>
                    <a:lnTo>
                      <a:pt x="297" y="1958"/>
                    </a:lnTo>
                    <a:lnTo>
                      <a:pt x="299" y="1956"/>
                    </a:lnTo>
                    <a:lnTo>
                      <a:pt x="301" y="1954"/>
                    </a:lnTo>
                    <a:lnTo>
                      <a:pt x="301" y="1954"/>
                    </a:lnTo>
                    <a:lnTo>
                      <a:pt x="305" y="1952"/>
                    </a:lnTo>
                    <a:lnTo>
                      <a:pt x="308" y="1950"/>
                    </a:lnTo>
                    <a:lnTo>
                      <a:pt x="308" y="1950"/>
                    </a:lnTo>
                    <a:lnTo>
                      <a:pt x="310" y="1948"/>
                    </a:lnTo>
                    <a:lnTo>
                      <a:pt x="310" y="1948"/>
                    </a:lnTo>
                    <a:lnTo>
                      <a:pt x="320" y="1946"/>
                    </a:lnTo>
                    <a:lnTo>
                      <a:pt x="322" y="1946"/>
                    </a:lnTo>
                    <a:lnTo>
                      <a:pt x="326" y="1948"/>
                    </a:lnTo>
                    <a:lnTo>
                      <a:pt x="328" y="1948"/>
                    </a:lnTo>
                    <a:lnTo>
                      <a:pt x="330" y="1948"/>
                    </a:lnTo>
                    <a:lnTo>
                      <a:pt x="330" y="1952"/>
                    </a:lnTo>
                    <a:lnTo>
                      <a:pt x="332" y="1954"/>
                    </a:lnTo>
                    <a:lnTo>
                      <a:pt x="334" y="1954"/>
                    </a:lnTo>
                    <a:lnTo>
                      <a:pt x="340" y="1956"/>
                    </a:lnTo>
                    <a:lnTo>
                      <a:pt x="351" y="1956"/>
                    </a:lnTo>
                    <a:lnTo>
                      <a:pt x="351" y="1956"/>
                    </a:lnTo>
                    <a:lnTo>
                      <a:pt x="355" y="1956"/>
                    </a:lnTo>
                    <a:lnTo>
                      <a:pt x="355" y="1954"/>
                    </a:lnTo>
                    <a:lnTo>
                      <a:pt x="357" y="1950"/>
                    </a:lnTo>
                    <a:lnTo>
                      <a:pt x="363" y="1946"/>
                    </a:lnTo>
                    <a:lnTo>
                      <a:pt x="369" y="1946"/>
                    </a:lnTo>
                    <a:lnTo>
                      <a:pt x="371" y="1948"/>
                    </a:lnTo>
                    <a:lnTo>
                      <a:pt x="373" y="1952"/>
                    </a:lnTo>
                    <a:lnTo>
                      <a:pt x="373" y="1952"/>
                    </a:lnTo>
                    <a:lnTo>
                      <a:pt x="375" y="1954"/>
                    </a:lnTo>
                    <a:lnTo>
                      <a:pt x="377" y="1954"/>
                    </a:lnTo>
                    <a:lnTo>
                      <a:pt x="377" y="1952"/>
                    </a:lnTo>
                    <a:lnTo>
                      <a:pt x="377" y="1952"/>
                    </a:lnTo>
                    <a:lnTo>
                      <a:pt x="379" y="1950"/>
                    </a:lnTo>
                    <a:lnTo>
                      <a:pt x="379" y="1948"/>
                    </a:lnTo>
                    <a:lnTo>
                      <a:pt x="379" y="1946"/>
                    </a:lnTo>
                    <a:lnTo>
                      <a:pt x="379" y="1946"/>
                    </a:lnTo>
                    <a:lnTo>
                      <a:pt x="377" y="1944"/>
                    </a:lnTo>
                    <a:lnTo>
                      <a:pt x="377" y="1944"/>
                    </a:lnTo>
                    <a:lnTo>
                      <a:pt x="377" y="1942"/>
                    </a:lnTo>
                    <a:lnTo>
                      <a:pt x="379" y="1942"/>
                    </a:lnTo>
                    <a:lnTo>
                      <a:pt x="379" y="1940"/>
                    </a:lnTo>
                    <a:lnTo>
                      <a:pt x="381" y="1940"/>
                    </a:lnTo>
                    <a:lnTo>
                      <a:pt x="381" y="1942"/>
                    </a:lnTo>
                    <a:lnTo>
                      <a:pt x="381" y="1942"/>
                    </a:lnTo>
                    <a:lnTo>
                      <a:pt x="381" y="1944"/>
                    </a:lnTo>
                    <a:lnTo>
                      <a:pt x="383" y="1938"/>
                    </a:lnTo>
                    <a:lnTo>
                      <a:pt x="381" y="1938"/>
                    </a:lnTo>
                    <a:lnTo>
                      <a:pt x="381" y="1937"/>
                    </a:lnTo>
                    <a:lnTo>
                      <a:pt x="379" y="1937"/>
                    </a:lnTo>
                    <a:lnTo>
                      <a:pt x="375" y="1937"/>
                    </a:lnTo>
                    <a:lnTo>
                      <a:pt x="367" y="1938"/>
                    </a:lnTo>
                    <a:lnTo>
                      <a:pt x="365" y="1938"/>
                    </a:lnTo>
                    <a:lnTo>
                      <a:pt x="363" y="1940"/>
                    </a:lnTo>
                    <a:lnTo>
                      <a:pt x="361" y="1942"/>
                    </a:lnTo>
                    <a:lnTo>
                      <a:pt x="357" y="1942"/>
                    </a:lnTo>
                    <a:lnTo>
                      <a:pt x="353" y="1940"/>
                    </a:lnTo>
                    <a:lnTo>
                      <a:pt x="349" y="1937"/>
                    </a:lnTo>
                    <a:lnTo>
                      <a:pt x="349" y="1937"/>
                    </a:lnTo>
                    <a:lnTo>
                      <a:pt x="346" y="1937"/>
                    </a:lnTo>
                    <a:lnTo>
                      <a:pt x="347" y="1933"/>
                    </a:lnTo>
                    <a:lnTo>
                      <a:pt x="347" y="1931"/>
                    </a:lnTo>
                    <a:lnTo>
                      <a:pt x="346" y="1929"/>
                    </a:lnTo>
                    <a:lnTo>
                      <a:pt x="346" y="1927"/>
                    </a:lnTo>
                    <a:lnTo>
                      <a:pt x="347" y="1925"/>
                    </a:lnTo>
                    <a:lnTo>
                      <a:pt x="351" y="1923"/>
                    </a:lnTo>
                    <a:lnTo>
                      <a:pt x="353" y="1921"/>
                    </a:lnTo>
                    <a:lnTo>
                      <a:pt x="355" y="1917"/>
                    </a:lnTo>
                    <a:lnTo>
                      <a:pt x="355" y="1915"/>
                    </a:lnTo>
                    <a:lnTo>
                      <a:pt x="357" y="1911"/>
                    </a:lnTo>
                    <a:lnTo>
                      <a:pt x="359" y="1911"/>
                    </a:lnTo>
                    <a:lnTo>
                      <a:pt x="361" y="1911"/>
                    </a:lnTo>
                    <a:lnTo>
                      <a:pt x="371" y="1909"/>
                    </a:lnTo>
                    <a:lnTo>
                      <a:pt x="373" y="1907"/>
                    </a:lnTo>
                    <a:lnTo>
                      <a:pt x="371" y="1903"/>
                    </a:lnTo>
                    <a:lnTo>
                      <a:pt x="375" y="1901"/>
                    </a:lnTo>
                    <a:lnTo>
                      <a:pt x="379" y="1901"/>
                    </a:lnTo>
                    <a:lnTo>
                      <a:pt x="381" y="1903"/>
                    </a:lnTo>
                    <a:lnTo>
                      <a:pt x="381" y="1905"/>
                    </a:lnTo>
                    <a:lnTo>
                      <a:pt x="383" y="1909"/>
                    </a:lnTo>
                    <a:lnTo>
                      <a:pt x="383" y="1911"/>
                    </a:lnTo>
                    <a:lnTo>
                      <a:pt x="385" y="1913"/>
                    </a:lnTo>
                    <a:lnTo>
                      <a:pt x="387" y="1911"/>
                    </a:lnTo>
                    <a:lnTo>
                      <a:pt x="387" y="1905"/>
                    </a:lnTo>
                    <a:lnTo>
                      <a:pt x="389" y="1905"/>
                    </a:lnTo>
                    <a:lnTo>
                      <a:pt x="390" y="1905"/>
                    </a:lnTo>
                    <a:lnTo>
                      <a:pt x="392" y="1907"/>
                    </a:lnTo>
                    <a:lnTo>
                      <a:pt x="394" y="1911"/>
                    </a:lnTo>
                    <a:lnTo>
                      <a:pt x="394" y="1913"/>
                    </a:lnTo>
                    <a:lnTo>
                      <a:pt x="396" y="1913"/>
                    </a:lnTo>
                    <a:lnTo>
                      <a:pt x="398" y="1913"/>
                    </a:lnTo>
                    <a:lnTo>
                      <a:pt x="400" y="1913"/>
                    </a:lnTo>
                    <a:lnTo>
                      <a:pt x="400" y="1915"/>
                    </a:lnTo>
                    <a:lnTo>
                      <a:pt x="400" y="1917"/>
                    </a:lnTo>
                    <a:lnTo>
                      <a:pt x="398" y="1919"/>
                    </a:lnTo>
                    <a:lnTo>
                      <a:pt x="398" y="1921"/>
                    </a:lnTo>
                    <a:lnTo>
                      <a:pt x="398" y="1923"/>
                    </a:lnTo>
                    <a:lnTo>
                      <a:pt x="400" y="1925"/>
                    </a:lnTo>
                    <a:lnTo>
                      <a:pt x="400" y="1927"/>
                    </a:lnTo>
                    <a:lnTo>
                      <a:pt x="400" y="1929"/>
                    </a:lnTo>
                    <a:lnTo>
                      <a:pt x="410" y="1929"/>
                    </a:lnTo>
                    <a:lnTo>
                      <a:pt x="408" y="1927"/>
                    </a:lnTo>
                    <a:lnTo>
                      <a:pt x="410" y="1921"/>
                    </a:lnTo>
                    <a:lnTo>
                      <a:pt x="414" y="1923"/>
                    </a:lnTo>
                    <a:lnTo>
                      <a:pt x="420" y="1925"/>
                    </a:lnTo>
                    <a:lnTo>
                      <a:pt x="424" y="1929"/>
                    </a:lnTo>
                    <a:lnTo>
                      <a:pt x="422" y="1931"/>
                    </a:lnTo>
                    <a:lnTo>
                      <a:pt x="422" y="1933"/>
                    </a:lnTo>
                    <a:lnTo>
                      <a:pt x="424" y="1935"/>
                    </a:lnTo>
                    <a:lnTo>
                      <a:pt x="424" y="1935"/>
                    </a:lnTo>
                    <a:lnTo>
                      <a:pt x="428" y="1938"/>
                    </a:lnTo>
                    <a:lnTo>
                      <a:pt x="432" y="1938"/>
                    </a:lnTo>
                    <a:lnTo>
                      <a:pt x="439" y="1938"/>
                    </a:lnTo>
                    <a:lnTo>
                      <a:pt x="445" y="1937"/>
                    </a:lnTo>
                    <a:lnTo>
                      <a:pt x="447" y="1933"/>
                    </a:lnTo>
                    <a:lnTo>
                      <a:pt x="451" y="1933"/>
                    </a:lnTo>
                    <a:lnTo>
                      <a:pt x="469" y="1935"/>
                    </a:lnTo>
                    <a:lnTo>
                      <a:pt x="478" y="1935"/>
                    </a:lnTo>
                    <a:lnTo>
                      <a:pt x="480" y="1938"/>
                    </a:lnTo>
                    <a:lnTo>
                      <a:pt x="480" y="1938"/>
                    </a:lnTo>
                    <a:lnTo>
                      <a:pt x="478" y="1935"/>
                    </a:lnTo>
                    <a:lnTo>
                      <a:pt x="482" y="1935"/>
                    </a:lnTo>
                    <a:lnTo>
                      <a:pt x="482" y="1931"/>
                    </a:lnTo>
                    <a:lnTo>
                      <a:pt x="478" y="1927"/>
                    </a:lnTo>
                    <a:lnTo>
                      <a:pt x="476" y="1923"/>
                    </a:lnTo>
                    <a:lnTo>
                      <a:pt x="476" y="1919"/>
                    </a:lnTo>
                    <a:lnTo>
                      <a:pt x="474" y="1915"/>
                    </a:lnTo>
                    <a:lnTo>
                      <a:pt x="473" y="1913"/>
                    </a:lnTo>
                    <a:lnTo>
                      <a:pt x="471" y="1911"/>
                    </a:lnTo>
                    <a:lnTo>
                      <a:pt x="463" y="1907"/>
                    </a:lnTo>
                    <a:lnTo>
                      <a:pt x="461" y="1905"/>
                    </a:lnTo>
                    <a:lnTo>
                      <a:pt x="455" y="1899"/>
                    </a:lnTo>
                    <a:lnTo>
                      <a:pt x="453" y="1897"/>
                    </a:lnTo>
                    <a:lnTo>
                      <a:pt x="461" y="1897"/>
                    </a:lnTo>
                    <a:lnTo>
                      <a:pt x="478" y="1911"/>
                    </a:lnTo>
                    <a:lnTo>
                      <a:pt x="482" y="1911"/>
                    </a:lnTo>
                    <a:lnTo>
                      <a:pt x="482" y="1913"/>
                    </a:lnTo>
                    <a:lnTo>
                      <a:pt x="484" y="1915"/>
                    </a:lnTo>
                    <a:lnTo>
                      <a:pt x="484" y="1919"/>
                    </a:lnTo>
                    <a:lnTo>
                      <a:pt x="486" y="1921"/>
                    </a:lnTo>
                    <a:lnTo>
                      <a:pt x="502" y="1931"/>
                    </a:lnTo>
                    <a:lnTo>
                      <a:pt x="506" y="1933"/>
                    </a:lnTo>
                    <a:lnTo>
                      <a:pt x="512" y="1933"/>
                    </a:lnTo>
                    <a:lnTo>
                      <a:pt x="516" y="1933"/>
                    </a:lnTo>
                    <a:lnTo>
                      <a:pt x="525" y="1938"/>
                    </a:lnTo>
                    <a:lnTo>
                      <a:pt x="529" y="1938"/>
                    </a:lnTo>
                    <a:lnTo>
                      <a:pt x="531" y="1938"/>
                    </a:lnTo>
                    <a:lnTo>
                      <a:pt x="533" y="1940"/>
                    </a:lnTo>
                    <a:lnTo>
                      <a:pt x="533" y="1944"/>
                    </a:lnTo>
                    <a:lnTo>
                      <a:pt x="535" y="1946"/>
                    </a:lnTo>
                    <a:lnTo>
                      <a:pt x="535" y="1948"/>
                    </a:lnTo>
                    <a:lnTo>
                      <a:pt x="537" y="1952"/>
                    </a:lnTo>
                    <a:lnTo>
                      <a:pt x="541" y="1954"/>
                    </a:lnTo>
                    <a:lnTo>
                      <a:pt x="547" y="1954"/>
                    </a:lnTo>
                    <a:lnTo>
                      <a:pt x="555" y="1958"/>
                    </a:lnTo>
                    <a:lnTo>
                      <a:pt x="560" y="1964"/>
                    </a:lnTo>
                    <a:lnTo>
                      <a:pt x="568" y="1966"/>
                    </a:lnTo>
                    <a:lnTo>
                      <a:pt x="570" y="1960"/>
                    </a:lnTo>
                    <a:lnTo>
                      <a:pt x="574" y="1956"/>
                    </a:lnTo>
                    <a:lnTo>
                      <a:pt x="576" y="1954"/>
                    </a:lnTo>
                    <a:lnTo>
                      <a:pt x="578" y="1954"/>
                    </a:lnTo>
                    <a:lnTo>
                      <a:pt x="582" y="1956"/>
                    </a:lnTo>
                    <a:lnTo>
                      <a:pt x="584" y="1958"/>
                    </a:lnTo>
                    <a:lnTo>
                      <a:pt x="584" y="1960"/>
                    </a:lnTo>
                    <a:lnTo>
                      <a:pt x="584" y="1964"/>
                    </a:lnTo>
                    <a:lnTo>
                      <a:pt x="584" y="1966"/>
                    </a:lnTo>
                    <a:lnTo>
                      <a:pt x="588" y="1968"/>
                    </a:lnTo>
                    <a:lnTo>
                      <a:pt x="588" y="1968"/>
                    </a:lnTo>
                    <a:lnTo>
                      <a:pt x="592" y="1966"/>
                    </a:lnTo>
                    <a:lnTo>
                      <a:pt x="592" y="1966"/>
                    </a:lnTo>
                    <a:lnTo>
                      <a:pt x="598" y="1968"/>
                    </a:lnTo>
                    <a:lnTo>
                      <a:pt x="601" y="1968"/>
                    </a:lnTo>
                    <a:lnTo>
                      <a:pt x="603" y="1968"/>
                    </a:lnTo>
                    <a:lnTo>
                      <a:pt x="605" y="1966"/>
                    </a:lnTo>
                    <a:lnTo>
                      <a:pt x="607" y="1970"/>
                    </a:lnTo>
                    <a:lnTo>
                      <a:pt x="609" y="1974"/>
                    </a:lnTo>
                    <a:lnTo>
                      <a:pt x="611" y="1976"/>
                    </a:lnTo>
                    <a:lnTo>
                      <a:pt x="611" y="1978"/>
                    </a:lnTo>
                    <a:lnTo>
                      <a:pt x="611" y="1979"/>
                    </a:lnTo>
                    <a:lnTo>
                      <a:pt x="611" y="1979"/>
                    </a:lnTo>
                    <a:lnTo>
                      <a:pt x="613" y="1981"/>
                    </a:lnTo>
                    <a:lnTo>
                      <a:pt x="615" y="1981"/>
                    </a:lnTo>
                    <a:lnTo>
                      <a:pt x="615" y="1981"/>
                    </a:lnTo>
                    <a:lnTo>
                      <a:pt x="617" y="1979"/>
                    </a:lnTo>
                    <a:lnTo>
                      <a:pt x="619" y="1979"/>
                    </a:lnTo>
                    <a:lnTo>
                      <a:pt x="627" y="1991"/>
                    </a:lnTo>
                    <a:lnTo>
                      <a:pt x="629" y="1995"/>
                    </a:lnTo>
                    <a:lnTo>
                      <a:pt x="629" y="1997"/>
                    </a:lnTo>
                    <a:lnTo>
                      <a:pt x="625" y="1999"/>
                    </a:lnTo>
                    <a:lnTo>
                      <a:pt x="627" y="2003"/>
                    </a:lnTo>
                    <a:lnTo>
                      <a:pt x="627" y="2005"/>
                    </a:lnTo>
                    <a:lnTo>
                      <a:pt x="627" y="2007"/>
                    </a:lnTo>
                    <a:lnTo>
                      <a:pt x="627" y="2009"/>
                    </a:lnTo>
                    <a:lnTo>
                      <a:pt x="629" y="2011"/>
                    </a:lnTo>
                    <a:lnTo>
                      <a:pt x="631" y="2011"/>
                    </a:lnTo>
                    <a:lnTo>
                      <a:pt x="631" y="2011"/>
                    </a:lnTo>
                    <a:lnTo>
                      <a:pt x="633" y="2009"/>
                    </a:lnTo>
                    <a:lnTo>
                      <a:pt x="635" y="2009"/>
                    </a:lnTo>
                    <a:lnTo>
                      <a:pt x="637" y="2011"/>
                    </a:lnTo>
                    <a:lnTo>
                      <a:pt x="637" y="2011"/>
                    </a:lnTo>
                    <a:lnTo>
                      <a:pt x="639" y="2011"/>
                    </a:lnTo>
                    <a:lnTo>
                      <a:pt x="641" y="2007"/>
                    </a:lnTo>
                    <a:lnTo>
                      <a:pt x="646" y="2007"/>
                    </a:lnTo>
                    <a:lnTo>
                      <a:pt x="650" y="2009"/>
                    </a:lnTo>
                    <a:lnTo>
                      <a:pt x="650" y="2013"/>
                    </a:lnTo>
                    <a:lnTo>
                      <a:pt x="646" y="2020"/>
                    </a:lnTo>
                    <a:lnTo>
                      <a:pt x="648" y="2022"/>
                    </a:lnTo>
                    <a:lnTo>
                      <a:pt x="648" y="2024"/>
                    </a:lnTo>
                    <a:lnTo>
                      <a:pt x="646" y="2026"/>
                    </a:lnTo>
                    <a:lnTo>
                      <a:pt x="646" y="2026"/>
                    </a:lnTo>
                    <a:lnTo>
                      <a:pt x="644" y="2028"/>
                    </a:lnTo>
                    <a:lnTo>
                      <a:pt x="644" y="2028"/>
                    </a:lnTo>
                    <a:lnTo>
                      <a:pt x="642" y="2030"/>
                    </a:lnTo>
                    <a:lnTo>
                      <a:pt x="641" y="2032"/>
                    </a:lnTo>
                    <a:lnTo>
                      <a:pt x="642" y="2032"/>
                    </a:lnTo>
                    <a:lnTo>
                      <a:pt x="644" y="2032"/>
                    </a:lnTo>
                    <a:lnTo>
                      <a:pt x="656" y="2030"/>
                    </a:lnTo>
                    <a:lnTo>
                      <a:pt x="658" y="2030"/>
                    </a:lnTo>
                    <a:lnTo>
                      <a:pt x="666" y="2024"/>
                    </a:lnTo>
                    <a:lnTo>
                      <a:pt x="670" y="2022"/>
                    </a:lnTo>
                    <a:lnTo>
                      <a:pt x="672" y="2019"/>
                    </a:lnTo>
                    <a:lnTo>
                      <a:pt x="676" y="2011"/>
                    </a:lnTo>
                    <a:lnTo>
                      <a:pt x="678" y="2009"/>
                    </a:lnTo>
                    <a:lnTo>
                      <a:pt x="680" y="2009"/>
                    </a:lnTo>
                    <a:lnTo>
                      <a:pt x="684" y="2007"/>
                    </a:lnTo>
                    <a:lnTo>
                      <a:pt x="684" y="2005"/>
                    </a:lnTo>
                    <a:lnTo>
                      <a:pt x="687" y="2003"/>
                    </a:lnTo>
                    <a:lnTo>
                      <a:pt x="689" y="1997"/>
                    </a:lnTo>
                    <a:lnTo>
                      <a:pt x="691" y="1991"/>
                    </a:lnTo>
                    <a:lnTo>
                      <a:pt x="691" y="1985"/>
                    </a:lnTo>
                    <a:lnTo>
                      <a:pt x="689" y="1983"/>
                    </a:lnTo>
                    <a:lnTo>
                      <a:pt x="689" y="1981"/>
                    </a:lnTo>
                    <a:lnTo>
                      <a:pt x="687" y="1979"/>
                    </a:lnTo>
                    <a:lnTo>
                      <a:pt x="685" y="1978"/>
                    </a:lnTo>
                    <a:lnTo>
                      <a:pt x="687" y="1968"/>
                    </a:lnTo>
                    <a:lnTo>
                      <a:pt x="687" y="1966"/>
                    </a:lnTo>
                    <a:lnTo>
                      <a:pt x="685" y="1964"/>
                    </a:lnTo>
                    <a:lnTo>
                      <a:pt x="685" y="1960"/>
                    </a:lnTo>
                    <a:lnTo>
                      <a:pt x="685" y="1958"/>
                    </a:lnTo>
                    <a:lnTo>
                      <a:pt x="687" y="1958"/>
                    </a:lnTo>
                    <a:lnTo>
                      <a:pt x="689" y="1956"/>
                    </a:lnTo>
                    <a:lnTo>
                      <a:pt x="691" y="1956"/>
                    </a:lnTo>
                    <a:lnTo>
                      <a:pt x="691" y="1956"/>
                    </a:lnTo>
                    <a:lnTo>
                      <a:pt x="693" y="1960"/>
                    </a:lnTo>
                    <a:lnTo>
                      <a:pt x="693" y="1960"/>
                    </a:lnTo>
                    <a:lnTo>
                      <a:pt x="691" y="1962"/>
                    </a:lnTo>
                    <a:lnTo>
                      <a:pt x="691" y="1962"/>
                    </a:lnTo>
                    <a:lnTo>
                      <a:pt x="691" y="1966"/>
                    </a:lnTo>
                    <a:lnTo>
                      <a:pt x="691" y="1966"/>
                    </a:lnTo>
                    <a:lnTo>
                      <a:pt x="693" y="1968"/>
                    </a:lnTo>
                    <a:lnTo>
                      <a:pt x="695" y="1968"/>
                    </a:lnTo>
                    <a:lnTo>
                      <a:pt x="703" y="1970"/>
                    </a:lnTo>
                    <a:lnTo>
                      <a:pt x="705" y="1970"/>
                    </a:lnTo>
                    <a:lnTo>
                      <a:pt x="707" y="1968"/>
                    </a:lnTo>
                    <a:lnTo>
                      <a:pt x="711" y="1962"/>
                    </a:lnTo>
                    <a:lnTo>
                      <a:pt x="713" y="1962"/>
                    </a:lnTo>
                    <a:lnTo>
                      <a:pt x="717" y="1962"/>
                    </a:lnTo>
                    <a:lnTo>
                      <a:pt x="738" y="1970"/>
                    </a:lnTo>
                    <a:lnTo>
                      <a:pt x="740" y="1970"/>
                    </a:lnTo>
                    <a:lnTo>
                      <a:pt x="740" y="1972"/>
                    </a:lnTo>
                    <a:lnTo>
                      <a:pt x="740" y="1974"/>
                    </a:lnTo>
                    <a:lnTo>
                      <a:pt x="742" y="1974"/>
                    </a:lnTo>
                    <a:lnTo>
                      <a:pt x="748" y="1972"/>
                    </a:lnTo>
                    <a:lnTo>
                      <a:pt x="754" y="1970"/>
                    </a:lnTo>
                    <a:lnTo>
                      <a:pt x="756" y="1970"/>
                    </a:lnTo>
                    <a:lnTo>
                      <a:pt x="760" y="1970"/>
                    </a:lnTo>
                    <a:lnTo>
                      <a:pt x="762" y="1970"/>
                    </a:lnTo>
                    <a:lnTo>
                      <a:pt x="764" y="1974"/>
                    </a:lnTo>
                    <a:lnTo>
                      <a:pt x="764" y="1974"/>
                    </a:lnTo>
                    <a:lnTo>
                      <a:pt x="758" y="1978"/>
                    </a:lnTo>
                    <a:lnTo>
                      <a:pt x="760" y="1979"/>
                    </a:lnTo>
                    <a:lnTo>
                      <a:pt x="768" y="1983"/>
                    </a:lnTo>
                    <a:lnTo>
                      <a:pt x="775" y="1993"/>
                    </a:lnTo>
                    <a:lnTo>
                      <a:pt x="777" y="1995"/>
                    </a:lnTo>
                    <a:lnTo>
                      <a:pt x="777" y="1995"/>
                    </a:lnTo>
                    <a:lnTo>
                      <a:pt x="775" y="1997"/>
                    </a:lnTo>
                    <a:lnTo>
                      <a:pt x="775" y="1999"/>
                    </a:lnTo>
                    <a:lnTo>
                      <a:pt x="775" y="1999"/>
                    </a:lnTo>
                    <a:lnTo>
                      <a:pt x="777" y="2003"/>
                    </a:lnTo>
                    <a:lnTo>
                      <a:pt x="779" y="2003"/>
                    </a:lnTo>
                    <a:lnTo>
                      <a:pt x="797" y="2003"/>
                    </a:lnTo>
                    <a:lnTo>
                      <a:pt x="801" y="2003"/>
                    </a:lnTo>
                    <a:lnTo>
                      <a:pt x="810" y="1995"/>
                    </a:lnTo>
                    <a:lnTo>
                      <a:pt x="814" y="1993"/>
                    </a:lnTo>
                    <a:lnTo>
                      <a:pt x="818" y="1995"/>
                    </a:lnTo>
                    <a:lnTo>
                      <a:pt x="818" y="2003"/>
                    </a:lnTo>
                    <a:lnTo>
                      <a:pt x="822" y="2003"/>
                    </a:lnTo>
                    <a:lnTo>
                      <a:pt x="826" y="2001"/>
                    </a:lnTo>
                    <a:lnTo>
                      <a:pt x="828" y="1999"/>
                    </a:lnTo>
                    <a:lnTo>
                      <a:pt x="830" y="1995"/>
                    </a:lnTo>
                    <a:lnTo>
                      <a:pt x="834" y="1993"/>
                    </a:lnTo>
                    <a:lnTo>
                      <a:pt x="836" y="1991"/>
                    </a:lnTo>
                    <a:lnTo>
                      <a:pt x="844" y="1991"/>
                    </a:lnTo>
                    <a:lnTo>
                      <a:pt x="848" y="1989"/>
                    </a:lnTo>
                    <a:lnTo>
                      <a:pt x="848" y="1987"/>
                    </a:lnTo>
                    <a:lnTo>
                      <a:pt x="848" y="1985"/>
                    </a:lnTo>
                    <a:lnTo>
                      <a:pt x="846" y="1985"/>
                    </a:lnTo>
                    <a:lnTo>
                      <a:pt x="844" y="1983"/>
                    </a:lnTo>
                    <a:lnTo>
                      <a:pt x="852" y="1976"/>
                    </a:lnTo>
                    <a:lnTo>
                      <a:pt x="855" y="1974"/>
                    </a:lnTo>
                    <a:lnTo>
                      <a:pt x="859" y="1976"/>
                    </a:lnTo>
                    <a:lnTo>
                      <a:pt x="863" y="1976"/>
                    </a:lnTo>
                    <a:lnTo>
                      <a:pt x="871" y="1974"/>
                    </a:lnTo>
                    <a:lnTo>
                      <a:pt x="875" y="1974"/>
                    </a:lnTo>
                    <a:lnTo>
                      <a:pt x="877" y="1970"/>
                    </a:lnTo>
                    <a:lnTo>
                      <a:pt x="879" y="1968"/>
                    </a:lnTo>
                    <a:lnTo>
                      <a:pt x="881" y="1962"/>
                    </a:lnTo>
                    <a:lnTo>
                      <a:pt x="881" y="1960"/>
                    </a:lnTo>
                    <a:lnTo>
                      <a:pt x="887" y="1954"/>
                    </a:lnTo>
                    <a:lnTo>
                      <a:pt x="887" y="1954"/>
                    </a:lnTo>
                    <a:lnTo>
                      <a:pt x="889" y="1954"/>
                    </a:lnTo>
                    <a:lnTo>
                      <a:pt x="896" y="1956"/>
                    </a:lnTo>
                    <a:lnTo>
                      <a:pt x="910" y="1956"/>
                    </a:lnTo>
                    <a:lnTo>
                      <a:pt x="920" y="1958"/>
                    </a:lnTo>
                    <a:lnTo>
                      <a:pt x="922" y="1958"/>
                    </a:lnTo>
                    <a:lnTo>
                      <a:pt x="924" y="1952"/>
                    </a:lnTo>
                    <a:lnTo>
                      <a:pt x="926" y="1952"/>
                    </a:lnTo>
                    <a:lnTo>
                      <a:pt x="939" y="1948"/>
                    </a:lnTo>
                    <a:lnTo>
                      <a:pt x="978" y="1950"/>
                    </a:lnTo>
                    <a:lnTo>
                      <a:pt x="978" y="1950"/>
                    </a:lnTo>
                    <a:lnTo>
                      <a:pt x="984" y="1944"/>
                    </a:lnTo>
                    <a:lnTo>
                      <a:pt x="984" y="1942"/>
                    </a:lnTo>
                    <a:lnTo>
                      <a:pt x="984" y="1940"/>
                    </a:lnTo>
                    <a:lnTo>
                      <a:pt x="984" y="1935"/>
                    </a:lnTo>
                    <a:lnTo>
                      <a:pt x="984" y="1933"/>
                    </a:lnTo>
                    <a:lnTo>
                      <a:pt x="982" y="1933"/>
                    </a:lnTo>
                    <a:lnTo>
                      <a:pt x="982" y="1931"/>
                    </a:lnTo>
                    <a:lnTo>
                      <a:pt x="980" y="1929"/>
                    </a:lnTo>
                    <a:lnTo>
                      <a:pt x="980" y="1927"/>
                    </a:lnTo>
                    <a:lnTo>
                      <a:pt x="980" y="1925"/>
                    </a:lnTo>
                    <a:lnTo>
                      <a:pt x="982" y="1925"/>
                    </a:lnTo>
                    <a:lnTo>
                      <a:pt x="986" y="1921"/>
                    </a:lnTo>
                    <a:lnTo>
                      <a:pt x="988" y="1921"/>
                    </a:lnTo>
                    <a:lnTo>
                      <a:pt x="990" y="1919"/>
                    </a:lnTo>
                    <a:lnTo>
                      <a:pt x="990" y="1919"/>
                    </a:lnTo>
                    <a:lnTo>
                      <a:pt x="990" y="1921"/>
                    </a:lnTo>
                    <a:lnTo>
                      <a:pt x="990" y="1923"/>
                    </a:lnTo>
                    <a:lnTo>
                      <a:pt x="988" y="1925"/>
                    </a:lnTo>
                    <a:lnTo>
                      <a:pt x="988" y="1927"/>
                    </a:lnTo>
                    <a:lnTo>
                      <a:pt x="986" y="1929"/>
                    </a:lnTo>
                    <a:lnTo>
                      <a:pt x="988" y="1931"/>
                    </a:lnTo>
                    <a:lnTo>
                      <a:pt x="990" y="1933"/>
                    </a:lnTo>
                    <a:lnTo>
                      <a:pt x="992" y="1933"/>
                    </a:lnTo>
                    <a:lnTo>
                      <a:pt x="996" y="1931"/>
                    </a:lnTo>
                    <a:lnTo>
                      <a:pt x="998" y="1929"/>
                    </a:lnTo>
                    <a:lnTo>
                      <a:pt x="1008" y="1931"/>
                    </a:lnTo>
                    <a:lnTo>
                      <a:pt x="1012" y="1931"/>
                    </a:lnTo>
                    <a:lnTo>
                      <a:pt x="1018" y="1929"/>
                    </a:lnTo>
                    <a:lnTo>
                      <a:pt x="1021" y="1929"/>
                    </a:lnTo>
                    <a:lnTo>
                      <a:pt x="1021" y="1931"/>
                    </a:lnTo>
                    <a:lnTo>
                      <a:pt x="1023" y="1937"/>
                    </a:lnTo>
                    <a:lnTo>
                      <a:pt x="1023" y="1938"/>
                    </a:lnTo>
                    <a:lnTo>
                      <a:pt x="1025" y="1938"/>
                    </a:lnTo>
                    <a:lnTo>
                      <a:pt x="1031" y="1944"/>
                    </a:lnTo>
                    <a:lnTo>
                      <a:pt x="1033" y="1944"/>
                    </a:lnTo>
                    <a:lnTo>
                      <a:pt x="1037" y="1944"/>
                    </a:lnTo>
                    <a:lnTo>
                      <a:pt x="1039" y="1944"/>
                    </a:lnTo>
                    <a:lnTo>
                      <a:pt x="1043" y="1942"/>
                    </a:lnTo>
                    <a:lnTo>
                      <a:pt x="1045" y="1942"/>
                    </a:lnTo>
                    <a:lnTo>
                      <a:pt x="1051" y="1937"/>
                    </a:lnTo>
                    <a:lnTo>
                      <a:pt x="1053" y="1935"/>
                    </a:lnTo>
                    <a:lnTo>
                      <a:pt x="1059" y="1933"/>
                    </a:lnTo>
                    <a:lnTo>
                      <a:pt x="1064" y="1933"/>
                    </a:lnTo>
                    <a:lnTo>
                      <a:pt x="1074" y="1937"/>
                    </a:lnTo>
                    <a:lnTo>
                      <a:pt x="1078" y="1935"/>
                    </a:lnTo>
                    <a:lnTo>
                      <a:pt x="1076" y="1940"/>
                    </a:lnTo>
                    <a:lnTo>
                      <a:pt x="1078" y="1942"/>
                    </a:lnTo>
                    <a:lnTo>
                      <a:pt x="1082" y="1946"/>
                    </a:lnTo>
                    <a:lnTo>
                      <a:pt x="1086" y="1948"/>
                    </a:lnTo>
                    <a:lnTo>
                      <a:pt x="1082" y="1950"/>
                    </a:lnTo>
                    <a:lnTo>
                      <a:pt x="1080" y="1956"/>
                    </a:lnTo>
                    <a:lnTo>
                      <a:pt x="1080" y="1962"/>
                    </a:lnTo>
                    <a:lnTo>
                      <a:pt x="1084" y="1966"/>
                    </a:lnTo>
                    <a:lnTo>
                      <a:pt x="1086" y="1966"/>
                    </a:lnTo>
                    <a:lnTo>
                      <a:pt x="1088" y="1968"/>
                    </a:lnTo>
                    <a:lnTo>
                      <a:pt x="1090" y="1968"/>
                    </a:lnTo>
                    <a:lnTo>
                      <a:pt x="1098" y="1978"/>
                    </a:lnTo>
                    <a:lnTo>
                      <a:pt x="1105" y="1983"/>
                    </a:lnTo>
                    <a:lnTo>
                      <a:pt x="1107" y="1983"/>
                    </a:lnTo>
                    <a:lnTo>
                      <a:pt x="1109" y="1983"/>
                    </a:lnTo>
                    <a:lnTo>
                      <a:pt x="1111" y="1983"/>
                    </a:lnTo>
                    <a:lnTo>
                      <a:pt x="1111" y="1983"/>
                    </a:lnTo>
                    <a:lnTo>
                      <a:pt x="1113" y="1983"/>
                    </a:lnTo>
                    <a:lnTo>
                      <a:pt x="1115" y="1983"/>
                    </a:lnTo>
                    <a:lnTo>
                      <a:pt x="1115" y="1985"/>
                    </a:lnTo>
                    <a:lnTo>
                      <a:pt x="1117" y="1985"/>
                    </a:lnTo>
                    <a:lnTo>
                      <a:pt x="1119" y="1983"/>
                    </a:lnTo>
                    <a:lnTo>
                      <a:pt x="1123" y="1978"/>
                    </a:lnTo>
                    <a:lnTo>
                      <a:pt x="1123" y="1976"/>
                    </a:lnTo>
                    <a:lnTo>
                      <a:pt x="1123" y="1976"/>
                    </a:lnTo>
                    <a:lnTo>
                      <a:pt x="1123" y="1974"/>
                    </a:lnTo>
                    <a:lnTo>
                      <a:pt x="1121" y="1972"/>
                    </a:lnTo>
                    <a:lnTo>
                      <a:pt x="1121" y="1970"/>
                    </a:lnTo>
                    <a:lnTo>
                      <a:pt x="1121" y="1966"/>
                    </a:lnTo>
                    <a:lnTo>
                      <a:pt x="1123" y="1966"/>
                    </a:lnTo>
                    <a:lnTo>
                      <a:pt x="1123" y="1962"/>
                    </a:lnTo>
                    <a:lnTo>
                      <a:pt x="1125" y="1962"/>
                    </a:lnTo>
                    <a:lnTo>
                      <a:pt x="1123" y="1962"/>
                    </a:lnTo>
                    <a:lnTo>
                      <a:pt x="1123" y="1956"/>
                    </a:lnTo>
                    <a:lnTo>
                      <a:pt x="1125" y="1956"/>
                    </a:lnTo>
                    <a:lnTo>
                      <a:pt x="1127" y="1952"/>
                    </a:lnTo>
                    <a:lnTo>
                      <a:pt x="1127" y="1952"/>
                    </a:lnTo>
                    <a:lnTo>
                      <a:pt x="1129" y="1946"/>
                    </a:lnTo>
                    <a:lnTo>
                      <a:pt x="1129" y="1946"/>
                    </a:lnTo>
                    <a:lnTo>
                      <a:pt x="1129" y="1942"/>
                    </a:lnTo>
                    <a:lnTo>
                      <a:pt x="1129" y="1940"/>
                    </a:lnTo>
                    <a:lnTo>
                      <a:pt x="1129" y="1937"/>
                    </a:lnTo>
                    <a:lnTo>
                      <a:pt x="1129" y="1933"/>
                    </a:lnTo>
                    <a:lnTo>
                      <a:pt x="1125" y="1929"/>
                    </a:lnTo>
                    <a:lnTo>
                      <a:pt x="1123" y="1925"/>
                    </a:lnTo>
                    <a:lnTo>
                      <a:pt x="1121" y="1925"/>
                    </a:lnTo>
                    <a:lnTo>
                      <a:pt x="1117" y="1923"/>
                    </a:lnTo>
                    <a:lnTo>
                      <a:pt x="1113" y="1925"/>
                    </a:lnTo>
                    <a:lnTo>
                      <a:pt x="1111" y="1925"/>
                    </a:lnTo>
                    <a:lnTo>
                      <a:pt x="1102" y="1925"/>
                    </a:lnTo>
                    <a:lnTo>
                      <a:pt x="1100" y="1921"/>
                    </a:lnTo>
                    <a:lnTo>
                      <a:pt x="1102" y="1917"/>
                    </a:lnTo>
                    <a:lnTo>
                      <a:pt x="1102" y="1917"/>
                    </a:lnTo>
                    <a:lnTo>
                      <a:pt x="1104" y="1915"/>
                    </a:lnTo>
                    <a:lnTo>
                      <a:pt x="1104" y="1913"/>
                    </a:lnTo>
                    <a:lnTo>
                      <a:pt x="1104" y="1911"/>
                    </a:lnTo>
                    <a:lnTo>
                      <a:pt x="1104" y="1909"/>
                    </a:lnTo>
                    <a:lnTo>
                      <a:pt x="1105" y="1907"/>
                    </a:lnTo>
                    <a:lnTo>
                      <a:pt x="1115" y="1890"/>
                    </a:lnTo>
                    <a:lnTo>
                      <a:pt x="1115" y="1890"/>
                    </a:lnTo>
                    <a:lnTo>
                      <a:pt x="1111" y="1884"/>
                    </a:lnTo>
                    <a:lnTo>
                      <a:pt x="1105" y="1872"/>
                    </a:lnTo>
                    <a:lnTo>
                      <a:pt x="1104" y="1868"/>
                    </a:lnTo>
                    <a:lnTo>
                      <a:pt x="1102" y="1868"/>
                    </a:lnTo>
                    <a:lnTo>
                      <a:pt x="1098" y="1864"/>
                    </a:lnTo>
                    <a:lnTo>
                      <a:pt x="1094" y="1862"/>
                    </a:lnTo>
                    <a:lnTo>
                      <a:pt x="1094" y="1860"/>
                    </a:lnTo>
                    <a:lnTo>
                      <a:pt x="1092" y="1856"/>
                    </a:lnTo>
                    <a:lnTo>
                      <a:pt x="1092" y="1856"/>
                    </a:lnTo>
                    <a:lnTo>
                      <a:pt x="1092" y="1855"/>
                    </a:lnTo>
                    <a:lnTo>
                      <a:pt x="1090" y="1849"/>
                    </a:lnTo>
                    <a:lnTo>
                      <a:pt x="1076" y="1837"/>
                    </a:lnTo>
                    <a:lnTo>
                      <a:pt x="1076" y="1833"/>
                    </a:lnTo>
                    <a:lnTo>
                      <a:pt x="1074" y="1831"/>
                    </a:lnTo>
                    <a:lnTo>
                      <a:pt x="1072" y="1827"/>
                    </a:lnTo>
                    <a:lnTo>
                      <a:pt x="1074" y="1823"/>
                    </a:lnTo>
                    <a:lnTo>
                      <a:pt x="1074" y="1823"/>
                    </a:lnTo>
                    <a:lnTo>
                      <a:pt x="1076" y="1821"/>
                    </a:lnTo>
                    <a:lnTo>
                      <a:pt x="1076" y="1821"/>
                    </a:lnTo>
                    <a:lnTo>
                      <a:pt x="1078" y="1821"/>
                    </a:lnTo>
                    <a:lnTo>
                      <a:pt x="1080" y="1817"/>
                    </a:lnTo>
                    <a:lnTo>
                      <a:pt x="1080" y="1817"/>
                    </a:lnTo>
                    <a:lnTo>
                      <a:pt x="1088" y="1812"/>
                    </a:lnTo>
                    <a:lnTo>
                      <a:pt x="1090" y="1810"/>
                    </a:lnTo>
                    <a:lnTo>
                      <a:pt x="1092" y="1806"/>
                    </a:lnTo>
                    <a:lnTo>
                      <a:pt x="1094" y="1804"/>
                    </a:lnTo>
                    <a:lnTo>
                      <a:pt x="1098" y="1802"/>
                    </a:lnTo>
                    <a:lnTo>
                      <a:pt x="1105" y="1800"/>
                    </a:lnTo>
                    <a:lnTo>
                      <a:pt x="1105" y="1800"/>
                    </a:lnTo>
                    <a:lnTo>
                      <a:pt x="1107" y="1798"/>
                    </a:lnTo>
                    <a:lnTo>
                      <a:pt x="1113" y="1794"/>
                    </a:lnTo>
                    <a:lnTo>
                      <a:pt x="1119" y="1788"/>
                    </a:lnTo>
                    <a:lnTo>
                      <a:pt x="1123" y="1786"/>
                    </a:lnTo>
                    <a:lnTo>
                      <a:pt x="1141" y="1780"/>
                    </a:lnTo>
                    <a:lnTo>
                      <a:pt x="1164" y="1776"/>
                    </a:lnTo>
                    <a:lnTo>
                      <a:pt x="1168" y="1773"/>
                    </a:lnTo>
                    <a:lnTo>
                      <a:pt x="1186" y="1759"/>
                    </a:lnTo>
                    <a:lnTo>
                      <a:pt x="1188" y="1755"/>
                    </a:lnTo>
                    <a:lnTo>
                      <a:pt x="1188" y="1749"/>
                    </a:lnTo>
                    <a:lnTo>
                      <a:pt x="1189" y="1747"/>
                    </a:lnTo>
                    <a:lnTo>
                      <a:pt x="1189" y="1747"/>
                    </a:lnTo>
                    <a:lnTo>
                      <a:pt x="1189" y="1745"/>
                    </a:lnTo>
                    <a:lnTo>
                      <a:pt x="1191" y="1741"/>
                    </a:lnTo>
                    <a:lnTo>
                      <a:pt x="1189" y="1735"/>
                    </a:lnTo>
                    <a:lnTo>
                      <a:pt x="1191" y="1733"/>
                    </a:lnTo>
                    <a:lnTo>
                      <a:pt x="1191" y="1730"/>
                    </a:lnTo>
                    <a:lnTo>
                      <a:pt x="1193" y="1726"/>
                    </a:lnTo>
                    <a:lnTo>
                      <a:pt x="1193" y="1724"/>
                    </a:lnTo>
                    <a:lnTo>
                      <a:pt x="1193" y="1722"/>
                    </a:lnTo>
                    <a:lnTo>
                      <a:pt x="1191" y="1718"/>
                    </a:lnTo>
                    <a:lnTo>
                      <a:pt x="1191" y="1714"/>
                    </a:lnTo>
                    <a:lnTo>
                      <a:pt x="1191" y="1712"/>
                    </a:lnTo>
                    <a:lnTo>
                      <a:pt x="1191" y="1712"/>
                    </a:lnTo>
                    <a:lnTo>
                      <a:pt x="1191" y="1710"/>
                    </a:lnTo>
                    <a:lnTo>
                      <a:pt x="1193" y="1708"/>
                    </a:lnTo>
                    <a:lnTo>
                      <a:pt x="1199" y="1706"/>
                    </a:lnTo>
                    <a:lnTo>
                      <a:pt x="1205" y="1706"/>
                    </a:lnTo>
                    <a:lnTo>
                      <a:pt x="1221" y="1710"/>
                    </a:lnTo>
                    <a:lnTo>
                      <a:pt x="1225" y="1712"/>
                    </a:lnTo>
                    <a:lnTo>
                      <a:pt x="1227" y="1714"/>
                    </a:lnTo>
                    <a:lnTo>
                      <a:pt x="1231" y="1718"/>
                    </a:lnTo>
                    <a:lnTo>
                      <a:pt x="1236" y="1722"/>
                    </a:lnTo>
                    <a:lnTo>
                      <a:pt x="1236" y="1722"/>
                    </a:lnTo>
                    <a:lnTo>
                      <a:pt x="1238" y="1716"/>
                    </a:lnTo>
                    <a:lnTo>
                      <a:pt x="1240" y="1712"/>
                    </a:lnTo>
                    <a:lnTo>
                      <a:pt x="1240" y="1712"/>
                    </a:lnTo>
                    <a:lnTo>
                      <a:pt x="1244" y="1712"/>
                    </a:lnTo>
                    <a:lnTo>
                      <a:pt x="1246" y="1712"/>
                    </a:lnTo>
                    <a:lnTo>
                      <a:pt x="1246" y="1710"/>
                    </a:lnTo>
                    <a:lnTo>
                      <a:pt x="1248" y="1708"/>
                    </a:lnTo>
                    <a:lnTo>
                      <a:pt x="1250" y="1702"/>
                    </a:lnTo>
                    <a:lnTo>
                      <a:pt x="1252" y="1698"/>
                    </a:lnTo>
                    <a:lnTo>
                      <a:pt x="1252" y="1696"/>
                    </a:lnTo>
                    <a:lnTo>
                      <a:pt x="1252" y="1691"/>
                    </a:lnTo>
                    <a:lnTo>
                      <a:pt x="1252" y="1683"/>
                    </a:lnTo>
                    <a:lnTo>
                      <a:pt x="1252" y="1681"/>
                    </a:lnTo>
                    <a:lnTo>
                      <a:pt x="1254" y="1679"/>
                    </a:lnTo>
                    <a:lnTo>
                      <a:pt x="1252" y="1677"/>
                    </a:lnTo>
                    <a:lnTo>
                      <a:pt x="1250" y="1677"/>
                    </a:lnTo>
                    <a:lnTo>
                      <a:pt x="1250" y="1673"/>
                    </a:lnTo>
                    <a:lnTo>
                      <a:pt x="1248" y="1673"/>
                    </a:lnTo>
                    <a:lnTo>
                      <a:pt x="1248" y="1671"/>
                    </a:lnTo>
                    <a:lnTo>
                      <a:pt x="1254" y="1659"/>
                    </a:lnTo>
                    <a:lnTo>
                      <a:pt x="1250" y="1657"/>
                    </a:lnTo>
                    <a:lnTo>
                      <a:pt x="1246" y="1646"/>
                    </a:lnTo>
                    <a:lnTo>
                      <a:pt x="1242" y="1640"/>
                    </a:lnTo>
                    <a:lnTo>
                      <a:pt x="1240" y="1638"/>
                    </a:lnTo>
                    <a:lnTo>
                      <a:pt x="1238" y="1634"/>
                    </a:lnTo>
                    <a:lnTo>
                      <a:pt x="1238" y="1634"/>
                    </a:lnTo>
                    <a:lnTo>
                      <a:pt x="1236" y="1634"/>
                    </a:lnTo>
                    <a:lnTo>
                      <a:pt x="1234" y="1634"/>
                    </a:lnTo>
                    <a:lnTo>
                      <a:pt x="1231" y="1632"/>
                    </a:lnTo>
                    <a:lnTo>
                      <a:pt x="1227" y="1630"/>
                    </a:lnTo>
                    <a:lnTo>
                      <a:pt x="1227" y="1630"/>
                    </a:lnTo>
                    <a:lnTo>
                      <a:pt x="1227" y="1630"/>
                    </a:lnTo>
                    <a:lnTo>
                      <a:pt x="1225" y="1628"/>
                    </a:lnTo>
                    <a:lnTo>
                      <a:pt x="1223" y="1626"/>
                    </a:lnTo>
                    <a:lnTo>
                      <a:pt x="1221" y="1624"/>
                    </a:lnTo>
                    <a:lnTo>
                      <a:pt x="1219" y="1620"/>
                    </a:lnTo>
                    <a:lnTo>
                      <a:pt x="1219" y="1616"/>
                    </a:lnTo>
                    <a:lnTo>
                      <a:pt x="1219" y="1614"/>
                    </a:lnTo>
                    <a:lnTo>
                      <a:pt x="1219" y="1614"/>
                    </a:lnTo>
                    <a:lnTo>
                      <a:pt x="1217" y="1614"/>
                    </a:lnTo>
                    <a:lnTo>
                      <a:pt x="1213" y="1614"/>
                    </a:lnTo>
                    <a:lnTo>
                      <a:pt x="1213" y="1612"/>
                    </a:lnTo>
                    <a:lnTo>
                      <a:pt x="1211" y="1612"/>
                    </a:lnTo>
                    <a:lnTo>
                      <a:pt x="1211" y="1610"/>
                    </a:lnTo>
                    <a:lnTo>
                      <a:pt x="1207" y="1609"/>
                    </a:lnTo>
                    <a:lnTo>
                      <a:pt x="1207" y="1609"/>
                    </a:lnTo>
                    <a:lnTo>
                      <a:pt x="1205" y="1609"/>
                    </a:lnTo>
                    <a:lnTo>
                      <a:pt x="1203" y="1609"/>
                    </a:lnTo>
                    <a:lnTo>
                      <a:pt x="1203" y="1609"/>
                    </a:lnTo>
                    <a:lnTo>
                      <a:pt x="1201" y="1609"/>
                    </a:lnTo>
                    <a:lnTo>
                      <a:pt x="1199" y="1612"/>
                    </a:lnTo>
                    <a:lnTo>
                      <a:pt x="1197" y="1616"/>
                    </a:lnTo>
                    <a:lnTo>
                      <a:pt x="1197" y="1616"/>
                    </a:lnTo>
                    <a:lnTo>
                      <a:pt x="1197" y="1616"/>
                    </a:lnTo>
                    <a:lnTo>
                      <a:pt x="1193" y="1614"/>
                    </a:lnTo>
                    <a:lnTo>
                      <a:pt x="1191" y="1612"/>
                    </a:lnTo>
                    <a:lnTo>
                      <a:pt x="1189" y="1610"/>
                    </a:lnTo>
                    <a:lnTo>
                      <a:pt x="1186" y="1609"/>
                    </a:lnTo>
                    <a:lnTo>
                      <a:pt x="1184" y="1607"/>
                    </a:lnTo>
                    <a:lnTo>
                      <a:pt x="1182" y="1603"/>
                    </a:lnTo>
                    <a:lnTo>
                      <a:pt x="1182" y="1595"/>
                    </a:lnTo>
                    <a:lnTo>
                      <a:pt x="1180" y="1591"/>
                    </a:lnTo>
                    <a:lnTo>
                      <a:pt x="1180" y="1591"/>
                    </a:lnTo>
                    <a:lnTo>
                      <a:pt x="1176" y="1587"/>
                    </a:lnTo>
                    <a:lnTo>
                      <a:pt x="1172" y="1583"/>
                    </a:lnTo>
                    <a:lnTo>
                      <a:pt x="1168" y="1577"/>
                    </a:lnTo>
                    <a:lnTo>
                      <a:pt x="1166" y="1575"/>
                    </a:lnTo>
                    <a:lnTo>
                      <a:pt x="1166" y="1575"/>
                    </a:lnTo>
                    <a:lnTo>
                      <a:pt x="1164" y="1575"/>
                    </a:lnTo>
                    <a:lnTo>
                      <a:pt x="1162" y="1573"/>
                    </a:lnTo>
                    <a:lnTo>
                      <a:pt x="1152" y="1573"/>
                    </a:lnTo>
                    <a:lnTo>
                      <a:pt x="1152" y="1573"/>
                    </a:lnTo>
                    <a:lnTo>
                      <a:pt x="1152" y="1573"/>
                    </a:lnTo>
                    <a:lnTo>
                      <a:pt x="1152" y="1573"/>
                    </a:lnTo>
                    <a:lnTo>
                      <a:pt x="1147" y="1571"/>
                    </a:lnTo>
                    <a:lnTo>
                      <a:pt x="1145" y="1567"/>
                    </a:lnTo>
                    <a:lnTo>
                      <a:pt x="1145" y="1566"/>
                    </a:lnTo>
                    <a:lnTo>
                      <a:pt x="1145" y="1566"/>
                    </a:lnTo>
                    <a:lnTo>
                      <a:pt x="1145" y="1566"/>
                    </a:lnTo>
                    <a:lnTo>
                      <a:pt x="1143" y="1562"/>
                    </a:lnTo>
                    <a:lnTo>
                      <a:pt x="1137" y="1552"/>
                    </a:lnTo>
                    <a:lnTo>
                      <a:pt x="1127" y="1540"/>
                    </a:lnTo>
                    <a:lnTo>
                      <a:pt x="1125" y="1540"/>
                    </a:lnTo>
                    <a:lnTo>
                      <a:pt x="1125" y="1538"/>
                    </a:lnTo>
                    <a:lnTo>
                      <a:pt x="1125" y="1538"/>
                    </a:lnTo>
                    <a:lnTo>
                      <a:pt x="1125" y="1538"/>
                    </a:lnTo>
                    <a:lnTo>
                      <a:pt x="1121" y="1534"/>
                    </a:lnTo>
                    <a:lnTo>
                      <a:pt x="1119" y="1532"/>
                    </a:lnTo>
                    <a:lnTo>
                      <a:pt x="1119" y="1530"/>
                    </a:lnTo>
                    <a:lnTo>
                      <a:pt x="1119" y="1528"/>
                    </a:lnTo>
                    <a:lnTo>
                      <a:pt x="1119" y="1528"/>
                    </a:lnTo>
                    <a:lnTo>
                      <a:pt x="1117" y="1526"/>
                    </a:lnTo>
                    <a:lnTo>
                      <a:pt x="1117" y="1525"/>
                    </a:lnTo>
                    <a:lnTo>
                      <a:pt x="1115" y="1525"/>
                    </a:lnTo>
                    <a:lnTo>
                      <a:pt x="1109" y="1521"/>
                    </a:lnTo>
                    <a:lnTo>
                      <a:pt x="1109" y="1519"/>
                    </a:lnTo>
                    <a:lnTo>
                      <a:pt x="1109" y="1519"/>
                    </a:lnTo>
                    <a:lnTo>
                      <a:pt x="1107" y="1517"/>
                    </a:lnTo>
                    <a:lnTo>
                      <a:pt x="1104" y="1517"/>
                    </a:lnTo>
                    <a:lnTo>
                      <a:pt x="1098" y="1515"/>
                    </a:lnTo>
                    <a:lnTo>
                      <a:pt x="1098" y="1515"/>
                    </a:lnTo>
                    <a:lnTo>
                      <a:pt x="1096" y="1515"/>
                    </a:lnTo>
                    <a:lnTo>
                      <a:pt x="1096" y="1517"/>
                    </a:lnTo>
                    <a:lnTo>
                      <a:pt x="1096" y="1519"/>
                    </a:lnTo>
                    <a:lnTo>
                      <a:pt x="1094" y="1519"/>
                    </a:lnTo>
                    <a:lnTo>
                      <a:pt x="1092" y="1519"/>
                    </a:lnTo>
                    <a:lnTo>
                      <a:pt x="1084" y="1517"/>
                    </a:lnTo>
                    <a:lnTo>
                      <a:pt x="1080" y="1517"/>
                    </a:lnTo>
                    <a:lnTo>
                      <a:pt x="1078" y="1515"/>
                    </a:lnTo>
                    <a:lnTo>
                      <a:pt x="1078" y="1513"/>
                    </a:lnTo>
                    <a:lnTo>
                      <a:pt x="1074" y="1507"/>
                    </a:lnTo>
                    <a:lnTo>
                      <a:pt x="1072" y="1501"/>
                    </a:lnTo>
                    <a:lnTo>
                      <a:pt x="1070" y="1499"/>
                    </a:lnTo>
                    <a:lnTo>
                      <a:pt x="1068" y="1497"/>
                    </a:lnTo>
                    <a:lnTo>
                      <a:pt x="1066" y="1497"/>
                    </a:lnTo>
                    <a:lnTo>
                      <a:pt x="1061" y="1493"/>
                    </a:lnTo>
                    <a:lnTo>
                      <a:pt x="1057" y="1491"/>
                    </a:lnTo>
                    <a:lnTo>
                      <a:pt x="1057" y="1489"/>
                    </a:lnTo>
                    <a:lnTo>
                      <a:pt x="1055" y="1487"/>
                    </a:lnTo>
                    <a:lnTo>
                      <a:pt x="1055" y="1485"/>
                    </a:lnTo>
                    <a:lnTo>
                      <a:pt x="1055" y="1484"/>
                    </a:lnTo>
                    <a:lnTo>
                      <a:pt x="1055" y="1476"/>
                    </a:lnTo>
                    <a:lnTo>
                      <a:pt x="1055" y="1470"/>
                    </a:lnTo>
                    <a:lnTo>
                      <a:pt x="1053" y="1470"/>
                    </a:lnTo>
                    <a:lnTo>
                      <a:pt x="1053" y="1470"/>
                    </a:lnTo>
                    <a:lnTo>
                      <a:pt x="1051" y="1470"/>
                    </a:lnTo>
                    <a:lnTo>
                      <a:pt x="1049" y="1470"/>
                    </a:lnTo>
                    <a:lnTo>
                      <a:pt x="1049" y="1470"/>
                    </a:lnTo>
                    <a:lnTo>
                      <a:pt x="1049" y="1470"/>
                    </a:lnTo>
                    <a:lnTo>
                      <a:pt x="1049" y="1470"/>
                    </a:lnTo>
                    <a:lnTo>
                      <a:pt x="1047" y="1468"/>
                    </a:lnTo>
                    <a:lnTo>
                      <a:pt x="1047" y="1466"/>
                    </a:lnTo>
                    <a:lnTo>
                      <a:pt x="1047" y="1466"/>
                    </a:lnTo>
                    <a:lnTo>
                      <a:pt x="1045" y="1464"/>
                    </a:lnTo>
                    <a:lnTo>
                      <a:pt x="1045" y="1462"/>
                    </a:lnTo>
                    <a:lnTo>
                      <a:pt x="1045" y="1460"/>
                    </a:lnTo>
                    <a:lnTo>
                      <a:pt x="1043" y="1458"/>
                    </a:lnTo>
                    <a:lnTo>
                      <a:pt x="1043" y="1456"/>
                    </a:lnTo>
                    <a:lnTo>
                      <a:pt x="1043" y="1452"/>
                    </a:lnTo>
                    <a:lnTo>
                      <a:pt x="1043" y="1450"/>
                    </a:lnTo>
                    <a:lnTo>
                      <a:pt x="1041" y="1448"/>
                    </a:lnTo>
                    <a:lnTo>
                      <a:pt x="1039" y="1446"/>
                    </a:lnTo>
                    <a:lnTo>
                      <a:pt x="1037" y="1446"/>
                    </a:lnTo>
                    <a:lnTo>
                      <a:pt x="1035" y="1444"/>
                    </a:lnTo>
                    <a:lnTo>
                      <a:pt x="1035" y="1444"/>
                    </a:lnTo>
                    <a:lnTo>
                      <a:pt x="1035" y="1444"/>
                    </a:lnTo>
                    <a:lnTo>
                      <a:pt x="1033" y="1443"/>
                    </a:lnTo>
                    <a:lnTo>
                      <a:pt x="1033" y="1443"/>
                    </a:lnTo>
                    <a:lnTo>
                      <a:pt x="1035" y="1441"/>
                    </a:lnTo>
                    <a:lnTo>
                      <a:pt x="1035" y="1441"/>
                    </a:lnTo>
                    <a:lnTo>
                      <a:pt x="1033" y="1439"/>
                    </a:lnTo>
                    <a:lnTo>
                      <a:pt x="1033" y="1439"/>
                    </a:lnTo>
                    <a:lnTo>
                      <a:pt x="1033" y="1439"/>
                    </a:lnTo>
                    <a:lnTo>
                      <a:pt x="1033" y="1439"/>
                    </a:lnTo>
                    <a:lnTo>
                      <a:pt x="1035" y="1435"/>
                    </a:lnTo>
                    <a:lnTo>
                      <a:pt x="1035" y="1433"/>
                    </a:lnTo>
                    <a:lnTo>
                      <a:pt x="1033" y="1429"/>
                    </a:lnTo>
                    <a:lnTo>
                      <a:pt x="1033" y="1429"/>
                    </a:lnTo>
                    <a:lnTo>
                      <a:pt x="1031" y="1429"/>
                    </a:lnTo>
                    <a:lnTo>
                      <a:pt x="1025" y="1425"/>
                    </a:lnTo>
                    <a:lnTo>
                      <a:pt x="1023" y="1425"/>
                    </a:lnTo>
                    <a:lnTo>
                      <a:pt x="1023" y="1423"/>
                    </a:lnTo>
                    <a:lnTo>
                      <a:pt x="1021" y="1423"/>
                    </a:lnTo>
                    <a:lnTo>
                      <a:pt x="1020" y="1421"/>
                    </a:lnTo>
                    <a:lnTo>
                      <a:pt x="1018" y="1419"/>
                    </a:lnTo>
                    <a:lnTo>
                      <a:pt x="1018" y="1417"/>
                    </a:lnTo>
                    <a:lnTo>
                      <a:pt x="1016" y="1415"/>
                    </a:lnTo>
                    <a:lnTo>
                      <a:pt x="1016" y="1413"/>
                    </a:lnTo>
                    <a:lnTo>
                      <a:pt x="1014" y="1411"/>
                    </a:lnTo>
                    <a:lnTo>
                      <a:pt x="1016" y="1407"/>
                    </a:lnTo>
                    <a:lnTo>
                      <a:pt x="1021" y="1405"/>
                    </a:lnTo>
                    <a:lnTo>
                      <a:pt x="1023" y="1403"/>
                    </a:lnTo>
                    <a:lnTo>
                      <a:pt x="1025" y="1402"/>
                    </a:lnTo>
                    <a:lnTo>
                      <a:pt x="1025" y="1398"/>
                    </a:lnTo>
                    <a:lnTo>
                      <a:pt x="1025" y="1398"/>
                    </a:lnTo>
                    <a:lnTo>
                      <a:pt x="1025" y="1392"/>
                    </a:lnTo>
                    <a:lnTo>
                      <a:pt x="1027" y="1388"/>
                    </a:lnTo>
                    <a:lnTo>
                      <a:pt x="1027" y="1388"/>
                    </a:lnTo>
                    <a:lnTo>
                      <a:pt x="1027" y="1388"/>
                    </a:lnTo>
                    <a:lnTo>
                      <a:pt x="1029" y="1388"/>
                    </a:lnTo>
                    <a:lnTo>
                      <a:pt x="1031" y="1388"/>
                    </a:lnTo>
                    <a:lnTo>
                      <a:pt x="1031" y="1386"/>
                    </a:lnTo>
                    <a:lnTo>
                      <a:pt x="1031" y="1384"/>
                    </a:lnTo>
                    <a:lnTo>
                      <a:pt x="1031" y="1384"/>
                    </a:lnTo>
                    <a:lnTo>
                      <a:pt x="1031" y="1384"/>
                    </a:lnTo>
                    <a:lnTo>
                      <a:pt x="1031" y="1384"/>
                    </a:lnTo>
                    <a:lnTo>
                      <a:pt x="1035" y="1378"/>
                    </a:lnTo>
                    <a:lnTo>
                      <a:pt x="1037" y="1374"/>
                    </a:lnTo>
                    <a:lnTo>
                      <a:pt x="1037" y="1370"/>
                    </a:lnTo>
                    <a:lnTo>
                      <a:pt x="1037" y="1368"/>
                    </a:lnTo>
                    <a:lnTo>
                      <a:pt x="1037" y="1366"/>
                    </a:lnTo>
                    <a:lnTo>
                      <a:pt x="1033" y="1366"/>
                    </a:lnTo>
                    <a:lnTo>
                      <a:pt x="1027" y="1362"/>
                    </a:lnTo>
                    <a:lnTo>
                      <a:pt x="1027" y="1362"/>
                    </a:lnTo>
                    <a:lnTo>
                      <a:pt x="1027" y="1362"/>
                    </a:lnTo>
                    <a:lnTo>
                      <a:pt x="1027" y="1359"/>
                    </a:lnTo>
                    <a:lnTo>
                      <a:pt x="1029" y="1355"/>
                    </a:lnTo>
                    <a:lnTo>
                      <a:pt x="1027" y="1353"/>
                    </a:lnTo>
                    <a:lnTo>
                      <a:pt x="1025" y="1349"/>
                    </a:lnTo>
                    <a:lnTo>
                      <a:pt x="1025" y="1349"/>
                    </a:lnTo>
                    <a:lnTo>
                      <a:pt x="1023" y="1349"/>
                    </a:lnTo>
                    <a:lnTo>
                      <a:pt x="1020" y="1349"/>
                    </a:lnTo>
                    <a:lnTo>
                      <a:pt x="1018" y="1347"/>
                    </a:lnTo>
                    <a:lnTo>
                      <a:pt x="1018" y="1347"/>
                    </a:lnTo>
                    <a:lnTo>
                      <a:pt x="1016" y="1347"/>
                    </a:lnTo>
                    <a:lnTo>
                      <a:pt x="990" y="1333"/>
                    </a:lnTo>
                    <a:lnTo>
                      <a:pt x="990" y="1331"/>
                    </a:lnTo>
                    <a:lnTo>
                      <a:pt x="990" y="1329"/>
                    </a:lnTo>
                    <a:lnTo>
                      <a:pt x="990" y="1327"/>
                    </a:lnTo>
                    <a:lnTo>
                      <a:pt x="990" y="1325"/>
                    </a:lnTo>
                    <a:lnTo>
                      <a:pt x="990" y="1325"/>
                    </a:lnTo>
                    <a:lnTo>
                      <a:pt x="988" y="1323"/>
                    </a:lnTo>
                    <a:lnTo>
                      <a:pt x="988" y="1321"/>
                    </a:lnTo>
                    <a:lnTo>
                      <a:pt x="986" y="1321"/>
                    </a:lnTo>
                    <a:lnTo>
                      <a:pt x="984" y="1320"/>
                    </a:lnTo>
                    <a:lnTo>
                      <a:pt x="982" y="1318"/>
                    </a:lnTo>
                    <a:lnTo>
                      <a:pt x="980" y="1318"/>
                    </a:lnTo>
                    <a:lnTo>
                      <a:pt x="980" y="1314"/>
                    </a:lnTo>
                    <a:lnTo>
                      <a:pt x="980" y="1314"/>
                    </a:lnTo>
                    <a:lnTo>
                      <a:pt x="980" y="1312"/>
                    </a:lnTo>
                    <a:lnTo>
                      <a:pt x="980" y="1310"/>
                    </a:lnTo>
                    <a:lnTo>
                      <a:pt x="980" y="1304"/>
                    </a:lnTo>
                    <a:lnTo>
                      <a:pt x="980" y="1304"/>
                    </a:lnTo>
                    <a:lnTo>
                      <a:pt x="980" y="1300"/>
                    </a:lnTo>
                    <a:lnTo>
                      <a:pt x="978" y="1296"/>
                    </a:lnTo>
                    <a:lnTo>
                      <a:pt x="977" y="1294"/>
                    </a:lnTo>
                    <a:lnTo>
                      <a:pt x="977" y="1294"/>
                    </a:lnTo>
                    <a:lnTo>
                      <a:pt x="973" y="1288"/>
                    </a:lnTo>
                    <a:lnTo>
                      <a:pt x="967" y="1284"/>
                    </a:lnTo>
                    <a:lnTo>
                      <a:pt x="965" y="1284"/>
                    </a:lnTo>
                    <a:lnTo>
                      <a:pt x="963" y="1280"/>
                    </a:lnTo>
                    <a:lnTo>
                      <a:pt x="965" y="1279"/>
                    </a:lnTo>
                    <a:lnTo>
                      <a:pt x="965" y="1279"/>
                    </a:lnTo>
                    <a:lnTo>
                      <a:pt x="965" y="1279"/>
                    </a:lnTo>
                    <a:lnTo>
                      <a:pt x="965" y="1279"/>
                    </a:lnTo>
                    <a:lnTo>
                      <a:pt x="967" y="1277"/>
                    </a:lnTo>
                    <a:lnTo>
                      <a:pt x="969" y="1275"/>
                    </a:lnTo>
                    <a:lnTo>
                      <a:pt x="969" y="1275"/>
                    </a:lnTo>
                    <a:lnTo>
                      <a:pt x="969" y="1273"/>
                    </a:lnTo>
                    <a:lnTo>
                      <a:pt x="969" y="1269"/>
                    </a:lnTo>
                    <a:lnTo>
                      <a:pt x="967" y="1267"/>
                    </a:lnTo>
                    <a:lnTo>
                      <a:pt x="965" y="1263"/>
                    </a:lnTo>
                    <a:lnTo>
                      <a:pt x="963" y="1263"/>
                    </a:lnTo>
                    <a:lnTo>
                      <a:pt x="967" y="1263"/>
                    </a:lnTo>
                    <a:lnTo>
                      <a:pt x="975" y="1263"/>
                    </a:lnTo>
                    <a:lnTo>
                      <a:pt x="975" y="1263"/>
                    </a:lnTo>
                    <a:lnTo>
                      <a:pt x="975" y="1263"/>
                    </a:lnTo>
                    <a:lnTo>
                      <a:pt x="975" y="1263"/>
                    </a:lnTo>
                    <a:lnTo>
                      <a:pt x="978" y="1265"/>
                    </a:lnTo>
                    <a:lnTo>
                      <a:pt x="978" y="1267"/>
                    </a:lnTo>
                    <a:lnTo>
                      <a:pt x="978" y="1273"/>
                    </a:lnTo>
                    <a:lnTo>
                      <a:pt x="980" y="1275"/>
                    </a:lnTo>
                    <a:lnTo>
                      <a:pt x="980" y="1275"/>
                    </a:lnTo>
                    <a:lnTo>
                      <a:pt x="982" y="1277"/>
                    </a:lnTo>
                    <a:lnTo>
                      <a:pt x="982" y="1277"/>
                    </a:lnTo>
                    <a:lnTo>
                      <a:pt x="984" y="1277"/>
                    </a:lnTo>
                    <a:lnTo>
                      <a:pt x="986" y="1277"/>
                    </a:lnTo>
                    <a:lnTo>
                      <a:pt x="988" y="1277"/>
                    </a:lnTo>
                    <a:lnTo>
                      <a:pt x="988" y="1277"/>
                    </a:lnTo>
                    <a:lnTo>
                      <a:pt x="988" y="1277"/>
                    </a:lnTo>
                    <a:lnTo>
                      <a:pt x="990" y="1277"/>
                    </a:lnTo>
                    <a:lnTo>
                      <a:pt x="990" y="1279"/>
                    </a:lnTo>
                    <a:lnTo>
                      <a:pt x="990" y="1279"/>
                    </a:lnTo>
                    <a:lnTo>
                      <a:pt x="990" y="1279"/>
                    </a:lnTo>
                    <a:lnTo>
                      <a:pt x="990" y="1280"/>
                    </a:lnTo>
                    <a:lnTo>
                      <a:pt x="990" y="1280"/>
                    </a:lnTo>
                    <a:lnTo>
                      <a:pt x="990" y="1280"/>
                    </a:lnTo>
                    <a:lnTo>
                      <a:pt x="988" y="1280"/>
                    </a:lnTo>
                    <a:lnTo>
                      <a:pt x="988" y="1280"/>
                    </a:lnTo>
                    <a:lnTo>
                      <a:pt x="988" y="1280"/>
                    </a:lnTo>
                    <a:lnTo>
                      <a:pt x="988" y="1282"/>
                    </a:lnTo>
                    <a:lnTo>
                      <a:pt x="988" y="1282"/>
                    </a:lnTo>
                    <a:lnTo>
                      <a:pt x="988" y="1282"/>
                    </a:lnTo>
                    <a:lnTo>
                      <a:pt x="988" y="1282"/>
                    </a:lnTo>
                    <a:lnTo>
                      <a:pt x="988" y="1282"/>
                    </a:lnTo>
                    <a:lnTo>
                      <a:pt x="988" y="1284"/>
                    </a:lnTo>
                    <a:lnTo>
                      <a:pt x="992" y="1286"/>
                    </a:lnTo>
                    <a:lnTo>
                      <a:pt x="992" y="1288"/>
                    </a:lnTo>
                    <a:lnTo>
                      <a:pt x="992" y="1288"/>
                    </a:lnTo>
                    <a:lnTo>
                      <a:pt x="994" y="1290"/>
                    </a:lnTo>
                    <a:lnTo>
                      <a:pt x="994" y="1290"/>
                    </a:lnTo>
                    <a:lnTo>
                      <a:pt x="994" y="1292"/>
                    </a:lnTo>
                    <a:lnTo>
                      <a:pt x="996" y="1300"/>
                    </a:lnTo>
                    <a:lnTo>
                      <a:pt x="996" y="1300"/>
                    </a:lnTo>
                    <a:lnTo>
                      <a:pt x="998" y="1302"/>
                    </a:lnTo>
                    <a:lnTo>
                      <a:pt x="1000" y="1302"/>
                    </a:lnTo>
                    <a:lnTo>
                      <a:pt x="1000" y="1302"/>
                    </a:lnTo>
                    <a:lnTo>
                      <a:pt x="1002" y="1300"/>
                    </a:lnTo>
                    <a:lnTo>
                      <a:pt x="1002" y="1298"/>
                    </a:lnTo>
                    <a:lnTo>
                      <a:pt x="1002" y="1296"/>
                    </a:lnTo>
                    <a:lnTo>
                      <a:pt x="1002" y="1292"/>
                    </a:lnTo>
                    <a:lnTo>
                      <a:pt x="1002" y="1288"/>
                    </a:lnTo>
                    <a:lnTo>
                      <a:pt x="1002" y="1284"/>
                    </a:lnTo>
                    <a:lnTo>
                      <a:pt x="1006" y="1280"/>
                    </a:lnTo>
                    <a:lnTo>
                      <a:pt x="1006" y="1277"/>
                    </a:lnTo>
                    <a:lnTo>
                      <a:pt x="1006" y="1277"/>
                    </a:lnTo>
                    <a:lnTo>
                      <a:pt x="1006" y="1277"/>
                    </a:lnTo>
                    <a:lnTo>
                      <a:pt x="1008" y="1275"/>
                    </a:lnTo>
                    <a:lnTo>
                      <a:pt x="1008" y="1275"/>
                    </a:lnTo>
                    <a:lnTo>
                      <a:pt x="1008" y="1275"/>
                    </a:lnTo>
                    <a:lnTo>
                      <a:pt x="1010" y="1273"/>
                    </a:lnTo>
                    <a:lnTo>
                      <a:pt x="1012" y="1271"/>
                    </a:lnTo>
                    <a:lnTo>
                      <a:pt x="1012" y="1269"/>
                    </a:lnTo>
                    <a:lnTo>
                      <a:pt x="1016" y="1263"/>
                    </a:lnTo>
                    <a:lnTo>
                      <a:pt x="1018" y="1261"/>
                    </a:lnTo>
                    <a:lnTo>
                      <a:pt x="1023" y="1257"/>
                    </a:lnTo>
                    <a:lnTo>
                      <a:pt x="1025" y="1255"/>
                    </a:lnTo>
                    <a:lnTo>
                      <a:pt x="1025" y="1255"/>
                    </a:lnTo>
                    <a:lnTo>
                      <a:pt x="1025" y="1255"/>
                    </a:lnTo>
                    <a:lnTo>
                      <a:pt x="1025" y="1255"/>
                    </a:lnTo>
                    <a:lnTo>
                      <a:pt x="1027" y="1255"/>
                    </a:lnTo>
                    <a:lnTo>
                      <a:pt x="1027" y="1255"/>
                    </a:lnTo>
                    <a:lnTo>
                      <a:pt x="1027" y="1255"/>
                    </a:lnTo>
                    <a:lnTo>
                      <a:pt x="1027" y="1255"/>
                    </a:lnTo>
                    <a:lnTo>
                      <a:pt x="1029" y="1253"/>
                    </a:lnTo>
                    <a:lnTo>
                      <a:pt x="1029" y="1253"/>
                    </a:lnTo>
                    <a:lnTo>
                      <a:pt x="1027" y="1253"/>
                    </a:lnTo>
                    <a:lnTo>
                      <a:pt x="1027" y="1251"/>
                    </a:lnTo>
                    <a:lnTo>
                      <a:pt x="1027" y="1251"/>
                    </a:lnTo>
                    <a:lnTo>
                      <a:pt x="1029" y="1251"/>
                    </a:lnTo>
                    <a:lnTo>
                      <a:pt x="1029" y="1249"/>
                    </a:lnTo>
                    <a:lnTo>
                      <a:pt x="1029" y="1249"/>
                    </a:lnTo>
                    <a:lnTo>
                      <a:pt x="1029" y="1249"/>
                    </a:lnTo>
                    <a:lnTo>
                      <a:pt x="1029" y="1247"/>
                    </a:lnTo>
                    <a:lnTo>
                      <a:pt x="1031" y="1247"/>
                    </a:lnTo>
                    <a:lnTo>
                      <a:pt x="1031" y="1247"/>
                    </a:lnTo>
                    <a:lnTo>
                      <a:pt x="1035" y="1243"/>
                    </a:lnTo>
                    <a:lnTo>
                      <a:pt x="1035" y="1243"/>
                    </a:lnTo>
                    <a:lnTo>
                      <a:pt x="1035" y="1243"/>
                    </a:lnTo>
                    <a:lnTo>
                      <a:pt x="1041" y="1241"/>
                    </a:lnTo>
                    <a:lnTo>
                      <a:pt x="1051" y="1239"/>
                    </a:lnTo>
                    <a:lnTo>
                      <a:pt x="1055" y="1239"/>
                    </a:lnTo>
                    <a:lnTo>
                      <a:pt x="1061" y="1241"/>
                    </a:lnTo>
                    <a:lnTo>
                      <a:pt x="1064" y="1241"/>
                    </a:lnTo>
                    <a:lnTo>
                      <a:pt x="1066" y="1241"/>
                    </a:lnTo>
                    <a:lnTo>
                      <a:pt x="1068" y="1239"/>
                    </a:lnTo>
                    <a:lnTo>
                      <a:pt x="1070" y="1234"/>
                    </a:lnTo>
                    <a:lnTo>
                      <a:pt x="1074" y="1232"/>
                    </a:lnTo>
                    <a:lnTo>
                      <a:pt x="1076" y="1232"/>
                    </a:lnTo>
                    <a:lnTo>
                      <a:pt x="1076" y="1230"/>
                    </a:lnTo>
                    <a:lnTo>
                      <a:pt x="1078" y="1230"/>
                    </a:lnTo>
                    <a:lnTo>
                      <a:pt x="1082" y="1232"/>
                    </a:lnTo>
                    <a:lnTo>
                      <a:pt x="1082" y="1230"/>
                    </a:lnTo>
                    <a:lnTo>
                      <a:pt x="1086" y="1230"/>
                    </a:lnTo>
                    <a:lnTo>
                      <a:pt x="1086" y="1230"/>
                    </a:lnTo>
                    <a:lnTo>
                      <a:pt x="1086" y="1228"/>
                    </a:lnTo>
                    <a:lnTo>
                      <a:pt x="1088" y="1228"/>
                    </a:lnTo>
                    <a:lnTo>
                      <a:pt x="1088" y="1230"/>
                    </a:lnTo>
                    <a:lnTo>
                      <a:pt x="1104" y="1238"/>
                    </a:lnTo>
                    <a:lnTo>
                      <a:pt x="1109" y="1239"/>
                    </a:lnTo>
                    <a:lnTo>
                      <a:pt x="1111" y="1238"/>
                    </a:lnTo>
                    <a:lnTo>
                      <a:pt x="1115" y="1234"/>
                    </a:lnTo>
                    <a:lnTo>
                      <a:pt x="1117" y="1232"/>
                    </a:lnTo>
                    <a:lnTo>
                      <a:pt x="1117" y="1226"/>
                    </a:lnTo>
                    <a:lnTo>
                      <a:pt x="1119" y="1216"/>
                    </a:lnTo>
                    <a:lnTo>
                      <a:pt x="1121" y="1214"/>
                    </a:lnTo>
                    <a:lnTo>
                      <a:pt x="1121" y="1214"/>
                    </a:lnTo>
                    <a:lnTo>
                      <a:pt x="1121" y="1214"/>
                    </a:lnTo>
                    <a:lnTo>
                      <a:pt x="1123" y="1214"/>
                    </a:lnTo>
                    <a:lnTo>
                      <a:pt x="1123" y="1214"/>
                    </a:lnTo>
                    <a:lnTo>
                      <a:pt x="1123" y="1214"/>
                    </a:lnTo>
                    <a:lnTo>
                      <a:pt x="1123" y="1214"/>
                    </a:lnTo>
                    <a:lnTo>
                      <a:pt x="1125" y="1216"/>
                    </a:lnTo>
                    <a:lnTo>
                      <a:pt x="1125" y="1216"/>
                    </a:lnTo>
                    <a:lnTo>
                      <a:pt x="1127" y="1216"/>
                    </a:lnTo>
                    <a:lnTo>
                      <a:pt x="1127" y="1216"/>
                    </a:lnTo>
                    <a:lnTo>
                      <a:pt x="1129" y="1216"/>
                    </a:lnTo>
                    <a:lnTo>
                      <a:pt x="1129" y="1216"/>
                    </a:lnTo>
                    <a:lnTo>
                      <a:pt x="1131" y="1216"/>
                    </a:lnTo>
                    <a:lnTo>
                      <a:pt x="1131" y="1216"/>
                    </a:lnTo>
                    <a:lnTo>
                      <a:pt x="1131" y="1216"/>
                    </a:lnTo>
                    <a:lnTo>
                      <a:pt x="1131" y="1216"/>
                    </a:lnTo>
                    <a:lnTo>
                      <a:pt x="1131" y="1216"/>
                    </a:lnTo>
                    <a:lnTo>
                      <a:pt x="1131" y="1216"/>
                    </a:lnTo>
                    <a:lnTo>
                      <a:pt x="1135" y="1214"/>
                    </a:lnTo>
                    <a:lnTo>
                      <a:pt x="1141" y="1214"/>
                    </a:lnTo>
                    <a:lnTo>
                      <a:pt x="1145" y="1214"/>
                    </a:lnTo>
                    <a:lnTo>
                      <a:pt x="1145" y="1214"/>
                    </a:lnTo>
                    <a:lnTo>
                      <a:pt x="1148" y="1212"/>
                    </a:lnTo>
                    <a:lnTo>
                      <a:pt x="1150" y="1206"/>
                    </a:lnTo>
                    <a:lnTo>
                      <a:pt x="1156" y="1193"/>
                    </a:lnTo>
                    <a:lnTo>
                      <a:pt x="1156" y="1193"/>
                    </a:lnTo>
                    <a:lnTo>
                      <a:pt x="1156" y="1193"/>
                    </a:lnTo>
                    <a:lnTo>
                      <a:pt x="1158" y="1193"/>
                    </a:lnTo>
                    <a:lnTo>
                      <a:pt x="1160" y="1193"/>
                    </a:lnTo>
                    <a:lnTo>
                      <a:pt x="1162" y="1195"/>
                    </a:lnTo>
                    <a:lnTo>
                      <a:pt x="1164" y="1197"/>
                    </a:lnTo>
                    <a:lnTo>
                      <a:pt x="1168" y="1195"/>
                    </a:lnTo>
                    <a:lnTo>
                      <a:pt x="1170" y="1189"/>
                    </a:lnTo>
                    <a:lnTo>
                      <a:pt x="1172" y="1187"/>
                    </a:lnTo>
                    <a:lnTo>
                      <a:pt x="1176" y="1185"/>
                    </a:lnTo>
                    <a:lnTo>
                      <a:pt x="1178" y="1183"/>
                    </a:lnTo>
                    <a:lnTo>
                      <a:pt x="1178" y="1181"/>
                    </a:lnTo>
                    <a:lnTo>
                      <a:pt x="1178" y="1181"/>
                    </a:lnTo>
                    <a:lnTo>
                      <a:pt x="1178" y="1181"/>
                    </a:lnTo>
                    <a:lnTo>
                      <a:pt x="1178" y="1181"/>
                    </a:lnTo>
                    <a:lnTo>
                      <a:pt x="1178" y="1181"/>
                    </a:lnTo>
                    <a:lnTo>
                      <a:pt x="1178" y="1181"/>
                    </a:lnTo>
                    <a:lnTo>
                      <a:pt x="1180" y="1181"/>
                    </a:lnTo>
                    <a:lnTo>
                      <a:pt x="1180" y="1181"/>
                    </a:lnTo>
                    <a:lnTo>
                      <a:pt x="1182" y="1181"/>
                    </a:lnTo>
                    <a:lnTo>
                      <a:pt x="1182" y="1181"/>
                    </a:lnTo>
                    <a:lnTo>
                      <a:pt x="1184" y="1185"/>
                    </a:lnTo>
                    <a:lnTo>
                      <a:pt x="1184" y="1185"/>
                    </a:lnTo>
                    <a:lnTo>
                      <a:pt x="1186" y="1187"/>
                    </a:lnTo>
                    <a:lnTo>
                      <a:pt x="1189" y="1189"/>
                    </a:lnTo>
                    <a:lnTo>
                      <a:pt x="1191" y="1189"/>
                    </a:lnTo>
                    <a:lnTo>
                      <a:pt x="1193" y="1187"/>
                    </a:lnTo>
                    <a:lnTo>
                      <a:pt x="1195" y="1185"/>
                    </a:lnTo>
                    <a:lnTo>
                      <a:pt x="1195" y="1185"/>
                    </a:lnTo>
                    <a:lnTo>
                      <a:pt x="1197" y="1183"/>
                    </a:lnTo>
                    <a:lnTo>
                      <a:pt x="1197" y="1181"/>
                    </a:lnTo>
                    <a:lnTo>
                      <a:pt x="1199" y="1181"/>
                    </a:lnTo>
                    <a:lnTo>
                      <a:pt x="1201" y="1181"/>
                    </a:lnTo>
                    <a:lnTo>
                      <a:pt x="1201" y="1179"/>
                    </a:lnTo>
                    <a:lnTo>
                      <a:pt x="1201" y="1179"/>
                    </a:lnTo>
                    <a:lnTo>
                      <a:pt x="1199" y="1177"/>
                    </a:lnTo>
                    <a:lnTo>
                      <a:pt x="1199" y="1175"/>
                    </a:lnTo>
                    <a:lnTo>
                      <a:pt x="1199" y="1175"/>
                    </a:lnTo>
                    <a:lnTo>
                      <a:pt x="1201" y="1175"/>
                    </a:lnTo>
                    <a:lnTo>
                      <a:pt x="1203" y="1173"/>
                    </a:lnTo>
                    <a:lnTo>
                      <a:pt x="1205" y="1171"/>
                    </a:lnTo>
                    <a:lnTo>
                      <a:pt x="1205" y="1171"/>
                    </a:lnTo>
                    <a:lnTo>
                      <a:pt x="1205" y="1169"/>
                    </a:lnTo>
                    <a:lnTo>
                      <a:pt x="1205" y="1167"/>
                    </a:lnTo>
                    <a:lnTo>
                      <a:pt x="1203" y="1163"/>
                    </a:lnTo>
                    <a:lnTo>
                      <a:pt x="1203" y="1163"/>
                    </a:lnTo>
                    <a:lnTo>
                      <a:pt x="1203" y="1163"/>
                    </a:lnTo>
                    <a:lnTo>
                      <a:pt x="1207" y="1161"/>
                    </a:lnTo>
                    <a:lnTo>
                      <a:pt x="1211" y="1159"/>
                    </a:lnTo>
                    <a:lnTo>
                      <a:pt x="1215" y="1157"/>
                    </a:lnTo>
                    <a:lnTo>
                      <a:pt x="1219" y="1157"/>
                    </a:lnTo>
                    <a:lnTo>
                      <a:pt x="1223" y="1157"/>
                    </a:lnTo>
                    <a:lnTo>
                      <a:pt x="1232" y="1157"/>
                    </a:lnTo>
                    <a:lnTo>
                      <a:pt x="1234" y="1157"/>
                    </a:lnTo>
                    <a:lnTo>
                      <a:pt x="1236" y="1157"/>
                    </a:lnTo>
                    <a:lnTo>
                      <a:pt x="1242" y="1156"/>
                    </a:lnTo>
                    <a:lnTo>
                      <a:pt x="1246" y="1156"/>
                    </a:lnTo>
                    <a:lnTo>
                      <a:pt x="1254" y="1156"/>
                    </a:lnTo>
                    <a:lnTo>
                      <a:pt x="1254" y="1156"/>
                    </a:lnTo>
                    <a:lnTo>
                      <a:pt x="1256" y="1156"/>
                    </a:lnTo>
                    <a:lnTo>
                      <a:pt x="1262" y="1152"/>
                    </a:lnTo>
                    <a:lnTo>
                      <a:pt x="1262" y="1152"/>
                    </a:lnTo>
                    <a:lnTo>
                      <a:pt x="1262" y="1152"/>
                    </a:lnTo>
                    <a:lnTo>
                      <a:pt x="1264" y="1152"/>
                    </a:lnTo>
                    <a:lnTo>
                      <a:pt x="1264" y="1152"/>
                    </a:lnTo>
                    <a:lnTo>
                      <a:pt x="1266" y="1150"/>
                    </a:lnTo>
                    <a:lnTo>
                      <a:pt x="1266" y="1150"/>
                    </a:lnTo>
                    <a:lnTo>
                      <a:pt x="1266" y="1148"/>
                    </a:lnTo>
                    <a:lnTo>
                      <a:pt x="1264" y="1146"/>
                    </a:lnTo>
                    <a:lnTo>
                      <a:pt x="1264" y="1144"/>
                    </a:lnTo>
                    <a:lnTo>
                      <a:pt x="1266" y="1142"/>
                    </a:lnTo>
                    <a:lnTo>
                      <a:pt x="1266" y="1140"/>
                    </a:lnTo>
                    <a:lnTo>
                      <a:pt x="1266" y="1140"/>
                    </a:lnTo>
                    <a:lnTo>
                      <a:pt x="1268" y="1140"/>
                    </a:lnTo>
                    <a:lnTo>
                      <a:pt x="1270" y="1140"/>
                    </a:lnTo>
                    <a:lnTo>
                      <a:pt x="1270" y="1140"/>
                    </a:lnTo>
                    <a:lnTo>
                      <a:pt x="1272" y="1140"/>
                    </a:lnTo>
                    <a:lnTo>
                      <a:pt x="1272" y="1140"/>
                    </a:lnTo>
                    <a:lnTo>
                      <a:pt x="1273" y="1138"/>
                    </a:lnTo>
                    <a:lnTo>
                      <a:pt x="1275" y="1136"/>
                    </a:lnTo>
                    <a:lnTo>
                      <a:pt x="1277" y="1134"/>
                    </a:lnTo>
                    <a:lnTo>
                      <a:pt x="1281" y="1134"/>
                    </a:lnTo>
                    <a:lnTo>
                      <a:pt x="1281" y="1134"/>
                    </a:lnTo>
                    <a:lnTo>
                      <a:pt x="1287" y="1134"/>
                    </a:lnTo>
                    <a:lnTo>
                      <a:pt x="1291" y="1134"/>
                    </a:lnTo>
                    <a:lnTo>
                      <a:pt x="1299" y="1130"/>
                    </a:lnTo>
                    <a:lnTo>
                      <a:pt x="1316" y="1122"/>
                    </a:lnTo>
                    <a:lnTo>
                      <a:pt x="1318" y="1120"/>
                    </a:lnTo>
                    <a:lnTo>
                      <a:pt x="1322" y="1116"/>
                    </a:lnTo>
                    <a:lnTo>
                      <a:pt x="1322" y="1116"/>
                    </a:lnTo>
                    <a:lnTo>
                      <a:pt x="1324" y="1115"/>
                    </a:lnTo>
                    <a:lnTo>
                      <a:pt x="1324" y="1115"/>
                    </a:lnTo>
                    <a:lnTo>
                      <a:pt x="1330" y="1113"/>
                    </a:lnTo>
                    <a:lnTo>
                      <a:pt x="1332" y="1113"/>
                    </a:lnTo>
                    <a:lnTo>
                      <a:pt x="1342" y="1115"/>
                    </a:lnTo>
                    <a:lnTo>
                      <a:pt x="1348" y="1109"/>
                    </a:lnTo>
                    <a:lnTo>
                      <a:pt x="1348" y="1103"/>
                    </a:lnTo>
                    <a:lnTo>
                      <a:pt x="1344" y="1101"/>
                    </a:lnTo>
                    <a:lnTo>
                      <a:pt x="1338" y="1099"/>
                    </a:lnTo>
                    <a:lnTo>
                      <a:pt x="1338" y="1099"/>
                    </a:lnTo>
                    <a:lnTo>
                      <a:pt x="1338" y="1099"/>
                    </a:lnTo>
                    <a:lnTo>
                      <a:pt x="1334" y="1095"/>
                    </a:lnTo>
                    <a:lnTo>
                      <a:pt x="1334" y="1095"/>
                    </a:lnTo>
                    <a:lnTo>
                      <a:pt x="1334" y="1091"/>
                    </a:lnTo>
                    <a:lnTo>
                      <a:pt x="1336" y="1091"/>
                    </a:lnTo>
                    <a:lnTo>
                      <a:pt x="1336" y="1091"/>
                    </a:lnTo>
                    <a:lnTo>
                      <a:pt x="1336" y="1089"/>
                    </a:lnTo>
                    <a:lnTo>
                      <a:pt x="1334" y="1089"/>
                    </a:lnTo>
                    <a:lnTo>
                      <a:pt x="1332" y="1089"/>
                    </a:lnTo>
                    <a:lnTo>
                      <a:pt x="1326" y="1087"/>
                    </a:lnTo>
                    <a:lnTo>
                      <a:pt x="1324" y="1087"/>
                    </a:lnTo>
                    <a:lnTo>
                      <a:pt x="1324" y="1087"/>
                    </a:lnTo>
                    <a:lnTo>
                      <a:pt x="1326" y="1083"/>
                    </a:lnTo>
                    <a:lnTo>
                      <a:pt x="1328" y="1075"/>
                    </a:lnTo>
                    <a:lnTo>
                      <a:pt x="1330" y="1074"/>
                    </a:lnTo>
                    <a:lnTo>
                      <a:pt x="1332" y="1072"/>
                    </a:lnTo>
                    <a:lnTo>
                      <a:pt x="1332" y="1072"/>
                    </a:lnTo>
                    <a:lnTo>
                      <a:pt x="1332" y="1072"/>
                    </a:lnTo>
                    <a:lnTo>
                      <a:pt x="1334" y="1072"/>
                    </a:lnTo>
                    <a:lnTo>
                      <a:pt x="1338" y="1072"/>
                    </a:lnTo>
                    <a:lnTo>
                      <a:pt x="1344" y="1074"/>
                    </a:lnTo>
                    <a:lnTo>
                      <a:pt x="1346" y="1074"/>
                    </a:lnTo>
                    <a:lnTo>
                      <a:pt x="1346" y="1075"/>
                    </a:lnTo>
                    <a:lnTo>
                      <a:pt x="1348" y="1077"/>
                    </a:lnTo>
                    <a:lnTo>
                      <a:pt x="1348" y="1077"/>
                    </a:lnTo>
                    <a:lnTo>
                      <a:pt x="1350" y="1077"/>
                    </a:lnTo>
                    <a:lnTo>
                      <a:pt x="1352" y="1077"/>
                    </a:lnTo>
                    <a:lnTo>
                      <a:pt x="1356" y="1075"/>
                    </a:lnTo>
                    <a:lnTo>
                      <a:pt x="1361" y="1077"/>
                    </a:lnTo>
                    <a:lnTo>
                      <a:pt x="1363" y="1075"/>
                    </a:lnTo>
                    <a:lnTo>
                      <a:pt x="1363" y="1075"/>
                    </a:lnTo>
                    <a:lnTo>
                      <a:pt x="1365" y="1074"/>
                    </a:lnTo>
                    <a:lnTo>
                      <a:pt x="1365" y="1072"/>
                    </a:lnTo>
                    <a:lnTo>
                      <a:pt x="1365" y="1072"/>
                    </a:lnTo>
                    <a:lnTo>
                      <a:pt x="1365" y="1072"/>
                    </a:lnTo>
                    <a:lnTo>
                      <a:pt x="1365" y="1074"/>
                    </a:lnTo>
                    <a:lnTo>
                      <a:pt x="1365" y="1074"/>
                    </a:lnTo>
                    <a:lnTo>
                      <a:pt x="1367" y="1075"/>
                    </a:lnTo>
                    <a:lnTo>
                      <a:pt x="1367" y="1077"/>
                    </a:lnTo>
                    <a:lnTo>
                      <a:pt x="1367" y="1077"/>
                    </a:lnTo>
                    <a:lnTo>
                      <a:pt x="1369" y="1079"/>
                    </a:lnTo>
                    <a:lnTo>
                      <a:pt x="1371" y="1081"/>
                    </a:lnTo>
                    <a:lnTo>
                      <a:pt x="1375" y="1081"/>
                    </a:lnTo>
                    <a:lnTo>
                      <a:pt x="1377" y="1083"/>
                    </a:lnTo>
                    <a:lnTo>
                      <a:pt x="1379" y="1087"/>
                    </a:lnTo>
                    <a:lnTo>
                      <a:pt x="1381" y="1089"/>
                    </a:lnTo>
                    <a:lnTo>
                      <a:pt x="1381" y="1091"/>
                    </a:lnTo>
                    <a:lnTo>
                      <a:pt x="1381" y="1095"/>
                    </a:lnTo>
                    <a:lnTo>
                      <a:pt x="1379" y="1099"/>
                    </a:lnTo>
                    <a:lnTo>
                      <a:pt x="1377" y="1103"/>
                    </a:lnTo>
                    <a:lnTo>
                      <a:pt x="1377" y="1105"/>
                    </a:lnTo>
                    <a:lnTo>
                      <a:pt x="1377" y="1105"/>
                    </a:lnTo>
                    <a:lnTo>
                      <a:pt x="1379" y="1107"/>
                    </a:lnTo>
                    <a:lnTo>
                      <a:pt x="1389" y="1103"/>
                    </a:lnTo>
                    <a:lnTo>
                      <a:pt x="1391" y="1103"/>
                    </a:lnTo>
                    <a:lnTo>
                      <a:pt x="1391" y="1105"/>
                    </a:lnTo>
                    <a:lnTo>
                      <a:pt x="1391" y="1107"/>
                    </a:lnTo>
                    <a:lnTo>
                      <a:pt x="1391" y="1109"/>
                    </a:lnTo>
                    <a:lnTo>
                      <a:pt x="1387" y="1115"/>
                    </a:lnTo>
                    <a:lnTo>
                      <a:pt x="1387" y="1116"/>
                    </a:lnTo>
                    <a:lnTo>
                      <a:pt x="1387" y="1120"/>
                    </a:lnTo>
                    <a:lnTo>
                      <a:pt x="1387" y="1122"/>
                    </a:lnTo>
                    <a:lnTo>
                      <a:pt x="1393" y="1124"/>
                    </a:lnTo>
                    <a:lnTo>
                      <a:pt x="1395" y="1126"/>
                    </a:lnTo>
                    <a:lnTo>
                      <a:pt x="1402" y="1130"/>
                    </a:lnTo>
                    <a:lnTo>
                      <a:pt x="1408" y="1132"/>
                    </a:lnTo>
                    <a:lnTo>
                      <a:pt x="1410" y="1132"/>
                    </a:lnTo>
                    <a:lnTo>
                      <a:pt x="1412" y="1132"/>
                    </a:lnTo>
                    <a:lnTo>
                      <a:pt x="1414" y="1132"/>
                    </a:lnTo>
                    <a:lnTo>
                      <a:pt x="1414" y="1130"/>
                    </a:lnTo>
                    <a:lnTo>
                      <a:pt x="1416" y="1130"/>
                    </a:lnTo>
                    <a:lnTo>
                      <a:pt x="1416" y="1128"/>
                    </a:lnTo>
                    <a:lnTo>
                      <a:pt x="1418" y="1126"/>
                    </a:lnTo>
                    <a:lnTo>
                      <a:pt x="1420" y="1120"/>
                    </a:lnTo>
                    <a:lnTo>
                      <a:pt x="1420" y="1118"/>
                    </a:lnTo>
                    <a:lnTo>
                      <a:pt x="1420" y="1115"/>
                    </a:lnTo>
                    <a:lnTo>
                      <a:pt x="1422" y="1111"/>
                    </a:lnTo>
                    <a:lnTo>
                      <a:pt x="1428" y="1105"/>
                    </a:lnTo>
                    <a:lnTo>
                      <a:pt x="1438" y="1083"/>
                    </a:lnTo>
                    <a:lnTo>
                      <a:pt x="1443" y="1066"/>
                    </a:lnTo>
                    <a:lnTo>
                      <a:pt x="1445" y="1062"/>
                    </a:lnTo>
                    <a:lnTo>
                      <a:pt x="1445" y="1056"/>
                    </a:lnTo>
                    <a:lnTo>
                      <a:pt x="1445" y="1054"/>
                    </a:lnTo>
                    <a:lnTo>
                      <a:pt x="1445" y="1052"/>
                    </a:lnTo>
                    <a:lnTo>
                      <a:pt x="1447" y="1050"/>
                    </a:lnTo>
                    <a:lnTo>
                      <a:pt x="1449" y="1050"/>
                    </a:lnTo>
                    <a:lnTo>
                      <a:pt x="1449" y="1046"/>
                    </a:lnTo>
                    <a:lnTo>
                      <a:pt x="1449" y="1038"/>
                    </a:lnTo>
                    <a:lnTo>
                      <a:pt x="1451" y="1033"/>
                    </a:lnTo>
                    <a:lnTo>
                      <a:pt x="1453" y="1025"/>
                    </a:lnTo>
                    <a:lnTo>
                      <a:pt x="1455" y="1019"/>
                    </a:lnTo>
                    <a:lnTo>
                      <a:pt x="1455" y="1019"/>
                    </a:lnTo>
                    <a:lnTo>
                      <a:pt x="1455" y="1017"/>
                    </a:lnTo>
                    <a:lnTo>
                      <a:pt x="1455" y="1009"/>
                    </a:lnTo>
                    <a:lnTo>
                      <a:pt x="1453" y="1005"/>
                    </a:lnTo>
                    <a:lnTo>
                      <a:pt x="1449" y="999"/>
                    </a:lnTo>
                    <a:lnTo>
                      <a:pt x="1445" y="995"/>
                    </a:lnTo>
                    <a:lnTo>
                      <a:pt x="1445" y="993"/>
                    </a:lnTo>
                    <a:lnTo>
                      <a:pt x="1445" y="988"/>
                    </a:lnTo>
                    <a:lnTo>
                      <a:pt x="1445" y="988"/>
                    </a:lnTo>
                    <a:lnTo>
                      <a:pt x="1443" y="976"/>
                    </a:lnTo>
                    <a:lnTo>
                      <a:pt x="1443" y="970"/>
                    </a:lnTo>
                    <a:lnTo>
                      <a:pt x="1443" y="966"/>
                    </a:lnTo>
                    <a:lnTo>
                      <a:pt x="1443" y="962"/>
                    </a:lnTo>
                    <a:lnTo>
                      <a:pt x="1440" y="958"/>
                    </a:lnTo>
                    <a:lnTo>
                      <a:pt x="1438" y="956"/>
                    </a:lnTo>
                    <a:lnTo>
                      <a:pt x="1434" y="954"/>
                    </a:lnTo>
                    <a:lnTo>
                      <a:pt x="1426" y="952"/>
                    </a:lnTo>
                    <a:lnTo>
                      <a:pt x="1422" y="951"/>
                    </a:lnTo>
                    <a:lnTo>
                      <a:pt x="1422" y="951"/>
                    </a:lnTo>
                    <a:lnTo>
                      <a:pt x="1418" y="949"/>
                    </a:lnTo>
                    <a:lnTo>
                      <a:pt x="1406" y="945"/>
                    </a:lnTo>
                    <a:lnTo>
                      <a:pt x="1402" y="941"/>
                    </a:lnTo>
                    <a:lnTo>
                      <a:pt x="1402" y="937"/>
                    </a:lnTo>
                    <a:lnTo>
                      <a:pt x="1402" y="935"/>
                    </a:lnTo>
                    <a:lnTo>
                      <a:pt x="1404" y="931"/>
                    </a:lnTo>
                    <a:lnTo>
                      <a:pt x="1406" y="925"/>
                    </a:lnTo>
                    <a:lnTo>
                      <a:pt x="1408" y="919"/>
                    </a:lnTo>
                    <a:lnTo>
                      <a:pt x="1408" y="913"/>
                    </a:lnTo>
                    <a:lnTo>
                      <a:pt x="1406" y="906"/>
                    </a:lnTo>
                    <a:lnTo>
                      <a:pt x="1404" y="902"/>
                    </a:lnTo>
                    <a:lnTo>
                      <a:pt x="1397" y="894"/>
                    </a:lnTo>
                    <a:lnTo>
                      <a:pt x="1393" y="890"/>
                    </a:lnTo>
                    <a:lnTo>
                      <a:pt x="1391" y="884"/>
                    </a:lnTo>
                    <a:lnTo>
                      <a:pt x="1391" y="876"/>
                    </a:lnTo>
                    <a:lnTo>
                      <a:pt x="1389" y="872"/>
                    </a:lnTo>
                    <a:lnTo>
                      <a:pt x="1385" y="870"/>
                    </a:lnTo>
                    <a:lnTo>
                      <a:pt x="1383" y="867"/>
                    </a:lnTo>
                    <a:lnTo>
                      <a:pt x="1383" y="861"/>
                    </a:lnTo>
                    <a:lnTo>
                      <a:pt x="1385" y="857"/>
                    </a:lnTo>
                    <a:lnTo>
                      <a:pt x="1395" y="847"/>
                    </a:lnTo>
                    <a:lnTo>
                      <a:pt x="1397" y="843"/>
                    </a:lnTo>
                    <a:lnTo>
                      <a:pt x="1400" y="837"/>
                    </a:lnTo>
                    <a:lnTo>
                      <a:pt x="1400" y="833"/>
                    </a:lnTo>
                    <a:lnTo>
                      <a:pt x="1402" y="816"/>
                    </a:lnTo>
                    <a:lnTo>
                      <a:pt x="1402" y="814"/>
                    </a:lnTo>
                    <a:lnTo>
                      <a:pt x="1406" y="806"/>
                    </a:lnTo>
                    <a:lnTo>
                      <a:pt x="1406" y="804"/>
                    </a:lnTo>
                    <a:lnTo>
                      <a:pt x="1406" y="802"/>
                    </a:lnTo>
                    <a:lnTo>
                      <a:pt x="1408" y="800"/>
                    </a:lnTo>
                    <a:lnTo>
                      <a:pt x="1408" y="796"/>
                    </a:lnTo>
                    <a:lnTo>
                      <a:pt x="1412" y="792"/>
                    </a:lnTo>
                    <a:lnTo>
                      <a:pt x="1400" y="785"/>
                    </a:lnTo>
                    <a:lnTo>
                      <a:pt x="1399" y="781"/>
                    </a:lnTo>
                    <a:lnTo>
                      <a:pt x="1400" y="775"/>
                    </a:lnTo>
                    <a:lnTo>
                      <a:pt x="1402" y="769"/>
                    </a:lnTo>
                    <a:lnTo>
                      <a:pt x="1402" y="765"/>
                    </a:lnTo>
                    <a:lnTo>
                      <a:pt x="1400" y="761"/>
                    </a:lnTo>
                    <a:lnTo>
                      <a:pt x="1400" y="759"/>
                    </a:lnTo>
                    <a:lnTo>
                      <a:pt x="1404" y="755"/>
                    </a:lnTo>
                    <a:lnTo>
                      <a:pt x="1404" y="749"/>
                    </a:lnTo>
                    <a:lnTo>
                      <a:pt x="1400" y="746"/>
                    </a:lnTo>
                    <a:lnTo>
                      <a:pt x="1397" y="744"/>
                    </a:lnTo>
                    <a:lnTo>
                      <a:pt x="1393" y="742"/>
                    </a:lnTo>
                    <a:lnTo>
                      <a:pt x="1387" y="740"/>
                    </a:lnTo>
                    <a:lnTo>
                      <a:pt x="1383" y="734"/>
                    </a:lnTo>
                    <a:lnTo>
                      <a:pt x="1383" y="730"/>
                    </a:lnTo>
                    <a:lnTo>
                      <a:pt x="1379" y="722"/>
                    </a:lnTo>
                    <a:lnTo>
                      <a:pt x="1375" y="710"/>
                    </a:lnTo>
                    <a:lnTo>
                      <a:pt x="1375" y="699"/>
                    </a:lnTo>
                    <a:lnTo>
                      <a:pt x="1383" y="691"/>
                    </a:lnTo>
                    <a:lnTo>
                      <a:pt x="1387" y="685"/>
                    </a:lnTo>
                    <a:lnTo>
                      <a:pt x="1391" y="679"/>
                    </a:lnTo>
                    <a:lnTo>
                      <a:pt x="1389" y="675"/>
                    </a:lnTo>
                    <a:lnTo>
                      <a:pt x="1387" y="673"/>
                    </a:lnTo>
                    <a:lnTo>
                      <a:pt x="1387" y="667"/>
                    </a:lnTo>
                    <a:lnTo>
                      <a:pt x="1393" y="656"/>
                    </a:lnTo>
                    <a:lnTo>
                      <a:pt x="1387" y="652"/>
                    </a:lnTo>
                    <a:lnTo>
                      <a:pt x="1387" y="652"/>
                    </a:lnTo>
                    <a:lnTo>
                      <a:pt x="1377" y="640"/>
                    </a:lnTo>
                    <a:lnTo>
                      <a:pt x="1367" y="636"/>
                    </a:lnTo>
                    <a:lnTo>
                      <a:pt x="1361" y="630"/>
                    </a:lnTo>
                    <a:lnTo>
                      <a:pt x="1359" y="628"/>
                    </a:lnTo>
                    <a:lnTo>
                      <a:pt x="1357" y="626"/>
                    </a:lnTo>
                    <a:lnTo>
                      <a:pt x="1352" y="615"/>
                    </a:lnTo>
                    <a:lnTo>
                      <a:pt x="1348" y="613"/>
                    </a:lnTo>
                    <a:lnTo>
                      <a:pt x="1330" y="599"/>
                    </a:lnTo>
                    <a:lnTo>
                      <a:pt x="1326" y="597"/>
                    </a:lnTo>
                    <a:lnTo>
                      <a:pt x="1320" y="589"/>
                    </a:lnTo>
                    <a:lnTo>
                      <a:pt x="1316" y="589"/>
                    </a:lnTo>
                    <a:lnTo>
                      <a:pt x="1315" y="589"/>
                    </a:lnTo>
                    <a:lnTo>
                      <a:pt x="1311" y="587"/>
                    </a:lnTo>
                    <a:lnTo>
                      <a:pt x="1307" y="585"/>
                    </a:lnTo>
                    <a:lnTo>
                      <a:pt x="1305" y="582"/>
                    </a:lnTo>
                    <a:lnTo>
                      <a:pt x="1311" y="578"/>
                    </a:lnTo>
                    <a:lnTo>
                      <a:pt x="1311" y="574"/>
                    </a:lnTo>
                    <a:lnTo>
                      <a:pt x="1313" y="568"/>
                    </a:lnTo>
                    <a:lnTo>
                      <a:pt x="1313" y="566"/>
                    </a:lnTo>
                    <a:lnTo>
                      <a:pt x="1311" y="556"/>
                    </a:lnTo>
                    <a:lnTo>
                      <a:pt x="1309" y="552"/>
                    </a:lnTo>
                    <a:lnTo>
                      <a:pt x="1309" y="550"/>
                    </a:lnTo>
                    <a:lnTo>
                      <a:pt x="1316" y="544"/>
                    </a:lnTo>
                    <a:lnTo>
                      <a:pt x="1326" y="540"/>
                    </a:lnTo>
                    <a:lnTo>
                      <a:pt x="1336" y="533"/>
                    </a:lnTo>
                    <a:lnTo>
                      <a:pt x="1342" y="527"/>
                    </a:lnTo>
                    <a:lnTo>
                      <a:pt x="1344" y="521"/>
                    </a:lnTo>
                    <a:lnTo>
                      <a:pt x="1344" y="519"/>
                    </a:lnTo>
                    <a:lnTo>
                      <a:pt x="1350" y="503"/>
                    </a:lnTo>
                    <a:lnTo>
                      <a:pt x="1350" y="499"/>
                    </a:lnTo>
                    <a:lnTo>
                      <a:pt x="1348" y="496"/>
                    </a:lnTo>
                    <a:lnTo>
                      <a:pt x="1348" y="492"/>
                    </a:lnTo>
                    <a:lnTo>
                      <a:pt x="1348" y="488"/>
                    </a:lnTo>
                    <a:lnTo>
                      <a:pt x="1350" y="484"/>
                    </a:lnTo>
                    <a:lnTo>
                      <a:pt x="1352" y="482"/>
                    </a:lnTo>
                    <a:lnTo>
                      <a:pt x="1354" y="480"/>
                    </a:lnTo>
                    <a:lnTo>
                      <a:pt x="1354" y="478"/>
                    </a:lnTo>
                    <a:lnTo>
                      <a:pt x="1359" y="470"/>
                    </a:lnTo>
                    <a:lnTo>
                      <a:pt x="1356" y="468"/>
                    </a:lnTo>
                    <a:lnTo>
                      <a:pt x="1356" y="466"/>
                    </a:lnTo>
                    <a:lnTo>
                      <a:pt x="1354" y="464"/>
                    </a:lnTo>
                    <a:lnTo>
                      <a:pt x="1352" y="462"/>
                    </a:lnTo>
                    <a:lnTo>
                      <a:pt x="1352" y="460"/>
                    </a:lnTo>
                    <a:lnTo>
                      <a:pt x="1352" y="455"/>
                    </a:lnTo>
                    <a:lnTo>
                      <a:pt x="1352" y="453"/>
                    </a:lnTo>
                    <a:lnTo>
                      <a:pt x="1350" y="447"/>
                    </a:lnTo>
                    <a:lnTo>
                      <a:pt x="1346" y="431"/>
                    </a:lnTo>
                    <a:lnTo>
                      <a:pt x="1346" y="416"/>
                    </a:lnTo>
                    <a:lnTo>
                      <a:pt x="1342" y="410"/>
                    </a:lnTo>
                    <a:lnTo>
                      <a:pt x="1340" y="404"/>
                    </a:lnTo>
                    <a:lnTo>
                      <a:pt x="1336" y="398"/>
                    </a:lnTo>
                    <a:lnTo>
                      <a:pt x="1334" y="392"/>
                    </a:lnTo>
                    <a:lnTo>
                      <a:pt x="1334" y="386"/>
                    </a:lnTo>
                    <a:lnTo>
                      <a:pt x="1334" y="376"/>
                    </a:lnTo>
                    <a:lnTo>
                      <a:pt x="1334" y="373"/>
                    </a:lnTo>
                    <a:lnTo>
                      <a:pt x="1330" y="363"/>
                    </a:lnTo>
                    <a:lnTo>
                      <a:pt x="1328" y="357"/>
                    </a:lnTo>
                    <a:lnTo>
                      <a:pt x="1328" y="353"/>
                    </a:lnTo>
                    <a:lnTo>
                      <a:pt x="1328" y="343"/>
                    </a:lnTo>
                    <a:lnTo>
                      <a:pt x="1328" y="345"/>
                    </a:lnTo>
                    <a:lnTo>
                      <a:pt x="1324" y="343"/>
                    </a:lnTo>
                    <a:lnTo>
                      <a:pt x="1322" y="343"/>
                    </a:lnTo>
                    <a:lnTo>
                      <a:pt x="1320" y="341"/>
                    </a:lnTo>
                    <a:lnTo>
                      <a:pt x="1328" y="335"/>
                    </a:lnTo>
                    <a:lnTo>
                      <a:pt x="1330" y="334"/>
                    </a:lnTo>
                    <a:lnTo>
                      <a:pt x="1328" y="330"/>
                    </a:lnTo>
                    <a:lnTo>
                      <a:pt x="1326" y="328"/>
                    </a:lnTo>
                    <a:lnTo>
                      <a:pt x="1324" y="328"/>
                    </a:lnTo>
                    <a:lnTo>
                      <a:pt x="1322" y="328"/>
                    </a:lnTo>
                    <a:lnTo>
                      <a:pt x="1320" y="332"/>
                    </a:lnTo>
                    <a:lnTo>
                      <a:pt x="1316" y="334"/>
                    </a:lnTo>
                    <a:lnTo>
                      <a:pt x="1303" y="332"/>
                    </a:lnTo>
                    <a:lnTo>
                      <a:pt x="1301" y="332"/>
                    </a:lnTo>
                    <a:lnTo>
                      <a:pt x="1297" y="328"/>
                    </a:lnTo>
                    <a:lnTo>
                      <a:pt x="1295" y="328"/>
                    </a:lnTo>
                    <a:lnTo>
                      <a:pt x="1291" y="328"/>
                    </a:lnTo>
                    <a:lnTo>
                      <a:pt x="1291" y="328"/>
                    </a:lnTo>
                    <a:lnTo>
                      <a:pt x="1287" y="324"/>
                    </a:lnTo>
                    <a:lnTo>
                      <a:pt x="1281" y="324"/>
                    </a:lnTo>
                    <a:lnTo>
                      <a:pt x="1270" y="312"/>
                    </a:lnTo>
                    <a:lnTo>
                      <a:pt x="1268" y="314"/>
                    </a:lnTo>
                    <a:lnTo>
                      <a:pt x="1266" y="310"/>
                    </a:lnTo>
                    <a:lnTo>
                      <a:pt x="1262" y="308"/>
                    </a:lnTo>
                    <a:lnTo>
                      <a:pt x="1262" y="304"/>
                    </a:lnTo>
                    <a:lnTo>
                      <a:pt x="1260" y="304"/>
                    </a:lnTo>
                    <a:lnTo>
                      <a:pt x="1258" y="302"/>
                    </a:lnTo>
                    <a:lnTo>
                      <a:pt x="1254" y="300"/>
                    </a:lnTo>
                    <a:lnTo>
                      <a:pt x="1252" y="298"/>
                    </a:lnTo>
                    <a:lnTo>
                      <a:pt x="1254" y="294"/>
                    </a:lnTo>
                    <a:lnTo>
                      <a:pt x="1266" y="285"/>
                    </a:lnTo>
                    <a:lnTo>
                      <a:pt x="1268" y="281"/>
                    </a:lnTo>
                    <a:lnTo>
                      <a:pt x="1270" y="279"/>
                    </a:lnTo>
                    <a:lnTo>
                      <a:pt x="1270" y="275"/>
                    </a:lnTo>
                    <a:lnTo>
                      <a:pt x="1268" y="275"/>
                    </a:lnTo>
                    <a:lnTo>
                      <a:pt x="1266" y="275"/>
                    </a:lnTo>
                    <a:lnTo>
                      <a:pt x="1266" y="273"/>
                    </a:lnTo>
                    <a:lnTo>
                      <a:pt x="1264" y="273"/>
                    </a:lnTo>
                    <a:lnTo>
                      <a:pt x="1264" y="273"/>
                    </a:lnTo>
                    <a:lnTo>
                      <a:pt x="1262" y="273"/>
                    </a:lnTo>
                    <a:lnTo>
                      <a:pt x="1260" y="273"/>
                    </a:lnTo>
                    <a:lnTo>
                      <a:pt x="1260" y="271"/>
                    </a:lnTo>
                    <a:lnTo>
                      <a:pt x="1260" y="271"/>
                    </a:lnTo>
                    <a:lnTo>
                      <a:pt x="1260" y="269"/>
                    </a:lnTo>
                    <a:lnTo>
                      <a:pt x="1260" y="269"/>
                    </a:lnTo>
                    <a:lnTo>
                      <a:pt x="1260" y="267"/>
                    </a:lnTo>
                    <a:lnTo>
                      <a:pt x="1258" y="265"/>
                    </a:lnTo>
                    <a:lnTo>
                      <a:pt x="1258" y="263"/>
                    </a:lnTo>
                    <a:lnTo>
                      <a:pt x="1256" y="263"/>
                    </a:lnTo>
                    <a:lnTo>
                      <a:pt x="1252" y="261"/>
                    </a:lnTo>
                    <a:lnTo>
                      <a:pt x="1250" y="259"/>
                    </a:lnTo>
                    <a:lnTo>
                      <a:pt x="1248" y="257"/>
                    </a:lnTo>
                    <a:lnTo>
                      <a:pt x="1244" y="252"/>
                    </a:lnTo>
                    <a:lnTo>
                      <a:pt x="1242" y="250"/>
                    </a:lnTo>
                    <a:lnTo>
                      <a:pt x="1246" y="246"/>
                    </a:lnTo>
                    <a:lnTo>
                      <a:pt x="1248" y="242"/>
                    </a:lnTo>
                    <a:lnTo>
                      <a:pt x="1250" y="236"/>
                    </a:lnTo>
                    <a:lnTo>
                      <a:pt x="1252" y="232"/>
                    </a:lnTo>
                    <a:lnTo>
                      <a:pt x="1252" y="230"/>
                    </a:lnTo>
                    <a:lnTo>
                      <a:pt x="1238" y="218"/>
                    </a:lnTo>
                    <a:lnTo>
                      <a:pt x="1234" y="216"/>
                    </a:lnTo>
                    <a:lnTo>
                      <a:pt x="1234" y="214"/>
                    </a:lnTo>
                    <a:lnTo>
                      <a:pt x="1236" y="214"/>
                    </a:lnTo>
                    <a:lnTo>
                      <a:pt x="1236" y="212"/>
                    </a:lnTo>
                    <a:lnTo>
                      <a:pt x="1236" y="211"/>
                    </a:lnTo>
                    <a:lnTo>
                      <a:pt x="1236" y="211"/>
                    </a:lnTo>
                    <a:lnTo>
                      <a:pt x="1232" y="212"/>
                    </a:lnTo>
                    <a:lnTo>
                      <a:pt x="1223" y="218"/>
                    </a:lnTo>
                    <a:lnTo>
                      <a:pt x="1219" y="220"/>
                    </a:lnTo>
                    <a:lnTo>
                      <a:pt x="1197" y="224"/>
                    </a:lnTo>
                    <a:lnTo>
                      <a:pt x="1197" y="226"/>
                    </a:lnTo>
                    <a:lnTo>
                      <a:pt x="1199" y="226"/>
                    </a:lnTo>
                    <a:lnTo>
                      <a:pt x="1201" y="230"/>
                    </a:lnTo>
                    <a:lnTo>
                      <a:pt x="1201" y="232"/>
                    </a:lnTo>
                    <a:lnTo>
                      <a:pt x="1201" y="234"/>
                    </a:lnTo>
                    <a:lnTo>
                      <a:pt x="1197" y="234"/>
                    </a:lnTo>
                    <a:lnTo>
                      <a:pt x="1195" y="232"/>
                    </a:lnTo>
                    <a:lnTo>
                      <a:pt x="1193" y="228"/>
                    </a:lnTo>
                    <a:lnTo>
                      <a:pt x="1191" y="224"/>
                    </a:lnTo>
                    <a:lnTo>
                      <a:pt x="1188" y="216"/>
                    </a:lnTo>
                    <a:lnTo>
                      <a:pt x="1188" y="216"/>
                    </a:lnTo>
                    <a:lnTo>
                      <a:pt x="1186" y="214"/>
                    </a:lnTo>
                    <a:lnTo>
                      <a:pt x="1184" y="216"/>
                    </a:lnTo>
                    <a:lnTo>
                      <a:pt x="1184" y="216"/>
                    </a:lnTo>
                    <a:lnTo>
                      <a:pt x="1182" y="216"/>
                    </a:lnTo>
                    <a:lnTo>
                      <a:pt x="1182" y="214"/>
                    </a:lnTo>
                    <a:lnTo>
                      <a:pt x="1184" y="212"/>
                    </a:lnTo>
                    <a:lnTo>
                      <a:pt x="1186" y="211"/>
                    </a:lnTo>
                    <a:lnTo>
                      <a:pt x="1182" y="209"/>
                    </a:lnTo>
                    <a:lnTo>
                      <a:pt x="1176" y="212"/>
                    </a:lnTo>
                    <a:lnTo>
                      <a:pt x="1172" y="212"/>
                    </a:lnTo>
                    <a:lnTo>
                      <a:pt x="1174" y="211"/>
                    </a:lnTo>
                    <a:lnTo>
                      <a:pt x="1176" y="209"/>
                    </a:lnTo>
                    <a:lnTo>
                      <a:pt x="1172" y="205"/>
                    </a:lnTo>
                    <a:lnTo>
                      <a:pt x="1166" y="193"/>
                    </a:lnTo>
                    <a:lnTo>
                      <a:pt x="1162" y="191"/>
                    </a:lnTo>
                    <a:lnTo>
                      <a:pt x="1156" y="189"/>
                    </a:lnTo>
                    <a:lnTo>
                      <a:pt x="1147" y="183"/>
                    </a:lnTo>
                    <a:lnTo>
                      <a:pt x="1141" y="185"/>
                    </a:lnTo>
                    <a:lnTo>
                      <a:pt x="1143" y="183"/>
                    </a:lnTo>
                    <a:lnTo>
                      <a:pt x="1145" y="183"/>
                    </a:lnTo>
                    <a:lnTo>
                      <a:pt x="1147" y="183"/>
                    </a:lnTo>
                    <a:lnTo>
                      <a:pt x="1147" y="181"/>
                    </a:lnTo>
                    <a:lnTo>
                      <a:pt x="1139" y="181"/>
                    </a:lnTo>
                    <a:lnTo>
                      <a:pt x="1137" y="179"/>
                    </a:lnTo>
                    <a:lnTo>
                      <a:pt x="1137" y="177"/>
                    </a:lnTo>
                    <a:lnTo>
                      <a:pt x="1137" y="173"/>
                    </a:lnTo>
                    <a:lnTo>
                      <a:pt x="1135" y="171"/>
                    </a:lnTo>
                    <a:lnTo>
                      <a:pt x="1131" y="164"/>
                    </a:lnTo>
                    <a:lnTo>
                      <a:pt x="1131" y="160"/>
                    </a:lnTo>
                    <a:lnTo>
                      <a:pt x="1133" y="154"/>
                    </a:lnTo>
                    <a:lnTo>
                      <a:pt x="1131" y="152"/>
                    </a:lnTo>
                    <a:lnTo>
                      <a:pt x="1123" y="148"/>
                    </a:lnTo>
                    <a:lnTo>
                      <a:pt x="1121" y="144"/>
                    </a:lnTo>
                    <a:lnTo>
                      <a:pt x="1121" y="140"/>
                    </a:lnTo>
                    <a:lnTo>
                      <a:pt x="1121" y="138"/>
                    </a:lnTo>
                    <a:lnTo>
                      <a:pt x="1123" y="136"/>
                    </a:lnTo>
                    <a:lnTo>
                      <a:pt x="1119" y="134"/>
                    </a:lnTo>
                    <a:lnTo>
                      <a:pt x="1111" y="136"/>
                    </a:lnTo>
                    <a:lnTo>
                      <a:pt x="1105" y="140"/>
                    </a:lnTo>
                    <a:lnTo>
                      <a:pt x="1102" y="146"/>
                    </a:lnTo>
                    <a:lnTo>
                      <a:pt x="1100" y="148"/>
                    </a:lnTo>
                    <a:lnTo>
                      <a:pt x="1098" y="152"/>
                    </a:lnTo>
                    <a:lnTo>
                      <a:pt x="1096" y="156"/>
                    </a:lnTo>
                    <a:lnTo>
                      <a:pt x="1094" y="156"/>
                    </a:lnTo>
                    <a:lnTo>
                      <a:pt x="1094" y="158"/>
                    </a:lnTo>
                    <a:lnTo>
                      <a:pt x="1090" y="158"/>
                    </a:lnTo>
                    <a:lnTo>
                      <a:pt x="1088" y="158"/>
                    </a:lnTo>
                    <a:lnTo>
                      <a:pt x="1088" y="158"/>
                    </a:lnTo>
                    <a:lnTo>
                      <a:pt x="1086" y="158"/>
                    </a:lnTo>
                    <a:lnTo>
                      <a:pt x="1084" y="154"/>
                    </a:lnTo>
                    <a:lnTo>
                      <a:pt x="1082" y="152"/>
                    </a:lnTo>
                    <a:lnTo>
                      <a:pt x="1082" y="150"/>
                    </a:lnTo>
                    <a:lnTo>
                      <a:pt x="1082" y="148"/>
                    </a:lnTo>
                    <a:lnTo>
                      <a:pt x="1080" y="150"/>
                    </a:lnTo>
                    <a:lnTo>
                      <a:pt x="1078" y="152"/>
                    </a:lnTo>
                    <a:lnTo>
                      <a:pt x="1076" y="152"/>
                    </a:lnTo>
                    <a:lnTo>
                      <a:pt x="1074" y="150"/>
                    </a:lnTo>
                    <a:lnTo>
                      <a:pt x="1072" y="152"/>
                    </a:lnTo>
                    <a:lnTo>
                      <a:pt x="1070" y="150"/>
                    </a:lnTo>
                    <a:lnTo>
                      <a:pt x="1068" y="148"/>
                    </a:lnTo>
                    <a:lnTo>
                      <a:pt x="1068" y="146"/>
                    </a:lnTo>
                    <a:lnTo>
                      <a:pt x="1066" y="148"/>
                    </a:lnTo>
                    <a:lnTo>
                      <a:pt x="1066" y="150"/>
                    </a:lnTo>
                    <a:lnTo>
                      <a:pt x="1064" y="154"/>
                    </a:lnTo>
                    <a:lnTo>
                      <a:pt x="1064" y="150"/>
                    </a:lnTo>
                    <a:lnTo>
                      <a:pt x="1066" y="146"/>
                    </a:lnTo>
                    <a:lnTo>
                      <a:pt x="1068" y="144"/>
                    </a:lnTo>
                    <a:lnTo>
                      <a:pt x="1070" y="144"/>
                    </a:lnTo>
                    <a:lnTo>
                      <a:pt x="1070" y="142"/>
                    </a:lnTo>
                    <a:lnTo>
                      <a:pt x="1068" y="140"/>
                    </a:lnTo>
                    <a:lnTo>
                      <a:pt x="1066" y="142"/>
                    </a:lnTo>
                    <a:lnTo>
                      <a:pt x="1064" y="142"/>
                    </a:lnTo>
                    <a:lnTo>
                      <a:pt x="1062" y="144"/>
                    </a:lnTo>
                    <a:lnTo>
                      <a:pt x="1062" y="144"/>
                    </a:lnTo>
                    <a:lnTo>
                      <a:pt x="1062" y="146"/>
                    </a:lnTo>
                    <a:lnTo>
                      <a:pt x="1062" y="148"/>
                    </a:lnTo>
                    <a:lnTo>
                      <a:pt x="1055" y="152"/>
                    </a:lnTo>
                    <a:lnTo>
                      <a:pt x="1049" y="154"/>
                    </a:lnTo>
                    <a:lnTo>
                      <a:pt x="1047" y="152"/>
                    </a:lnTo>
                    <a:lnTo>
                      <a:pt x="1047" y="154"/>
                    </a:lnTo>
                    <a:lnTo>
                      <a:pt x="1045" y="152"/>
                    </a:lnTo>
                    <a:lnTo>
                      <a:pt x="1043" y="152"/>
                    </a:lnTo>
                    <a:lnTo>
                      <a:pt x="1041" y="154"/>
                    </a:lnTo>
                    <a:lnTo>
                      <a:pt x="1041" y="156"/>
                    </a:lnTo>
                    <a:lnTo>
                      <a:pt x="1041" y="156"/>
                    </a:lnTo>
                    <a:lnTo>
                      <a:pt x="1043" y="158"/>
                    </a:lnTo>
                    <a:lnTo>
                      <a:pt x="1033" y="162"/>
                    </a:lnTo>
                    <a:lnTo>
                      <a:pt x="1029" y="166"/>
                    </a:lnTo>
                    <a:lnTo>
                      <a:pt x="1029" y="166"/>
                    </a:lnTo>
                    <a:lnTo>
                      <a:pt x="1029" y="170"/>
                    </a:lnTo>
                    <a:lnTo>
                      <a:pt x="1029" y="171"/>
                    </a:lnTo>
                    <a:lnTo>
                      <a:pt x="1027" y="171"/>
                    </a:lnTo>
                    <a:lnTo>
                      <a:pt x="1027" y="171"/>
                    </a:lnTo>
                    <a:lnTo>
                      <a:pt x="1025" y="173"/>
                    </a:lnTo>
                    <a:lnTo>
                      <a:pt x="1021" y="177"/>
                    </a:lnTo>
                    <a:lnTo>
                      <a:pt x="1020" y="179"/>
                    </a:lnTo>
                    <a:lnTo>
                      <a:pt x="1020" y="183"/>
                    </a:lnTo>
                    <a:lnTo>
                      <a:pt x="1021" y="185"/>
                    </a:lnTo>
                    <a:lnTo>
                      <a:pt x="1023" y="187"/>
                    </a:lnTo>
                    <a:lnTo>
                      <a:pt x="1027" y="187"/>
                    </a:lnTo>
                    <a:lnTo>
                      <a:pt x="1023" y="189"/>
                    </a:lnTo>
                    <a:lnTo>
                      <a:pt x="1020" y="187"/>
                    </a:lnTo>
                    <a:lnTo>
                      <a:pt x="1012" y="183"/>
                    </a:lnTo>
                    <a:lnTo>
                      <a:pt x="1014" y="181"/>
                    </a:lnTo>
                    <a:lnTo>
                      <a:pt x="1014" y="177"/>
                    </a:lnTo>
                    <a:lnTo>
                      <a:pt x="1012" y="175"/>
                    </a:lnTo>
                    <a:lnTo>
                      <a:pt x="1010" y="171"/>
                    </a:lnTo>
                    <a:lnTo>
                      <a:pt x="1014" y="170"/>
                    </a:lnTo>
                    <a:lnTo>
                      <a:pt x="1016" y="168"/>
                    </a:lnTo>
                    <a:lnTo>
                      <a:pt x="1016" y="164"/>
                    </a:lnTo>
                    <a:lnTo>
                      <a:pt x="1016" y="162"/>
                    </a:lnTo>
                    <a:lnTo>
                      <a:pt x="1016" y="160"/>
                    </a:lnTo>
                    <a:lnTo>
                      <a:pt x="1018" y="160"/>
                    </a:lnTo>
                    <a:lnTo>
                      <a:pt x="1018" y="160"/>
                    </a:lnTo>
                    <a:lnTo>
                      <a:pt x="1021" y="162"/>
                    </a:lnTo>
                    <a:lnTo>
                      <a:pt x="1020" y="156"/>
                    </a:lnTo>
                    <a:lnTo>
                      <a:pt x="1021" y="152"/>
                    </a:lnTo>
                    <a:lnTo>
                      <a:pt x="1023" y="148"/>
                    </a:lnTo>
                    <a:lnTo>
                      <a:pt x="1025" y="148"/>
                    </a:lnTo>
                    <a:lnTo>
                      <a:pt x="1031" y="148"/>
                    </a:lnTo>
                    <a:lnTo>
                      <a:pt x="1035" y="150"/>
                    </a:lnTo>
                    <a:lnTo>
                      <a:pt x="1037" y="154"/>
                    </a:lnTo>
                    <a:lnTo>
                      <a:pt x="1039" y="150"/>
                    </a:lnTo>
                    <a:lnTo>
                      <a:pt x="1043" y="148"/>
                    </a:lnTo>
                    <a:lnTo>
                      <a:pt x="1047" y="148"/>
                    </a:lnTo>
                    <a:lnTo>
                      <a:pt x="1049" y="150"/>
                    </a:lnTo>
                    <a:lnTo>
                      <a:pt x="1049" y="148"/>
                    </a:lnTo>
                    <a:lnTo>
                      <a:pt x="1049" y="148"/>
                    </a:lnTo>
                    <a:lnTo>
                      <a:pt x="1051" y="148"/>
                    </a:lnTo>
                    <a:lnTo>
                      <a:pt x="1051" y="148"/>
                    </a:lnTo>
                    <a:lnTo>
                      <a:pt x="1049" y="148"/>
                    </a:lnTo>
                    <a:lnTo>
                      <a:pt x="1049" y="146"/>
                    </a:lnTo>
                    <a:lnTo>
                      <a:pt x="1047" y="146"/>
                    </a:lnTo>
                    <a:lnTo>
                      <a:pt x="1047" y="144"/>
                    </a:lnTo>
                    <a:lnTo>
                      <a:pt x="1049" y="142"/>
                    </a:lnTo>
                    <a:lnTo>
                      <a:pt x="1049" y="142"/>
                    </a:lnTo>
                    <a:lnTo>
                      <a:pt x="1051" y="142"/>
                    </a:lnTo>
                    <a:lnTo>
                      <a:pt x="1051" y="144"/>
                    </a:lnTo>
                    <a:lnTo>
                      <a:pt x="1053" y="140"/>
                    </a:lnTo>
                    <a:lnTo>
                      <a:pt x="1055" y="138"/>
                    </a:lnTo>
                    <a:lnTo>
                      <a:pt x="1059" y="140"/>
                    </a:lnTo>
                    <a:lnTo>
                      <a:pt x="1062" y="140"/>
                    </a:lnTo>
                    <a:lnTo>
                      <a:pt x="1062" y="138"/>
                    </a:lnTo>
                    <a:lnTo>
                      <a:pt x="1064" y="136"/>
                    </a:lnTo>
                    <a:lnTo>
                      <a:pt x="1066" y="136"/>
                    </a:lnTo>
                    <a:lnTo>
                      <a:pt x="1070" y="136"/>
                    </a:lnTo>
                    <a:lnTo>
                      <a:pt x="1078" y="138"/>
                    </a:lnTo>
                    <a:lnTo>
                      <a:pt x="1096" y="140"/>
                    </a:lnTo>
                    <a:lnTo>
                      <a:pt x="1100" y="140"/>
                    </a:lnTo>
                    <a:lnTo>
                      <a:pt x="1104" y="136"/>
                    </a:lnTo>
                    <a:lnTo>
                      <a:pt x="1102" y="132"/>
                    </a:lnTo>
                    <a:lnTo>
                      <a:pt x="1098" y="130"/>
                    </a:lnTo>
                    <a:lnTo>
                      <a:pt x="1094" y="134"/>
                    </a:lnTo>
                    <a:lnTo>
                      <a:pt x="1086" y="130"/>
                    </a:lnTo>
                    <a:lnTo>
                      <a:pt x="1049" y="130"/>
                    </a:lnTo>
                    <a:lnTo>
                      <a:pt x="1041" y="127"/>
                    </a:lnTo>
                    <a:lnTo>
                      <a:pt x="1037" y="123"/>
                    </a:lnTo>
                    <a:lnTo>
                      <a:pt x="1039" y="123"/>
                    </a:lnTo>
                    <a:lnTo>
                      <a:pt x="1039" y="121"/>
                    </a:lnTo>
                    <a:lnTo>
                      <a:pt x="1035" y="123"/>
                    </a:lnTo>
                    <a:lnTo>
                      <a:pt x="1033" y="125"/>
                    </a:lnTo>
                    <a:lnTo>
                      <a:pt x="1031" y="132"/>
                    </a:lnTo>
                    <a:lnTo>
                      <a:pt x="1023" y="144"/>
                    </a:lnTo>
                    <a:lnTo>
                      <a:pt x="1023" y="146"/>
                    </a:lnTo>
                    <a:lnTo>
                      <a:pt x="1014" y="162"/>
                    </a:lnTo>
                    <a:lnTo>
                      <a:pt x="1008" y="173"/>
                    </a:lnTo>
                    <a:lnTo>
                      <a:pt x="1004" y="175"/>
                    </a:lnTo>
                    <a:lnTo>
                      <a:pt x="998" y="181"/>
                    </a:lnTo>
                    <a:lnTo>
                      <a:pt x="986" y="187"/>
                    </a:lnTo>
                    <a:lnTo>
                      <a:pt x="984" y="189"/>
                    </a:lnTo>
                    <a:lnTo>
                      <a:pt x="980" y="191"/>
                    </a:lnTo>
                    <a:lnTo>
                      <a:pt x="977" y="197"/>
                    </a:lnTo>
                    <a:lnTo>
                      <a:pt x="975" y="201"/>
                    </a:lnTo>
                    <a:lnTo>
                      <a:pt x="969" y="207"/>
                    </a:lnTo>
                    <a:lnTo>
                      <a:pt x="967" y="211"/>
                    </a:lnTo>
                    <a:lnTo>
                      <a:pt x="969" y="209"/>
                    </a:lnTo>
                    <a:lnTo>
                      <a:pt x="971" y="209"/>
                    </a:lnTo>
                    <a:lnTo>
                      <a:pt x="973" y="209"/>
                    </a:lnTo>
                    <a:lnTo>
                      <a:pt x="975" y="209"/>
                    </a:lnTo>
                    <a:lnTo>
                      <a:pt x="973" y="212"/>
                    </a:lnTo>
                    <a:lnTo>
                      <a:pt x="967" y="214"/>
                    </a:lnTo>
                    <a:lnTo>
                      <a:pt x="967" y="218"/>
                    </a:lnTo>
                    <a:lnTo>
                      <a:pt x="967" y="220"/>
                    </a:lnTo>
                    <a:lnTo>
                      <a:pt x="967" y="228"/>
                    </a:lnTo>
                    <a:lnTo>
                      <a:pt x="969" y="232"/>
                    </a:lnTo>
                    <a:lnTo>
                      <a:pt x="965" y="226"/>
                    </a:lnTo>
                    <a:lnTo>
                      <a:pt x="965" y="220"/>
                    </a:lnTo>
                    <a:lnTo>
                      <a:pt x="965" y="212"/>
                    </a:lnTo>
                    <a:lnTo>
                      <a:pt x="965" y="205"/>
                    </a:lnTo>
                    <a:lnTo>
                      <a:pt x="959" y="209"/>
                    </a:lnTo>
                    <a:lnTo>
                      <a:pt x="918" y="216"/>
                    </a:lnTo>
                    <a:lnTo>
                      <a:pt x="904" y="214"/>
                    </a:lnTo>
                    <a:lnTo>
                      <a:pt x="898" y="214"/>
                    </a:lnTo>
                    <a:lnTo>
                      <a:pt x="893" y="218"/>
                    </a:lnTo>
                    <a:lnTo>
                      <a:pt x="889" y="226"/>
                    </a:lnTo>
                    <a:lnTo>
                      <a:pt x="889" y="228"/>
                    </a:lnTo>
                    <a:lnTo>
                      <a:pt x="887" y="228"/>
                    </a:lnTo>
                    <a:lnTo>
                      <a:pt x="887" y="230"/>
                    </a:lnTo>
                    <a:lnTo>
                      <a:pt x="887" y="232"/>
                    </a:lnTo>
                    <a:lnTo>
                      <a:pt x="889" y="232"/>
                    </a:lnTo>
                    <a:lnTo>
                      <a:pt x="889" y="234"/>
                    </a:lnTo>
                    <a:lnTo>
                      <a:pt x="887" y="236"/>
                    </a:lnTo>
                    <a:lnTo>
                      <a:pt x="887" y="238"/>
                    </a:lnTo>
                    <a:lnTo>
                      <a:pt x="885" y="238"/>
                    </a:lnTo>
                    <a:lnTo>
                      <a:pt x="885" y="240"/>
                    </a:lnTo>
                    <a:lnTo>
                      <a:pt x="881" y="240"/>
                    </a:lnTo>
                    <a:lnTo>
                      <a:pt x="879" y="248"/>
                    </a:lnTo>
                    <a:lnTo>
                      <a:pt x="875" y="252"/>
                    </a:lnTo>
                    <a:lnTo>
                      <a:pt x="873" y="252"/>
                    </a:lnTo>
                    <a:lnTo>
                      <a:pt x="869" y="250"/>
                    </a:lnTo>
                    <a:lnTo>
                      <a:pt x="869" y="252"/>
                    </a:lnTo>
                    <a:lnTo>
                      <a:pt x="871" y="252"/>
                    </a:lnTo>
                    <a:lnTo>
                      <a:pt x="871" y="253"/>
                    </a:lnTo>
                    <a:lnTo>
                      <a:pt x="865" y="259"/>
                    </a:lnTo>
                    <a:lnTo>
                      <a:pt x="865" y="259"/>
                    </a:lnTo>
                    <a:lnTo>
                      <a:pt x="865" y="263"/>
                    </a:lnTo>
                    <a:lnTo>
                      <a:pt x="865" y="265"/>
                    </a:lnTo>
                    <a:lnTo>
                      <a:pt x="865" y="265"/>
                    </a:lnTo>
                    <a:lnTo>
                      <a:pt x="863" y="265"/>
                    </a:lnTo>
                    <a:lnTo>
                      <a:pt x="861" y="269"/>
                    </a:lnTo>
                    <a:lnTo>
                      <a:pt x="863" y="273"/>
                    </a:lnTo>
                    <a:lnTo>
                      <a:pt x="861" y="279"/>
                    </a:lnTo>
                    <a:lnTo>
                      <a:pt x="859" y="283"/>
                    </a:lnTo>
                    <a:lnTo>
                      <a:pt x="859" y="287"/>
                    </a:lnTo>
                    <a:lnTo>
                      <a:pt x="857" y="287"/>
                    </a:lnTo>
                    <a:lnTo>
                      <a:pt x="855" y="285"/>
                    </a:lnTo>
                    <a:lnTo>
                      <a:pt x="850" y="277"/>
                    </a:lnTo>
                    <a:lnTo>
                      <a:pt x="850" y="277"/>
                    </a:lnTo>
                    <a:lnTo>
                      <a:pt x="842" y="277"/>
                    </a:lnTo>
                    <a:lnTo>
                      <a:pt x="842" y="275"/>
                    </a:lnTo>
                    <a:lnTo>
                      <a:pt x="840" y="271"/>
                    </a:lnTo>
                    <a:lnTo>
                      <a:pt x="838" y="271"/>
                    </a:lnTo>
                    <a:lnTo>
                      <a:pt x="832" y="277"/>
                    </a:lnTo>
                    <a:lnTo>
                      <a:pt x="830" y="277"/>
                    </a:lnTo>
                    <a:lnTo>
                      <a:pt x="826" y="277"/>
                    </a:lnTo>
                    <a:lnTo>
                      <a:pt x="824" y="275"/>
                    </a:lnTo>
                    <a:lnTo>
                      <a:pt x="822" y="271"/>
                    </a:lnTo>
                    <a:lnTo>
                      <a:pt x="824" y="265"/>
                    </a:lnTo>
                    <a:lnTo>
                      <a:pt x="822" y="263"/>
                    </a:lnTo>
                    <a:lnTo>
                      <a:pt x="816" y="263"/>
                    </a:lnTo>
                    <a:lnTo>
                      <a:pt x="816" y="261"/>
                    </a:lnTo>
                    <a:lnTo>
                      <a:pt x="814" y="255"/>
                    </a:lnTo>
                    <a:lnTo>
                      <a:pt x="812" y="255"/>
                    </a:lnTo>
                    <a:lnTo>
                      <a:pt x="812" y="253"/>
                    </a:lnTo>
                    <a:lnTo>
                      <a:pt x="791" y="257"/>
                    </a:lnTo>
                    <a:lnTo>
                      <a:pt x="783" y="261"/>
                    </a:lnTo>
                    <a:lnTo>
                      <a:pt x="779" y="263"/>
                    </a:lnTo>
                    <a:lnTo>
                      <a:pt x="777" y="263"/>
                    </a:lnTo>
                    <a:lnTo>
                      <a:pt x="771" y="269"/>
                    </a:lnTo>
                    <a:lnTo>
                      <a:pt x="769" y="271"/>
                    </a:lnTo>
                    <a:lnTo>
                      <a:pt x="769" y="271"/>
                    </a:lnTo>
                    <a:lnTo>
                      <a:pt x="768" y="271"/>
                    </a:lnTo>
                    <a:lnTo>
                      <a:pt x="766" y="271"/>
                    </a:lnTo>
                    <a:lnTo>
                      <a:pt x="764" y="269"/>
                    </a:lnTo>
                    <a:lnTo>
                      <a:pt x="764" y="267"/>
                    </a:lnTo>
                    <a:lnTo>
                      <a:pt x="764" y="263"/>
                    </a:lnTo>
                    <a:lnTo>
                      <a:pt x="762" y="261"/>
                    </a:lnTo>
                    <a:lnTo>
                      <a:pt x="760" y="259"/>
                    </a:lnTo>
                    <a:lnTo>
                      <a:pt x="754" y="261"/>
                    </a:lnTo>
                    <a:lnTo>
                      <a:pt x="750" y="259"/>
                    </a:lnTo>
                    <a:lnTo>
                      <a:pt x="746" y="257"/>
                    </a:lnTo>
                    <a:lnTo>
                      <a:pt x="744" y="252"/>
                    </a:lnTo>
                    <a:lnTo>
                      <a:pt x="742" y="248"/>
                    </a:lnTo>
                    <a:lnTo>
                      <a:pt x="742" y="246"/>
                    </a:lnTo>
                    <a:lnTo>
                      <a:pt x="742" y="244"/>
                    </a:lnTo>
                    <a:lnTo>
                      <a:pt x="750" y="234"/>
                    </a:lnTo>
                    <a:lnTo>
                      <a:pt x="750" y="232"/>
                    </a:lnTo>
                    <a:lnTo>
                      <a:pt x="752" y="232"/>
                    </a:lnTo>
                    <a:lnTo>
                      <a:pt x="754" y="232"/>
                    </a:lnTo>
                    <a:lnTo>
                      <a:pt x="754" y="234"/>
                    </a:lnTo>
                    <a:lnTo>
                      <a:pt x="756" y="234"/>
                    </a:lnTo>
                    <a:lnTo>
                      <a:pt x="756" y="232"/>
                    </a:lnTo>
                    <a:lnTo>
                      <a:pt x="758" y="232"/>
                    </a:lnTo>
                    <a:lnTo>
                      <a:pt x="766" y="230"/>
                    </a:lnTo>
                    <a:lnTo>
                      <a:pt x="768" y="228"/>
                    </a:lnTo>
                    <a:lnTo>
                      <a:pt x="773" y="220"/>
                    </a:lnTo>
                    <a:lnTo>
                      <a:pt x="793" y="207"/>
                    </a:lnTo>
                    <a:lnTo>
                      <a:pt x="795" y="205"/>
                    </a:lnTo>
                    <a:lnTo>
                      <a:pt x="797" y="203"/>
                    </a:lnTo>
                    <a:lnTo>
                      <a:pt x="797" y="201"/>
                    </a:lnTo>
                    <a:lnTo>
                      <a:pt x="799" y="195"/>
                    </a:lnTo>
                    <a:lnTo>
                      <a:pt x="797" y="187"/>
                    </a:lnTo>
                    <a:lnTo>
                      <a:pt x="797" y="183"/>
                    </a:lnTo>
                    <a:lnTo>
                      <a:pt x="799" y="179"/>
                    </a:lnTo>
                    <a:lnTo>
                      <a:pt x="797" y="173"/>
                    </a:lnTo>
                    <a:lnTo>
                      <a:pt x="795" y="162"/>
                    </a:lnTo>
                    <a:lnTo>
                      <a:pt x="793" y="158"/>
                    </a:lnTo>
                    <a:lnTo>
                      <a:pt x="797" y="158"/>
                    </a:lnTo>
                    <a:lnTo>
                      <a:pt x="797" y="160"/>
                    </a:lnTo>
                    <a:lnTo>
                      <a:pt x="799" y="156"/>
                    </a:lnTo>
                    <a:lnTo>
                      <a:pt x="805" y="150"/>
                    </a:lnTo>
                    <a:lnTo>
                      <a:pt x="801" y="148"/>
                    </a:lnTo>
                    <a:lnTo>
                      <a:pt x="789" y="154"/>
                    </a:lnTo>
                    <a:lnTo>
                      <a:pt x="785" y="152"/>
                    </a:lnTo>
                    <a:lnTo>
                      <a:pt x="781" y="152"/>
                    </a:lnTo>
                    <a:lnTo>
                      <a:pt x="779" y="152"/>
                    </a:lnTo>
                    <a:lnTo>
                      <a:pt x="783" y="152"/>
                    </a:lnTo>
                    <a:lnTo>
                      <a:pt x="785" y="152"/>
                    </a:lnTo>
                    <a:lnTo>
                      <a:pt x="785" y="150"/>
                    </a:lnTo>
                    <a:lnTo>
                      <a:pt x="771" y="152"/>
                    </a:lnTo>
                    <a:lnTo>
                      <a:pt x="766" y="154"/>
                    </a:lnTo>
                    <a:lnTo>
                      <a:pt x="760" y="158"/>
                    </a:lnTo>
                    <a:lnTo>
                      <a:pt x="750" y="166"/>
                    </a:lnTo>
                    <a:lnTo>
                      <a:pt x="746" y="170"/>
                    </a:lnTo>
                    <a:lnTo>
                      <a:pt x="738" y="171"/>
                    </a:lnTo>
                    <a:lnTo>
                      <a:pt x="730" y="170"/>
                    </a:lnTo>
                    <a:lnTo>
                      <a:pt x="717" y="156"/>
                    </a:lnTo>
                    <a:lnTo>
                      <a:pt x="689" y="144"/>
                    </a:lnTo>
                    <a:lnTo>
                      <a:pt x="680" y="134"/>
                    </a:lnTo>
                    <a:lnTo>
                      <a:pt x="676" y="134"/>
                    </a:lnTo>
                    <a:lnTo>
                      <a:pt x="668" y="132"/>
                    </a:lnTo>
                    <a:lnTo>
                      <a:pt x="666" y="134"/>
                    </a:lnTo>
                    <a:lnTo>
                      <a:pt x="666" y="134"/>
                    </a:lnTo>
                    <a:lnTo>
                      <a:pt x="664" y="136"/>
                    </a:lnTo>
                    <a:lnTo>
                      <a:pt x="664" y="138"/>
                    </a:lnTo>
                    <a:lnTo>
                      <a:pt x="660" y="140"/>
                    </a:lnTo>
                    <a:lnTo>
                      <a:pt x="654" y="140"/>
                    </a:lnTo>
                    <a:lnTo>
                      <a:pt x="652" y="142"/>
                    </a:lnTo>
                    <a:lnTo>
                      <a:pt x="652" y="144"/>
                    </a:lnTo>
                    <a:lnTo>
                      <a:pt x="650" y="154"/>
                    </a:lnTo>
                    <a:lnTo>
                      <a:pt x="644" y="162"/>
                    </a:lnTo>
                    <a:lnTo>
                      <a:pt x="642" y="166"/>
                    </a:lnTo>
                    <a:lnTo>
                      <a:pt x="639" y="168"/>
                    </a:lnTo>
                    <a:lnTo>
                      <a:pt x="641" y="164"/>
                    </a:lnTo>
                    <a:lnTo>
                      <a:pt x="641" y="162"/>
                    </a:lnTo>
                    <a:lnTo>
                      <a:pt x="641" y="160"/>
                    </a:lnTo>
                    <a:lnTo>
                      <a:pt x="639" y="158"/>
                    </a:lnTo>
                    <a:lnTo>
                      <a:pt x="641" y="156"/>
                    </a:lnTo>
                    <a:lnTo>
                      <a:pt x="641" y="154"/>
                    </a:lnTo>
                    <a:lnTo>
                      <a:pt x="639" y="154"/>
                    </a:lnTo>
                    <a:lnTo>
                      <a:pt x="639" y="154"/>
                    </a:lnTo>
                    <a:lnTo>
                      <a:pt x="642" y="152"/>
                    </a:lnTo>
                    <a:lnTo>
                      <a:pt x="644" y="150"/>
                    </a:lnTo>
                    <a:lnTo>
                      <a:pt x="646" y="146"/>
                    </a:lnTo>
                    <a:lnTo>
                      <a:pt x="648" y="142"/>
                    </a:lnTo>
                    <a:lnTo>
                      <a:pt x="648" y="138"/>
                    </a:lnTo>
                    <a:lnTo>
                      <a:pt x="646" y="134"/>
                    </a:lnTo>
                    <a:lnTo>
                      <a:pt x="646" y="130"/>
                    </a:lnTo>
                    <a:lnTo>
                      <a:pt x="650" y="129"/>
                    </a:lnTo>
                    <a:lnTo>
                      <a:pt x="639" y="119"/>
                    </a:lnTo>
                    <a:lnTo>
                      <a:pt x="637" y="119"/>
                    </a:lnTo>
                    <a:lnTo>
                      <a:pt x="596" y="127"/>
                    </a:lnTo>
                    <a:lnTo>
                      <a:pt x="588" y="125"/>
                    </a:lnTo>
                    <a:lnTo>
                      <a:pt x="588" y="123"/>
                    </a:lnTo>
                    <a:lnTo>
                      <a:pt x="596" y="121"/>
                    </a:lnTo>
                    <a:lnTo>
                      <a:pt x="603" y="119"/>
                    </a:lnTo>
                    <a:lnTo>
                      <a:pt x="609" y="115"/>
                    </a:lnTo>
                    <a:lnTo>
                      <a:pt x="615" y="109"/>
                    </a:lnTo>
                    <a:lnTo>
                      <a:pt x="617" y="107"/>
                    </a:lnTo>
                    <a:lnTo>
                      <a:pt x="619" y="103"/>
                    </a:lnTo>
                    <a:lnTo>
                      <a:pt x="619" y="99"/>
                    </a:lnTo>
                    <a:lnTo>
                      <a:pt x="621" y="93"/>
                    </a:lnTo>
                    <a:lnTo>
                      <a:pt x="621" y="82"/>
                    </a:lnTo>
                    <a:lnTo>
                      <a:pt x="621" y="76"/>
                    </a:lnTo>
                    <a:lnTo>
                      <a:pt x="621" y="72"/>
                    </a:lnTo>
                    <a:lnTo>
                      <a:pt x="621" y="68"/>
                    </a:lnTo>
                    <a:lnTo>
                      <a:pt x="621" y="66"/>
                    </a:lnTo>
                    <a:lnTo>
                      <a:pt x="619" y="66"/>
                    </a:lnTo>
                    <a:lnTo>
                      <a:pt x="617" y="68"/>
                    </a:lnTo>
                    <a:lnTo>
                      <a:pt x="615" y="66"/>
                    </a:lnTo>
                    <a:lnTo>
                      <a:pt x="611" y="66"/>
                    </a:lnTo>
                    <a:lnTo>
                      <a:pt x="605" y="66"/>
                    </a:lnTo>
                    <a:lnTo>
                      <a:pt x="603" y="66"/>
                    </a:lnTo>
                    <a:lnTo>
                      <a:pt x="603" y="64"/>
                    </a:lnTo>
                    <a:lnTo>
                      <a:pt x="603" y="64"/>
                    </a:lnTo>
                    <a:lnTo>
                      <a:pt x="605" y="64"/>
                    </a:lnTo>
                    <a:lnTo>
                      <a:pt x="605" y="62"/>
                    </a:lnTo>
                    <a:lnTo>
                      <a:pt x="605" y="62"/>
                    </a:lnTo>
                    <a:lnTo>
                      <a:pt x="611" y="60"/>
                    </a:lnTo>
                    <a:lnTo>
                      <a:pt x="611" y="58"/>
                    </a:lnTo>
                    <a:lnTo>
                      <a:pt x="611" y="58"/>
                    </a:lnTo>
                    <a:lnTo>
                      <a:pt x="613" y="60"/>
                    </a:lnTo>
                    <a:lnTo>
                      <a:pt x="617" y="60"/>
                    </a:lnTo>
                    <a:lnTo>
                      <a:pt x="619" y="58"/>
                    </a:lnTo>
                    <a:lnTo>
                      <a:pt x="615" y="54"/>
                    </a:lnTo>
                    <a:lnTo>
                      <a:pt x="613" y="52"/>
                    </a:lnTo>
                    <a:lnTo>
                      <a:pt x="613" y="50"/>
                    </a:lnTo>
                    <a:lnTo>
                      <a:pt x="611" y="41"/>
                    </a:lnTo>
                    <a:lnTo>
                      <a:pt x="607" y="37"/>
                    </a:lnTo>
                    <a:lnTo>
                      <a:pt x="601" y="33"/>
                    </a:lnTo>
                    <a:lnTo>
                      <a:pt x="598" y="33"/>
                    </a:lnTo>
                    <a:lnTo>
                      <a:pt x="598" y="39"/>
                    </a:lnTo>
                    <a:lnTo>
                      <a:pt x="590" y="43"/>
                    </a:lnTo>
                    <a:lnTo>
                      <a:pt x="586" y="43"/>
                    </a:lnTo>
                    <a:lnTo>
                      <a:pt x="584" y="41"/>
                    </a:lnTo>
                    <a:lnTo>
                      <a:pt x="582" y="35"/>
                    </a:lnTo>
                    <a:lnTo>
                      <a:pt x="578" y="33"/>
                    </a:lnTo>
                    <a:lnTo>
                      <a:pt x="574" y="31"/>
                    </a:lnTo>
                    <a:lnTo>
                      <a:pt x="570" y="27"/>
                    </a:lnTo>
                    <a:lnTo>
                      <a:pt x="564" y="25"/>
                    </a:lnTo>
                    <a:lnTo>
                      <a:pt x="555" y="25"/>
                    </a:lnTo>
                    <a:lnTo>
                      <a:pt x="545" y="21"/>
                    </a:lnTo>
                    <a:lnTo>
                      <a:pt x="545" y="11"/>
                    </a:lnTo>
                    <a:lnTo>
                      <a:pt x="543" y="13"/>
                    </a:lnTo>
                    <a:lnTo>
                      <a:pt x="541" y="17"/>
                    </a:lnTo>
                    <a:lnTo>
                      <a:pt x="537" y="17"/>
                    </a:lnTo>
                    <a:lnTo>
                      <a:pt x="533" y="21"/>
                    </a:lnTo>
                    <a:lnTo>
                      <a:pt x="523" y="27"/>
                    </a:lnTo>
                    <a:lnTo>
                      <a:pt x="521" y="27"/>
                    </a:lnTo>
                    <a:lnTo>
                      <a:pt x="521" y="27"/>
                    </a:lnTo>
                    <a:lnTo>
                      <a:pt x="521" y="27"/>
                    </a:lnTo>
                    <a:lnTo>
                      <a:pt x="521" y="27"/>
                    </a:lnTo>
                    <a:lnTo>
                      <a:pt x="521" y="27"/>
                    </a:lnTo>
                    <a:lnTo>
                      <a:pt x="521" y="27"/>
                    </a:lnTo>
                    <a:lnTo>
                      <a:pt x="519" y="27"/>
                    </a:lnTo>
                    <a:lnTo>
                      <a:pt x="516" y="27"/>
                    </a:lnTo>
                    <a:lnTo>
                      <a:pt x="516" y="27"/>
                    </a:lnTo>
                    <a:lnTo>
                      <a:pt x="512" y="25"/>
                    </a:lnTo>
                    <a:lnTo>
                      <a:pt x="510" y="25"/>
                    </a:lnTo>
                    <a:lnTo>
                      <a:pt x="508" y="27"/>
                    </a:lnTo>
                    <a:lnTo>
                      <a:pt x="506" y="27"/>
                    </a:lnTo>
                    <a:lnTo>
                      <a:pt x="506" y="27"/>
                    </a:lnTo>
                    <a:lnTo>
                      <a:pt x="504" y="29"/>
                    </a:lnTo>
                    <a:lnTo>
                      <a:pt x="504" y="29"/>
                    </a:lnTo>
                    <a:lnTo>
                      <a:pt x="502" y="29"/>
                    </a:lnTo>
                    <a:lnTo>
                      <a:pt x="488" y="29"/>
                    </a:lnTo>
                    <a:lnTo>
                      <a:pt x="488" y="29"/>
                    </a:lnTo>
                    <a:lnTo>
                      <a:pt x="486" y="29"/>
                    </a:lnTo>
                    <a:lnTo>
                      <a:pt x="486" y="27"/>
                    </a:lnTo>
                    <a:lnTo>
                      <a:pt x="484" y="25"/>
                    </a:lnTo>
                    <a:lnTo>
                      <a:pt x="484" y="21"/>
                    </a:lnTo>
                    <a:lnTo>
                      <a:pt x="484" y="21"/>
                    </a:lnTo>
                    <a:lnTo>
                      <a:pt x="484" y="17"/>
                    </a:lnTo>
                    <a:lnTo>
                      <a:pt x="480" y="15"/>
                    </a:lnTo>
                    <a:lnTo>
                      <a:pt x="465" y="11"/>
                    </a:lnTo>
                    <a:lnTo>
                      <a:pt x="445" y="7"/>
                    </a:lnTo>
                    <a:lnTo>
                      <a:pt x="432" y="2"/>
                    </a:lnTo>
                    <a:lnTo>
                      <a:pt x="418" y="0"/>
                    </a:lnTo>
                    <a:lnTo>
                      <a:pt x="418" y="0"/>
                    </a:lnTo>
                    <a:lnTo>
                      <a:pt x="414" y="0"/>
                    </a:lnTo>
                    <a:lnTo>
                      <a:pt x="406" y="4"/>
                    </a:lnTo>
                    <a:lnTo>
                      <a:pt x="404" y="4"/>
                    </a:lnTo>
                    <a:lnTo>
                      <a:pt x="404" y="4"/>
                    </a:lnTo>
                    <a:lnTo>
                      <a:pt x="404" y="4"/>
                    </a:lnTo>
                    <a:lnTo>
                      <a:pt x="396" y="4"/>
                    </a:lnTo>
                    <a:lnTo>
                      <a:pt x="394" y="4"/>
                    </a:lnTo>
                    <a:lnTo>
                      <a:pt x="390" y="2"/>
                    </a:lnTo>
                    <a:lnTo>
                      <a:pt x="389" y="11"/>
                    </a:lnTo>
                    <a:lnTo>
                      <a:pt x="389" y="17"/>
                    </a:lnTo>
                    <a:lnTo>
                      <a:pt x="389" y="25"/>
                    </a:lnTo>
                    <a:lnTo>
                      <a:pt x="390" y="29"/>
                    </a:lnTo>
                    <a:lnTo>
                      <a:pt x="394" y="35"/>
                    </a:lnTo>
                    <a:lnTo>
                      <a:pt x="396" y="41"/>
                    </a:lnTo>
                    <a:lnTo>
                      <a:pt x="396" y="47"/>
                    </a:lnTo>
                    <a:lnTo>
                      <a:pt x="396" y="48"/>
                    </a:lnTo>
                    <a:lnTo>
                      <a:pt x="402" y="52"/>
                    </a:lnTo>
                    <a:lnTo>
                      <a:pt x="410" y="60"/>
                    </a:lnTo>
                    <a:lnTo>
                      <a:pt x="416" y="62"/>
                    </a:lnTo>
                    <a:lnTo>
                      <a:pt x="418" y="66"/>
                    </a:lnTo>
                    <a:lnTo>
                      <a:pt x="424" y="82"/>
                    </a:lnTo>
                    <a:lnTo>
                      <a:pt x="418" y="86"/>
                    </a:lnTo>
                    <a:lnTo>
                      <a:pt x="420" y="88"/>
                    </a:lnTo>
                    <a:lnTo>
                      <a:pt x="420" y="88"/>
                    </a:lnTo>
                    <a:lnTo>
                      <a:pt x="424" y="86"/>
                    </a:lnTo>
                    <a:lnTo>
                      <a:pt x="428" y="86"/>
                    </a:lnTo>
                    <a:lnTo>
                      <a:pt x="430" y="88"/>
                    </a:lnTo>
                    <a:lnTo>
                      <a:pt x="430" y="89"/>
                    </a:lnTo>
                    <a:lnTo>
                      <a:pt x="432" y="93"/>
                    </a:lnTo>
                    <a:lnTo>
                      <a:pt x="445" y="109"/>
                    </a:lnTo>
                    <a:lnTo>
                      <a:pt x="449" y="115"/>
                    </a:lnTo>
                    <a:lnTo>
                      <a:pt x="449" y="123"/>
                    </a:lnTo>
                    <a:lnTo>
                      <a:pt x="449" y="127"/>
                    </a:lnTo>
                    <a:lnTo>
                      <a:pt x="445" y="129"/>
                    </a:lnTo>
                    <a:lnTo>
                      <a:pt x="439" y="132"/>
                    </a:lnTo>
                    <a:lnTo>
                      <a:pt x="432" y="138"/>
                    </a:lnTo>
                    <a:lnTo>
                      <a:pt x="430" y="140"/>
                    </a:lnTo>
                    <a:lnTo>
                      <a:pt x="426" y="142"/>
                    </a:lnTo>
                    <a:lnTo>
                      <a:pt x="406" y="142"/>
                    </a:lnTo>
                    <a:lnTo>
                      <a:pt x="392" y="144"/>
                    </a:lnTo>
                    <a:lnTo>
                      <a:pt x="389" y="144"/>
                    </a:lnTo>
                    <a:lnTo>
                      <a:pt x="387" y="146"/>
                    </a:lnTo>
                    <a:lnTo>
                      <a:pt x="387" y="148"/>
                    </a:lnTo>
                    <a:lnTo>
                      <a:pt x="385" y="152"/>
                    </a:lnTo>
                    <a:lnTo>
                      <a:pt x="387" y="156"/>
                    </a:lnTo>
                    <a:lnTo>
                      <a:pt x="389" y="152"/>
                    </a:lnTo>
                    <a:lnTo>
                      <a:pt x="392" y="152"/>
                    </a:lnTo>
                    <a:lnTo>
                      <a:pt x="394" y="154"/>
                    </a:lnTo>
                    <a:lnTo>
                      <a:pt x="396" y="156"/>
                    </a:lnTo>
                    <a:lnTo>
                      <a:pt x="396" y="158"/>
                    </a:lnTo>
                    <a:lnTo>
                      <a:pt x="392" y="158"/>
                    </a:lnTo>
                    <a:lnTo>
                      <a:pt x="389" y="158"/>
                    </a:lnTo>
                    <a:lnTo>
                      <a:pt x="383" y="160"/>
                    </a:lnTo>
                    <a:lnTo>
                      <a:pt x="381" y="164"/>
                    </a:lnTo>
                    <a:lnTo>
                      <a:pt x="381" y="170"/>
                    </a:lnTo>
                    <a:lnTo>
                      <a:pt x="385" y="177"/>
                    </a:lnTo>
                    <a:lnTo>
                      <a:pt x="390" y="181"/>
                    </a:lnTo>
                    <a:lnTo>
                      <a:pt x="394" y="183"/>
                    </a:lnTo>
                    <a:lnTo>
                      <a:pt x="396" y="181"/>
                    </a:lnTo>
                    <a:lnTo>
                      <a:pt x="402" y="177"/>
                    </a:lnTo>
                    <a:lnTo>
                      <a:pt x="404" y="175"/>
                    </a:lnTo>
                    <a:lnTo>
                      <a:pt x="410" y="177"/>
                    </a:lnTo>
                    <a:lnTo>
                      <a:pt x="416" y="175"/>
                    </a:lnTo>
                    <a:lnTo>
                      <a:pt x="424" y="173"/>
                    </a:lnTo>
                    <a:lnTo>
                      <a:pt x="430" y="173"/>
                    </a:lnTo>
                    <a:lnTo>
                      <a:pt x="430" y="173"/>
                    </a:lnTo>
                    <a:lnTo>
                      <a:pt x="428" y="175"/>
                    </a:lnTo>
                    <a:lnTo>
                      <a:pt x="428" y="177"/>
                    </a:lnTo>
                    <a:lnTo>
                      <a:pt x="432" y="175"/>
                    </a:lnTo>
                    <a:lnTo>
                      <a:pt x="437" y="170"/>
                    </a:lnTo>
                    <a:lnTo>
                      <a:pt x="441" y="170"/>
                    </a:lnTo>
                    <a:lnTo>
                      <a:pt x="439" y="173"/>
                    </a:lnTo>
                    <a:lnTo>
                      <a:pt x="437" y="177"/>
                    </a:lnTo>
                    <a:lnTo>
                      <a:pt x="435" y="181"/>
                    </a:lnTo>
                    <a:lnTo>
                      <a:pt x="433" y="183"/>
                    </a:lnTo>
                    <a:lnTo>
                      <a:pt x="430" y="183"/>
                    </a:lnTo>
                    <a:lnTo>
                      <a:pt x="424" y="185"/>
                    </a:lnTo>
                    <a:lnTo>
                      <a:pt x="422" y="187"/>
                    </a:lnTo>
                    <a:lnTo>
                      <a:pt x="422" y="189"/>
                    </a:lnTo>
                    <a:lnTo>
                      <a:pt x="422" y="193"/>
                    </a:lnTo>
                    <a:lnTo>
                      <a:pt x="420" y="197"/>
                    </a:lnTo>
                    <a:lnTo>
                      <a:pt x="418" y="203"/>
                    </a:lnTo>
                    <a:lnTo>
                      <a:pt x="416" y="209"/>
                    </a:lnTo>
                    <a:lnTo>
                      <a:pt x="418" y="209"/>
                    </a:lnTo>
                    <a:lnTo>
                      <a:pt x="420" y="216"/>
                    </a:lnTo>
                    <a:lnTo>
                      <a:pt x="426" y="224"/>
                    </a:lnTo>
                    <a:lnTo>
                      <a:pt x="426" y="224"/>
                    </a:lnTo>
                    <a:lnTo>
                      <a:pt x="430" y="220"/>
                    </a:lnTo>
                    <a:lnTo>
                      <a:pt x="433" y="218"/>
                    </a:lnTo>
                    <a:lnTo>
                      <a:pt x="439" y="216"/>
                    </a:lnTo>
                    <a:lnTo>
                      <a:pt x="443" y="218"/>
                    </a:lnTo>
                    <a:lnTo>
                      <a:pt x="443" y="220"/>
                    </a:lnTo>
                    <a:lnTo>
                      <a:pt x="443" y="222"/>
                    </a:lnTo>
                    <a:lnTo>
                      <a:pt x="445" y="226"/>
                    </a:lnTo>
                    <a:lnTo>
                      <a:pt x="449" y="228"/>
                    </a:lnTo>
                    <a:lnTo>
                      <a:pt x="451" y="232"/>
                    </a:lnTo>
                    <a:lnTo>
                      <a:pt x="451" y="236"/>
                    </a:lnTo>
                    <a:lnTo>
                      <a:pt x="451" y="242"/>
                    </a:lnTo>
                    <a:lnTo>
                      <a:pt x="449" y="248"/>
                    </a:lnTo>
                    <a:lnTo>
                      <a:pt x="447" y="252"/>
                    </a:lnTo>
                    <a:lnTo>
                      <a:pt x="443" y="253"/>
                    </a:lnTo>
                    <a:lnTo>
                      <a:pt x="439" y="252"/>
                    </a:lnTo>
                    <a:lnTo>
                      <a:pt x="433" y="248"/>
                    </a:lnTo>
                    <a:lnTo>
                      <a:pt x="430" y="246"/>
                    </a:lnTo>
                    <a:lnTo>
                      <a:pt x="426" y="246"/>
                    </a:lnTo>
                    <a:lnTo>
                      <a:pt x="420" y="250"/>
                    </a:lnTo>
                    <a:lnTo>
                      <a:pt x="433" y="277"/>
                    </a:lnTo>
                    <a:lnTo>
                      <a:pt x="439" y="285"/>
                    </a:lnTo>
                    <a:lnTo>
                      <a:pt x="445" y="289"/>
                    </a:lnTo>
                    <a:lnTo>
                      <a:pt x="449" y="291"/>
                    </a:lnTo>
                    <a:lnTo>
                      <a:pt x="451" y="287"/>
                    </a:lnTo>
                    <a:lnTo>
                      <a:pt x="453" y="287"/>
                    </a:lnTo>
                    <a:lnTo>
                      <a:pt x="457" y="287"/>
                    </a:lnTo>
                    <a:lnTo>
                      <a:pt x="463" y="291"/>
                    </a:lnTo>
                    <a:lnTo>
                      <a:pt x="484" y="291"/>
                    </a:lnTo>
                    <a:lnTo>
                      <a:pt x="492" y="293"/>
                    </a:lnTo>
                    <a:lnTo>
                      <a:pt x="498" y="296"/>
                    </a:lnTo>
                    <a:lnTo>
                      <a:pt x="508" y="304"/>
                    </a:lnTo>
                    <a:lnTo>
                      <a:pt x="514" y="308"/>
                    </a:lnTo>
                    <a:lnTo>
                      <a:pt x="514" y="312"/>
                    </a:lnTo>
                    <a:lnTo>
                      <a:pt x="517" y="322"/>
                    </a:lnTo>
                    <a:lnTo>
                      <a:pt x="521" y="330"/>
                    </a:lnTo>
                    <a:lnTo>
                      <a:pt x="525" y="334"/>
                    </a:lnTo>
                    <a:lnTo>
                      <a:pt x="527" y="335"/>
                    </a:lnTo>
                    <a:lnTo>
                      <a:pt x="535" y="339"/>
                    </a:lnTo>
                    <a:lnTo>
                      <a:pt x="537" y="341"/>
                    </a:lnTo>
                    <a:lnTo>
                      <a:pt x="537" y="345"/>
                    </a:lnTo>
                    <a:lnTo>
                      <a:pt x="539" y="353"/>
                    </a:lnTo>
                    <a:lnTo>
                      <a:pt x="541" y="363"/>
                    </a:lnTo>
                    <a:lnTo>
                      <a:pt x="545" y="369"/>
                    </a:lnTo>
                    <a:lnTo>
                      <a:pt x="558" y="376"/>
                    </a:lnTo>
                    <a:lnTo>
                      <a:pt x="564" y="378"/>
                    </a:lnTo>
                    <a:lnTo>
                      <a:pt x="578" y="380"/>
                    </a:lnTo>
                    <a:lnTo>
                      <a:pt x="586" y="384"/>
                    </a:lnTo>
                    <a:lnTo>
                      <a:pt x="588" y="388"/>
                    </a:lnTo>
                    <a:lnTo>
                      <a:pt x="586" y="388"/>
                    </a:lnTo>
                    <a:lnTo>
                      <a:pt x="576" y="386"/>
                    </a:lnTo>
                    <a:lnTo>
                      <a:pt x="564" y="384"/>
                    </a:lnTo>
                    <a:lnTo>
                      <a:pt x="555" y="378"/>
                    </a:lnTo>
                    <a:lnTo>
                      <a:pt x="553" y="376"/>
                    </a:lnTo>
                    <a:lnTo>
                      <a:pt x="549" y="376"/>
                    </a:lnTo>
                    <a:lnTo>
                      <a:pt x="545" y="375"/>
                    </a:lnTo>
                    <a:lnTo>
                      <a:pt x="543" y="373"/>
                    </a:lnTo>
                    <a:lnTo>
                      <a:pt x="531" y="355"/>
                    </a:lnTo>
                    <a:lnTo>
                      <a:pt x="529" y="347"/>
                    </a:lnTo>
                    <a:lnTo>
                      <a:pt x="527" y="343"/>
                    </a:lnTo>
                    <a:lnTo>
                      <a:pt x="521" y="339"/>
                    </a:lnTo>
                    <a:lnTo>
                      <a:pt x="516" y="332"/>
                    </a:lnTo>
                    <a:lnTo>
                      <a:pt x="500" y="304"/>
                    </a:lnTo>
                    <a:lnTo>
                      <a:pt x="496" y="298"/>
                    </a:lnTo>
                    <a:lnTo>
                      <a:pt x="494" y="298"/>
                    </a:lnTo>
                    <a:lnTo>
                      <a:pt x="488" y="298"/>
                    </a:lnTo>
                    <a:lnTo>
                      <a:pt x="486" y="296"/>
                    </a:lnTo>
                    <a:lnTo>
                      <a:pt x="482" y="296"/>
                    </a:lnTo>
                    <a:lnTo>
                      <a:pt x="480" y="298"/>
                    </a:lnTo>
                    <a:lnTo>
                      <a:pt x="467" y="298"/>
                    </a:lnTo>
                    <a:lnTo>
                      <a:pt x="453" y="300"/>
                    </a:lnTo>
                    <a:lnTo>
                      <a:pt x="451" y="304"/>
                    </a:lnTo>
                    <a:lnTo>
                      <a:pt x="443" y="304"/>
                    </a:lnTo>
                    <a:lnTo>
                      <a:pt x="432" y="306"/>
                    </a:lnTo>
                    <a:lnTo>
                      <a:pt x="426" y="308"/>
                    </a:lnTo>
                    <a:lnTo>
                      <a:pt x="412" y="304"/>
                    </a:lnTo>
                    <a:lnTo>
                      <a:pt x="406" y="300"/>
                    </a:lnTo>
                    <a:lnTo>
                      <a:pt x="400" y="296"/>
                    </a:lnTo>
                    <a:lnTo>
                      <a:pt x="394" y="291"/>
                    </a:lnTo>
                    <a:lnTo>
                      <a:pt x="392" y="291"/>
                    </a:lnTo>
                    <a:lnTo>
                      <a:pt x="390" y="291"/>
                    </a:lnTo>
                    <a:lnTo>
                      <a:pt x="387" y="291"/>
                    </a:lnTo>
                    <a:lnTo>
                      <a:pt x="383" y="293"/>
                    </a:lnTo>
                    <a:lnTo>
                      <a:pt x="379" y="296"/>
                    </a:lnTo>
                    <a:lnTo>
                      <a:pt x="377" y="300"/>
                    </a:lnTo>
                    <a:lnTo>
                      <a:pt x="373" y="308"/>
                    </a:lnTo>
                    <a:lnTo>
                      <a:pt x="369" y="324"/>
                    </a:lnTo>
                    <a:lnTo>
                      <a:pt x="363" y="339"/>
                    </a:lnTo>
                    <a:lnTo>
                      <a:pt x="361" y="343"/>
                    </a:lnTo>
                    <a:lnTo>
                      <a:pt x="361" y="349"/>
                    </a:lnTo>
                    <a:lnTo>
                      <a:pt x="361" y="353"/>
                    </a:lnTo>
                    <a:lnTo>
                      <a:pt x="365" y="361"/>
                    </a:lnTo>
                    <a:lnTo>
                      <a:pt x="365" y="365"/>
                    </a:lnTo>
                    <a:lnTo>
                      <a:pt x="367" y="369"/>
                    </a:lnTo>
                    <a:lnTo>
                      <a:pt x="369" y="373"/>
                    </a:lnTo>
                    <a:lnTo>
                      <a:pt x="371" y="375"/>
                    </a:lnTo>
                    <a:lnTo>
                      <a:pt x="375" y="386"/>
                    </a:lnTo>
                    <a:lnTo>
                      <a:pt x="375" y="388"/>
                    </a:lnTo>
                    <a:lnTo>
                      <a:pt x="373" y="396"/>
                    </a:lnTo>
                    <a:lnTo>
                      <a:pt x="371" y="398"/>
                    </a:lnTo>
                    <a:lnTo>
                      <a:pt x="367" y="402"/>
                    </a:lnTo>
                    <a:lnTo>
                      <a:pt x="363" y="408"/>
                    </a:lnTo>
                    <a:lnTo>
                      <a:pt x="363" y="416"/>
                    </a:lnTo>
                    <a:lnTo>
                      <a:pt x="365" y="433"/>
                    </a:lnTo>
                    <a:lnTo>
                      <a:pt x="365" y="441"/>
                    </a:lnTo>
                    <a:lnTo>
                      <a:pt x="363" y="435"/>
                    </a:lnTo>
                    <a:lnTo>
                      <a:pt x="361" y="427"/>
                    </a:lnTo>
                    <a:lnTo>
                      <a:pt x="361" y="412"/>
                    </a:lnTo>
                    <a:lnTo>
                      <a:pt x="363" y="404"/>
                    </a:lnTo>
                    <a:lnTo>
                      <a:pt x="365" y="398"/>
                    </a:lnTo>
                    <a:lnTo>
                      <a:pt x="369" y="394"/>
                    </a:lnTo>
                    <a:lnTo>
                      <a:pt x="373" y="390"/>
                    </a:lnTo>
                    <a:lnTo>
                      <a:pt x="373" y="388"/>
                    </a:lnTo>
                    <a:lnTo>
                      <a:pt x="367" y="384"/>
                    </a:lnTo>
                    <a:lnTo>
                      <a:pt x="351" y="382"/>
                    </a:lnTo>
                    <a:lnTo>
                      <a:pt x="346" y="378"/>
                    </a:lnTo>
                    <a:lnTo>
                      <a:pt x="344" y="376"/>
                    </a:lnTo>
                    <a:lnTo>
                      <a:pt x="342" y="373"/>
                    </a:lnTo>
                    <a:lnTo>
                      <a:pt x="340" y="369"/>
                    </a:lnTo>
                    <a:lnTo>
                      <a:pt x="336" y="367"/>
                    </a:lnTo>
                    <a:lnTo>
                      <a:pt x="328" y="367"/>
                    </a:lnTo>
                    <a:lnTo>
                      <a:pt x="326" y="369"/>
                    </a:lnTo>
                    <a:lnTo>
                      <a:pt x="324" y="371"/>
                    </a:lnTo>
                    <a:lnTo>
                      <a:pt x="322" y="375"/>
                    </a:lnTo>
                    <a:lnTo>
                      <a:pt x="320" y="384"/>
                    </a:lnTo>
                    <a:lnTo>
                      <a:pt x="320" y="390"/>
                    </a:lnTo>
                    <a:lnTo>
                      <a:pt x="320" y="394"/>
                    </a:lnTo>
                    <a:lnTo>
                      <a:pt x="322" y="394"/>
                    </a:lnTo>
                    <a:lnTo>
                      <a:pt x="330" y="392"/>
                    </a:lnTo>
                    <a:lnTo>
                      <a:pt x="334" y="398"/>
                    </a:lnTo>
                    <a:lnTo>
                      <a:pt x="334" y="408"/>
                    </a:lnTo>
                    <a:lnTo>
                      <a:pt x="330" y="417"/>
                    </a:lnTo>
                    <a:lnTo>
                      <a:pt x="326" y="423"/>
                    </a:lnTo>
                    <a:lnTo>
                      <a:pt x="324" y="425"/>
                    </a:lnTo>
                    <a:lnTo>
                      <a:pt x="322" y="425"/>
                    </a:lnTo>
                    <a:lnTo>
                      <a:pt x="320" y="427"/>
                    </a:lnTo>
                    <a:lnTo>
                      <a:pt x="318" y="427"/>
                    </a:lnTo>
                    <a:lnTo>
                      <a:pt x="314" y="425"/>
                    </a:lnTo>
                    <a:lnTo>
                      <a:pt x="312" y="423"/>
                    </a:lnTo>
                    <a:lnTo>
                      <a:pt x="312" y="419"/>
                    </a:lnTo>
                    <a:lnTo>
                      <a:pt x="310" y="419"/>
                    </a:lnTo>
                    <a:lnTo>
                      <a:pt x="308" y="417"/>
                    </a:lnTo>
                    <a:lnTo>
                      <a:pt x="306" y="414"/>
                    </a:lnTo>
                    <a:lnTo>
                      <a:pt x="305" y="414"/>
                    </a:lnTo>
                    <a:lnTo>
                      <a:pt x="301" y="414"/>
                    </a:lnTo>
                    <a:lnTo>
                      <a:pt x="299" y="414"/>
                    </a:lnTo>
                    <a:lnTo>
                      <a:pt x="297" y="416"/>
                    </a:lnTo>
                    <a:lnTo>
                      <a:pt x="295" y="414"/>
                    </a:lnTo>
                    <a:lnTo>
                      <a:pt x="293" y="410"/>
                    </a:lnTo>
                    <a:lnTo>
                      <a:pt x="291" y="400"/>
                    </a:lnTo>
                    <a:lnTo>
                      <a:pt x="293" y="398"/>
                    </a:lnTo>
                    <a:lnTo>
                      <a:pt x="301" y="398"/>
                    </a:lnTo>
                    <a:lnTo>
                      <a:pt x="303" y="396"/>
                    </a:lnTo>
                    <a:lnTo>
                      <a:pt x="306" y="394"/>
                    </a:lnTo>
                    <a:lnTo>
                      <a:pt x="308" y="390"/>
                    </a:lnTo>
                    <a:lnTo>
                      <a:pt x="308" y="386"/>
                    </a:lnTo>
                    <a:lnTo>
                      <a:pt x="306" y="382"/>
                    </a:lnTo>
                    <a:lnTo>
                      <a:pt x="303" y="382"/>
                    </a:lnTo>
                    <a:lnTo>
                      <a:pt x="301" y="380"/>
                    </a:lnTo>
                    <a:lnTo>
                      <a:pt x="303" y="376"/>
                    </a:lnTo>
                    <a:lnTo>
                      <a:pt x="303" y="375"/>
                    </a:lnTo>
                    <a:lnTo>
                      <a:pt x="297" y="371"/>
                    </a:lnTo>
                    <a:lnTo>
                      <a:pt x="289" y="363"/>
                    </a:lnTo>
                    <a:lnTo>
                      <a:pt x="285" y="351"/>
                    </a:lnTo>
                    <a:lnTo>
                      <a:pt x="285" y="343"/>
                    </a:lnTo>
                    <a:lnTo>
                      <a:pt x="285" y="341"/>
                    </a:lnTo>
                    <a:lnTo>
                      <a:pt x="273" y="337"/>
                    </a:lnTo>
                    <a:lnTo>
                      <a:pt x="222" y="345"/>
                    </a:lnTo>
                    <a:lnTo>
                      <a:pt x="197" y="351"/>
                    </a:lnTo>
                    <a:lnTo>
                      <a:pt x="193" y="349"/>
                    </a:lnTo>
                    <a:lnTo>
                      <a:pt x="191" y="347"/>
                    </a:lnTo>
                    <a:lnTo>
                      <a:pt x="189" y="345"/>
                    </a:lnTo>
                    <a:lnTo>
                      <a:pt x="164" y="349"/>
                    </a:lnTo>
                    <a:lnTo>
                      <a:pt x="150" y="353"/>
                    </a:lnTo>
                    <a:lnTo>
                      <a:pt x="144" y="361"/>
                    </a:lnTo>
                    <a:lnTo>
                      <a:pt x="142" y="363"/>
                    </a:lnTo>
                    <a:lnTo>
                      <a:pt x="137" y="369"/>
                    </a:lnTo>
                    <a:lnTo>
                      <a:pt x="131" y="373"/>
                    </a:lnTo>
                    <a:lnTo>
                      <a:pt x="129" y="376"/>
                    </a:lnTo>
                    <a:lnTo>
                      <a:pt x="129" y="380"/>
                    </a:lnTo>
                    <a:lnTo>
                      <a:pt x="131" y="382"/>
                    </a:lnTo>
                    <a:lnTo>
                      <a:pt x="135" y="384"/>
                    </a:lnTo>
                    <a:lnTo>
                      <a:pt x="137" y="386"/>
                    </a:lnTo>
                    <a:lnTo>
                      <a:pt x="137" y="390"/>
                    </a:lnTo>
                    <a:lnTo>
                      <a:pt x="137" y="392"/>
                    </a:lnTo>
                    <a:lnTo>
                      <a:pt x="135" y="394"/>
                    </a:lnTo>
                    <a:lnTo>
                      <a:pt x="133" y="396"/>
                    </a:lnTo>
                    <a:lnTo>
                      <a:pt x="127" y="394"/>
                    </a:lnTo>
                    <a:lnTo>
                      <a:pt x="123" y="394"/>
                    </a:lnTo>
                    <a:lnTo>
                      <a:pt x="123" y="396"/>
                    </a:lnTo>
                    <a:lnTo>
                      <a:pt x="121" y="402"/>
                    </a:lnTo>
                    <a:lnTo>
                      <a:pt x="117" y="410"/>
                    </a:lnTo>
                    <a:lnTo>
                      <a:pt x="117" y="414"/>
                    </a:lnTo>
                    <a:lnTo>
                      <a:pt x="117" y="435"/>
                    </a:lnTo>
                    <a:lnTo>
                      <a:pt x="119" y="443"/>
                    </a:lnTo>
                    <a:lnTo>
                      <a:pt x="127" y="447"/>
                    </a:lnTo>
                    <a:lnTo>
                      <a:pt x="164" y="447"/>
                    </a:lnTo>
                    <a:lnTo>
                      <a:pt x="170" y="449"/>
                    </a:lnTo>
                    <a:lnTo>
                      <a:pt x="176" y="457"/>
                    </a:lnTo>
                    <a:lnTo>
                      <a:pt x="172" y="455"/>
                    </a:lnTo>
                    <a:lnTo>
                      <a:pt x="166" y="451"/>
                    </a:lnTo>
                    <a:lnTo>
                      <a:pt x="162" y="451"/>
                    </a:lnTo>
                    <a:lnTo>
                      <a:pt x="158" y="451"/>
                    </a:lnTo>
                    <a:lnTo>
                      <a:pt x="156" y="451"/>
                    </a:lnTo>
                    <a:lnTo>
                      <a:pt x="152" y="457"/>
                    </a:lnTo>
                    <a:lnTo>
                      <a:pt x="152" y="460"/>
                    </a:lnTo>
                    <a:lnTo>
                      <a:pt x="152" y="464"/>
                    </a:lnTo>
                    <a:lnTo>
                      <a:pt x="150" y="466"/>
                    </a:lnTo>
                    <a:lnTo>
                      <a:pt x="150" y="468"/>
                    </a:lnTo>
                    <a:lnTo>
                      <a:pt x="148" y="470"/>
                    </a:lnTo>
                    <a:lnTo>
                      <a:pt x="146" y="472"/>
                    </a:lnTo>
                    <a:lnTo>
                      <a:pt x="146" y="480"/>
                    </a:lnTo>
                    <a:lnTo>
                      <a:pt x="146" y="484"/>
                    </a:lnTo>
                    <a:lnTo>
                      <a:pt x="146" y="488"/>
                    </a:lnTo>
                    <a:lnTo>
                      <a:pt x="144" y="494"/>
                    </a:lnTo>
                    <a:lnTo>
                      <a:pt x="142" y="499"/>
                    </a:lnTo>
                    <a:lnTo>
                      <a:pt x="142" y="501"/>
                    </a:lnTo>
                    <a:lnTo>
                      <a:pt x="142" y="505"/>
                    </a:lnTo>
                    <a:lnTo>
                      <a:pt x="142" y="507"/>
                    </a:lnTo>
                    <a:lnTo>
                      <a:pt x="144" y="507"/>
                    </a:lnTo>
                    <a:lnTo>
                      <a:pt x="144" y="511"/>
                    </a:lnTo>
                    <a:lnTo>
                      <a:pt x="146" y="531"/>
                    </a:lnTo>
                    <a:lnTo>
                      <a:pt x="146" y="540"/>
                    </a:lnTo>
                    <a:lnTo>
                      <a:pt x="144" y="548"/>
                    </a:lnTo>
                    <a:lnTo>
                      <a:pt x="140" y="558"/>
                    </a:lnTo>
                    <a:lnTo>
                      <a:pt x="127" y="580"/>
                    </a:lnTo>
                    <a:lnTo>
                      <a:pt x="125" y="583"/>
                    </a:lnTo>
                    <a:lnTo>
                      <a:pt x="123" y="589"/>
                    </a:lnTo>
                    <a:lnTo>
                      <a:pt x="123" y="597"/>
                    </a:lnTo>
                    <a:lnTo>
                      <a:pt x="121" y="628"/>
                    </a:lnTo>
                    <a:lnTo>
                      <a:pt x="119" y="638"/>
                    </a:lnTo>
                    <a:lnTo>
                      <a:pt x="117" y="644"/>
                    </a:lnTo>
                    <a:lnTo>
                      <a:pt x="111" y="642"/>
                    </a:lnTo>
                    <a:lnTo>
                      <a:pt x="107" y="640"/>
                    </a:lnTo>
                    <a:lnTo>
                      <a:pt x="99" y="642"/>
                    </a:lnTo>
                    <a:lnTo>
                      <a:pt x="92" y="638"/>
                    </a:lnTo>
                    <a:lnTo>
                      <a:pt x="74" y="638"/>
                    </a:lnTo>
                    <a:lnTo>
                      <a:pt x="70" y="640"/>
                    </a:lnTo>
                    <a:lnTo>
                      <a:pt x="66" y="642"/>
                    </a:lnTo>
                    <a:lnTo>
                      <a:pt x="64" y="646"/>
                    </a:lnTo>
                    <a:lnTo>
                      <a:pt x="64" y="648"/>
                    </a:lnTo>
                    <a:lnTo>
                      <a:pt x="64" y="650"/>
                    </a:lnTo>
                    <a:lnTo>
                      <a:pt x="64" y="652"/>
                    </a:lnTo>
                    <a:lnTo>
                      <a:pt x="64" y="656"/>
                    </a:lnTo>
                    <a:lnTo>
                      <a:pt x="64" y="656"/>
                    </a:lnTo>
                    <a:lnTo>
                      <a:pt x="70" y="662"/>
                    </a:lnTo>
                    <a:lnTo>
                      <a:pt x="60" y="665"/>
                    </a:lnTo>
                    <a:lnTo>
                      <a:pt x="58" y="665"/>
                    </a:lnTo>
                    <a:lnTo>
                      <a:pt x="60" y="671"/>
                    </a:lnTo>
                    <a:lnTo>
                      <a:pt x="60" y="675"/>
                    </a:lnTo>
                    <a:lnTo>
                      <a:pt x="60" y="681"/>
                    </a:lnTo>
                    <a:lnTo>
                      <a:pt x="62" y="685"/>
                    </a:lnTo>
                    <a:lnTo>
                      <a:pt x="66" y="689"/>
                    </a:lnTo>
                    <a:lnTo>
                      <a:pt x="70" y="691"/>
                    </a:lnTo>
                    <a:lnTo>
                      <a:pt x="84" y="693"/>
                    </a:lnTo>
                    <a:lnTo>
                      <a:pt x="92" y="695"/>
                    </a:lnTo>
                    <a:lnTo>
                      <a:pt x="97" y="697"/>
                    </a:lnTo>
                    <a:lnTo>
                      <a:pt x="101" y="697"/>
                    </a:lnTo>
                    <a:lnTo>
                      <a:pt x="105" y="695"/>
                    </a:lnTo>
                    <a:lnTo>
                      <a:pt x="107" y="693"/>
                    </a:lnTo>
                    <a:lnTo>
                      <a:pt x="107" y="691"/>
                    </a:lnTo>
                    <a:lnTo>
                      <a:pt x="109" y="691"/>
                    </a:lnTo>
                    <a:lnTo>
                      <a:pt x="119" y="708"/>
                    </a:lnTo>
                    <a:lnTo>
                      <a:pt x="121" y="714"/>
                    </a:lnTo>
                    <a:lnTo>
                      <a:pt x="121" y="724"/>
                    </a:lnTo>
                    <a:lnTo>
                      <a:pt x="117" y="732"/>
                    </a:lnTo>
                    <a:lnTo>
                      <a:pt x="115" y="736"/>
                    </a:lnTo>
                    <a:lnTo>
                      <a:pt x="115" y="742"/>
                    </a:lnTo>
                    <a:lnTo>
                      <a:pt x="117" y="747"/>
                    </a:lnTo>
                    <a:lnTo>
                      <a:pt x="117" y="749"/>
                    </a:lnTo>
                    <a:lnTo>
                      <a:pt x="119" y="749"/>
                    </a:lnTo>
                    <a:lnTo>
                      <a:pt x="117" y="751"/>
                    </a:lnTo>
                    <a:lnTo>
                      <a:pt x="111" y="755"/>
                    </a:lnTo>
                    <a:lnTo>
                      <a:pt x="109" y="757"/>
                    </a:lnTo>
                    <a:lnTo>
                      <a:pt x="105" y="765"/>
                    </a:lnTo>
                    <a:lnTo>
                      <a:pt x="101" y="767"/>
                    </a:lnTo>
                    <a:lnTo>
                      <a:pt x="94" y="771"/>
                    </a:lnTo>
                    <a:lnTo>
                      <a:pt x="92" y="773"/>
                    </a:lnTo>
                    <a:lnTo>
                      <a:pt x="88" y="781"/>
                    </a:lnTo>
                    <a:lnTo>
                      <a:pt x="86" y="783"/>
                    </a:lnTo>
                    <a:lnTo>
                      <a:pt x="76" y="785"/>
                    </a:lnTo>
                    <a:lnTo>
                      <a:pt x="74" y="785"/>
                    </a:lnTo>
                    <a:lnTo>
                      <a:pt x="72" y="787"/>
                    </a:lnTo>
                    <a:lnTo>
                      <a:pt x="68" y="788"/>
                    </a:lnTo>
                    <a:lnTo>
                      <a:pt x="68" y="790"/>
                    </a:lnTo>
                    <a:lnTo>
                      <a:pt x="66" y="794"/>
                    </a:lnTo>
                    <a:lnTo>
                      <a:pt x="64" y="796"/>
                    </a:lnTo>
                    <a:lnTo>
                      <a:pt x="62" y="796"/>
                    </a:lnTo>
                    <a:lnTo>
                      <a:pt x="60" y="796"/>
                    </a:lnTo>
                    <a:lnTo>
                      <a:pt x="60" y="798"/>
                    </a:lnTo>
                    <a:lnTo>
                      <a:pt x="58" y="800"/>
                    </a:lnTo>
                    <a:lnTo>
                      <a:pt x="58" y="804"/>
                    </a:lnTo>
                    <a:lnTo>
                      <a:pt x="62" y="806"/>
                    </a:lnTo>
                    <a:lnTo>
                      <a:pt x="64" y="808"/>
                    </a:lnTo>
                    <a:lnTo>
                      <a:pt x="76" y="814"/>
                    </a:lnTo>
                    <a:lnTo>
                      <a:pt x="80" y="818"/>
                    </a:lnTo>
                    <a:lnTo>
                      <a:pt x="82" y="820"/>
                    </a:lnTo>
                    <a:lnTo>
                      <a:pt x="82" y="822"/>
                    </a:lnTo>
                    <a:lnTo>
                      <a:pt x="82" y="824"/>
                    </a:lnTo>
                    <a:lnTo>
                      <a:pt x="80" y="826"/>
                    </a:lnTo>
                    <a:lnTo>
                      <a:pt x="80" y="826"/>
                    </a:lnTo>
                    <a:lnTo>
                      <a:pt x="78" y="828"/>
                    </a:lnTo>
                    <a:lnTo>
                      <a:pt x="74" y="833"/>
                    </a:lnTo>
                    <a:lnTo>
                      <a:pt x="70" y="839"/>
                    </a:lnTo>
                    <a:lnTo>
                      <a:pt x="66" y="841"/>
                    </a:lnTo>
                    <a:lnTo>
                      <a:pt x="51" y="841"/>
                    </a:lnTo>
                    <a:lnTo>
                      <a:pt x="35" y="847"/>
                    </a:lnTo>
                    <a:lnTo>
                      <a:pt x="27" y="853"/>
                    </a:lnTo>
                    <a:lnTo>
                      <a:pt x="23" y="855"/>
                    </a:lnTo>
                    <a:lnTo>
                      <a:pt x="19" y="855"/>
                    </a:lnTo>
                    <a:lnTo>
                      <a:pt x="10" y="851"/>
                    </a:lnTo>
                    <a:lnTo>
                      <a:pt x="11" y="859"/>
                    </a:lnTo>
                    <a:lnTo>
                      <a:pt x="10" y="861"/>
                    </a:lnTo>
                    <a:lnTo>
                      <a:pt x="4" y="863"/>
                    </a:lnTo>
                    <a:lnTo>
                      <a:pt x="4" y="859"/>
                    </a:lnTo>
                    <a:lnTo>
                      <a:pt x="0" y="857"/>
                    </a:lnTo>
                    <a:lnTo>
                      <a:pt x="0" y="857"/>
                    </a:lnTo>
                    <a:lnTo>
                      <a:pt x="0" y="1218"/>
                    </a:lnTo>
                    <a:lnTo>
                      <a:pt x="2" y="1218"/>
                    </a:lnTo>
                    <a:close/>
                    <a:moveTo>
                      <a:pt x="433" y="1938"/>
                    </a:moveTo>
                    <a:lnTo>
                      <a:pt x="437" y="1935"/>
                    </a:lnTo>
                    <a:lnTo>
                      <a:pt x="445" y="1931"/>
                    </a:lnTo>
                    <a:lnTo>
                      <a:pt x="449" y="1927"/>
                    </a:lnTo>
                    <a:lnTo>
                      <a:pt x="441" y="1921"/>
                    </a:lnTo>
                    <a:lnTo>
                      <a:pt x="439" y="1919"/>
                    </a:lnTo>
                    <a:lnTo>
                      <a:pt x="439" y="1919"/>
                    </a:lnTo>
                    <a:lnTo>
                      <a:pt x="439" y="1917"/>
                    </a:lnTo>
                    <a:lnTo>
                      <a:pt x="439" y="1917"/>
                    </a:lnTo>
                    <a:lnTo>
                      <a:pt x="439" y="1915"/>
                    </a:lnTo>
                    <a:lnTo>
                      <a:pt x="441" y="1915"/>
                    </a:lnTo>
                    <a:lnTo>
                      <a:pt x="441" y="1915"/>
                    </a:lnTo>
                    <a:lnTo>
                      <a:pt x="443" y="1917"/>
                    </a:lnTo>
                    <a:lnTo>
                      <a:pt x="443" y="1917"/>
                    </a:lnTo>
                    <a:lnTo>
                      <a:pt x="445" y="1917"/>
                    </a:lnTo>
                    <a:lnTo>
                      <a:pt x="445" y="1917"/>
                    </a:lnTo>
                    <a:lnTo>
                      <a:pt x="449" y="1919"/>
                    </a:lnTo>
                    <a:lnTo>
                      <a:pt x="449" y="1917"/>
                    </a:lnTo>
                    <a:lnTo>
                      <a:pt x="445" y="1915"/>
                    </a:lnTo>
                    <a:lnTo>
                      <a:pt x="445" y="1913"/>
                    </a:lnTo>
                    <a:lnTo>
                      <a:pt x="459" y="1921"/>
                    </a:lnTo>
                    <a:lnTo>
                      <a:pt x="465" y="1927"/>
                    </a:lnTo>
                    <a:lnTo>
                      <a:pt x="469" y="1935"/>
                    </a:lnTo>
                    <a:lnTo>
                      <a:pt x="451" y="1933"/>
                    </a:lnTo>
                    <a:lnTo>
                      <a:pt x="447" y="1933"/>
                    </a:lnTo>
                    <a:lnTo>
                      <a:pt x="445" y="1937"/>
                    </a:lnTo>
                    <a:lnTo>
                      <a:pt x="439" y="1938"/>
                    </a:lnTo>
                    <a:lnTo>
                      <a:pt x="432" y="1938"/>
                    </a:lnTo>
                    <a:lnTo>
                      <a:pt x="428" y="1938"/>
                    </a:lnTo>
                    <a:lnTo>
                      <a:pt x="433" y="193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04" name="Freeform 1021">
                <a:extLst>
                  <a:ext uri="{FF2B5EF4-FFF2-40B4-BE49-F238E27FC236}">
                    <a16:creationId xmlns:a16="http://schemas.microsoft.com/office/drawing/2014/main" id="{9FAEE58F-1DD9-4D58-81F6-D3C4BB96A7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" y="3082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2 h 2"/>
                  <a:gd name="T5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05" name="Freeform 1022">
                <a:extLst>
                  <a:ext uri="{FF2B5EF4-FFF2-40B4-BE49-F238E27FC236}">
                    <a16:creationId xmlns:a16="http://schemas.microsoft.com/office/drawing/2014/main" id="{56A0C210-B975-4431-B8EB-607E99B6FE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" y="3090"/>
                <a:ext cx="18" cy="4"/>
              </a:xfrm>
              <a:custGeom>
                <a:avLst/>
                <a:gdLst>
                  <a:gd name="T0" fmla="*/ 4 w 18"/>
                  <a:gd name="T1" fmla="*/ 2 h 4"/>
                  <a:gd name="T2" fmla="*/ 12 w 18"/>
                  <a:gd name="T3" fmla="*/ 2 h 4"/>
                  <a:gd name="T4" fmla="*/ 18 w 18"/>
                  <a:gd name="T5" fmla="*/ 4 h 4"/>
                  <a:gd name="T6" fmla="*/ 18 w 18"/>
                  <a:gd name="T7" fmla="*/ 4 h 4"/>
                  <a:gd name="T8" fmla="*/ 18 w 18"/>
                  <a:gd name="T9" fmla="*/ 4 h 4"/>
                  <a:gd name="T10" fmla="*/ 12 w 18"/>
                  <a:gd name="T11" fmla="*/ 2 h 4"/>
                  <a:gd name="T12" fmla="*/ 4 w 18"/>
                  <a:gd name="T13" fmla="*/ 2 h 4"/>
                  <a:gd name="T14" fmla="*/ 0 w 18"/>
                  <a:gd name="T15" fmla="*/ 2 h 4"/>
                  <a:gd name="T16" fmla="*/ 0 w 18"/>
                  <a:gd name="T17" fmla="*/ 0 h 4"/>
                  <a:gd name="T18" fmla="*/ 0 w 18"/>
                  <a:gd name="T19" fmla="*/ 2 h 4"/>
                  <a:gd name="T20" fmla="*/ 4 w 18"/>
                  <a:gd name="T2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" h="4">
                    <a:moveTo>
                      <a:pt x="4" y="2"/>
                    </a:moveTo>
                    <a:lnTo>
                      <a:pt x="12" y="2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2" y="2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06" name="Freeform 1023">
                <a:extLst>
                  <a:ext uri="{FF2B5EF4-FFF2-40B4-BE49-F238E27FC236}">
                    <a16:creationId xmlns:a16="http://schemas.microsoft.com/office/drawing/2014/main" id="{4049DD18-22BA-443F-8947-4435A203E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" y="3142"/>
                <a:ext cx="5" cy="8"/>
              </a:xfrm>
              <a:custGeom>
                <a:avLst/>
                <a:gdLst>
                  <a:gd name="T0" fmla="*/ 0 w 5"/>
                  <a:gd name="T1" fmla="*/ 8 h 8"/>
                  <a:gd name="T2" fmla="*/ 2 w 5"/>
                  <a:gd name="T3" fmla="*/ 4 h 8"/>
                  <a:gd name="T4" fmla="*/ 5 w 5"/>
                  <a:gd name="T5" fmla="*/ 0 h 8"/>
                  <a:gd name="T6" fmla="*/ 2 w 5"/>
                  <a:gd name="T7" fmla="*/ 4 h 8"/>
                  <a:gd name="T8" fmla="*/ 0 w 5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8">
                    <a:moveTo>
                      <a:pt x="0" y="8"/>
                    </a:moveTo>
                    <a:lnTo>
                      <a:pt x="2" y="4"/>
                    </a:lnTo>
                    <a:lnTo>
                      <a:pt x="5" y="0"/>
                    </a:lnTo>
                    <a:lnTo>
                      <a:pt x="2" y="4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07" name="Freeform 1024">
                <a:extLst>
                  <a:ext uri="{FF2B5EF4-FFF2-40B4-BE49-F238E27FC236}">
                    <a16:creationId xmlns:a16="http://schemas.microsoft.com/office/drawing/2014/main" id="{24AABEDF-9886-4CBB-BBC8-25BEBEBBD5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" y="3115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08" name="Rectangle 1025">
                <a:extLst>
                  <a:ext uri="{FF2B5EF4-FFF2-40B4-BE49-F238E27FC236}">
                    <a16:creationId xmlns:a16="http://schemas.microsoft.com/office/drawing/2014/main" id="{8694E7E3-B57F-4AD8-B0F2-47058BAFB4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" y="309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09" name="Freeform 1026">
                <a:extLst>
                  <a:ext uri="{FF2B5EF4-FFF2-40B4-BE49-F238E27FC236}">
                    <a16:creationId xmlns:a16="http://schemas.microsoft.com/office/drawing/2014/main" id="{48334206-0D18-42BD-8328-74C28088A3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3115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10" name="Freeform 1027">
                <a:extLst>
                  <a:ext uri="{FF2B5EF4-FFF2-40B4-BE49-F238E27FC236}">
                    <a16:creationId xmlns:a16="http://schemas.microsoft.com/office/drawing/2014/main" id="{73DB63EF-056C-4896-B6F9-DCF41899CF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3137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2 h 4"/>
                  <a:gd name="T4" fmla="*/ 2 w 2"/>
                  <a:gd name="T5" fmla="*/ 0 h 4"/>
                  <a:gd name="T6" fmla="*/ 0 w 2"/>
                  <a:gd name="T7" fmla="*/ 2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11" name="Freeform 1028">
                <a:extLst>
                  <a:ext uri="{FF2B5EF4-FFF2-40B4-BE49-F238E27FC236}">
                    <a16:creationId xmlns:a16="http://schemas.microsoft.com/office/drawing/2014/main" id="{2E1790D0-F4EE-48C2-A292-FF27707B6E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3131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12" name="Freeform 1029">
                <a:extLst>
                  <a:ext uri="{FF2B5EF4-FFF2-40B4-BE49-F238E27FC236}">
                    <a16:creationId xmlns:a16="http://schemas.microsoft.com/office/drawing/2014/main" id="{790930BC-30EF-44C5-AE76-70C3D62C62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3105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  <a:gd name="T5" fmla="*/ 0 h 2"/>
                  <a:gd name="T6" fmla="*/ 0 h 2"/>
                  <a:gd name="T7" fmla="*/ 0 h 2"/>
                  <a:gd name="T8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13" name="Rectangle 1030">
                <a:extLst>
                  <a:ext uri="{FF2B5EF4-FFF2-40B4-BE49-F238E27FC236}">
                    <a16:creationId xmlns:a16="http://schemas.microsoft.com/office/drawing/2014/main" id="{574E1EE1-4E84-4E3C-B205-78F996BB90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" y="313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14" name="Freeform 1031">
                <a:extLst>
                  <a:ext uri="{FF2B5EF4-FFF2-40B4-BE49-F238E27FC236}">
                    <a16:creationId xmlns:a16="http://schemas.microsoft.com/office/drawing/2014/main" id="{A57BB538-B0A5-402E-B06F-6351FDD7E7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" y="3168"/>
                <a:ext cx="0" cy="15"/>
              </a:xfrm>
              <a:custGeom>
                <a:avLst/>
                <a:gdLst>
                  <a:gd name="T0" fmla="*/ 14 h 15"/>
                  <a:gd name="T1" fmla="*/ 6 h 15"/>
                  <a:gd name="T2" fmla="*/ 0 h 15"/>
                  <a:gd name="T3" fmla="*/ 6 h 15"/>
                  <a:gd name="T4" fmla="*/ 14 h 15"/>
                  <a:gd name="T5" fmla="*/ 15 h 15"/>
                  <a:gd name="T6" fmla="*/ 15 h 15"/>
                  <a:gd name="T7" fmla="*/ 14 h 1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</a:cxnLst>
                <a:rect l="0" t="0" r="r" b="b"/>
                <a:pathLst>
                  <a:path h="15">
                    <a:moveTo>
                      <a:pt x="0" y="14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4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15" name="Rectangle 1032">
                <a:extLst>
                  <a:ext uri="{FF2B5EF4-FFF2-40B4-BE49-F238E27FC236}">
                    <a16:creationId xmlns:a16="http://schemas.microsoft.com/office/drawing/2014/main" id="{0037E5F1-B9AB-4303-8254-D2B8F80208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" y="313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16" name="Freeform 1033">
                <a:extLst>
                  <a:ext uri="{FF2B5EF4-FFF2-40B4-BE49-F238E27FC236}">
                    <a16:creationId xmlns:a16="http://schemas.microsoft.com/office/drawing/2014/main" id="{71399E39-5403-4100-A384-0CD79829CB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" y="3119"/>
                <a:ext cx="14" cy="8"/>
              </a:xfrm>
              <a:custGeom>
                <a:avLst/>
                <a:gdLst>
                  <a:gd name="T0" fmla="*/ 0 w 14"/>
                  <a:gd name="T1" fmla="*/ 8 h 8"/>
                  <a:gd name="T2" fmla="*/ 0 w 14"/>
                  <a:gd name="T3" fmla="*/ 8 h 8"/>
                  <a:gd name="T4" fmla="*/ 14 w 14"/>
                  <a:gd name="T5" fmla="*/ 0 h 8"/>
                  <a:gd name="T6" fmla="*/ 12 w 14"/>
                  <a:gd name="T7" fmla="*/ 0 h 8"/>
                  <a:gd name="T8" fmla="*/ 14 w 14"/>
                  <a:gd name="T9" fmla="*/ 0 h 8"/>
                  <a:gd name="T10" fmla="*/ 0 w 1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8">
                    <a:moveTo>
                      <a:pt x="0" y="8"/>
                    </a:moveTo>
                    <a:lnTo>
                      <a:pt x="0" y="8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17" name="Freeform 1034">
                <a:extLst>
                  <a:ext uri="{FF2B5EF4-FFF2-40B4-BE49-F238E27FC236}">
                    <a16:creationId xmlns:a16="http://schemas.microsoft.com/office/drawing/2014/main" id="{6C01DB0B-4507-474F-9827-7DD8C7AB32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3094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18" name="Rectangle 1035">
                <a:extLst>
                  <a:ext uri="{FF2B5EF4-FFF2-40B4-BE49-F238E27FC236}">
                    <a16:creationId xmlns:a16="http://schemas.microsoft.com/office/drawing/2014/main" id="{24B7AA78-F3A5-4DAB-BE53-29B1C93B60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" y="309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19" name="Freeform 1036">
                <a:extLst>
                  <a:ext uri="{FF2B5EF4-FFF2-40B4-BE49-F238E27FC236}">
                    <a16:creationId xmlns:a16="http://schemas.microsoft.com/office/drawing/2014/main" id="{1C30DD3C-E560-4424-97E9-E0CDB06683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" y="1702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20" name="Freeform 1037">
                <a:extLst>
                  <a:ext uri="{FF2B5EF4-FFF2-40B4-BE49-F238E27FC236}">
                    <a16:creationId xmlns:a16="http://schemas.microsoft.com/office/drawing/2014/main" id="{BC9E9E74-A0E9-47AE-98C7-4972A561A8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" y="172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21" name="Freeform 1038">
                <a:extLst>
                  <a:ext uri="{FF2B5EF4-FFF2-40B4-BE49-F238E27FC236}">
                    <a16:creationId xmlns:a16="http://schemas.microsoft.com/office/drawing/2014/main" id="{D28E6A0A-DD08-453B-8BBA-C1CED9AF35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" y="1715"/>
                <a:ext cx="0" cy="4"/>
              </a:xfrm>
              <a:custGeom>
                <a:avLst/>
                <a:gdLst>
                  <a:gd name="T0" fmla="*/ 0 h 4"/>
                  <a:gd name="T1" fmla="*/ 4 h 4"/>
                  <a:gd name="T2" fmla="*/ 0 h 4"/>
                  <a:gd name="T3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22" name="Freeform 1039">
                <a:extLst>
                  <a:ext uri="{FF2B5EF4-FFF2-40B4-BE49-F238E27FC236}">
                    <a16:creationId xmlns:a16="http://schemas.microsoft.com/office/drawing/2014/main" id="{B480CF42-E706-4775-8455-A8C58C9281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" y="1723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0 w 4"/>
                  <a:gd name="T3" fmla="*/ 2 h 2"/>
                  <a:gd name="T4" fmla="*/ 2 w 4"/>
                  <a:gd name="T5" fmla="*/ 2 h 2"/>
                  <a:gd name="T6" fmla="*/ 4 w 4"/>
                  <a:gd name="T7" fmla="*/ 0 h 2"/>
                  <a:gd name="T8" fmla="*/ 4 w 4"/>
                  <a:gd name="T9" fmla="*/ 0 h 2"/>
                  <a:gd name="T10" fmla="*/ 2 w 4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23" name="Freeform 1040">
                <a:extLst>
                  <a:ext uri="{FF2B5EF4-FFF2-40B4-BE49-F238E27FC236}">
                    <a16:creationId xmlns:a16="http://schemas.microsoft.com/office/drawing/2014/main" id="{2E9BD91F-BCE7-4452-8B6B-52A933F6AB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" y="1698"/>
                <a:ext cx="47" cy="11"/>
              </a:xfrm>
              <a:custGeom>
                <a:avLst/>
                <a:gdLst>
                  <a:gd name="T0" fmla="*/ 14 w 47"/>
                  <a:gd name="T1" fmla="*/ 2 h 11"/>
                  <a:gd name="T2" fmla="*/ 0 w 47"/>
                  <a:gd name="T3" fmla="*/ 0 h 11"/>
                  <a:gd name="T4" fmla="*/ 0 w 47"/>
                  <a:gd name="T5" fmla="*/ 0 h 11"/>
                  <a:gd name="T6" fmla="*/ 0 w 47"/>
                  <a:gd name="T7" fmla="*/ 0 h 11"/>
                  <a:gd name="T8" fmla="*/ 14 w 47"/>
                  <a:gd name="T9" fmla="*/ 2 h 11"/>
                  <a:gd name="T10" fmla="*/ 27 w 47"/>
                  <a:gd name="T11" fmla="*/ 7 h 11"/>
                  <a:gd name="T12" fmla="*/ 47 w 47"/>
                  <a:gd name="T13" fmla="*/ 11 h 11"/>
                  <a:gd name="T14" fmla="*/ 27 w 47"/>
                  <a:gd name="T15" fmla="*/ 7 h 11"/>
                  <a:gd name="T16" fmla="*/ 14 w 47"/>
                  <a:gd name="T17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11">
                    <a:moveTo>
                      <a:pt x="14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4" y="2"/>
                    </a:lnTo>
                    <a:lnTo>
                      <a:pt x="27" y="7"/>
                    </a:lnTo>
                    <a:lnTo>
                      <a:pt x="47" y="11"/>
                    </a:lnTo>
                    <a:lnTo>
                      <a:pt x="27" y="7"/>
                    </a:lnTo>
                    <a:lnTo>
                      <a:pt x="1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24" name="Freeform 1041">
                <a:extLst>
                  <a:ext uri="{FF2B5EF4-FFF2-40B4-BE49-F238E27FC236}">
                    <a16:creationId xmlns:a16="http://schemas.microsoft.com/office/drawing/2014/main" id="{640FFEC8-2A23-49D0-9BE7-8E89791F6A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" y="1725"/>
                <a:ext cx="5" cy="0"/>
              </a:xfrm>
              <a:custGeom>
                <a:avLst/>
                <a:gdLst>
                  <a:gd name="T0" fmla="*/ 0 w 5"/>
                  <a:gd name="T1" fmla="*/ 0 w 5"/>
                  <a:gd name="T2" fmla="*/ 0 w 5"/>
                  <a:gd name="T3" fmla="*/ 3 w 5"/>
                  <a:gd name="T4" fmla="*/ 5 w 5"/>
                  <a:gd name="T5" fmla="*/ 3 w 5"/>
                  <a:gd name="T6" fmla="*/ 0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5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25" name="Freeform 1042">
                <a:extLst>
                  <a:ext uri="{FF2B5EF4-FFF2-40B4-BE49-F238E27FC236}">
                    <a16:creationId xmlns:a16="http://schemas.microsoft.com/office/drawing/2014/main" id="{43E824B8-01CE-4722-BCAC-4A8171B6D4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" y="172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26" name="Rectangle 1043">
                <a:extLst>
                  <a:ext uri="{FF2B5EF4-FFF2-40B4-BE49-F238E27FC236}">
                    <a16:creationId xmlns:a16="http://schemas.microsoft.com/office/drawing/2014/main" id="{2F8AB659-9F25-4E80-9F2F-E8D8C4D6F1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" y="172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27" name="Freeform 1044">
                <a:extLst>
                  <a:ext uri="{FF2B5EF4-FFF2-40B4-BE49-F238E27FC236}">
                    <a16:creationId xmlns:a16="http://schemas.microsoft.com/office/drawing/2014/main" id="{622E4B67-BBFD-430E-80B9-28F62E3135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" y="1700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0 w 4"/>
                  <a:gd name="T3" fmla="*/ 0 h 2"/>
                  <a:gd name="T4" fmla="*/ 4 w 4"/>
                  <a:gd name="T5" fmla="*/ 2 h 2"/>
                  <a:gd name="T6" fmla="*/ 0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28" name="Freeform 1045">
                <a:extLst>
                  <a:ext uri="{FF2B5EF4-FFF2-40B4-BE49-F238E27FC236}">
                    <a16:creationId xmlns:a16="http://schemas.microsoft.com/office/drawing/2014/main" id="{240D31B9-A6C3-4546-B949-3651194AE5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0" y="2828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0 h 2"/>
                  <a:gd name="T4" fmla="*/ 4 w 4"/>
                  <a:gd name="T5" fmla="*/ 2 h 2"/>
                  <a:gd name="T6" fmla="*/ 2 w 4"/>
                  <a:gd name="T7" fmla="*/ 2 h 2"/>
                  <a:gd name="T8" fmla="*/ 0 w 4"/>
                  <a:gd name="T9" fmla="*/ 2 h 2"/>
                  <a:gd name="T10" fmla="*/ 2 w 4"/>
                  <a:gd name="T11" fmla="*/ 2 h 2"/>
                  <a:gd name="T12" fmla="*/ 4 w 4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29" name="Freeform 1046">
                <a:extLst>
                  <a:ext uri="{FF2B5EF4-FFF2-40B4-BE49-F238E27FC236}">
                    <a16:creationId xmlns:a16="http://schemas.microsoft.com/office/drawing/2014/main" id="{B8BCC4C0-721A-4388-8226-9F933D2B0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2811"/>
                <a:ext cx="8" cy="2"/>
              </a:xfrm>
              <a:custGeom>
                <a:avLst/>
                <a:gdLst>
                  <a:gd name="T0" fmla="*/ 8 w 8"/>
                  <a:gd name="T1" fmla="*/ 0 h 2"/>
                  <a:gd name="T2" fmla="*/ 6 w 8"/>
                  <a:gd name="T3" fmla="*/ 0 h 2"/>
                  <a:gd name="T4" fmla="*/ 0 w 8"/>
                  <a:gd name="T5" fmla="*/ 2 h 2"/>
                  <a:gd name="T6" fmla="*/ 0 w 8"/>
                  <a:gd name="T7" fmla="*/ 2 h 2"/>
                  <a:gd name="T8" fmla="*/ 6 w 8"/>
                  <a:gd name="T9" fmla="*/ 0 h 2"/>
                  <a:gd name="T10" fmla="*/ 8 w 8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30" name="Freeform 1047">
                <a:extLst>
                  <a:ext uri="{FF2B5EF4-FFF2-40B4-BE49-F238E27FC236}">
                    <a16:creationId xmlns:a16="http://schemas.microsoft.com/office/drawing/2014/main" id="{4B27C5E5-B1C7-4B30-BB19-44277B3980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6" y="2818"/>
                <a:ext cx="4" cy="8"/>
              </a:xfrm>
              <a:custGeom>
                <a:avLst/>
                <a:gdLst>
                  <a:gd name="T0" fmla="*/ 4 w 4"/>
                  <a:gd name="T1" fmla="*/ 0 h 8"/>
                  <a:gd name="T2" fmla="*/ 2 w 4"/>
                  <a:gd name="T3" fmla="*/ 6 h 8"/>
                  <a:gd name="T4" fmla="*/ 0 w 4"/>
                  <a:gd name="T5" fmla="*/ 8 h 8"/>
                  <a:gd name="T6" fmla="*/ 2 w 4"/>
                  <a:gd name="T7" fmla="*/ 6 h 8"/>
                  <a:gd name="T8" fmla="*/ 4 w 4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4" y="0"/>
                    </a:moveTo>
                    <a:lnTo>
                      <a:pt x="2" y="6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31" name="Freeform 1048">
                <a:extLst>
                  <a:ext uri="{FF2B5EF4-FFF2-40B4-BE49-F238E27FC236}">
                    <a16:creationId xmlns:a16="http://schemas.microsoft.com/office/drawing/2014/main" id="{3A383213-3243-463F-A8F1-CCE6940533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" y="278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32" name="Freeform 1049">
                <a:extLst>
                  <a:ext uri="{FF2B5EF4-FFF2-40B4-BE49-F238E27FC236}">
                    <a16:creationId xmlns:a16="http://schemas.microsoft.com/office/drawing/2014/main" id="{BCBF2929-74D8-4D8C-8419-BA36B59FB7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3" y="2772"/>
                <a:ext cx="2" cy="1"/>
              </a:xfrm>
              <a:custGeom>
                <a:avLst/>
                <a:gdLst>
                  <a:gd name="T0" fmla="*/ 2 w 2"/>
                  <a:gd name="T1" fmla="*/ 0 h 1"/>
                  <a:gd name="T2" fmla="*/ 0 w 2"/>
                  <a:gd name="T3" fmla="*/ 1 h 1"/>
                  <a:gd name="T4" fmla="*/ 0 w 2"/>
                  <a:gd name="T5" fmla="*/ 1 h 1"/>
                  <a:gd name="T6" fmla="*/ 0 w 2"/>
                  <a:gd name="T7" fmla="*/ 1 h 1"/>
                  <a:gd name="T8" fmla="*/ 2 w 2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33" name="Freeform 1050">
                <a:extLst>
                  <a:ext uri="{FF2B5EF4-FFF2-40B4-BE49-F238E27FC236}">
                    <a16:creationId xmlns:a16="http://schemas.microsoft.com/office/drawing/2014/main" id="{2845521A-BD3F-43B5-A730-CE915E39C2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7" y="2775"/>
                <a:ext cx="14" cy="28"/>
              </a:xfrm>
              <a:custGeom>
                <a:avLst/>
                <a:gdLst>
                  <a:gd name="T0" fmla="*/ 2 w 14"/>
                  <a:gd name="T1" fmla="*/ 2 h 28"/>
                  <a:gd name="T2" fmla="*/ 4 w 14"/>
                  <a:gd name="T3" fmla="*/ 4 h 28"/>
                  <a:gd name="T4" fmla="*/ 8 w 14"/>
                  <a:gd name="T5" fmla="*/ 4 h 28"/>
                  <a:gd name="T6" fmla="*/ 10 w 14"/>
                  <a:gd name="T7" fmla="*/ 6 h 28"/>
                  <a:gd name="T8" fmla="*/ 12 w 14"/>
                  <a:gd name="T9" fmla="*/ 10 h 28"/>
                  <a:gd name="T10" fmla="*/ 14 w 14"/>
                  <a:gd name="T11" fmla="*/ 12 h 28"/>
                  <a:gd name="T12" fmla="*/ 14 w 14"/>
                  <a:gd name="T13" fmla="*/ 14 h 28"/>
                  <a:gd name="T14" fmla="*/ 14 w 14"/>
                  <a:gd name="T15" fmla="*/ 18 h 28"/>
                  <a:gd name="T16" fmla="*/ 12 w 14"/>
                  <a:gd name="T17" fmla="*/ 22 h 28"/>
                  <a:gd name="T18" fmla="*/ 10 w 14"/>
                  <a:gd name="T19" fmla="*/ 26 h 28"/>
                  <a:gd name="T20" fmla="*/ 10 w 14"/>
                  <a:gd name="T21" fmla="*/ 28 h 28"/>
                  <a:gd name="T22" fmla="*/ 10 w 14"/>
                  <a:gd name="T23" fmla="*/ 26 h 28"/>
                  <a:gd name="T24" fmla="*/ 12 w 14"/>
                  <a:gd name="T25" fmla="*/ 22 h 28"/>
                  <a:gd name="T26" fmla="*/ 14 w 14"/>
                  <a:gd name="T27" fmla="*/ 18 h 28"/>
                  <a:gd name="T28" fmla="*/ 14 w 14"/>
                  <a:gd name="T29" fmla="*/ 14 h 28"/>
                  <a:gd name="T30" fmla="*/ 14 w 14"/>
                  <a:gd name="T31" fmla="*/ 12 h 28"/>
                  <a:gd name="T32" fmla="*/ 12 w 14"/>
                  <a:gd name="T33" fmla="*/ 10 h 28"/>
                  <a:gd name="T34" fmla="*/ 10 w 14"/>
                  <a:gd name="T35" fmla="*/ 6 h 28"/>
                  <a:gd name="T36" fmla="*/ 8 w 14"/>
                  <a:gd name="T37" fmla="*/ 4 h 28"/>
                  <a:gd name="T38" fmla="*/ 4 w 14"/>
                  <a:gd name="T39" fmla="*/ 4 h 28"/>
                  <a:gd name="T40" fmla="*/ 2 w 14"/>
                  <a:gd name="T41" fmla="*/ 2 h 28"/>
                  <a:gd name="T42" fmla="*/ 0 w 14"/>
                  <a:gd name="T43" fmla="*/ 0 h 28"/>
                  <a:gd name="T44" fmla="*/ 0 w 14"/>
                  <a:gd name="T45" fmla="*/ 0 h 28"/>
                  <a:gd name="T46" fmla="*/ 0 w 14"/>
                  <a:gd name="T47" fmla="*/ 0 h 28"/>
                  <a:gd name="T48" fmla="*/ 2 w 14"/>
                  <a:gd name="T49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4" h="28">
                    <a:moveTo>
                      <a:pt x="2" y="2"/>
                    </a:moveTo>
                    <a:lnTo>
                      <a:pt x="4" y="4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2" y="10"/>
                    </a:lnTo>
                    <a:lnTo>
                      <a:pt x="14" y="12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2" y="22"/>
                    </a:lnTo>
                    <a:lnTo>
                      <a:pt x="10" y="26"/>
                    </a:lnTo>
                    <a:lnTo>
                      <a:pt x="10" y="28"/>
                    </a:lnTo>
                    <a:lnTo>
                      <a:pt x="10" y="26"/>
                    </a:lnTo>
                    <a:lnTo>
                      <a:pt x="12" y="22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2" y="10"/>
                    </a:lnTo>
                    <a:lnTo>
                      <a:pt x="10" y="6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34" name="Freeform 1051">
                <a:extLst>
                  <a:ext uri="{FF2B5EF4-FFF2-40B4-BE49-F238E27FC236}">
                    <a16:creationId xmlns:a16="http://schemas.microsoft.com/office/drawing/2014/main" id="{49550927-D1AB-4634-8D59-15D07F3299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8" y="2775"/>
                <a:ext cx="4" cy="0"/>
              </a:xfrm>
              <a:custGeom>
                <a:avLst/>
                <a:gdLst>
                  <a:gd name="T0" fmla="*/ 4 w 4"/>
                  <a:gd name="T1" fmla="*/ 4 w 4"/>
                  <a:gd name="T2" fmla="*/ 2 w 4"/>
                  <a:gd name="T3" fmla="*/ 0 w 4"/>
                  <a:gd name="T4" fmla="*/ 2 w 4"/>
                  <a:gd name="T5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35" name="Freeform 1052">
                <a:extLst>
                  <a:ext uri="{FF2B5EF4-FFF2-40B4-BE49-F238E27FC236}">
                    <a16:creationId xmlns:a16="http://schemas.microsoft.com/office/drawing/2014/main" id="{62207A12-0E8A-4B1C-9907-AC8BE7A03F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7" y="2813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  <a:gd name="T3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36" name="Freeform 1053">
                <a:extLst>
                  <a:ext uri="{FF2B5EF4-FFF2-40B4-BE49-F238E27FC236}">
                    <a16:creationId xmlns:a16="http://schemas.microsoft.com/office/drawing/2014/main" id="{C3417906-28B4-4167-8D0D-6554E64409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2772"/>
                <a:ext cx="6" cy="13"/>
              </a:xfrm>
              <a:custGeom>
                <a:avLst/>
                <a:gdLst>
                  <a:gd name="T0" fmla="*/ 2 w 6"/>
                  <a:gd name="T1" fmla="*/ 9 h 13"/>
                  <a:gd name="T2" fmla="*/ 4 w 6"/>
                  <a:gd name="T3" fmla="*/ 1 h 13"/>
                  <a:gd name="T4" fmla="*/ 6 w 6"/>
                  <a:gd name="T5" fmla="*/ 0 h 13"/>
                  <a:gd name="T6" fmla="*/ 4 w 6"/>
                  <a:gd name="T7" fmla="*/ 1 h 13"/>
                  <a:gd name="T8" fmla="*/ 2 w 6"/>
                  <a:gd name="T9" fmla="*/ 9 h 13"/>
                  <a:gd name="T10" fmla="*/ 0 w 6"/>
                  <a:gd name="T11" fmla="*/ 13 h 13"/>
                  <a:gd name="T12" fmla="*/ 0 w 6"/>
                  <a:gd name="T13" fmla="*/ 13 h 13"/>
                  <a:gd name="T14" fmla="*/ 0 w 6"/>
                  <a:gd name="T15" fmla="*/ 13 h 13"/>
                  <a:gd name="T16" fmla="*/ 2 w 6"/>
                  <a:gd name="T17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3">
                    <a:moveTo>
                      <a:pt x="2" y="9"/>
                    </a:moveTo>
                    <a:lnTo>
                      <a:pt x="4" y="1"/>
                    </a:lnTo>
                    <a:lnTo>
                      <a:pt x="6" y="0"/>
                    </a:lnTo>
                    <a:lnTo>
                      <a:pt x="4" y="1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37" name="Freeform 1054">
                <a:extLst>
                  <a:ext uri="{FF2B5EF4-FFF2-40B4-BE49-F238E27FC236}">
                    <a16:creationId xmlns:a16="http://schemas.microsoft.com/office/drawing/2014/main" id="{2D8E8C9E-B904-478D-AFBA-85D70FBD6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2801"/>
                <a:ext cx="14" cy="4"/>
              </a:xfrm>
              <a:custGeom>
                <a:avLst/>
                <a:gdLst>
                  <a:gd name="T0" fmla="*/ 2 w 14"/>
                  <a:gd name="T1" fmla="*/ 4 h 4"/>
                  <a:gd name="T2" fmla="*/ 12 w 14"/>
                  <a:gd name="T3" fmla="*/ 0 h 4"/>
                  <a:gd name="T4" fmla="*/ 14 w 14"/>
                  <a:gd name="T5" fmla="*/ 0 h 4"/>
                  <a:gd name="T6" fmla="*/ 14 w 14"/>
                  <a:gd name="T7" fmla="*/ 2 h 4"/>
                  <a:gd name="T8" fmla="*/ 14 w 14"/>
                  <a:gd name="T9" fmla="*/ 0 h 4"/>
                  <a:gd name="T10" fmla="*/ 12 w 14"/>
                  <a:gd name="T11" fmla="*/ 0 h 4"/>
                  <a:gd name="T12" fmla="*/ 2 w 14"/>
                  <a:gd name="T13" fmla="*/ 4 h 4"/>
                  <a:gd name="T14" fmla="*/ 0 w 14"/>
                  <a:gd name="T15" fmla="*/ 2 h 4"/>
                  <a:gd name="T16" fmla="*/ 0 w 14"/>
                  <a:gd name="T17" fmla="*/ 2 h 4"/>
                  <a:gd name="T18" fmla="*/ 2 w 14"/>
                  <a:gd name="T1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4">
                    <a:moveTo>
                      <a:pt x="2" y="4"/>
                    </a:moveTo>
                    <a:lnTo>
                      <a:pt x="12" y="0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38" name="Freeform 1055">
                <a:extLst>
                  <a:ext uri="{FF2B5EF4-FFF2-40B4-BE49-F238E27FC236}">
                    <a16:creationId xmlns:a16="http://schemas.microsoft.com/office/drawing/2014/main" id="{20D6106B-4564-4063-8E4D-E1F6F7E6DC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8" y="3045"/>
                <a:ext cx="5" cy="2"/>
              </a:xfrm>
              <a:custGeom>
                <a:avLst/>
                <a:gdLst>
                  <a:gd name="T0" fmla="*/ 0 w 5"/>
                  <a:gd name="T1" fmla="*/ 0 h 2"/>
                  <a:gd name="T2" fmla="*/ 2 w 5"/>
                  <a:gd name="T3" fmla="*/ 2 h 2"/>
                  <a:gd name="T4" fmla="*/ 5 w 5"/>
                  <a:gd name="T5" fmla="*/ 2 h 2"/>
                  <a:gd name="T6" fmla="*/ 2 w 5"/>
                  <a:gd name="T7" fmla="*/ 2 h 2"/>
                  <a:gd name="T8" fmla="*/ 0 w 5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lnTo>
                      <a:pt x="2" y="2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39" name="Freeform 1056">
                <a:extLst>
                  <a:ext uri="{FF2B5EF4-FFF2-40B4-BE49-F238E27FC236}">
                    <a16:creationId xmlns:a16="http://schemas.microsoft.com/office/drawing/2014/main" id="{F6387FD4-C8B6-4FDC-878D-BCDAF2F07D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6" y="3113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2 h 4"/>
                  <a:gd name="T4" fmla="*/ 2 w 2"/>
                  <a:gd name="T5" fmla="*/ 4 h 4"/>
                  <a:gd name="T6" fmla="*/ 2 w 2"/>
                  <a:gd name="T7" fmla="*/ 2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40" name="Freeform 1057">
                <a:extLst>
                  <a:ext uri="{FF2B5EF4-FFF2-40B4-BE49-F238E27FC236}">
                    <a16:creationId xmlns:a16="http://schemas.microsoft.com/office/drawing/2014/main" id="{5F07AA41-1B9A-499F-8525-CD09905693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9" y="3217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41" name="Freeform 1058">
                <a:extLst>
                  <a:ext uri="{FF2B5EF4-FFF2-40B4-BE49-F238E27FC236}">
                    <a16:creationId xmlns:a16="http://schemas.microsoft.com/office/drawing/2014/main" id="{B1164AAA-C32F-48A8-BA39-F255B63D39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7" y="3223"/>
                <a:ext cx="2" cy="3"/>
              </a:xfrm>
              <a:custGeom>
                <a:avLst/>
                <a:gdLst>
                  <a:gd name="T0" fmla="*/ 0 w 2"/>
                  <a:gd name="T1" fmla="*/ 1 h 3"/>
                  <a:gd name="T2" fmla="*/ 0 w 2"/>
                  <a:gd name="T3" fmla="*/ 0 h 3"/>
                  <a:gd name="T4" fmla="*/ 0 w 2"/>
                  <a:gd name="T5" fmla="*/ 1 h 3"/>
                  <a:gd name="T6" fmla="*/ 2 w 2"/>
                  <a:gd name="T7" fmla="*/ 3 h 3"/>
                  <a:gd name="T8" fmla="*/ 2 w 2"/>
                  <a:gd name="T9" fmla="*/ 3 h 3"/>
                  <a:gd name="T10" fmla="*/ 2 w 2"/>
                  <a:gd name="T11" fmla="*/ 3 h 3"/>
                  <a:gd name="T12" fmla="*/ 0 w 2"/>
                  <a:gd name="T13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3">
                    <a:moveTo>
                      <a:pt x="0" y="1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42" name="Freeform 1059">
                <a:extLst>
                  <a:ext uri="{FF2B5EF4-FFF2-40B4-BE49-F238E27FC236}">
                    <a16:creationId xmlns:a16="http://schemas.microsoft.com/office/drawing/2014/main" id="{506D903F-B2DF-4667-A7B8-11BC6B7BD8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1" y="3096"/>
                <a:ext cx="4" cy="7"/>
              </a:xfrm>
              <a:custGeom>
                <a:avLst/>
                <a:gdLst>
                  <a:gd name="T0" fmla="*/ 4 w 4"/>
                  <a:gd name="T1" fmla="*/ 4 h 7"/>
                  <a:gd name="T2" fmla="*/ 4 w 4"/>
                  <a:gd name="T3" fmla="*/ 0 h 7"/>
                  <a:gd name="T4" fmla="*/ 4 w 4"/>
                  <a:gd name="T5" fmla="*/ 4 h 7"/>
                  <a:gd name="T6" fmla="*/ 2 w 4"/>
                  <a:gd name="T7" fmla="*/ 5 h 7"/>
                  <a:gd name="T8" fmla="*/ 0 w 4"/>
                  <a:gd name="T9" fmla="*/ 7 h 7"/>
                  <a:gd name="T10" fmla="*/ 2 w 4"/>
                  <a:gd name="T11" fmla="*/ 5 h 7"/>
                  <a:gd name="T12" fmla="*/ 4 w 4"/>
                  <a:gd name="T13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7">
                    <a:moveTo>
                      <a:pt x="4" y="4"/>
                    </a:moveTo>
                    <a:lnTo>
                      <a:pt x="4" y="0"/>
                    </a:lnTo>
                    <a:lnTo>
                      <a:pt x="4" y="4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43" name="Freeform 1060">
                <a:extLst>
                  <a:ext uri="{FF2B5EF4-FFF2-40B4-BE49-F238E27FC236}">
                    <a16:creationId xmlns:a16="http://schemas.microsoft.com/office/drawing/2014/main" id="{CEF2845F-2B34-4BDA-B670-76956C94A0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6" y="3213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44" name="Freeform 1061">
                <a:extLst>
                  <a:ext uri="{FF2B5EF4-FFF2-40B4-BE49-F238E27FC236}">
                    <a16:creationId xmlns:a16="http://schemas.microsoft.com/office/drawing/2014/main" id="{6D9A62BB-4E4E-4D0A-AFB2-FBE7C7CF30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8" y="3213"/>
                <a:ext cx="14" cy="4"/>
              </a:xfrm>
              <a:custGeom>
                <a:avLst/>
                <a:gdLst>
                  <a:gd name="T0" fmla="*/ 2 w 14"/>
                  <a:gd name="T1" fmla="*/ 2 h 4"/>
                  <a:gd name="T2" fmla="*/ 0 w 14"/>
                  <a:gd name="T3" fmla="*/ 0 h 4"/>
                  <a:gd name="T4" fmla="*/ 2 w 14"/>
                  <a:gd name="T5" fmla="*/ 2 h 4"/>
                  <a:gd name="T6" fmla="*/ 6 w 14"/>
                  <a:gd name="T7" fmla="*/ 2 h 4"/>
                  <a:gd name="T8" fmla="*/ 14 w 14"/>
                  <a:gd name="T9" fmla="*/ 4 h 4"/>
                  <a:gd name="T10" fmla="*/ 6 w 14"/>
                  <a:gd name="T11" fmla="*/ 2 h 4"/>
                  <a:gd name="T12" fmla="*/ 2 w 14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4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6" y="2"/>
                    </a:lnTo>
                    <a:lnTo>
                      <a:pt x="14" y="4"/>
                    </a:lnTo>
                    <a:lnTo>
                      <a:pt x="6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45" name="Freeform 1062">
                <a:extLst>
                  <a:ext uri="{FF2B5EF4-FFF2-40B4-BE49-F238E27FC236}">
                    <a16:creationId xmlns:a16="http://schemas.microsoft.com/office/drawing/2014/main" id="{E5EE1B4B-960E-4DAF-ABD1-BDB4274149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5" y="2855"/>
                <a:ext cx="8" cy="0"/>
              </a:xfrm>
              <a:custGeom>
                <a:avLst/>
                <a:gdLst>
                  <a:gd name="T0" fmla="*/ 8 w 8"/>
                  <a:gd name="T1" fmla="*/ 4 w 8"/>
                  <a:gd name="T2" fmla="*/ 0 w 8"/>
                  <a:gd name="T3" fmla="*/ 4 w 8"/>
                  <a:gd name="T4" fmla="*/ 8 w 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8">
                    <a:moveTo>
                      <a:pt x="8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46" name="Freeform 1063">
                <a:extLst>
                  <a:ext uri="{FF2B5EF4-FFF2-40B4-BE49-F238E27FC236}">
                    <a16:creationId xmlns:a16="http://schemas.microsoft.com/office/drawing/2014/main" id="{EF48DB54-FC62-4667-8DAD-5B9CCA0D66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1" y="3121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47" name="Freeform 1064">
                <a:extLst>
                  <a:ext uri="{FF2B5EF4-FFF2-40B4-BE49-F238E27FC236}">
                    <a16:creationId xmlns:a16="http://schemas.microsoft.com/office/drawing/2014/main" id="{235D265A-A290-4C4D-B621-81BB21E508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4" y="2854"/>
                <a:ext cx="20" cy="1"/>
              </a:xfrm>
              <a:custGeom>
                <a:avLst/>
                <a:gdLst>
                  <a:gd name="T0" fmla="*/ 8 w 20"/>
                  <a:gd name="T1" fmla="*/ 0 h 1"/>
                  <a:gd name="T2" fmla="*/ 12 w 20"/>
                  <a:gd name="T3" fmla="*/ 0 h 1"/>
                  <a:gd name="T4" fmla="*/ 20 w 20"/>
                  <a:gd name="T5" fmla="*/ 0 h 1"/>
                  <a:gd name="T6" fmla="*/ 20 w 20"/>
                  <a:gd name="T7" fmla="*/ 0 h 1"/>
                  <a:gd name="T8" fmla="*/ 20 w 20"/>
                  <a:gd name="T9" fmla="*/ 0 h 1"/>
                  <a:gd name="T10" fmla="*/ 12 w 20"/>
                  <a:gd name="T11" fmla="*/ 0 h 1"/>
                  <a:gd name="T12" fmla="*/ 8 w 20"/>
                  <a:gd name="T13" fmla="*/ 0 h 1"/>
                  <a:gd name="T14" fmla="*/ 2 w 20"/>
                  <a:gd name="T15" fmla="*/ 1 h 1"/>
                  <a:gd name="T16" fmla="*/ 0 w 20"/>
                  <a:gd name="T17" fmla="*/ 1 h 1"/>
                  <a:gd name="T18" fmla="*/ 2 w 20"/>
                  <a:gd name="T19" fmla="*/ 1 h 1"/>
                  <a:gd name="T20" fmla="*/ 8 w 20"/>
                  <a:gd name="T21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1">
                    <a:moveTo>
                      <a:pt x="8" y="0"/>
                    </a:moveTo>
                    <a:lnTo>
                      <a:pt x="1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48" name="Freeform 1065">
                <a:extLst>
                  <a:ext uri="{FF2B5EF4-FFF2-40B4-BE49-F238E27FC236}">
                    <a16:creationId xmlns:a16="http://schemas.microsoft.com/office/drawing/2014/main" id="{CE3E5F3C-083F-44A8-BA8E-4C417C7F4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7" y="3164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2 h 4"/>
                  <a:gd name="T4" fmla="*/ 2 w 2"/>
                  <a:gd name="T5" fmla="*/ 4 h 4"/>
                  <a:gd name="T6" fmla="*/ 2 w 2"/>
                  <a:gd name="T7" fmla="*/ 4 h 4"/>
                  <a:gd name="T8" fmla="*/ 0 w 2"/>
                  <a:gd name="T9" fmla="*/ 2 h 4"/>
                  <a:gd name="T10" fmla="*/ 0 w 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49" name="Freeform 1066">
                <a:extLst>
                  <a:ext uri="{FF2B5EF4-FFF2-40B4-BE49-F238E27FC236}">
                    <a16:creationId xmlns:a16="http://schemas.microsoft.com/office/drawing/2014/main" id="{CAACC729-D1A1-4571-9101-42514EB070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1" y="3232"/>
                <a:ext cx="4" cy="6"/>
              </a:xfrm>
              <a:custGeom>
                <a:avLst/>
                <a:gdLst>
                  <a:gd name="T0" fmla="*/ 4 w 4"/>
                  <a:gd name="T1" fmla="*/ 4 h 6"/>
                  <a:gd name="T2" fmla="*/ 4 w 4"/>
                  <a:gd name="T3" fmla="*/ 4 h 6"/>
                  <a:gd name="T4" fmla="*/ 0 w 4"/>
                  <a:gd name="T5" fmla="*/ 0 h 6"/>
                  <a:gd name="T6" fmla="*/ 4 w 4"/>
                  <a:gd name="T7" fmla="*/ 4 h 6"/>
                  <a:gd name="T8" fmla="*/ 4 w 4"/>
                  <a:gd name="T9" fmla="*/ 4 h 6"/>
                  <a:gd name="T10" fmla="*/ 4 w 4"/>
                  <a:gd name="T11" fmla="*/ 4 h 6"/>
                  <a:gd name="T12" fmla="*/ 4 w 4"/>
                  <a:gd name="T13" fmla="*/ 6 h 6"/>
                  <a:gd name="T14" fmla="*/ 4 w 4"/>
                  <a:gd name="T15" fmla="*/ 4 h 6"/>
                  <a:gd name="T16" fmla="*/ 4 w 4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6">
                    <a:moveTo>
                      <a:pt x="4" y="4"/>
                    </a:moveTo>
                    <a:lnTo>
                      <a:pt x="4" y="4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50" name="Freeform 1067">
                <a:extLst>
                  <a:ext uri="{FF2B5EF4-FFF2-40B4-BE49-F238E27FC236}">
                    <a16:creationId xmlns:a16="http://schemas.microsoft.com/office/drawing/2014/main" id="{2BAD0BC8-8A15-43E1-8060-F7B13C15DB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2" y="3271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51" name="Freeform 1068">
                <a:extLst>
                  <a:ext uri="{FF2B5EF4-FFF2-40B4-BE49-F238E27FC236}">
                    <a16:creationId xmlns:a16="http://schemas.microsoft.com/office/drawing/2014/main" id="{F63AAA57-23CB-410E-9266-B8041BD7E4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2838"/>
                <a:ext cx="4" cy="0"/>
              </a:xfrm>
              <a:custGeom>
                <a:avLst/>
                <a:gdLst>
                  <a:gd name="T0" fmla="*/ 2 w 4"/>
                  <a:gd name="T1" fmla="*/ 4 w 4"/>
                  <a:gd name="T2" fmla="*/ 2 w 4"/>
                  <a:gd name="T3" fmla="*/ 0 w 4"/>
                  <a:gd name="T4" fmla="*/ 0 w 4"/>
                  <a:gd name="T5" fmla="*/ 0 w 4"/>
                  <a:gd name="T6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52" name="Rectangle 1069">
                <a:extLst>
                  <a:ext uri="{FF2B5EF4-FFF2-40B4-BE49-F238E27FC236}">
                    <a16:creationId xmlns:a16="http://schemas.microsoft.com/office/drawing/2014/main" id="{DF5567E8-C614-484E-B315-CA8CC36C5D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304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53" name="Freeform 1070">
                <a:extLst>
                  <a:ext uri="{FF2B5EF4-FFF2-40B4-BE49-F238E27FC236}">
                    <a16:creationId xmlns:a16="http://schemas.microsoft.com/office/drawing/2014/main" id="{ABA514E3-F0EA-47C8-8A9E-12B15CF3E3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1" y="2828"/>
                <a:ext cx="18" cy="4"/>
              </a:xfrm>
              <a:custGeom>
                <a:avLst/>
                <a:gdLst>
                  <a:gd name="T0" fmla="*/ 6 w 18"/>
                  <a:gd name="T1" fmla="*/ 4 h 4"/>
                  <a:gd name="T2" fmla="*/ 10 w 18"/>
                  <a:gd name="T3" fmla="*/ 4 h 4"/>
                  <a:gd name="T4" fmla="*/ 18 w 18"/>
                  <a:gd name="T5" fmla="*/ 0 h 4"/>
                  <a:gd name="T6" fmla="*/ 10 w 18"/>
                  <a:gd name="T7" fmla="*/ 4 h 4"/>
                  <a:gd name="T8" fmla="*/ 6 w 18"/>
                  <a:gd name="T9" fmla="*/ 4 h 4"/>
                  <a:gd name="T10" fmla="*/ 0 w 18"/>
                  <a:gd name="T11" fmla="*/ 4 h 4"/>
                  <a:gd name="T12" fmla="*/ 0 w 18"/>
                  <a:gd name="T13" fmla="*/ 4 h 4"/>
                  <a:gd name="T14" fmla="*/ 0 w 18"/>
                  <a:gd name="T15" fmla="*/ 4 h 4"/>
                  <a:gd name="T16" fmla="*/ 6 w 18"/>
                  <a:gd name="T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4">
                    <a:moveTo>
                      <a:pt x="6" y="4"/>
                    </a:moveTo>
                    <a:lnTo>
                      <a:pt x="10" y="4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54" name="Rectangle 1071">
                <a:extLst>
                  <a:ext uri="{FF2B5EF4-FFF2-40B4-BE49-F238E27FC236}">
                    <a16:creationId xmlns:a16="http://schemas.microsoft.com/office/drawing/2014/main" id="{17A620D5-BAFA-46C2-8627-8A81CB6AD7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0" y="2838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55" name="Freeform 1072">
                <a:extLst>
                  <a:ext uri="{FF2B5EF4-FFF2-40B4-BE49-F238E27FC236}">
                    <a16:creationId xmlns:a16="http://schemas.microsoft.com/office/drawing/2014/main" id="{CBAB0EEA-97DF-44B3-85C2-6555DBEA0B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" y="3068"/>
                <a:ext cx="6" cy="14"/>
              </a:xfrm>
              <a:custGeom>
                <a:avLst/>
                <a:gdLst>
                  <a:gd name="T0" fmla="*/ 6 w 6"/>
                  <a:gd name="T1" fmla="*/ 4 h 14"/>
                  <a:gd name="T2" fmla="*/ 6 w 6"/>
                  <a:gd name="T3" fmla="*/ 0 h 14"/>
                  <a:gd name="T4" fmla="*/ 6 w 6"/>
                  <a:gd name="T5" fmla="*/ 4 h 14"/>
                  <a:gd name="T6" fmla="*/ 4 w 6"/>
                  <a:gd name="T7" fmla="*/ 8 h 14"/>
                  <a:gd name="T8" fmla="*/ 0 w 6"/>
                  <a:gd name="T9" fmla="*/ 14 h 14"/>
                  <a:gd name="T10" fmla="*/ 4 w 6"/>
                  <a:gd name="T11" fmla="*/ 8 h 14"/>
                  <a:gd name="T12" fmla="*/ 6 w 6"/>
                  <a:gd name="T13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4">
                    <a:moveTo>
                      <a:pt x="6" y="4"/>
                    </a:moveTo>
                    <a:lnTo>
                      <a:pt x="6" y="0"/>
                    </a:lnTo>
                    <a:lnTo>
                      <a:pt x="6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4" y="8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56" name="Rectangle 1073">
                <a:extLst>
                  <a:ext uri="{FF2B5EF4-FFF2-40B4-BE49-F238E27FC236}">
                    <a16:creationId xmlns:a16="http://schemas.microsoft.com/office/drawing/2014/main" id="{7137DA89-4CB4-4DC5-9DBC-A424B00C93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6" y="327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57" name="Freeform 1074">
                <a:extLst>
                  <a:ext uri="{FF2B5EF4-FFF2-40B4-BE49-F238E27FC236}">
                    <a16:creationId xmlns:a16="http://schemas.microsoft.com/office/drawing/2014/main" id="{FAE1D91B-5E91-430A-AC7A-29F1C9F5CE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7" y="3060"/>
                <a:ext cx="10" cy="4"/>
              </a:xfrm>
              <a:custGeom>
                <a:avLst/>
                <a:gdLst>
                  <a:gd name="T0" fmla="*/ 6 w 10"/>
                  <a:gd name="T1" fmla="*/ 4 h 4"/>
                  <a:gd name="T2" fmla="*/ 0 w 10"/>
                  <a:gd name="T3" fmla="*/ 0 h 4"/>
                  <a:gd name="T4" fmla="*/ 0 w 10"/>
                  <a:gd name="T5" fmla="*/ 0 h 4"/>
                  <a:gd name="T6" fmla="*/ 6 w 10"/>
                  <a:gd name="T7" fmla="*/ 4 h 4"/>
                  <a:gd name="T8" fmla="*/ 10 w 10"/>
                  <a:gd name="T9" fmla="*/ 4 h 4"/>
                  <a:gd name="T10" fmla="*/ 10 w 10"/>
                  <a:gd name="T11" fmla="*/ 4 h 4"/>
                  <a:gd name="T12" fmla="*/ 6 w 10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4">
                    <a:moveTo>
                      <a:pt x="6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58" name="Freeform 1075">
                <a:extLst>
                  <a:ext uri="{FF2B5EF4-FFF2-40B4-BE49-F238E27FC236}">
                    <a16:creationId xmlns:a16="http://schemas.microsoft.com/office/drawing/2014/main" id="{58D9AC8B-97B0-451C-8237-5CEBA4FC4B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7" y="3238"/>
                <a:ext cx="10" cy="12"/>
              </a:xfrm>
              <a:custGeom>
                <a:avLst/>
                <a:gdLst>
                  <a:gd name="T0" fmla="*/ 0 w 10"/>
                  <a:gd name="T1" fmla="*/ 0 h 12"/>
                  <a:gd name="T2" fmla="*/ 10 w 10"/>
                  <a:gd name="T3" fmla="*/ 12 h 12"/>
                  <a:gd name="T4" fmla="*/ 0 w 10"/>
                  <a:gd name="T5" fmla="*/ 0 h 12"/>
                  <a:gd name="T6" fmla="*/ 0 w 10"/>
                  <a:gd name="T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2">
                    <a:moveTo>
                      <a:pt x="0" y="0"/>
                    </a:moveTo>
                    <a:lnTo>
                      <a:pt x="10" y="1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59" name="Freeform 1076">
                <a:extLst>
                  <a:ext uri="{FF2B5EF4-FFF2-40B4-BE49-F238E27FC236}">
                    <a16:creationId xmlns:a16="http://schemas.microsoft.com/office/drawing/2014/main" id="{9FDA6DBE-B30C-4C08-B88D-2D252ABA9C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2" y="2848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4 w 4"/>
                  <a:gd name="T3" fmla="*/ 0 h 2"/>
                  <a:gd name="T4" fmla="*/ 4 w 4"/>
                  <a:gd name="T5" fmla="*/ 0 h 2"/>
                  <a:gd name="T6" fmla="*/ 4 w 4"/>
                  <a:gd name="T7" fmla="*/ 0 h 2"/>
                  <a:gd name="T8" fmla="*/ 2 w 4"/>
                  <a:gd name="T9" fmla="*/ 2 h 2"/>
                  <a:gd name="T10" fmla="*/ 2 w 4"/>
                  <a:gd name="T11" fmla="*/ 2 h 2"/>
                  <a:gd name="T12" fmla="*/ 0 w 4"/>
                  <a:gd name="T13" fmla="*/ 2 h 2"/>
                  <a:gd name="T14" fmla="*/ 0 w 4"/>
                  <a:gd name="T15" fmla="*/ 2 h 2"/>
                  <a:gd name="T16" fmla="*/ 2 w 4"/>
                  <a:gd name="T17" fmla="*/ 2 h 2"/>
                  <a:gd name="T18" fmla="*/ 2 w 4"/>
                  <a:gd name="T1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60" name="Freeform 1077">
                <a:extLst>
                  <a:ext uri="{FF2B5EF4-FFF2-40B4-BE49-F238E27FC236}">
                    <a16:creationId xmlns:a16="http://schemas.microsoft.com/office/drawing/2014/main" id="{7AEFD68F-8657-4875-9940-517C4295E1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6" y="3285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4 h 4"/>
                  <a:gd name="T4" fmla="*/ 4 w 4"/>
                  <a:gd name="T5" fmla="*/ 4 h 4"/>
                  <a:gd name="T6" fmla="*/ 4 w 4"/>
                  <a:gd name="T7" fmla="*/ 4 h 4"/>
                  <a:gd name="T8" fmla="*/ 0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61" name="Freeform 1078">
                <a:extLst>
                  <a:ext uri="{FF2B5EF4-FFF2-40B4-BE49-F238E27FC236}">
                    <a16:creationId xmlns:a16="http://schemas.microsoft.com/office/drawing/2014/main" id="{17718F59-5533-418D-9893-C75B919902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" y="3307"/>
                <a:ext cx="5" cy="3"/>
              </a:xfrm>
              <a:custGeom>
                <a:avLst/>
                <a:gdLst>
                  <a:gd name="T0" fmla="*/ 0 w 5"/>
                  <a:gd name="T1" fmla="*/ 0 h 3"/>
                  <a:gd name="T2" fmla="*/ 3 w 5"/>
                  <a:gd name="T3" fmla="*/ 1 h 3"/>
                  <a:gd name="T4" fmla="*/ 5 w 5"/>
                  <a:gd name="T5" fmla="*/ 3 h 3"/>
                  <a:gd name="T6" fmla="*/ 3 w 5"/>
                  <a:gd name="T7" fmla="*/ 1 h 3"/>
                  <a:gd name="T8" fmla="*/ 0 w 5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">
                    <a:moveTo>
                      <a:pt x="0" y="0"/>
                    </a:moveTo>
                    <a:lnTo>
                      <a:pt x="3" y="1"/>
                    </a:lnTo>
                    <a:lnTo>
                      <a:pt x="5" y="3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62" name="Freeform 1079">
                <a:extLst>
                  <a:ext uri="{FF2B5EF4-FFF2-40B4-BE49-F238E27FC236}">
                    <a16:creationId xmlns:a16="http://schemas.microsoft.com/office/drawing/2014/main" id="{89DCA694-8573-4D33-A8CD-CC2CD2CA52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0" y="3197"/>
                <a:ext cx="4" cy="8"/>
              </a:xfrm>
              <a:custGeom>
                <a:avLst/>
                <a:gdLst>
                  <a:gd name="T0" fmla="*/ 0 w 4"/>
                  <a:gd name="T1" fmla="*/ 0 h 8"/>
                  <a:gd name="T2" fmla="*/ 2 w 4"/>
                  <a:gd name="T3" fmla="*/ 2 h 8"/>
                  <a:gd name="T4" fmla="*/ 4 w 4"/>
                  <a:gd name="T5" fmla="*/ 8 h 8"/>
                  <a:gd name="T6" fmla="*/ 2 w 4"/>
                  <a:gd name="T7" fmla="*/ 2 h 8"/>
                  <a:gd name="T8" fmla="*/ 0 w 4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2" y="2"/>
                    </a:lnTo>
                    <a:lnTo>
                      <a:pt x="4" y="8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63" name="Rectangle 1080">
                <a:extLst>
                  <a:ext uri="{FF2B5EF4-FFF2-40B4-BE49-F238E27FC236}">
                    <a16:creationId xmlns:a16="http://schemas.microsoft.com/office/drawing/2014/main" id="{02BABF8E-6E59-4911-9E6B-6BB456E6FA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3" y="312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64" name="Freeform 1081">
                <a:extLst>
                  <a:ext uri="{FF2B5EF4-FFF2-40B4-BE49-F238E27FC236}">
                    <a16:creationId xmlns:a16="http://schemas.microsoft.com/office/drawing/2014/main" id="{80359E80-A654-4B4B-A486-891BB32794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7" y="3187"/>
                <a:ext cx="9" cy="8"/>
              </a:xfrm>
              <a:custGeom>
                <a:avLst/>
                <a:gdLst>
                  <a:gd name="T0" fmla="*/ 0 w 9"/>
                  <a:gd name="T1" fmla="*/ 2 h 8"/>
                  <a:gd name="T2" fmla="*/ 0 w 9"/>
                  <a:gd name="T3" fmla="*/ 0 h 8"/>
                  <a:gd name="T4" fmla="*/ 0 w 9"/>
                  <a:gd name="T5" fmla="*/ 2 h 8"/>
                  <a:gd name="T6" fmla="*/ 4 w 9"/>
                  <a:gd name="T7" fmla="*/ 4 h 8"/>
                  <a:gd name="T8" fmla="*/ 9 w 9"/>
                  <a:gd name="T9" fmla="*/ 8 h 8"/>
                  <a:gd name="T10" fmla="*/ 4 w 9"/>
                  <a:gd name="T11" fmla="*/ 4 h 8"/>
                  <a:gd name="T12" fmla="*/ 0 w 9"/>
                  <a:gd name="T1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4"/>
                    </a:lnTo>
                    <a:lnTo>
                      <a:pt x="9" y="8"/>
                    </a:lnTo>
                    <a:lnTo>
                      <a:pt x="4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65" name="Freeform 1082">
                <a:extLst>
                  <a:ext uri="{FF2B5EF4-FFF2-40B4-BE49-F238E27FC236}">
                    <a16:creationId xmlns:a16="http://schemas.microsoft.com/office/drawing/2014/main" id="{8E3FE485-442C-406F-AF8E-F5BEF1907A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6" y="2879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0 h 4"/>
                  <a:gd name="T4" fmla="*/ 2 w 2"/>
                  <a:gd name="T5" fmla="*/ 0 h 4"/>
                  <a:gd name="T6" fmla="*/ 2 w 2"/>
                  <a:gd name="T7" fmla="*/ 2 h 4"/>
                  <a:gd name="T8" fmla="*/ 0 w 2"/>
                  <a:gd name="T9" fmla="*/ 4 h 4"/>
                  <a:gd name="T10" fmla="*/ 2 w 2"/>
                  <a:gd name="T11" fmla="*/ 2 h 4"/>
                  <a:gd name="T12" fmla="*/ 2 w 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66" name="Freeform 1083">
                <a:extLst>
                  <a:ext uri="{FF2B5EF4-FFF2-40B4-BE49-F238E27FC236}">
                    <a16:creationId xmlns:a16="http://schemas.microsoft.com/office/drawing/2014/main" id="{4FCC1305-6148-4960-8ABD-CC7D669295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313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  <a:gd name="T10" fmla="*/ 2 w 2"/>
                  <a:gd name="T11" fmla="*/ 2 h 2"/>
                  <a:gd name="T12" fmla="*/ 2 w 2"/>
                  <a:gd name="T13" fmla="*/ 2 h 2"/>
                  <a:gd name="T14" fmla="*/ 0 w 2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67" name="Freeform 1084">
                <a:extLst>
                  <a:ext uri="{FF2B5EF4-FFF2-40B4-BE49-F238E27FC236}">
                    <a16:creationId xmlns:a16="http://schemas.microsoft.com/office/drawing/2014/main" id="{3C6BCA38-1A9D-4147-9372-291A4695FC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0" y="2879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4 w 4"/>
                  <a:gd name="T3" fmla="*/ 4 h 4"/>
                  <a:gd name="T4" fmla="*/ 2 w 4"/>
                  <a:gd name="T5" fmla="*/ 0 h 4"/>
                  <a:gd name="T6" fmla="*/ 2 w 4"/>
                  <a:gd name="T7" fmla="*/ 0 h 4"/>
                  <a:gd name="T8" fmla="*/ 0 w 4"/>
                  <a:gd name="T9" fmla="*/ 0 h 4"/>
                  <a:gd name="T10" fmla="*/ 2 w 4"/>
                  <a:gd name="T11" fmla="*/ 0 h 4"/>
                  <a:gd name="T12" fmla="*/ 2 w 4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4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68" name="Freeform 1085">
                <a:extLst>
                  <a:ext uri="{FF2B5EF4-FFF2-40B4-BE49-F238E27FC236}">
                    <a16:creationId xmlns:a16="http://schemas.microsoft.com/office/drawing/2014/main" id="{4BCF574C-E078-4C2A-BD2E-68BD489935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3" y="2883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69" name="Freeform 1086">
                <a:extLst>
                  <a:ext uri="{FF2B5EF4-FFF2-40B4-BE49-F238E27FC236}">
                    <a16:creationId xmlns:a16="http://schemas.microsoft.com/office/drawing/2014/main" id="{1A9811A2-E841-42E7-B3A2-489CFDE666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" y="2885"/>
                <a:ext cx="3" cy="2"/>
              </a:xfrm>
              <a:custGeom>
                <a:avLst/>
                <a:gdLst>
                  <a:gd name="T0" fmla="*/ 3 w 3"/>
                  <a:gd name="T1" fmla="*/ 2 h 2"/>
                  <a:gd name="T2" fmla="*/ 3 w 3"/>
                  <a:gd name="T3" fmla="*/ 2 h 2"/>
                  <a:gd name="T4" fmla="*/ 0 w 3"/>
                  <a:gd name="T5" fmla="*/ 0 h 2"/>
                  <a:gd name="T6" fmla="*/ 0 w 3"/>
                  <a:gd name="T7" fmla="*/ 0 h 2"/>
                  <a:gd name="T8" fmla="*/ 3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70" name="Freeform 1087">
                <a:extLst>
                  <a:ext uri="{FF2B5EF4-FFF2-40B4-BE49-F238E27FC236}">
                    <a16:creationId xmlns:a16="http://schemas.microsoft.com/office/drawing/2014/main" id="{091438C6-2554-4D24-83FB-E58B153DA5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3" y="3156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2 h 4"/>
                  <a:gd name="T4" fmla="*/ 2 w 2"/>
                  <a:gd name="T5" fmla="*/ 4 h 4"/>
                  <a:gd name="T6" fmla="*/ 2 w 2"/>
                  <a:gd name="T7" fmla="*/ 2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71" name="Freeform 1088">
                <a:extLst>
                  <a:ext uri="{FF2B5EF4-FFF2-40B4-BE49-F238E27FC236}">
                    <a16:creationId xmlns:a16="http://schemas.microsoft.com/office/drawing/2014/main" id="{973DD90E-3026-40FF-8D15-3BC80536ED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9" y="3168"/>
                <a:ext cx="4" cy="0"/>
              </a:xfrm>
              <a:custGeom>
                <a:avLst/>
                <a:gdLst>
                  <a:gd name="T0" fmla="*/ 2 w 4"/>
                  <a:gd name="T1" fmla="*/ 0 w 4"/>
                  <a:gd name="T2" fmla="*/ 2 w 4"/>
                  <a:gd name="T3" fmla="*/ 4 w 4"/>
                  <a:gd name="T4" fmla="*/ 4 w 4"/>
                  <a:gd name="T5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72" name="Freeform 1089">
                <a:extLst>
                  <a:ext uri="{FF2B5EF4-FFF2-40B4-BE49-F238E27FC236}">
                    <a16:creationId xmlns:a16="http://schemas.microsoft.com/office/drawing/2014/main" id="{13781858-8CDE-4F09-A320-FC55FE853C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1" y="2912"/>
                <a:ext cx="4" cy="0"/>
              </a:xfrm>
              <a:custGeom>
                <a:avLst/>
                <a:gdLst>
                  <a:gd name="T0" fmla="*/ 4 w 4"/>
                  <a:gd name="T1" fmla="*/ 0 w 4"/>
                  <a:gd name="T2" fmla="*/ 4 w 4"/>
                  <a:gd name="T3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73" name="Freeform 1090">
                <a:extLst>
                  <a:ext uri="{FF2B5EF4-FFF2-40B4-BE49-F238E27FC236}">
                    <a16:creationId xmlns:a16="http://schemas.microsoft.com/office/drawing/2014/main" id="{F5C761FA-0FB0-4596-95AC-B947E29E1E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7" y="2879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2 w 4"/>
                  <a:gd name="T4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74" name="Freeform 1091">
                <a:extLst>
                  <a:ext uri="{FF2B5EF4-FFF2-40B4-BE49-F238E27FC236}">
                    <a16:creationId xmlns:a16="http://schemas.microsoft.com/office/drawing/2014/main" id="{EA368CCA-730E-4F58-B829-2F2E8D0E35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3" y="3168"/>
                <a:ext cx="2" cy="15"/>
              </a:xfrm>
              <a:custGeom>
                <a:avLst/>
                <a:gdLst>
                  <a:gd name="T0" fmla="*/ 2 w 2"/>
                  <a:gd name="T1" fmla="*/ 6 h 15"/>
                  <a:gd name="T2" fmla="*/ 2 w 2"/>
                  <a:gd name="T3" fmla="*/ 0 h 15"/>
                  <a:gd name="T4" fmla="*/ 0 w 2"/>
                  <a:gd name="T5" fmla="*/ 0 h 15"/>
                  <a:gd name="T6" fmla="*/ 2 w 2"/>
                  <a:gd name="T7" fmla="*/ 0 h 15"/>
                  <a:gd name="T8" fmla="*/ 2 w 2"/>
                  <a:gd name="T9" fmla="*/ 6 h 15"/>
                  <a:gd name="T10" fmla="*/ 2 w 2"/>
                  <a:gd name="T11" fmla="*/ 14 h 15"/>
                  <a:gd name="T12" fmla="*/ 2 w 2"/>
                  <a:gd name="T13" fmla="*/ 15 h 15"/>
                  <a:gd name="T14" fmla="*/ 2 w 2"/>
                  <a:gd name="T15" fmla="*/ 14 h 15"/>
                  <a:gd name="T16" fmla="*/ 2 w 2"/>
                  <a:gd name="T17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15">
                    <a:moveTo>
                      <a:pt x="2" y="6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6"/>
                    </a:lnTo>
                    <a:lnTo>
                      <a:pt x="2" y="14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75" name="Freeform 1092">
                <a:extLst>
                  <a:ext uri="{FF2B5EF4-FFF2-40B4-BE49-F238E27FC236}">
                    <a16:creationId xmlns:a16="http://schemas.microsoft.com/office/drawing/2014/main" id="{0DE3233E-1647-4094-8DDB-4F26A16679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8" y="2891"/>
                <a:ext cx="10" cy="4"/>
              </a:xfrm>
              <a:custGeom>
                <a:avLst/>
                <a:gdLst>
                  <a:gd name="T0" fmla="*/ 4 w 10"/>
                  <a:gd name="T1" fmla="*/ 2 h 4"/>
                  <a:gd name="T2" fmla="*/ 6 w 10"/>
                  <a:gd name="T3" fmla="*/ 4 h 4"/>
                  <a:gd name="T4" fmla="*/ 10 w 10"/>
                  <a:gd name="T5" fmla="*/ 2 h 4"/>
                  <a:gd name="T6" fmla="*/ 10 w 10"/>
                  <a:gd name="T7" fmla="*/ 2 h 4"/>
                  <a:gd name="T8" fmla="*/ 6 w 10"/>
                  <a:gd name="T9" fmla="*/ 4 h 4"/>
                  <a:gd name="T10" fmla="*/ 4 w 10"/>
                  <a:gd name="T11" fmla="*/ 2 h 4"/>
                  <a:gd name="T12" fmla="*/ 2 w 10"/>
                  <a:gd name="T13" fmla="*/ 0 h 4"/>
                  <a:gd name="T14" fmla="*/ 0 w 10"/>
                  <a:gd name="T15" fmla="*/ 0 h 4"/>
                  <a:gd name="T16" fmla="*/ 2 w 10"/>
                  <a:gd name="T17" fmla="*/ 0 h 4"/>
                  <a:gd name="T18" fmla="*/ 4 w 10"/>
                  <a:gd name="T1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4">
                    <a:moveTo>
                      <a:pt x="4" y="2"/>
                    </a:moveTo>
                    <a:lnTo>
                      <a:pt x="6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76" name="Freeform 1093">
                <a:extLst>
                  <a:ext uri="{FF2B5EF4-FFF2-40B4-BE49-F238E27FC236}">
                    <a16:creationId xmlns:a16="http://schemas.microsoft.com/office/drawing/2014/main" id="{67B9A8E1-3623-45A0-9605-25C7C7B431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5" y="2891"/>
                <a:ext cx="11" cy="21"/>
              </a:xfrm>
              <a:custGeom>
                <a:avLst/>
                <a:gdLst>
                  <a:gd name="T0" fmla="*/ 5 w 11"/>
                  <a:gd name="T1" fmla="*/ 13 h 21"/>
                  <a:gd name="T2" fmla="*/ 11 w 11"/>
                  <a:gd name="T3" fmla="*/ 0 h 21"/>
                  <a:gd name="T4" fmla="*/ 11 w 11"/>
                  <a:gd name="T5" fmla="*/ 0 h 21"/>
                  <a:gd name="T6" fmla="*/ 5 w 11"/>
                  <a:gd name="T7" fmla="*/ 13 h 21"/>
                  <a:gd name="T8" fmla="*/ 3 w 11"/>
                  <a:gd name="T9" fmla="*/ 19 h 21"/>
                  <a:gd name="T10" fmla="*/ 0 w 11"/>
                  <a:gd name="T11" fmla="*/ 21 h 21"/>
                  <a:gd name="T12" fmla="*/ 3 w 11"/>
                  <a:gd name="T13" fmla="*/ 19 h 21"/>
                  <a:gd name="T14" fmla="*/ 5 w 11"/>
                  <a:gd name="T15" fmla="*/ 13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1">
                    <a:moveTo>
                      <a:pt x="5" y="13"/>
                    </a:moveTo>
                    <a:lnTo>
                      <a:pt x="11" y="0"/>
                    </a:lnTo>
                    <a:lnTo>
                      <a:pt x="11" y="0"/>
                    </a:lnTo>
                    <a:lnTo>
                      <a:pt x="5" y="13"/>
                    </a:lnTo>
                    <a:lnTo>
                      <a:pt x="3" y="19"/>
                    </a:lnTo>
                    <a:lnTo>
                      <a:pt x="0" y="21"/>
                    </a:lnTo>
                    <a:lnTo>
                      <a:pt x="3" y="19"/>
                    </a:lnTo>
                    <a:lnTo>
                      <a:pt x="5" y="1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77" name="Freeform 1094">
                <a:extLst>
                  <a:ext uri="{FF2B5EF4-FFF2-40B4-BE49-F238E27FC236}">
                    <a16:creationId xmlns:a16="http://schemas.microsoft.com/office/drawing/2014/main" id="{B5D3E694-09C1-4580-8849-751263F627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9" y="3144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0 w 4"/>
                  <a:gd name="T3" fmla="*/ 0 h 4"/>
                  <a:gd name="T4" fmla="*/ 2 w 4"/>
                  <a:gd name="T5" fmla="*/ 2 h 4"/>
                  <a:gd name="T6" fmla="*/ 4 w 4"/>
                  <a:gd name="T7" fmla="*/ 4 h 4"/>
                  <a:gd name="T8" fmla="*/ 2 w 4"/>
                  <a:gd name="T9" fmla="*/ 2 h 4"/>
                  <a:gd name="T10" fmla="*/ 0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78" name="Freeform 1095">
                <a:extLst>
                  <a:ext uri="{FF2B5EF4-FFF2-40B4-BE49-F238E27FC236}">
                    <a16:creationId xmlns:a16="http://schemas.microsoft.com/office/drawing/2014/main" id="{5B4863A7-CC1E-41B7-9257-9D6F7A126D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5" y="2770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79" name="Freeform 1096">
                <a:extLst>
                  <a:ext uri="{FF2B5EF4-FFF2-40B4-BE49-F238E27FC236}">
                    <a16:creationId xmlns:a16="http://schemas.microsoft.com/office/drawing/2014/main" id="{97760F41-74D3-4863-8EE9-CFC7016E38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7" y="3086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80" name="Freeform 1097">
                <a:extLst>
                  <a:ext uri="{FF2B5EF4-FFF2-40B4-BE49-F238E27FC236}">
                    <a16:creationId xmlns:a16="http://schemas.microsoft.com/office/drawing/2014/main" id="{220F0847-6F49-44F3-9881-923F80F7BF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" y="3082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81" name="Freeform 1098">
                <a:extLst>
                  <a:ext uri="{FF2B5EF4-FFF2-40B4-BE49-F238E27FC236}">
                    <a16:creationId xmlns:a16="http://schemas.microsoft.com/office/drawing/2014/main" id="{7E6980B4-2571-4AD6-A897-5B51407DD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5" y="3142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82" name="Rectangle 1099">
                <a:extLst>
                  <a:ext uri="{FF2B5EF4-FFF2-40B4-BE49-F238E27FC236}">
                    <a16:creationId xmlns:a16="http://schemas.microsoft.com/office/drawing/2014/main" id="{0E3EE337-C784-49B9-898B-C2A193CE5C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5" y="286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83" name="Freeform 1100">
                <a:extLst>
                  <a:ext uri="{FF2B5EF4-FFF2-40B4-BE49-F238E27FC236}">
                    <a16:creationId xmlns:a16="http://schemas.microsoft.com/office/drawing/2014/main" id="{98E3937B-2CC8-4E47-8BA7-B723CDF9E3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6" y="2975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84" name="Rectangle 1101">
                <a:extLst>
                  <a:ext uri="{FF2B5EF4-FFF2-40B4-BE49-F238E27FC236}">
                    <a16:creationId xmlns:a16="http://schemas.microsoft.com/office/drawing/2014/main" id="{A59F5321-500F-407D-AEAB-D4048A8899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2" y="327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85" name="Freeform 1102">
                <a:extLst>
                  <a:ext uri="{FF2B5EF4-FFF2-40B4-BE49-F238E27FC236}">
                    <a16:creationId xmlns:a16="http://schemas.microsoft.com/office/drawing/2014/main" id="{1FEFA843-902B-48B6-8CC5-922779ED4D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5" y="3264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86" name="Freeform 1103">
                <a:extLst>
                  <a:ext uri="{FF2B5EF4-FFF2-40B4-BE49-F238E27FC236}">
                    <a16:creationId xmlns:a16="http://schemas.microsoft.com/office/drawing/2014/main" id="{9C315EF6-638E-4955-A965-6036D73B03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2" y="2770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87" name="Freeform 1104">
                <a:extLst>
                  <a:ext uri="{FF2B5EF4-FFF2-40B4-BE49-F238E27FC236}">
                    <a16:creationId xmlns:a16="http://schemas.microsoft.com/office/drawing/2014/main" id="{3405F934-7A63-4CA4-B67E-ACEEDB4B1B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6" y="2973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88" name="Freeform 1105">
                <a:extLst>
                  <a:ext uri="{FF2B5EF4-FFF2-40B4-BE49-F238E27FC236}">
                    <a16:creationId xmlns:a16="http://schemas.microsoft.com/office/drawing/2014/main" id="{E37852BA-BBAB-421B-8F72-4B60546484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3" y="2859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0 w 4"/>
                  <a:gd name="T3" fmla="*/ 2 h 2"/>
                  <a:gd name="T4" fmla="*/ 4 w 4"/>
                  <a:gd name="T5" fmla="*/ 0 h 2"/>
                  <a:gd name="T6" fmla="*/ 0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0" y="2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89" name="Freeform 1106">
                <a:extLst>
                  <a:ext uri="{FF2B5EF4-FFF2-40B4-BE49-F238E27FC236}">
                    <a16:creationId xmlns:a16="http://schemas.microsoft.com/office/drawing/2014/main" id="{FE071123-EE38-483F-8545-710B4B672B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9" y="2914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2 w 2"/>
                  <a:gd name="T3" fmla="*/ 2 w 2"/>
                  <a:gd name="T4" fmla="*/ 0 w 2"/>
                  <a:gd name="T5" fmla="*/ 0 w 2"/>
                  <a:gd name="T6" fmla="*/ 0 w 2"/>
                  <a:gd name="T7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90" name="Freeform 1107">
                <a:extLst>
                  <a:ext uri="{FF2B5EF4-FFF2-40B4-BE49-F238E27FC236}">
                    <a16:creationId xmlns:a16="http://schemas.microsoft.com/office/drawing/2014/main" id="{45D67217-9102-466E-A5AB-2B544A0B00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" y="2793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0 w 4"/>
                  <a:gd name="T5" fmla="*/ 0 h 4"/>
                  <a:gd name="T6" fmla="*/ 4 w 4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91" name="Rectangle 1108">
                <a:extLst>
                  <a:ext uri="{FF2B5EF4-FFF2-40B4-BE49-F238E27FC236}">
                    <a16:creationId xmlns:a16="http://schemas.microsoft.com/office/drawing/2014/main" id="{E5D084B9-EAE4-4AEA-9993-6BDE5ABA94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" y="291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92" name="Freeform 1109">
                <a:extLst>
                  <a:ext uri="{FF2B5EF4-FFF2-40B4-BE49-F238E27FC236}">
                    <a16:creationId xmlns:a16="http://schemas.microsoft.com/office/drawing/2014/main" id="{51324560-213A-437A-833A-171546E724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9" y="2873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93" name="Rectangle 1110">
                <a:extLst>
                  <a:ext uri="{FF2B5EF4-FFF2-40B4-BE49-F238E27FC236}">
                    <a16:creationId xmlns:a16="http://schemas.microsoft.com/office/drawing/2014/main" id="{D32B71C6-FCFF-4548-A80A-66CCC0C3B2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8" y="287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94" name="Rectangle 1111">
                <a:extLst>
                  <a:ext uri="{FF2B5EF4-FFF2-40B4-BE49-F238E27FC236}">
                    <a16:creationId xmlns:a16="http://schemas.microsoft.com/office/drawing/2014/main" id="{52D9144A-DF4B-421A-9660-FED81DC2F4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9" y="294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95" name="Freeform 1112">
                <a:extLst>
                  <a:ext uri="{FF2B5EF4-FFF2-40B4-BE49-F238E27FC236}">
                    <a16:creationId xmlns:a16="http://schemas.microsoft.com/office/drawing/2014/main" id="{804DF0EE-0230-4C74-BE73-E11CA4FB93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6" y="3332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96" name="Freeform 1113">
                <a:extLst>
                  <a:ext uri="{FF2B5EF4-FFF2-40B4-BE49-F238E27FC236}">
                    <a16:creationId xmlns:a16="http://schemas.microsoft.com/office/drawing/2014/main" id="{BB127E3F-CE2E-4F35-88DE-4F7A6E153B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5" y="2973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0 h 4"/>
                  <a:gd name="T4" fmla="*/ 4 w 4"/>
                  <a:gd name="T5" fmla="*/ 0 h 4"/>
                  <a:gd name="T6" fmla="*/ 2 w 4"/>
                  <a:gd name="T7" fmla="*/ 2 h 4"/>
                  <a:gd name="T8" fmla="*/ 0 w 4"/>
                  <a:gd name="T9" fmla="*/ 4 h 4"/>
                  <a:gd name="T10" fmla="*/ 0 w 4"/>
                  <a:gd name="T11" fmla="*/ 4 h 4"/>
                  <a:gd name="T12" fmla="*/ 2 w 4"/>
                  <a:gd name="T13" fmla="*/ 2 h 4"/>
                  <a:gd name="T14" fmla="*/ 4 w 4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97" name="Freeform 1114">
                <a:extLst>
                  <a:ext uri="{FF2B5EF4-FFF2-40B4-BE49-F238E27FC236}">
                    <a16:creationId xmlns:a16="http://schemas.microsoft.com/office/drawing/2014/main" id="{A2D4638E-512A-44EB-9430-AA4A3BF51C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" y="2977"/>
                <a:ext cx="4" cy="5"/>
              </a:xfrm>
              <a:custGeom>
                <a:avLst/>
                <a:gdLst>
                  <a:gd name="T0" fmla="*/ 0 w 4"/>
                  <a:gd name="T1" fmla="*/ 1 h 5"/>
                  <a:gd name="T2" fmla="*/ 2 w 4"/>
                  <a:gd name="T3" fmla="*/ 0 h 5"/>
                  <a:gd name="T4" fmla="*/ 0 w 4"/>
                  <a:gd name="T5" fmla="*/ 1 h 5"/>
                  <a:gd name="T6" fmla="*/ 2 w 4"/>
                  <a:gd name="T7" fmla="*/ 5 h 5"/>
                  <a:gd name="T8" fmla="*/ 4 w 4"/>
                  <a:gd name="T9" fmla="*/ 5 h 5"/>
                  <a:gd name="T10" fmla="*/ 2 w 4"/>
                  <a:gd name="T11" fmla="*/ 5 h 5"/>
                  <a:gd name="T12" fmla="*/ 0 w 4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5">
                    <a:moveTo>
                      <a:pt x="0" y="1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2" y="5"/>
                    </a:lnTo>
                    <a:lnTo>
                      <a:pt x="4" y="5"/>
                    </a:lnTo>
                    <a:lnTo>
                      <a:pt x="2" y="5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98" name="Freeform 1115">
                <a:extLst>
                  <a:ext uri="{FF2B5EF4-FFF2-40B4-BE49-F238E27FC236}">
                    <a16:creationId xmlns:a16="http://schemas.microsoft.com/office/drawing/2014/main" id="{A61514BE-E2BC-45D2-9302-F95192DE1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" y="2961"/>
                <a:ext cx="12" cy="0"/>
              </a:xfrm>
              <a:custGeom>
                <a:avLst/>
                <a:gdLst>
                  <a:gd name="T0" fmla="*/ 4 w 12"/>
                  <a:gd name="T1" fmla="*/ 12 w 12"/>
                  <a:gd name="T2" fmla="*/ 12 w 12"/>
                  <a:gd name="T3" fmla="*/ 4 w 12"/>
                  <a:gd name="T4" fmla="*/ 0 w 12"/>
                  <a:gd name="T5" fmla="*/ 2 w 12"/>
                  <a:gd name="T6" fmla="*/ 0 w 12"/>
                  <a:gd name="T7" fmla="*/ 4 w 1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</a:cxnLst>
                <a:rect l="0" t="0" r="r" b="b"/>
                <a:pathLst>
                  <a:path w="12">
                    <a:moveTo>
                      <a:pt x="4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99" name="Freeform 1116">
                <a:extLst>
                  <a:ext uri="{FF2B5EF4-FFF2-40B4-BE49-F238E27FC236}">
                    <a16:creationId xmlns:a16="http://schemas.microsoft.com/office/drawing/2014/main" id="{D87FE7FC-7E07-4C50-AC0B-546477855B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9" y="3312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00" name="Rectangle 1117">
                <a:extLst>
                  <a:ext uri="{FF2B5EF4-FFF2-40B4-BE49-F238E27FC236}">
                    <a16:creationId xmlns:a16="http://schemas.microsoft.com/office/drawing/2014/main" id="{BC0F1E77-C35B-4B67-AEEE-B95D9E5BA0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2" y="297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01" name="Freeform 1118">
                <a:extLst>
                  <a:ext uri="{FF2B5EF4-FFF2-40B4-BE49-F238E27FC236}">
                    <a16:creationId xmlns:a16="http://schemas.microsoft.com/office/drawing/2014/main" id="{05E4EA36-3761-4CFD-BB6C-7963BE39E2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" y="2961"/>
                <a:ext cx="5" cy="12"/>
              </a:xfrm>
              <a:custGeom>
                <a:avLst/>
                <a:gdLst>
                  <a:gd name="T0" fmla="*/ 3 w 5"/>
                  <a:gd name="T1" fmla="*/ 4 h 12"/>
                  <a:gd name="T2" fmla="*/ 3 w 5"/>
                  <a:gd name="T3" fmla="*/ 10 h 12"/>
                  <a:gd name="T4" fmla="*/ 5 w 5"/>
                  <a:gd name="T5" fmla="*/ 12 h 12"/>
                  <a:gd name="T6" fmla="*/ 5 w 5"/>
                  <a:gd name="T7" fmla="*/ 12 h 12"/>
                  <a:gd name="T8" fmla="*/ 5 w 5"/>
                  <a:gd name="T9" fmla="*/ 12 h 12"/>
                  <a:gd name="T10" fmla="*/ 3 w 5"/>
                  <a:gd name="T11" fmla="*/ 10 h 12"/>
                  <a:gd name="T12" fmla="*/ 3 w 5"/>
                  <a:gd name="T13" fmla="*/ 4 h 12"/>
                  <a:gd name="T14" fmla="*/ 3 w 5"/>
                  <a:gd name="T15" fmla="*/ 2 h 12"/>
                  <a:gd name="T16" fmla="*/ 0 w 5"/>
                  <a:gd name="T17" fmla="*/ 0 h 12"/>
                  <a:gd name="T18" fmla="*/ 3 w 5"/>
                  <a:gd name="T19" fmla="*/ 2 h 12"/>
                  <a:gd name="T20" fmla="*/ 3 w 5"/>
                  <a:gd name="T21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12">
                    <a:moveTo>
                      <a:pt x="3" y="4"/>
                    </a:moveTo>
                    <a:lnTo>
                      <a:pt x="3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3" y="10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02" name="Freeform 1119">
                <a:extLst>
                  <a:ext uri="{FF2B5EF4-FFF2-40B4-BE49-F238E27FC236}">
                    <a16:creationId xmlns:a16="http://schemas.microsoft.com/office/drawing/2014/main" id="{AEEEC482-BF46-4B19-B97C-8663390302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7" y="3328"/>
                <a:ext cx="7" cy="4"/>
              </a:xfrm>
              <a:custGeom>
                <a:avLst/>
                <a:gdLst>
                  <a:gd name="T0" fmla="*/ 0 w 7"/>
                  <a:gd name="T1" fmla="*/ 0 h 4"/>
                  <a:gd name="T2" fmla="*/ 4 w 7"/>
                  <a:gd name="T3" fmla="*/ 2 h 4"/>
                  <a:gd name="T4" fmla="*/ 7 w 7"/>
                  <a:gd name="T5" fmla="*/ 4 h 4"/>
                  <a:gd name="T6" fmla="*/ 4 w 7"/>
                  <a:gd name="T7" fmla="*/ 2 h 4"/>
                  <a:gd name="T8" fmla="*/ 0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0" y="0"/>
                    </a:moveTo>
                    <a:lnTo>
                      <a:pt x="4" y="2"/>
                    </a:lnTo>
                    <a:lnTo>
                      <a:pt x="7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03" name="Freeform 1120">
                <a:extLst>
                  <a:ext uri="{FF2B5EF4-FFF2-40B4-BE49-F238E27FC236}">
                    <a16:creationId xmlns:a16="http://schemas.microsoft.com/office/drawing/2014/main" id="{9325977C-5360-449A-A718-FABEDE1A0F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3" y="3324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2 w 4"/>
                  <a:gd name="T3" fmla="*/ 2 h 4"/>
                  <a:gd name="T4" fmla="*/ 4 w 4"/>
                  <a:gd name="T5" fmla="*/ 4 h 4"/>
                  <a:gd name="T6" fmla="*/ 2 w 4"/>
                  <a:gd name="T7" fmla="*/ 2 h 4"/>
                  <a:gd name="T8" fmla="*/ 0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2" y="2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04" name="Rectangle 1121">
                <a:extLst>
                  <a:ext uri="{FF2B5EF4-FFF2-40B4-BE49-F238E27FC236}">
                    <a16:creationId xmlns:a16="http://schemas.microsoft.com/office/drawing/2014/main" id="{07AB9D37-9EC0-4344-B7DF-5908A74166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7" y="299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05" name="Freeform 1122">
                <a:extLst>
                  <a:ext uri="{FF2B5EF4-FFF2-40B4-BE49-F238E27FC236}">
                    <a16:creationId xmlns:a16="http://schemas.microsoft.com/office/drawing/2014/main" id="{E6A18D43-6C6C-4295-BB61-8B76BE9FE7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7" y="3307"/>
                <a:ext cx="6" cy="7"/>
              </a:xfrm>
              <a:custGeom>
                <a:avLst/>
                <a:gdLst>
                  <a:gd name="T0" fmla="*/ 4 w 6"/>
                  <a:gd name="T1" fmla="*/ 0 h 7"/>
                  <a:gd name="T2" fmla="*/ 2 w 6"/>
                  <a:gd name="T3" fmla="*/ 3 h 7"/>
                  <a:gd name="T4" fmla="*/ 0 w 6"/>
                  <a:gd name="T5" fmla="*/ 7 h 7"/>
                  <a:gd name="T6" fmla="*/ 0 w 6"/>
                  <a:gd name="T7" fmla="*/ 7 h 7"/>
                  <a:gd name="T8" fmla="*/ 2 w 6"/>
                  <a:gd name="T9" fmla="*/ 3 h 7"/>
                  <a:gd name="T10" fmla="*/ 4 w 6"/>
                  <a:gd name="T11" fmla="*/ 0 h 7"/>
                  <a:gd name="T12" fmla="*/ 6 w 6"/>
                  <a:gd name="T13" fmla="*/ 0 h 7"/>
                  <a:gd name="T14" fmla="*/ 6 w 6"/>
                  <a:gd name="T15" fmla="*/ 0 h 7"/>
                  <a:gd name="T16" fmla="*/ 6 w 6"/>
                  <a:gd name="T17" fmla="*/ 0 h 7"/>
                  <a:gd name="T18" fmla="*/ 4 w 6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7">
                    <a:moveTo>
                      <a:pt x="4" y="0"/>
                    </a:moveTo>
                    <a:lnTo>
                      <a:pt x="2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06" name="Freeform 1123">
                <a:extLst>
                  <a:ext uri="{FF2B5EF4-FFF2-40B4-BE49-F238E27FC236}">
                    <a16:creationId xmlns:a16="http://schemas.microsoft.com/office/drawing/2014/main" id="{A01F45E5-6A0F-4774-9304-CB21E508EE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3019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2 h 4"/>
                  <a:gd name="T4" fmla="*/ 2 w 2"/>
                  <a:gd name="T5" fmla="*/ 4 h 4"/>
                  <a:gd name="T6" fmla="*/ 0 w 2"/>
                  <a:gd name="T7" fmla="*/ 2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07" name="Freeform 1124">
                <a:extLst>
                  <a:ext uri="{FF2B5EF4-FFF2-40B4-BE49-F238E27FC236}">
                    <a16:creationId xmlns:a16="http://schemas.microsoft.com/office/drawing/2014/main" id="{2E8D4B14-2D26-44EC-BBEB-B73E973A8B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" y="3012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4 h 4"/>
                  <a:gd name="T4" fmla="*/ 2 w 2"/>
                  <a:gd name="T5" fmla="*/ 4 h 4"/>
                  <a:gd name="T6" fmla="*/ 0 w 2"/>
                  <a:gd name="T7" fmla="*/ 4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4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08" name="Freeform 1125">
                <a:extLst>
                  <a:ext uri="{FF2B5EF4-FFF2-40B4-BE49-F238E27FC236}">
                    <a16:creationId xmlns:a16="http://schemas.microsoft.com/office/drawing/2014/main" id="{45F68A83-BB90-4D12-B671-DA93F6ED8B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" y="3025"/>
                <a:ext cx="0" cy="4"/>
              </a:xfrm>
              <a:custGeom>
                <a:avLst/>
                <a:gdLst>
                  <a:gd name="T0" fmla="*/ 0 h 4"/>
                  <a:gd name="T1" fmla="*/ 2 h 4"/>
                  <a:gd name="T2" fmla="*/ 4 h 4"/>
                  <a:gd name="T3" fmla="*/ 2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09" name="Freeform 1126">
                <a:extLst>
                  <a:ext uri="{FF2B5EF4-FFF2-40B4-BE49-F238E27FC236}">
                    <a16:creationId xmlns:a16="http://schemas.microsoft.com/office/drawing/2014/main" id="{DEF64BE0-413D-49EC-AA41-1BE5DA40A9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7" y="3307"/>
                <a:ext cx="4" cy="3"/>
              </a:xfrm>
              <a:custGeom>
                <a:avLst/>
                <a:gdLst>
                  <a:gd name="T0" fmla="*/ 0 w 4"/>
                  <a:gd name="T1" fmla="*/ 0 h 3"/>
                  <a:gd name="T2" fmla="*/ 0 w 4"/>
                  <a:gd name="T3" fmla="*/ 0 h 3"/>
                  <a:gd name="T4" fmla="*/ 0 w 4"/>
                  <a:gd name="T5" fmla="*/ 0 h 3"/>
                  <a:gd name="T6" fmla="*/ 4 w 4"/>
                  <a:gd name="T7" fmla="*/ 1 h 3"/>
                  <a:gd name="T8" fmla="*/ 4 w 4"/>
                  <a:gd name="T9" fmla="*/ 3 h 3"/>
                  <a:gd name="T10" fmla="*/ 4 w 4"/>
                  <a:gd name="T11" fmla="*/ 1 h 3"/>
                  <a:gd name="T12" fmla="*/ 0 w 4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1"/>
                    </a:lnTo>
                    <a:lnTo>
                      <a:pt x="4" y="3"/>
                    </a:lnTo>
                    <a:lnTo>
                      <a:pt x="4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10" name="Freeform 1127">
                <a:extLst>
                  <a:ext uri="{FF2B5EF4-FFF2-40B4-BE49-F238E27FC236}">
                    <a16:creationId xmlns:a16="http://schemas.microsoft.com/office/drawing/2014/main" id="{5BE196C3-52C2-49DE-B2CD-D396901BD5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" y="3002"/>
                <a:ext cx="0" cy="8"/>
              </a:xfrm>
              <a:custGeom>
                <a:avLst/>
                <a:gdLst>
                  <a:gd name="T0" fmla="*/ 0 h 8"/>
                  <a:gd name="T1" fmla="*/ 6 h 8"/>
                  <a:gd name="T2" fmla="*/ 8 h 8"/>
                  <a:gd name="T3" fmla="*/ 6 h 8"/>
                  <a:gd name="T4" fmla="*/ 0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8">
                    <a:moveTo>
                      <a:pt x="0" y="0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11" name="Freeform 1128">
                <a:extLst>
                  <a:ext uri="{FF2B5EF4-FFF2-40B4-BE49-F238E27FC236}">
                    <a16:creationId xmlns:a16="http://schemas.microsoft.com/office/drawing/2014/main" id="{68ADC888-584E-46BE-90FD-7FB54F5F5E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" y="2998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  <a:gd name="T8" fmla="*/ 0 w 2"/>
                  <a:gd name="T9" fmla="*/ 2 h 2"/>
                  <a:gd name="T10" fmla="*/ 2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12" name="Freeform 1129">
                <a:extLst>
                  <a:ext uri="{FF2B5EF4-FFF2-40B4-BE49-F238E27FC236}">
                    <a16:creationId xmlns:a16="http://schemas.microsoft.com/office/drawing/2014/main" id="{6E33CB25-3B3B-4B9A-8918-E2F4933696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" y="3332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4 h 4"/>
                  <a:gd name="T4" fmla="*/ 0 w 2"/>
                  <a:gd name="T5" fmla="*/ 0 h 4"/>
                  <a:gd name="T6" fmla="*/ 0 w 2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13" name="Freeform 1130">
                <a:extLst>
                  <a:ext uri="{FF2B5EF4-FFF2-40B4-BE49-F238E27FC236}">
                    <a16:creationId xmlns:a16="http://schemas.microsoft.com/office/drawing/2014/main" id="{5DDE5747-90B9-4965-86A4-E5C2D1117A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5" y="2865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14" name="Freeform 1131">
                <a:extLst>
                  <a:ext uri="{FF2B5EF4-FFF2-40B4-BE49-F238E27FC236}">
                    <a16:creationId xmlns:a16="http://schemas.microsoft.com/office/drawing/2014/main" id="{041CCD3A-9CE9-4E23-B6D0-AB8F2B3D8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1" y="2937"/>
                <a:ext cx="10" cy="2"/>
              </a:xfrm>
              <a:custGeom>
                <a:avLst/>
                <a:gdLst>
                  <a:gd name="T0" fmla="*/ 10 w 10"/>
                  <a:gd name="T1" fmla="*/ 2 h 2"/>
                  <a:gd name="T2" fmla="*/ 4 w 10"/>
                  <a:gd name="T3" fmla="*/ 0 h 2"/>
                  <a:gd name="T4" fmla="*/ 0 w 10"/>
                  <a:gd name="T5" fmla="*/ 0 h 2"/>
                  <a:gd name="T6" fmla="*/ 4 w 10"/>
                  <a:gd name="T7" fmla="*/ 0 h 2"/>
                  <a:gd name="T8" fmla="*/ 10 w 10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">
                    <a:moveTo>
                      <a:pt x="10" y="2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15" name="Freeform 1132">
                <a:extLst>
                  <a:ext uri="{FF2B5EF4-FFF2-40B4-BE49-F238E27FC236}">
                    <a16:creationId xmlns:a16="http://schemas.microsoft.com/office/drawing/2014/main" id="{ED6E3452-6D89-4B4F-9964-A660FF74C4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" y="2928"/>
                <a:ext cx="6" cy="2"/>
              </a:xfrm>
              <a:custGeom>
                <a:avLst/>
                <a:gdLst>
                  <a:gd name="T0" fmla="*/ 2 w 6"/>
                  <a:gd name="T1" fmla="*/ 0 h 2"/>
                  <a:gd name="T2" fmla="*/ 6 w 6"/>
                  <a:gd name="T3" fmla="*/ 2 h 2"/>
                  <a:gd name="T4" fmla="*/ 6 w 6"/>
                  <a:gd name="T5" fmla="*/ 0 h 2"/>
                  <a:gd name="T6" fmla="*/ 6 w 6"/>
                  <a:gd name="T7" fmla="*/ 0 h 2"/>
                  <a:gd name="T8" fmla="*/ 6 w 6"/>
                  <a:gd name="T9" fmla="*/ 2 h 2"/>
                  <a:gd name="T10" fmla="*/ 2 w 6"/>
                  <a:gd name="T11" fmla="*/ 0 h 2"/>
                  <a:gd name="T12" fmla="*/ 0 w 6"/>
                  <a:gd name="T13" fmla="*/ 0 h 2"/>
                  <a:gd name="T14" fmla="*/ 0 w 6"/>
                  <a:gd name="T15" fmla="*/ 2 h 2"/>
                  <a:gd name="T16" fmla="*/ 0 w 6"/>
                  <a:gd name="T17" fmla="*/ 0 h 2"/>
                  <a:gd name="T18" fmla="*/ 2 w 6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">
                    <a:moveTo>
                      <a:pt x="2" y="0"/>
                    </a:move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16" name="Freeform 1133">
                <a:extLst>
                  <a:ext uri="{FF2B5EF4-FFF2-40B4-BE49-F238E27FC236}">
                    <a16:creationId xmlns:a16="http://schemas.microsoft.com/office/drawing/2014/main" id="{300DEF64-C8AB-4B4F-9446-6CB3FE893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1" y="2912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17" name="Freeform 1134">
                <a:extLst>
                  <a:ext uri="{FF2B5EF4-FFF2-40B4-BE49-F238E27FC236}">
                    <a16:creationId xmlns:a16="http://schemas.microsoft.com/office/drawing/2014/main" id="{0DF63DED-D4DD-4CDD-90B6-924FDD9E1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6" y="292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18" name="Freeform 1135">
                <a:extLst>
                  <a:ext uri="{FF2B5EF4-FFF2-40B4-BE49-F238E27FC236}">
                    <a16:creationId xmlns:a16="http://schemas.microsoft.com/office/drawing/2014/main" id="{09712698-51CA-4449-AFD0-E206FA1A34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7" y="2951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19" name="Freeform 1136">
                <a:extLst>
                  <a:ext uri="{FF2B5EF4-FFF2-40B4-BE49-F238E27FC236}">
                    <a16:creationId xmlns:a16="http://schemas.microsoft.com/office/drawing/2014/main" id="{855DC51C-EE2F-45F9-AF49-05A9AABAF8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" y="2941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0 h 4"/>
                  <a:gd name="T4" fmla="*/ 0 w 4"/>
                  <a:gd name="T5" fmla="*/ 4 h 4"/>
                  <a:gd name="T6" fmla="*/ 0 w 4"/>
                  <a:gd name="T7" fmla="*/ 4 h 4"/>
                  <a:gd name="T8" fmla="*/ 0 w 4"/>
                  <a:gd name="T9" fmla="*/ 4 h 4"/>
                  <a:gd name="T10" fmla="*/ 4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20" name="Freeform 1137">
                <a:extLst>
                  <a:ext uri="{FF2B5EF4-FFF2-40B4-BE49-F238E27FC236}">
                    <a16:creationId xmlns:a16="http://schemas.microsoft.com/office/drawing/2014/main" id="{049A02ED-AF51-47C5-8D5E-91FFE10F74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6" y="3344"/>
                <a:ext cx="8" cy="13"/>
              </a:xfrm>
              <a:custGeom>
                <a:avLst/>
                <a:gdLst>
                  <a:gd name="T0" fmla="*/ 4 w 8"/>
                  <a:gd name="T1" fmla="*/ 11 h 13"/>
                  <a:gd name="T2" fmla="*/ 0 w 8"/>
                  <a:gd name="T3" fmla="*/ 0 h 13"/>
                  <a:gd name="T4" fmla="*/ 4 w 8"/>
                  <a:gd name="T5" fmla="*/ 11 h 13"/>
                  <a:gd name="T6" fmla="*/ 8 w 8"/>
                  <a:gd name="T7" fmla="*/ 13 h 13"/>
                  <a:gd name="T8" fmla="*/ 8 w 8"/>
                  <a:gd name="T9" fmla="*/ 13 h 13"/>
                  <a:gd name="T10" fmla="*/ 4 w 8"/>
                  <a:gd name="T11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3">
                    <a:moveTo>
                      <a:pt x="4" y="11"/>
                    </a:moveTo>
                    <a:lnTo>
                      <a:pt x="0" y="0"/>
                    </a:lnTo>
                    <a:lnTo>
                      <a:pt x="4" y="11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4" y="1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21" name="Freeform 1138">
                <a:extLst>
                  <a:ext uri="{FF2B5EF4-FFF2-40B4-BE49-F238E27FC236}">
                    <a16:creationId xmlns:a16="http://schemas.microsoft.com/office/drawing/2014/main" id="{B451D74A-7F67-4B2A-B454-589F0B900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2977"/>
                <a:ext cx="2" cy="1"/>
              </a:xfrm>
              <a:custGeom>
                <a:avLst/>
                <a:gdLst>
                  <a:gd name="T0" fmla="*/ 2 w 2"/>
                  <a:gd name="T1" fmla="*/ 1 h 1"/>
                  <a:gd name="T2" fmla="*/ 2 w 2"/>
                  <a:gd name="T3" fmla="*/ 1 h 1"/>
                  <a:gd name="T4" fmla="*/ 2 w 2"/>
                  <a:gd name="T5" fmla="*/ 1 h 1"/>
                  <a:gd name="T6" fmla="*/ 0 w 2"/>
                  <a:gd name="T7" fmla="*/ 1 h 1"/>
                  <a:gd name="T8" fmla="*/ 0 w 2"/>
                  <a:gd name="T9" fmla="*/ 1 h 1"/>
                  <a:gd name="T10" fmla="*/ 0 w 2"/>
                  <a:gd name="T11" fmla="*/ 1 h 1"/>
                  <a:gd name="T12" fmla="*/ 2 w 2"/>
                  <a:gd name="T13" fmla="*/ 1 h 1"/>
                  <a:gd name="T14" fmla="*/ 2 w 2"/>
                  <a:gd name="T15" fmla="*/ 1 h 1"/>
                  <a:gd name="T16" fmla="*/ 2 w 2"/>
                  <a:gd name="T17" fmla="*/ 1 h 1"/>
                  <a:gd name="T18" fmla="*/ 2 w 2"/>
                  <a:gd name="T19" fmla="*/ 0 h 1"/>
                  <a:gd name="T20" fmla="*/ 2 w 2"/>
                  <a:gd name="T21" fmla="*/ 0 h 1"/>
                  <a:gd name="T22" fmla="*/ 2 w 2"/>
                  <a:gd name="T23" fmla="*/ 0 h 1"/>
                  <a:gd name="T24" fmla="*/ 2 w 2"/>
                  <a:gd name="T2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2" y="1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22" name="Rectangle 1139">
                <a:extLst>
                  <a:ext uri="{FF2B5EF4-FFF2-40B4-BE49-F238E27FC236}">
                    <a16:creationId xmlns:a16="http://schemas.microsoft.com/office/drawing/2014/main" id="{018477FD-B0F6-494B-BD0B-D4E832B758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8" y="298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23" name="Rectangle 1140">
                <a:extLst>
                  <a:ext uri="{FF2B5EF4-FFF2-40B4-BE49-F238E27FC236}">
                    <a16:creationId xmlns:a16="http://schemas.microsoft.com/office/drawing/2014/main" id="{FB20F777-ECD4-4CA7-978A-346F28FED6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7" y="295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24" name="Freeform 1141">
                <a:extLst>
                  <a:ext uri="{FF2B5EF4-FFF2-40B4-BE49-F238E27FC236}">
                    <a16:creationId xmlns:a16="http://schemas.microsoft.com/office/drawing/2014/main" id="{085218A3-9F6B-4CF3-8C87-1DCBA2732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2" y="2953"/>
                <a:ext cx="13" cy="14"/>
              </a:xfrm>
              <a:custGeom>
                <a:avLst/>
                <a:gdLst>
                  <a:gd name="T0" fmla="*/ 6 w 13"/>
                  <a:gd name="T1" fmla="*/ 6 h 14"/>
                  <a:gd name="T2" fmla="*/ 11 w 13"/>
                  <a:gd name="T3" fmla="*/ 2 h 14"/>
                  <a:gd name="T4" fmla="*/ 13 w 13"/>
                  <a:gd name="T5" fmla="*/ 0 h 14"/>
                  <a:gd name="T6" fmla="*/ 13 w 13"/>
                  <a:gd name="T7" fmla="*/ 0 h 14"/>
                  <a:gd name="T8" fmla="*/ 13 w 13"/>
                  <a:gd name="T9" fmla="*/ 0 h 14"/>
                  <a:gd name="T10" fmla="*/ 13 w 13"/>
                  <a:gd name="T11" fmla="*/ 0 h 14"/>
                  <a:gd name="T12" fmla="*/ 11 w 13"/>
                  <a:gd name="T13" fmla="*/ 2 h 14"/>
                  <a:gd name="T14" fmla="*/ 6 w 13"/>
                  <a:gd name="T15" fmla="*/ 6 h 14"/>
                  <a:gd name="T16" fmla="*/ 4 w 13"/>
                  <a:gd name="T17" fmla="*/ 8 h 14"/>
                  <a:gd name="T18" fmla="*/ 0 w 13"/>
                  <a:gd name="T19" fmla="*/ 14 h 14"/>
                  <a:gd name="T20" fmla="*/ 4 w 13"/>
                  <a:gd name="T21" fmla="*/ 8 h 14"/>
                  <a:gd name="T22" fmla="*/ 6 w 13"/>
                  <a:gd name="T23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" h="14">
                    <a:moveTo>
                      <a:pt x="6" y="6"/>
                    </a:moveTo>
                    <a:lnTo>
                      <a:pt x="11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4" y="8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25" name="Freeform 1142">
                <a:extLst>
                  <a:ext uri="{FF2B5EF4-FFF2-40B4-BE49-F238E27FC236}">
                    <a16:creationId xmlns:a16="http://schemas.microsoft.com/office/drawing/2014/main" id="{0F41B3F5-9FD5-4072-B5D1-3F85CCC16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3" y="2912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4 w 4"/>
                  <a:gd name="T3" fmla="*/ 2 h 2"/>
                  <a:gd name="T4" fmla="*/ 2 w 4"/>
                  <a:gd name="T5" fmla="*/ 2 h 2"/>
                  <a:gd name="T6" fmla="*/ 2 w 4"/>
                  <a:gd name="T7" fmla="*/ 2 h 2"/>
                  <a:gd name="T8" fmla="*/ 0 w 4"/>
                  <a:gd name="T9" fmla="*/ 0 h 2"/>
                  <a:gd name="T10" fmla="*/ 0 w 4"/>
                  <a:gd name="T11" fmla="*/ 0 h 2"/>
                  <a:gd name="T12" fmla="*/ 2 w 4"/>
                  <a:gd name="T13" fmla="*/ 2 h 2"/>
                  <a:gd name="T14" fmla="*/ 2 w 4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26" name="Freeform 1143">
                <a:extLst>
                  <a:ext uri="{FF2B5EF4-FFF2-40B4-BE49-F238E27FC236}">
                    <a16:creationId xmlns:a16="http://schemas.microsoft.com/office/drawing/2014/main" id="{83C24EB4-96A6-4BE7-A1BF-58804B9A5D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4" y="2988"/>
                <a:ext cx="2" cy="10"/>
              </a:xfrm>
              <a:custGeom>
                <a:avLst/>
                <a:gdLst>
                  <a:gd name="T0" fmla="*/ 0 w 2"/>
                  <a:gd name="T1" fmla="*/ 2 h 10"/>
                  <a:gd name="T2" fmla="*/ 2 w 2"/>
                  <a:gd name="T3" fmla="*/ 10 h 10"/>
                  <a:gd name="T4" fmla="*/ 2 w 2"/>
                  <a:gd name="T5" fmla="*/ 10 h 10"/>
                  <a:gd name="T6" fmla="*/ 2 w 2"/>
                  <a:gd name="T7" fmla="*/ 10 h 10"/>
                  <a:gd name="T8" fmla="*/ 0 w 2"/>
                  <a:gd name="T9" fmla="*/ 2 h 10"/>
                  <a:gd name="T10" fmla="*/ 0 w 2"/>
                  <a:gd name="T11" fmla="*/ 0 h 10"/>
                  <a:gd name="T12" fmla="*/ 0 w 2"/>
                  <a:gd name="T13" fmla="*/ 0 h 10"/>
                  <a:gd name="T14" fmla="*/ 0 w 2"/>
                  <a:gd name="T15" fmla="*/ 0 h 10"/>
                  <a:gd name="T16" fmla="*/ 0 w 2"/>
                  <a:gd name="T17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10">
                    <a:moveTo>
                      <a:pt x="0" y="2"/>
                    </a:move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27" name="Freeform 1144">
                <a:extLst>
                  <a:ext uri="{FF2B5EF4-FFF2-40B4-BE49-F238E27FC236}">
                    <a16:creationId xmlns:a16="http://schemas.microsoft.com/office/drawing/2014/main" id="{8149BC6A-2F24-4B65-963A-2745FF21C2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3" y="3312"/>
                <a:ext cx="6" cy="0"/>
              </a:xfrm>
              <a:custGeom>
                <a:avLst/>
                <a:gdLst>
                  <a:gd name="T0" fmla="*/ 0 w 6"/>
                  <a:gd name="T1" fmla="*/ 4 w 6"/>
                  <a:gd name="T2" fmla="*/ 6 w 6"/>
                  <a:gd name="T3" fmla="*/ 4 w 6"/>
                  <a:gd name="T4" fmla="*/ 0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0" y="0"/>
                    </a:move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28" name="Rectangle 1145">
                <a:extLst>
                  <a:ext uri="{FF2B5EF4-FFF2-40B4-BE49-F238E27FC236}">
                    <a16:creationId xmlns:a16="http://schemas.microsoft.com/office/drawing/2014/main" id="{CF5B6DE5-2900-444D-9D46-E045830218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" y="296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29" name="Freeform 1146">
                <a:extLst>
                  <a:ext uri="{FF2B5EF4-FFF2-40B4-BE49-F238E27FC236}">
                    <a16:creationId xmlns:a16="http://schemas.microsoft.com/office/drawing/2014/main" id="{B3ABCB7B-8727-4695-BFDD-BB3FC9CC5B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" y="2916"/>
                <a:ext cx="6" cy="0"/>
              </a:xfrm>
              <a:custGeom>
                <a:avLst/>
                <a:gdLst>
                  <a:gd name="T0" fmla="*/ 6 w 6"/>
                  <a:gd name="T1" fmla="*/ 0 w 6"/>
                  <a:gd name="T2" fmla="*/ 6 w 6"/>
                  <a:gd name="T3" fmla="*/ 6 w 6"/>
                  <a:gd name="T4" fmla="*/ 6 w 6"/>
                  <a:gd name="T5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30" name="Freeform 1147">
                <a:extLst>
                  <a:ext uri="{FF2B5EF4-FFF2-40B4-BE49-F238E27FC236}">
                    <a16:creationId xmlns:a16="http://schemas.microsoft.com/office/drawing/2014/main" id="{90999C3A-4B61-4366-BE21-7D187B9536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" y="2967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31" name="Freeform 1148">
                <a:extLst>
                  <a:ext uri="{FF2B5EF4-FFF2-40B4-BE49-F238E27FC236}">
                    <a16:creationId xmlns:a16="http://schemas.microsoft.com/office/drawing/2014/main" id="{1A9B0040-D484-410C-BB00-41081C3AFD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1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32" name="Freeform 1149">
                <a:extLst>
                  <a:ext uri="{FF2B5EF4-FFF2-40B4-BE49-F238E27FC236}">
                    <a16:creationId xmlns:a16="http://schemas.microsoft.com/office/drawing/2014/main" id="{BDE82068-3727-4D61-9218-DF5129A0DC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18"/>
                <a:ext cx="0" cy="6"/>
              </a:xfrm>
              <a:custGeom>
                <a:avLst/>
                <a:gdLst>
                  <a:gd name="T0" fmla="*/ 0 h 6"/>
                  <a:gd name="T1" fmla="*/ 0 h 6"/>
                  <a:gd name="T2" fmla="*/ 2 h 6"/>
                  <a:gd name="T3" fmla="*/ 6 h 6"/>
                  <a:gd name="T4" fmla="*/ 2 h 6"/>
                  <a:gd name="T5" fmla="*/ 0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33" name="Freeform 1150">
                <a:extLst>
                  <a:ext uri="{FF2B5EF4-FFF2-40B4-BE49-F238E27FC236}">
                    <a16:creationId xmlns:a16="http://schemas.microsoft.com/office/drawing/2014/main" id="{56F5727F-229E-4989-8FF6-DB581F1C02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" y="2959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2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34" name="Freeform 1151">
                <a:extLst>
                  <a:ext uri="{FF2B5EF4-FFF2-40B4-BE49-F238E27FC236}">
                    <a16:creationId xmlns:a16="http://schemas.microsoft.com/office/drawing/2014/main" id="{2661CAF2-C50B-4E87-AB40-3B95C7C014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" y="2961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2 h 2"/>
                  <a:gd name="T4" fmla="*/ 0 w 4"/>
                  <a:gd name="T5" fmla="*/ 2 h 2"/>
                  <a:gd name="T6" fmla="*/ 2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35" name="Freeform 1152">
                <a:extLst>
                  <a:ext uri="{FF2B5EF4-FFF2-40B4-BE49-F238E27FC236}">
                    <a16:creationId xmlns:a16="http://schemas.microsoft.com/office/drawing/2014/main" id="{ABBC3EB3-311E-4C7C-81D0-671550AC25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" y="2926"/>
                <a:ext cx="4" cy="6"/>
              </a:xfrm>
              <a:custGeom>
                <a:avLst/>
                <a:gdLst>
                  <a:gd name="T0" fmla="*/ 2 w 4"/>
                  <a:gd name="T1" fmla="*/ 2 h 6"/>
                  <a:gd name="T2" fmla="*/ 2 w 4"/>
                  <a:gd name="T3" fmla="*/ 2 h 6"/>
                  <a:gd name="T4" fmla="*/ 0 w 4"/>
                  <a:gd name="T5" fmla="*/ 0 h 6"/>
                  <a:gd name="T6" fmla="*/ 2 w 4"/>
                  <a:gd name="T7" fmla="*/ 2 h 6"/>
                  <a:gd name="T8" fmla="*/ 2 w 4"/>
                  <a:gd name="T9" fmla="*/ 2 h 6"/>
                  <a:gd name="T10" fmla="*/ 4 w 4"/>
                  <a:gd name="T11" fmla="*/ 4 h 6"/>
                  <a:gd name="T12" fmla="*/ 4 w 4"/>
                  <a:gd name="T13" fmla="*/ 6 h 6"/>
                  <a:gd name="T14" fmla="*/ 4 w 4"/>
                  <a:gd name="T15" fmla="*/ 4 h 6"/>
                  <a:gd name="T16" fmla="*/ 2 w 4"/>
                  <a:gd name="T1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6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36" name="Freeform 1153">
                <a:extLst>
                  <a:ext uri="{FF2B5EF4-FFF2-40B4-BE49-F238E27FC236}">
                    <a16:creationId xmlns:a16="http://schemas.microsoft.com/office/drawing/2014/main" id="{838A709C-3C03-4353-A033-5641DD769B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" y="2939"/>
                <a:ext cx="6" cy="18"/>
              </a:xfrm>
              <a:custGeom>
                <a:avLst/>
                <a:gdLst>
                  <a:gd name="T0" fmla="*/ 0 w 6"/>
                  <a:gd name="T1" fmla="*/ 6 h 18"/>
                  <a:gd name="T2" fmla="*/ 0 w 6"/>
                  <a:gd name="T3" fmla="*/ 4 h 18"/>
                  <a:gd name="T4" fmla="*/ 2 w 6"/>
                  <a:gd name="T5" fmla="*/ 0 h 18"/>
                  <a:gd name="T6" fmla="*/ 2 w 6"/>
                  <a:gd name="T7" fmla="*/ 0 h 18"/>
                  <a:gd name="T8" fmla="*/ 2 w 6"/>
                  <a:gd name="T9" fmla="*/ 0 h 18"/>
                  <a:gd name="T10" fmla="*/ 0 w 6"/>
                  <a:gd name="T11" fmla="*/ 4 h 18"/>
                  <a:gd name="T12" fmla="*/ 0 w 6"/>
                  <a:gd name="T13" fmla="*/ 6 h 18"/>
                  <a:gd name="T14" fmla="*/ 6 w 6"/>
                  <a:gd name="T15" fmla="*/ 18 h 18"/>
                  <a:gd name="T16" fmla="*/ 6 w 6"/>
                  <a:gd name="T17" fmla="*/ 18 h 18"/>
                  <a:gd name="T18" fmla="*/ 6 w 6"/>
                  <a:gd name="T19" fmla="*/ 18 h 18"/>
                  <a:gd name="T20" fmla="*/ 0 w 6"/>
                  <a:gd name="T2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18">
                    <a:moveTo>
                      <a:pt x="0" y="6"/>
                    </a:move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37" name="Freeform 1154">
                <a:extLst>
                  <a:ext uri="{FF2B5EF4-FFF2-40B4-BE49-F238E27FC236}">
                    <a16:creationId xmlns:a16="http://schemas.microsoft.com/office/drawing/2014/main" id="{AF93DF63-05BE-462A-8CC6-FF34C0E72A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16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38" name="Freeform 1155">
                <a:extLst>
                  <a:ext uri="{FF2B5EF4-FFF2-40B4-BE49-F238E27FC236}">
                    <a16:creationId xmlns:a16="http://schemas.microsoft.com/office/drawing/2014/main" id="{F124DBE0-B10F-4302-B41E-543A9D98C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63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  <a:gd name="T4" fmla="*/ 0 w 2"/>
                  <a:gd name="T5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39" name="Freeform 1156">
                <a:extLst>
                  <a:ext uri="{FF2B5EF4-FFF2-40B4-BE49-F238E27FC236}">
                    <a16:creationId xmlns:a16="http://schemas.microsoft.com/office/drawing/2014/main" id="{25FA669A-3CA3-4ADB-A6B0-7B1B157935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" y="2065"/>
                <a:ext cx="24" cy="15"/>
              </a:xfrm>
              <a:custGeom>
                <a:avLst/>
                <a:gdLst>
                  <a:gd name="T0" fmla="*/ 2 w 24"/>
                  <a:gd name="T1" fmla="*/ 11 h 15"/>
                  <a:gd name="T2" fmla="*/ 6 w 24"/>
                  <a:gd name="T3" fmla="*/ 13 h 15"/>
                  <a:gd name="T4" fmla="*/ 8 w 24"/>
                  <a:gd name="T5" fmla="*/ 13 h 15"/>
                  <a:gd name="T6" fmla="*/ 10 w 24"/>
                  <a:gd name="T7" fmla="*/ 11 h 15"/>
                  <a:gd name="T8" fmla="*/ 12 w 24"/>
                  <a:gd name="T9" fmla="*/ 11 h 15"/>
                  <a:gd name="T10" fmla="*/ 12 w 24"/>
                  <a:gd name="T11" fmla="*/ 11 h 15"/>
                  <a:gd name="T12" fmla="*/ 14 w 24"/>
                  <a:gd name="T13" fmla="*/ 15 h 15"/>
                  <a:gd name="T14" fmla="*/ 16 w 24"/>
                  <a:gd name="T15" fmla="*/ 15 h 15"/>
                  <a:gd name="T16" fmla="*/ 16 w 24"/>
                  <a:gd name="T17" fmla="*/ 13 h 15"/>
                  <a:gd name="T18" fmla="*/ 14 w 24"/>
                  <a:gd name="T19" fmla="*/ 11 h 15"/>
                  <a:gd name="T20" fmla="*/ 12 w 24"/>
                  <a:gd name="T21" fmla="*/ 9 h 15"/>
                  <a:gd name="T22" fmla="*/ 10 w 24"/>
                  <a:gd name="T23" fmla="*/ 9 h 15"/>
                  <a:gd name="T24" fmla="*/ 10 w 24"/>
                  <a:gd name="T25" fmla="*/ 8 h 15"/>
                  <a:gd name="T26" fmla="*/ 14 w 24"/>
                  <a:gd name="T27" fmla="*/ 8 h 15"/>
                  <a:gd name="T28" fmla="*/ 20 w 24"/>
                  <a:gd name="T29" fmla="*/ 6 h 15"/>
                  <a:gd name="T30" fmla="*/ 24 w 24"/>
                  <a:gd name="T31" fmla="*/ 4 h 15"/>
                  <a:gd name="T32" fmla="*/ 22 w 24"/>
                  <a:gd name="T33" fmla="*/ 0 h 15"/>
                  <a:gd name="T34" fmla="*/ 14 w 24"/>
                  <a:gd name="T35" fmla="*/ 0 h 15"/>
                  <a:gd name="T36" fmla="*/ 2 w 24"/>
                  <a:gd name="T37" fmla="*/ 4 h 15"/>
                  <a:gd name="T38" fmla="*/ 0 w 24"/>
                  <a:gd name="T39" fmla="*/ 6 h 15"/>
                  <a:gd name="T40" fmla="*/ 0 w 24"/>
                  <a:gd name="T41" fmla="*/ 9 h 15"/>
                  <a:gd name="T42" fmla="*/ 2 w 24"/>
                  <a:gd name="T43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" h="15">
                    <a:moveTo>
                      <a:pt x="2" y="11"/>
                    </a:moveTo>
                    <a:lnTo>
                      <a:pt x="6" y="13"/>
                    </a:lnTo>
                    <a:lnTo>
                      <a:pt x="8" y="13"/>
                    </a:lnTo>
                    <a:lnTo>
                      <a:pt x="10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4" y="15"/>
                    </a:lnTo>
                    <a:lnTo>
                      <a:pt x="16" y="15"/>
                    </a:lnTo>
                    <a:lnTo>
                      <a:pt x="16" y="13"/>
                    </a:lnTo>
                    <a:lnTo>
                      <a:pt x="14" y="11"/>
                    </a:lnTo>
                    <a:lnTo>
                      <a:pt x="12" y="9"/>
                    </a:lnTo>
                    <a:lnTo>
                      <a:pt x="10" y="9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20" y="6"/>
                    </a:lnTo>
                    <a:lnTo>
                      <a:pt x="24" y="4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2" y="1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40" name="Freeform 1157">
                <a:extLst>
                  <a:ext uri="{FF2B5EF4-FFF2-40B4-BE49-F238E27FC236}">
                    <a16:creationId xmlns:a16="http://schemas.microsoft.com/office/drawing/2014/main" id="{89EDDB87-49D1-4C7A-8931-712D40F158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" y="2033"/>
                <a:ext cx="35" cy="8"/>
              </a:xfrm>
              <a:custGeom>
                <a:avLst/>
                <a:gdLst>
                  <a:gd name="T0" fmla="*/ 25 w 35"/>
                  <a:gd name="T1" fmla="*/ 6 h 8"/>
                  <a:gd name="T2" fmla="*/ 33 w 35"/>
                  <a:gd name="T3" fmla="*/ 2 h 8"/>
                  <a:gd name="T4" fmla="*/ 35 w 35"/>
                  <a:gd name="T5" fmla="*/ 2 h 8"/>
                  <a:gd name="T6" fmla="*/ 35 w 35"/>
                  <a:gd name="T7" fmla="*/ 2 h 8"/>
                  <a:gd name="T8" fmla="*/ 35 w 35"/>
                  <a:gd name="T9" fmla="*/ 0 h 8"/>
                  <a:gd name="T10" fmla="*/ 15 w 35"/>
                  <a:gd name="T11" fmla="*/ 0 h 8"/>
                  <a:gd name="T12" fmla="*/ 5 w 35"/>
                  <a:gd name="T13" fmla="*/ 2 h 8"/>
                  <a:gd name="T14" fmla="*/ 0 w 35"/>
                  <a:gd name="T15" fmla="*/ 6 h 8"/>
                  <a:gd name="T16" fmla="*/ 5 w 35"/>
                  <a:gd name="T17" fmla="*/ 8 h 8"/>
                  <a:gd name="T18" fmla="*/ 25 w 35"/>
                  <a:gd name="T1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8">
                    <a:moveTo>
                      <a:pt x="25" y="6"/>
                    </a:moveTo>
                    <a:lnTo>
                      <a:pt x="33" y="2"/>
                    </a:lnTo>
                    <a:lnTo>
                      <a:pt x="35" y="2"/>
                    </a:lnTo>
                    <a:lnTo>
                      <a:pt x="35" y="2"/>
                    </a:lnTo>
                    <a:lnTo>
                      <a:pt x="35" y="0"/>
                    </a:lnTo>
                    <a:lnTo>
                      <a:pt x="15" y="0"/>
                    </a:lnTo>
                    <a:lnTo>
                      <a:pt x="5" y="2"/>
                    </a:lnTo>
                    <a:lnTo>
                      <a:pt x="0" y="6"/>
                    </a:lnTo>
                    <a:lnTo>
                      <a:pt x="5" y="8"/>
                    </a:lnTo>
                    <a:lnTo>
                      <a:pt x="25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41" name="Freeform 1158">
                <a:extLst>
                  <a:ext uri="{FF2B5EF4-FFF2-40B4-BE49-F238E27FC236}">
                    <a16:creationId xmlns:a16="http://schemas.microsoft.com/office/drawing/2014/main" id="{CDE9B9C5-EE3D-4D0A-969D-0C078E94D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" y="2043"/>
                <a:ext cx="35" cy="6"/>
              </a:xfrm>
              <a:custGeom>
                <a:avLst/>
                <a:gdLst>
                  <a:gd name="T0" fmla="*/ 29 w 35"/>
                  <a:gd name="T1" fmla="*/ 0 h 6"/>
                  <a:gd name="T2" fmla="*/ 5 w 35"/>
                  <a:gd name="T3" fmla="*/ 4 h 6"/>
                  <a:gd name="T4" fmla="*/ 0 w 35"/>
                  <a:gd name="T5" fmla="*/ 6 h 6"/>
                  <a:gd name="T6" fmla="*/ 35 w 35"/>
                  <a:gd name="T7" fmla="*/ 2 h 6"/>
                  <a:gd name="T8" fmla="*/ 29 w 35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6">
                    <a:moveTo>
                      <a:pt x="29" y="0"/>
                    </a:moveTo>
                    <a:lnTo>
                      <a:pt x="5" y="4"/>
                    </a:lnTo>
                    <a:lnTo>
                      <a:pt x="0" y="6"/>
                    </a:lnTo>
                    <a:lnTo>
                      <a:pt x="35" y="2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42" name="Freeform 1159">
                <a:extLst>
                  <a:ext uri="{FF2B5EF4-FFF2-40B4-BE49-F238E27FC236}">
                    <a16:creationId xmlns:a16="http://schemas.microsoft.com/office/drawing/2014/main" id="{AC723092-75F4-4037-9821-1186DB46EB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" y="1805"/>
                <a:ext cx="25" cy="20"/>
              </a:xfrm>
              <a:custGeom>
                <a:avLst/>
                <a:gdLst>
                  <a:gd name="T0" fmla="*/ 0 w 25"/>
                  <a:gd name="T1" fmla="*/ 16 h 20"/>
                  <a:gd name="T2" fmla="*/ 2 w 25"/>
                  <a:gd name="T3" fmla="*/ 18 h 20"/>
                  <a:gd name="T4" fmla="*/ 6 w 25"/>
                  <a:gd name="T5" fmla="*/ 20 h 20"/>
                  <a:gd name="T6" fmla="*/ 14 w 25"/>
                  <a:gd name="T7" fmla="*/ 20 h 20"/>
                  <a:gd name="T8" fmla="*/ 17 w 25"/>
                  <a:gd name="T9" fmla="*/ 16 h 20"/>
                  <a:gd name="T10" fmla="*/ 19 w 25"/>
                  <a:gd name="T11" fmla="*/ 14 h 20"/>
                  <a:gd name="T12" fmla="*/ 21 w 25"/>
                  <a:gd name="T13" fmla="*/ 10 h 20"/>
                  <a:gd name="T14" fmla="*/ 25 w 25"/>
                  <a:gd name="T15" fmla="*/ 6 h 20"/>
                  <a:gd name="T16" fmla="*/ 25 w 25"/>
                  <a:gd name="T17" fmla="*/ 6 h 20"/>
                  <a:gd name="T18" fmla="*/ 25 w 25"/>
                  <a:gd name="T19" fmla="*/ 4 h 20"/>
                  <a:gd name="T20" fmla="*/ 25 w 25"/>
                  <a:gd name="T21" fmla="*/ 4 h 20"/>
                  <a:gd name="T22" fmla="*/ 25 w 25"/>
                  <a:gd name="T23" fmla="*/ 2 h 20"/>
                  <a:gd name="T24" fmla="*/ 17 w 25"/>
                  <a:gd name="T25" fmla="*/ 0 h 20"/>
                  <a:gd name="T26" fmla="*/ 12 w 25"/>
                  <a:gd name="T27" fmla="*/ 2 h 20"/>
                  <a:gd name="T28" fmla="*/ 6 w 25"/>
                  <a:gd name="T29" fmla="*/ 4 h 20"/>
                  <a:gd name="T30" fmla="*/ 0 w 25"/>
                  <a:gd name="T31" fmla="*/ 10 h 20"/>
                  <a:gd name="T32" fmla="*/ 2 w 25"/>
                  <a:gd name="T33" fmla="*/ 10 h 20"/>
                  <a:gd name="T34" fmla="*/ 2 w 25"/>
                  <a:gd name="T35" fmla="*/ 12 h 20"/>
                  <a:gd name="T36" fmla="*/ 2 w 25"/>
                  <a:gd name="T37" fmla="*/ 14 h 20"/>
                  <a:gd name="T38" fmla="*/ 0 w 25"/>
                  <a:gd name="T39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20">
                    <a:moveTo>
                      <a:pt x="0" y="16"/>
                    </a:moveTo>
                    <a:lnTo>
                      <a:pt x="2" y="18"/>
                    </a:lnTo>
                    <a:lnTo>
                      <a:pt x="6" y="20"/>
                    </a:lnTo>
                    <a:lnTo>
                      <a:pt x="14" y="20"/>
                    </a:lnTo>
                    <a:lnTo>
                      <a:pt x="17" y="16"/>
                    </a:lnTo>
                    <a:lnTo>
                      <a:pt x="19" y="14"/>
                    </a:lnTo>
                    <a:lnTo>
                      <a:pt x="21" y="10"/>
                    </a:lnTo>
                    <a:lnTo>
                      <a:pt x="25" y="6"/>
                    </a:lnTo>
                    <a:lnTo>
                      <a:pt x="25" y="6"/>
                    </a:lnTo>
                    <a:lnTo>
                      <a:pt x="25" y="4"/>
                    </a:lnTo>
                    <a:lnTo>
                      <a:pt x="25" y="4"/>
                    </a:lnTo>
                    <a:lnTo>
                      <a:pt x="25" y="2"/>
                    </a:lnTo>
                    <a:lnTo>
                      <a:pt x="17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43" name="Freeform 1160">
                <a:extLst>
                  <a:ext uri="{FF2B5EF4-FFF2-40B4-BE49-F238E27FC236}">
                    <a16:creationId xmlns:a16="http://schemas.microsoft.com/office/drawing/2014/main" id="{3CBA6155-15D7-468E-8F1E-AB27E83E3C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" y="2016"/>
                <a:ext cx="17" cy="4"/>
              </a:xfrm>
              <a:custGeom>
                <a:avLst/>
                <a:gdLst>
                  <a:gd name="T0" fmla="*/ 4 w 17"/>
                  <a:gd name="T1" fmla="*/ 2 h 4"/>
                  <a:gd name="T2" fmla="*/ 7 w 17"/>
                  <a:gd name="T3" fmla="*/ 2 h 4"/>
                  <a:gd name="T4" fmla="*/ 13 w 17"/>
                  <a:gd name="T5" fmla="*/ 2 h 4"/>
                  <a:gd name="T6" fmla="*/ 15 w 17"/>
                  <a:gd name="T7" fmla="*/ 2 h 4"/>
                  <a:gd name="T8" fmla="*/ 17 w 17"/>
                  <a:gd name="T9" fmla="*/ 2 h 4"/>
                  <a:gd name="T10" fmla="*/ 13 w 17"/>
                  <a:gd name="T11" fmla="*/ 0 h 4"/>
                  <a:gd name="T12" fmla="*/ 9 w 17"/>
                  <a:gd name="T13" fmla="*/ 0 h 4"/>
                  <a:gd name="T14" fmla="*/ 7 w 17"/>
                  <a:gd name="T15" fmla="*/ 0 h 4"/>
                  <a:gd name="T16" fmla="*/ 4 w 17"/>
                  <a:gd name="T17" fmla="*/ 0 h 4"/>
                  <a:gd name="T18" fmla="*/ 2 w 17"/>
                  <a:gd name="T19" fmla="*/ 0 h 4"/>
                  <a:gd name="T20" fmla="*/ 0 w 17"/>
                  <a:gd name="T21" fmla="*/ 2 h 4"/>
                  <a:gd name="T22" fmla="*/ 4 w 17"/>
                  <a:gd name="T23" fmla="*/ 4 h 4"/>
                  <a:gd name="T24" fmla="*/ 4 w 17"/>
                  <a:gd name="T2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" h="4">
                    <a:moveTo>
                      <a:pt x="4" y="2"/>
                    </a:moveTo>
                    <a:lnTo>
                      <a:pt x="7" y="2"/>
                    </a:lnTo>
                    <a:lnTo>
                      <a:pt x="13" y="2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4" y="4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44" name="Freeform 1161">
                <a:extLst>
                  <a:ext uri="{FF2B5EF4-FFF2-40B4-BE49-F238E27FC236}">
                    <a16:creationId xmlns:a16="http://schemas.microsoft.com/office/drawing/2014/main" id="{E838CC3A-EDFA-4F4A-B8D9-C569FB3B6E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" y="2018"/>
                <a:ext cx="26" cy="8"/>
              </a:xfrm>
              <a:custGeom>
                <a:avLst/>
                <a:gdLst>
                  <a:gd name="T0" fmla="*/ 2 w 26"/>
                  <a:gd name="T1" fmla="*/ 8 h 8"/>
                  <a:gd name="T2" fmla="*/ 4 w 26"/>
                  <a:gd name="T3" fmla="*/ 8 h 8"/>
                  <a:gd name="T4" fmla="*/ 6 w 26"/>
                  <a:gd name="T5" fmla="*/ 4 h 8"/>
                  <a:gd name="T6" fmla="*/ 10 w 26"/>
                  <a:gd name="T7" fmla="*/ 8 h 8"/>
                  <a:gd name="T8" fmla="*/ 14 w 26"/>
                  <a:gd name="T9" fmla="*/ 8 h 8"/>
                  <a:gd name="T10" fmla="*/ 20 w 26"/>
                  <a:gd name="T11" fmla="*/ 6 h 8"/>
                  <a:gd name="T12" fmla="*/ 24 w 26"/>
                  <a:gd name="T13" fmla="*/ 2 h 8"/>
                  <a:gd name="T14" fmla="*/ 26 w 26"/>
                  <a:gd name="T15" fmla="*/ 2 h 8"/>
                  <a:gd name="T16" fmla="*/ 26 w 26"/>
                  <a:gd name="T17" fmla="*/ 0 h 8"/>
                  <a:gd name="T18" fmla="*/ 10 w 26"/>
                  <a:gd name="T19" fmla="*/ 0 h 8"/>
                  <a:gd name="T20" fmla="*/ 4 w 26"/>
                  <a:gd name="T21" fmla="*/ 2 h 8"/>
                  <a:gd name="T22" fmla="*/ 0 w 26"/>
                  <a:gd name="T23" fmla="*/ 8 h 8"/>
                  <a:gd name="T24" fmla="*/ 0 w 26"/>
                  <a:gd name="T25" fmla="*/ 8 h 8"/>
                  <a:gd name="T26" fmla="*/ 2 w 26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8">
                    <a:moveTo>
                      <a:pt x="2" y="8"/>
                    </a:moveTo>
                    <a:lnTo>
                      <a:pt x="4" y="8"/>
                    </a:lnTo>
                    <a:lnTo>
                      <a:pt x="6" y="4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20" y="6"/>
                    </a:lnTo>
                    <a:lnTo>
                      <a:pt x="24" y="2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45" name="Freeform 1162">
                <a:extLst>
                  <a:ext uri="{FF2B5EF4-FFF2-40B4-BE49-F238E27FC236}">
                    <a16:creationId xmlns:a16="http://schemas.microsoft.com/office/drawing/2014/main" id="{F0D2FF34-1C75-4A43-914C-C34527CD4B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" y="1903"/>
                <a:ext cx="5" cy="4"/>
              </a:xfrm>
              <a:custGeom>
                <a:avLst/>
                <a:gdLst>
                  <a:gd name="T0" fmla="*/ 2 w 5"/>
                  <a:gd name="T1" fmla="*/ 2 h 4"/>
                  <a:gd name="T2" fmla="*/ 3 w 5"/>
                  <a:gd name="T3" fmla="*/ 2 h 4"/>
                  <a:gd name="T4" fmla="*/ 3 w 5"/>
                  <a:gd name="T5" fmla="*/ 2 h 4"/>
                  <a:gd name="T6" fmla="*/ 3 w 5"/>
                  <a:gd name="T7" fmla="*/ 4 h 4"/>
                  <a:gd name="T8" fmla="*/ 5 w 5"/>
                  <a:gd name="T9" fmla="*/ 4 h 4"/>
                  <a:gd name="T10" fmla="*/ 3 w 5"/>
                  <a:gd name="T11" fmla="*/ 0 h 4"/>
                  <a:gd name="T12" fmla="*/ 3 w 5"/>
                  <a:gd name="T13" fmla="*/ 0 h 4"/>
                  <a:gd name="T14" fmla="*/ 0 w 5"/>
                  <a:gd name="T15" fmla="*/ 0 h 4"/>
                  <a:gd name="T16" fmla="*/ 2 w 5"/>
                  <a:gd name="T17" fmla="*/ 0 h 4"/>
                  <a:gd name="T18" fmla="*/ 2 w 5"/>
                  <a:gd name="T1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4">
                    <a:moveTo>
                      <a:pt x="2" y="2"/>
                    </a:moveTo>
                    <a:lnTo>
                      <a:pt x="3" y="2"/>
                    </a:lnTo>
                    <a:lnTo>
                      <a:pt x="3" y="2"/>
                    </a:lnTo>
                    <a:lnTo>
                      <a:pt x="3" y="4"/>
                    </a:lnTo>
                    <a:lnTo>
                      <a:pt x="5" y="4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46" name="Freeform 1163">
                <a:extLst>
                  <a:ext uri="{FF2B5EF4-FFF2-40B4-BE49-F238E27FC236}">
                    <a16:creationId xmlns:a16="http://schemas.microsoft.com/office/drawing/2014/main" id="{2833D01F-38EE-4513-AD83-1490F853E4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" y="2032"/>
                <a:ext cx="9" cy="3"/>
              </a:xfrm>
              <a:custGeom>
                <a:avLst/>
                <a:gdLst>
                  <a:gd name="T0" fmla="*/ 7 w 9"/>
                  <a:gd name="T1" fmla="*/ 3 h 3"/>
                  <a:gd name="T2" fmla="*/ 9 w 9"/>
                  <a:gd name="T3" fmla="*/ 3 h 3"/>
                  <a:gd name="T4" fmla="*/ 9 w 9"/>
                  <a:gd name="T5" fmla="*/ 3 h 3"/>
                  <a:gd name="T6" fmla="*/ 9 w 9"/>
                  <a:gd name="T7" fmla="*/ 1 h 3"/>
                  <a:gd name="T8" fmla="*/ 7 w 9"/>
                  <a:gd name="T9" fmla="*/ 1 h 3"/>
                  <a:gd name="T10" fmla="*/ 5 w 9"/>
                  <a:gd name="T11" fmla="*/ 0 h 3"/>
                  <a:gd name="T12" fmla="*/ 2 w 9"/>
                  <a:gd name="T13" fmla="*/ 0 h 3"/>
                  <a:gd name="T14" fmla="*/ 0 w 9"/>
                  <a:gd name="T15" fmla="*/ 1 h 3"/>
                  <a:gd name="T16" fmla="*/ 2 w 9"/>
                  <a:gd name="T17" fmla="*/ 1 h 3"/>
                  <a:gd name="T18" fmla="*/ 7 w 9"/>
                  <a:gd name="T1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3">
                    <a:moveTo>
                      <a:pt x="7" y="3"/>
                    </a:moveTo>
                    <a:lnTo>
                      <a:pt x="9" y="3"/>
                    </a:lnTo>
                    <a:lnTo>
                      <a:pt x="9" y="3"/>
                    </a:lnTo>
                    <a:lnTo>
                      <a:pt x="9" y="1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7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47" name="Freeform 1164">
                <a:extLst>
                  <a:ext uri="{FF2B5EF4-FFF2-40B4-BE49-F238E27FC236}">
                    <a16:creationId xmlns:a16="http://schemas.microsoft.com/office/drawing/2014/main" id="{4187602C-3BA7-4D6C-A716-8425AF83C8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" y="2024"/>
                <a:ext cx="28" cy="11"/>
              </a:xfrm>
              <a:custGeom>
                <a:avLst/>
                <a:gdLst>
                  <a:gd name="T0" fmla="*/ 2 w 28"/>
                  <a:gd name="T1" fmla="*/ 11 h 11"/>
                  <a:gd name="T2" fmla="*/ 8 w 28"/>
                  <a:gd name="T3" fmla="*/ 9 h 11"/>
                  <a:gd name="T4" fmla="*/ 8 w 28"/>
                  <a:gd name="T5" fmla="*/ 6 h 11"/>
                  <a:gd name="T6" fmla="*/ 14 w 28"/>
                  <a:gd name="T7" fmla="*/ 4 h 11"/>
                  <a:gd name="T8" fmla="*/ 26 w 28"/>
                  <a:gd name="T9" fmla="*/ 4 h 11"/>
                  <a:gd name="T10" fmla="*/ 26 w 28"/>
                  <a:gd name="T11" fmla="*/ 4 h 11"/>
                  <a:gd name="T12" fmla="*/ 28 w 28"/>
                  <a:gd name="T13" fmla="*/ 4 h 11"/>
                  <a:gd name="T14" fmla="*/ 28 w 28"/>
                  <a:gd name="T15" fmla="*/ 4 h 11"/>
                  <a:gd name="T16" fmla="*/ 28 w 28"/>
                  <a:gd name="T17" fmla="*/ 2 h 11"/>
                  <a:gd name="T18" fmla="*/ 24 w 28"/>
                  <a:gd name="T19" fmla="*/ 0 h 11"/>
                  <a:gd name="T20" fmla="*/ 8 w 28"/>
                  <a:gd name="T21" fmla="*/ 2 h 11"/>
                  <a:gd name="T22" fmla="*/ 4 w 28"/>
                  <a:gd name="T23" fmla="*/ 2 h 11"/>
                  <a:gd name="T24" fmla="*/ 2 w 28"/>
                  <a:gd name="T25" fmla="*/ 2 h 11"/>
                  <a:gd name="T26" fmla="*/ 0 w 28"/>
                  <a:gd name="T27" fmla="*/ 6 h 11"/>
                  <a:gd name="T28" fmla="*/ 2 w 28"/>
                  <a:gd name="T29" fmla="*/ 9 h 11"/>
                  <a:gd name="T30" fmla="*/ 2 w 28"/>
                  <a:gd name="T3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" h="11">
                    <a:moveTo>
                      <a:pt x="2" y="11"/>
                    </a:moveTo>
                    <a:lnTo>
                      <a:pt x="8" y="9"/>
                    </a:lnTo>
                    <a:lnTo>
                      <a:pt x="8" y="6"/>
                    </a:lnTo>
                    <a:lnTo>
                      <a:pt x="14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24" y="0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9"/>
                    </a:lnTo>
                    <a:lnTo>
                      <a:pt x="2" y="1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48" name="Freeform 1165">
                <a:extLst>
                  <a:ext uri="{FF2B5EF4-FFF2-40B4-BE49-F238E27FC236}">
                    <a16:creationId xmlns:a16="http://schemas.microsoft.com/office/drawing/2014/main" id="{1A618F2B-8521-412F-95A0-84D26B97C4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" y="3297"/>
                <a:ext cx="1276" cy="519"/>
              </a:xfrm>
              <a:custGeom>
                <a:avLst/>
                <a:gdLst>
                  <a:gd name="T0" fmla="*/ 1149 w 1276"/>
                  <a:gd name="T1" fmla="*/ 500 h 519"/>
                  <a:gd name="T2" fmla="*/ 1168 w 1276"/>
                  <a:gd name="T3" fmla="*/ 488 h 519"/>
                  <a:gd name="T4" fmla="*/ 1157 w 1276"/>
                  <a:gd name="T5" fmla="*/ 455 h 519"/>
                  <a:gd name="T6" fmla="*/ 1155 w 1276"/>
                  <a:gd name="T7" fmla="*/ 416 h 519"/>
                  <a:gd name="T8" fmla="*/ 1200 w 1276"/>
                  <a:gd name="T9" fmla="*/ 373 h 519"/>
                  <a:gd name="T10" fmla="*/ 1158 w 1276"/>
                  <a:gd name="T11" fmla="*/ 330 h 519"/>
                  <a:gd name="T12" fmla="*/ 1203 w 1276"/>
                  <a:gd name="T13" fmla="*/ 328 h 519"/>
                  <a:gd name="T14" fmla="*/ 1260 w 1276"/>
                  <a:gd name="T15" fmla="*/ 320 h 519"/>
                  <a:gd name="T16" fmla="*/ 1266 w 1276"/>
                  <a:gd name="T17" fmla="*/ 273 h 519"/>
                  <a:gd name="T18" fmla="*/ 1264 w 1276"/>
                  <a:gd name="T19" fmla="*/ 240 h 519"/>
                  <a:gd name="T20" fmla="*/ 1258 w 1276"/>
                  <a:gd name="T21" fmla="*/ 220 h 519"/>
                  <a:gd name="T22" fmla="*/ 1242 w 1276"/>
                  <a:gd name="T23" fmla="*/ 183 h 519"/>
                  <a:gd name="T24" fmla="*/ 1235 w 1276"/>
                  <a:gd name="T25" fmla="*/ 170 h 519"/>
                  <a:gd name="T26" fmla="*/ 1229 w 1276"/>
                  <a:gd name="T27" fmla="*/ 142 h 519"/>
                  <a:gd name="T28" fmla="*/ 1235 w 1276"/>
                  <a:gd name="T29" fmla="*/ 78 h 519"/>
                  <a:gd name="T30" fmla="*/ 1196 w 1276"/>
                  <a:gd name="T31" fmla="*/ 68 h 519"/>
                  <a:gd name="T32" fmla="*/ 1166 w 1276"/>
                  <a:gd name="T33" fmla="*/ 52 h 519"/>
                  <a:gd name="T34" fmla="*/ 1143 w 1276"/>
                  <a:gd name="T35" fmla="*/ 70 h 519"/>
                  <a:gd name="T36" fmla="*/ 1073 w 1276"/>
                  <a:gd name="T37" fmla="*/ 47 h 519"/>
                  <a:gd name="T38" fmla="*/ 1063 w 1276"/>
                  <a:gd name="T39" fmla="*/ 41 h 519"/>
                  <a:gd name="T40" fmla="*/ 1032 w 1276"/>
                  <a:gd name="T41" fmla="*/ 37 h 519"/>
                  <a:gd name="T42" fmla="*/ 965 w 1276"/>
                  <a:gd name="T43" fmla="*/ 8 h 519"/>
                  <a:gd name="T44" fmla="*/ 942 w 1276"/>
                  <a:gd name="T45" fmla="*/ 13 h 519"/>
                  <a:gd name="T46" fmla="*/ 912 w 1276"/>
                  <a:gd name="T47" fmla="*/ 2 h 519"/>
                  <a:gd name="T48" fmla="*/ 908 w 1276"/>
                  <a:gd name="T49" fmla="*/ 58 h 519"/>
                  <a:gd name="T50" fmla="*/ 881 w 1276"/>
                  <a:gd name="T51" fmla="*/ 64 h 519"/>
                  <a:gd name="T52" fmla="*/ 865 w 1276"/>
                  <a:gd name="T53" fmla="*/ 107 h 519"/>
                  <a:gd name="T54" fmla="*/ 850 w 1276"/>
                  <a:gd name="T55" fmla="*/ 103 h 519"/>
                  <a:gd name="T56" fmla="*/ 828 w 1276"/>
                  <a:gd name="T57" fmla="*/ 95 h 519"/>
                  <a:gd name="T58" fmla="*/ 760 w 1276"/>
                  <a:gd name="T59" fmla="*/ 105 h 519"/>
                  <a:gd name="T60" fmla="*/ 752 w 1276"/>
                  <a:gd name="T61" fmla="*/ 90 h 519"/>
                  <a:gd name="T62" fmla="*/ 752 w 1276"/>
                  <a:gd name="T63" fmla="*/ 84 h 519"/>
                  <a:gd name="T64" fmla="*/ 719 w 1276"/>
                  <a:gd name="T65" fmla="*/ 60 h 519"/>
                  <a:gd name="T66" fmla="*/ 711 w 1276"/>
                  <a:gd name="T67" fmla="*/ 113 h 519"/>
                  <a:gd name="T68" fmla="*/ 656 w 1276"/>
                  <a:gd name="T69" fmla="*/ 113 h 519"/>
                  <a:gd name="T70" fmla="*/ 633 w 1276"/>
                  <a:gd name="T71" fmla="*/ 174 h 519"/>
                  <a:gd name="T72" fmla="*/ 543 w 1276"/>
                  <a:gd name="T73" fmla="*/ 222 h 519"/>
                  <a:gd name="T74" fmla="*/ 567 w 1276"/>
                  <a:gd name="T75" fmla="*/ 269 h 519"/>
                  <a:gd name="T76" fmla="*/ 578 w 1276"/>
                  <a:gd name="T77" fmla="*/ 326 h 519"/>
                  <a:gd name="T78" fmla="*/ 590 w 1276"/>
                  <a:gd name="T79" fmla="*/ 363 h 519"/>
                  <a:gd name="T80" fmla="*/ 576 w 1276"/>
                  <a:gd name="T81" fmla="*/ 384 h 519"/>
                  <a:gd name="T82" fmla="*/ 543 w 1276"/>
                  <a:gd name="T83" fmla="*/ 336 h 519"/>
                  <a:gd name="T84" fmla="*/ 486 w 1276"/>
                  <a:gd name="T85" fmla="*/ 330 h 519"/>
                  <a:gd name="T86" fmla="*/ 453 w 1276"/>
                  <a:gd name="T87" fmla="*/ 322 h 519"/>
                  <a:gd name="T88" fmla="*/ 391 w 1276"/>
                  <a:gd name="T89" fmla="*/ 353 h 519"/>
                  <a:gd name="T90" fmla="*/ 324 w 1276"/>
                  <a:gd name="T91" fmla="*/ 377 h 519"/>
                  <a:gd name="T92" fmla="*/ 283 w 1276"/>
                  <a:gd name="T93" fmla="*/ 396 h 519"/>
                  <a:gd name="T94" fmla="*/ 229 w 1276"/>
                  <a:gd name="T95" fmla="*/ 375 h 519"/>
                  <a:gd name="T96" fmla="*/ 170 w 1276"/>
                  <a:gd name="T97" fmla="*/ 371 h 519"/>
                  <a:gd name="T98" fmla="*/ 150 w 1276"/>
                  <a:gd name="T99" fmla="*/ 365 h 519"/>
                  <a:gd name="T100" fmla="*/ 137 w 1276"/>
                  <a:gd name="T101" fmla="*/ 420 h 519"/>
                  <a:gd name="T102" fmla="*/ 115 w 1276"/>
                  <a:gd name="T103" fmla="*/ 414 h 519"/>
                  <a:gd name="T104" fmla="*/ 90 w 1276"/>
                  <a:gd name="T105" fmla="*/ 400 h 519"/>
                  <a:gd name="T106" fmla="*/ 68 w 1276"/>
                  <a:gd name="T107" fmla="*/ 369 h 519"/>
                  <a:gd name="T108" fmla="*/ 33 w 1276"/>
                  <a:gd name="T109" fmla="*/ 367 h 519"/>
                  <a:gd name="T110" fmla="*/ 12 w 1276"/>
                  <a:gd name="T111" fmla="*/ 379 h 519"/>
                  <a:gd name="T112" fmla="*/ 0 w 1276"/>
                  <a:gd name="T113" fmla="*/ 435 h 519"/>
                  <a:gd name="T114" fmla="*/ 14 w 1276"/>
                  <a:gd name="T115" fmla="*/ 468 h 519"/>
                  <a:gd name="T116" fmla="*/ 57 w 1276"/>
                  <a:gd name="T117" fmla="*/ 513 h 519"/>
                  <a:gd name="T118" fmla="*/ 145 w 1276"/>
                  <a:gd name="T119" fmla="*/ 502 h 519"/>
                  <a:gd name="T120" fmla="*/ 324 w 1276"/>
                  <a:gd name="T121" fmla="*/ 500 h 519"/>
                  <a:gd name="T122" fmla="*/ 358 w 1276"/>
                  <a:gd name="T123" fmla="*/ 502 h 519"/>
                  <a:gd name="T124" fmla="*/ 449 w 1276"/>
                  <a:gd name="T125" fmla="*/ 480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76" h="519">
                    <a:moveTo>
                      <a:pt x="1117" y="517"/>
                    </a:moveTo>
                    <a:lnTo>
                      <a:pt x="1121" y="515"/>
                    </a:lnTo>
                    <a:lnTo>
                      <a:pt x="1121" y="515"/>
                    </a:lnTo>
                    <a:lnTo>
                      <a:pt x="1123" y="513"/>
                    </a:lnTo>
                    <a:lnTo>
                      <a:pt x="1123" y="511"/>
                    </a:lnTo>
                    <a:lnTo>
                      <a:pt x="1123" y="509"/>
                    </a:lnTo>
                    <a:lnTo>
                      <a:pt x="1123" y="509"/>
                    </a:lnTo>
                    <a:lnTo>
                      <a:pt x="1125" y="507"/>
                    </a:lnTo>
                    <a:lnTo>
                      <a:pt x="1127" y="507"/>
                    </a:lnTo>
                    <a:lnTo>
                      <a:pt x="1127" y="505"/>
                    </a:lnTo>
                    <a:lnTo>
                      <a:pt x="1129" y="502"/>
                    </a:lnTo>
                    <a:lnTo>
                      <a:pt x="1129" y="500"/>
                    </a:lnTo>
                    <a:lnTo>
                      <a:pt x="1133" y="500"/>
                    </a:lnTo>
                    <a:lnTo>
                      <a:pt x="1139" y="500"/>
                    </a:lnTo>
                    <a:lnTo>
                      <a:pt x="1145" y="500"/>
                    </a:lnTo>
                    <a:lnTo>
                      <a:pt x="1149" y="500"/>
                    </a:lnTo>
                    <a:lnTo>
                      <a:pt x="1153" y="502"/>
                    </a:lnTo>
                    <a:lnTo>
                      <a:pt x="1153" y="503"/>
                    </a:lnTo>
                    <a:lnTo>
                      <a:pt x="1155" y="503"/>
                    </a:lnTo>
                    <a:lnTo>
                      <a:pt x="1155" y="503"/>
                    </a:lnTo>
                    <a:lnTo>
                      <a:pt x="1155" y="502"/>
                    </a:lnTo>
                    <a:lnTo>
                      <a:pt x="1158" y="502"/>
                    </a:lnTo>
                    <a:lnTo>
                      <a:pt x="1162" y="502"/>
                    </a:lnTo>
                    <a:lnTo>
                      <a:pt x="1166" y="502"/>
                    </a:lnTo>
                    <a:lnTo>
                      <a:pt x="1164" y="498"/>
                    </a:lnTo>
                    <a:lnTo>
                      <a:pt x="1162" y="496"/>
                    </a:lnTo>
                    <a:lnTo>
                      <a:pt x="1160" y="496"/>
                    </a:lnTo>
                    <a:lnTo>
                      <a:pt x="1155" y="494"/>
                    </a:lnTo>
                    <a:lnTo>
                      <a:pt x="1157" y="492"/>
                    </a:lnTo>
                    <a:lnTo>
                      <a:pt x="1164" y="490"/>
                    </a:lnTo>
                    <a:lnTo>
                      <a:pt x="1166" y="488"/>
                    </a:lnTo>
                    <a:lnTo>
                      <a:pt x="1168" y="488"/>
                    </a:lnTo>
                    <a:lnTo>
                      <a:pt x="1166" y="486"/>
                    </a:lnTo>
                    <a:lnTo>
                      <a:pt x="1164" y="484"/>
                    </a:lnTo>
                    <a:lnTo>
                      <a:pt x="1160" y="484"/>
                    </a:lnTo>
                    <a:lnTo>
                      <a:pt x="1160" y="480"/>
                    </a:lnTo>
                    <a:lnTo>
                      <a:pt x="1160" y="476"/>
                    </a:lnTo>
                    <a:lnTo>
                      <a:pt x="1164" y="474"/>
                    </a:lnTo>
                    <a:lnTo>
                      <a:pt x="1168" y="470"/>
                    </a:lnTo>
                    <a:lnTo>
                      <a:pt x="1170" y="466"/>
                    </a:lnTo>
                    <a:lnTo>
                      <a:pt x="1168" y="464"/>
                    </a:lnTo>
                    <a:lnTo>
                      <a:pt x="1164" y="462"/>
                    </a:lnTo>
                    <a:lnTo>
                      <a:pt x="1158" y="466"/>
                    </a:lnTo>
                    <a:lnTo>
                      <a:pt x="1157" y="464"/>
                    </a:lnTo>
                    <a:lnTo>
                      <a:pt x="1157" y="462"/>
                    </a:lnTo>
                    <a:lnTo>
                      <a:pt x="1158" y="459"/>
                    </a:lnTo>
                    <a:lnTo>
                      <a:pt x="1158" y="457"/>
                    </a:lnTo>
                    <a:lnTo>
                      <a:pt x="1157" y="455"/>
                    </a:lnTo>
                    <a:lnTo>
                      <a:pt x="1157" y="455"/>
                    </a:lnTo>
                    <a:lnTo>
                      <a:pt x="1155" y="455"/>
                    </a:lnTo>
                    <a:lnTo>
                      <a:pt x="1153" y="455"/>
                    </a:lnTo>
                    <a:lnTo>
                      <a:pt x="1153" y="451"/>
                    </a:lnTo>
                    <a:lnTo>
                      <a:pt x="1155" y="445"/>
                    </a:lnTo>
                    <a:lnTo>
                      <a:pt x="1155" y="441"/>
                    </a:lnTo>
                    <a:lnTo>
                      <a:pt x="1155" y="441"/>
                    </a:lnTo>
                    <a:lnTo>
                      <a:pt x="1160" y="437"/>
                    </a:lnTo>
                    <a:lnTo>
                      <a:pt x="1162" y="435"/>
                    </a:lnTo>
                    <a:lnTo>
                      <a:pt x="1164" y="433"/>
                    </a:lnTo>
                    <a:lnTo>
                      <a:pt x="1162" y="429"/>
                    </a:lnTo>
                    <a:lnTo>
                      <a:pt x="1158" y="418"/>
                    </a:lnTo>
                    <a:lnTo>
                      <a:pt x="1157" y="418"/>
                    </a:lnTo>
                    <a:lnTo>
                      <a:pt x="1157" y="418"/>
                    </a:lnTo>
                    <a:lnTo>
                      <a:pt x="1157" y="416"/>
                    </a:lnTo>
                    <a:lnTo>
                      <a:pt x="1155" y="416"/>
                    </a:lnTo>
                    <a:lnTo>
                      <a:pt x="1155" y="414"/>
                    </a:lnTo>
                    <a:lnTo>
                      <a:pt x="1157" y="414"/>
                    </a:lnTo>
                    <a:lnTo>
                      <a:pt x="1157" y="414"/>
                    </a:lnTo>
                    <a:lnTo>
                      <a:pt x="1157" y="412"/>
                    </a:lnTo>
                    <a:lnTo>
                      <a:pt x="1157" y="402"/>
                    </a:lnTo>
                    <a:lnTo>
                      <a:pt x="1158" y="400"/>
                    </a:lnTo>
                    <a:lnTo>
                      <a:pt x="1160" y="400"/>
                    </a:lnTo>
                    <a:lnTo>
                      <a:pt x="1162" y="400"/>
                    </a:lnTo>
                    <a:lnTo>
                      <a:pt x="1164" y="404"/>
                    </a:lnTo>
                    <a:lnTo>
                      <a:pt x="1182" y="396"/>
                    </a:lnTo>
                    <a:lnTo>
                      <a:pt x="1190" y="390"/>
                    </a:lnTo>
                    <a:lnTo>
                      <a:pt x="1192" y="388"/>
                    </a:lnTo>
                    <a:lnTo>
                      <a:pt x="1192" y="379"/>
                    </a:lnTo>
                    <a:lnTo>
                      <a:pt x="1192" y="377"/>
                    </a:lnTo>
                    <a:lnTo>
                      <a:pt x="1198" y="375"/>
                    </a:lnTo>
                    <a:lnTo>
                      <a:pt x="1200" y="373"/>
                    </a:lnTo>
                    <a:lnTo>
                      <a:pt x="1200" y="369"/>
                    </a:lnTo>
                    <a:lnTo>
                      <a:pt x="1198" y="365"/>
                    </a:lnTo>
                    <a:lnTo>
                      <a:pt x="1196" y="363"/>
                    </a:lnTo>
                    <a:lnTo>
                      <a:pt x="1194" y="361"/>
                    </a:lnTo>
                    <a:lnTo>
                      <a:pt x="1194" y="357"/>
                    </a:lnTo>
                    <a:lnTo>
                      <a:pt x="1192" y="351"/>
                    </a:lnTo>
                    <a:lnTo>
                      <a:pt x="1190" y="347"/>
                    </a:lnTo>
                    <a:lnTo>
                      <a:pt x="1186" y="345"/>
                    </a:lnTo>
                    <a:lnTo>
                      <a:pt x="1180" y="347"/>
                    </a:lnTo>
                    <a:lnTo>
                      <a:pt x="1170" y="341"/>
                    </a:lnTo>
                    <a:lnTo>
                      <a:pt x="1164" y="343"/>
                    </a:lnTo>
                    <a:lnTo>
                      <a:pt x="1155" y="339"/>
                    </a:lnTo>
                    <a:lnTo>
                      <a:pt x="1153" y="338"/>
                    </a:lnTo>
                    <a:lnTo>
                      <a:pt x="1155" y="336"/>
                    </a:lnTo>
                    <a:lnTo>
                      <a:pt x="1157" y="332"/>
                    </a:lnTo>
                    <a:lnTo>
                      <a:pt x="1158" y="330"/>
                    </a:lnTo>
                    <a:lnTo>
                      <a:pt x="1158" y="332"/>
                    </a:lnTo>
                    <a:lnTo>
                      <a:pt x="1160" y="332"/>
                    </a:lnTo>
                    <a:lnTo>
                      <a:pt x="1160" y="332"/>
                    </a:lnTo>
                    <a:lnTo>
                      <a:pt x="1160" y="332"/>
                    </a:lnTo>
                    <a:lnTo>
                      <a:pt x="1162" y="330"/>
                    </a:lnTo>
                    <a:lnTo>
                      <a:pt x="1170" y="326"/>
                    </a:lnTo>
                    <a:lnTo>
                      <a:pt x="1172" y="326"/>
                    </a:lnTo>
                    <a:lnTo>
                      <a:pt x="1172" y="324"/>
                    </a:lnTo>
                    <a:lnTo>
                      <a:pt x="1172" y="320"/>
                    </a:lnTo>
                    <a:lnTo>
                      <a:pt x="1172" y="318"/>
                    </a:lnTo>
                    <a:lnTo>
                      <a:pt x="1180" y="314"/>
                    </a:lnTo>
                    <a:lnTo>
                      <a:pt x="1186" y="316"/>
                    </a:lnTo>
                    <a:lnTo>
                      <a:pt x="1200" y="320"/>
                    </a:lnTo>
                    <a:lnTo>
                      <a:pt x="1201" y="322"/>
                    </a:lnTo>
                    <a:lnTo>
                      <a:pt x="1203" y="324"/>
                    </a:lnTo>
                    <a:lnTo>
                      <a:pt x="1203" y="328"/>
                    </a:lnTo>
                    <a:lnTo>
                      <a:pt x="1205" y="330"/>
                    </a:lnTo>
                    <a:lnTo>
                      <a:pt x="1207" y="332"/>
                    </a:lnTo>
                    <a:lnTo>
                      <a:pt x="1207" y="332"/>
                    </a:lnTo>
                    <a:lnTo>
                      <a:pt x="1217" y="334"/>
                    </a:lnTo>
                    <a:lnTo>
                      <a:pt x="1219" y="334"/>
                    </a:lnTo>
                    <a:lnTo>
                      <a:pt x="1221" y="332"/>
                    </a:lnTo>
                    <a:lnTo>
                      <a:pt x="1225" y="326"/>
                    </a:lnTo>
                    <a:lnTo>
                      <a:pt x="1227" y="326"/>
                    </a:lnTo>
                    <a:lnTo>
                      <a:pt x="1229" y="332"/>
                    </a:lnTo>
                    <a:lnTo>
                      <a:pt x="1235" y="332"/>
                    </a:lnTo>
                    <a:lnTo>
                      <a:pt x="1248" y="330"/>
                    </a:lnTo>
                    <a:lnTo>
                      <a:pt x="1260" y="328"/>
                    </a:lnTo>
                    <a:lnTo>
                      <a:pt x="1264" y="326"/>
                    </a:lnTo>
                    <a:lnTo>
                      <a:pt x="1262" y="324"/>
                    </a:lnTo>
                    <a:lnTo>
                      <a:pt x="1260" y="322"/>
                    </a:lnTo>
                    <a:lnTo>
                      <a:pt x="1260" y="320"/>
                    </a:lnTo>
                    <a:lnTo>
                      <a:pt x="1260" y="312"/>
                    </a:lnTo>
                    <a:lnTo>
                      <a:pt x="1258" y="306"/>
                    </a:lnTo>
                    <a:lnTo>
                      <a:pt x="1258" y="302"/>
                    </a:lnTo>
                    <a:lnTo>
                      <a:pt x="1260" y="300"/>
                    </a:lnTo>
                    <a:lnTo>
                      <a:pt x="1260" y="298"/>
                    </a:lnTo>
                    <a:lnTo>
                      <a:pt x="1258" y="295"/>
                    </a:lnTo>
                    <a:lnTo>
                      <a:pt x="1256" y="293"/>
                    </a:lnTo>
                    <a:lnTo>
                      <a:pt x="1252" y="291"/>
                    </a:lnTo>
                    <a:lnTo>
                      <a:pt x="1252" y="291"/>
                    </a:lnTo>
                    <a:lnTo>
                      <a:pt x="1252" y="287"/>
                    </a:lnTo>
                    <a:lnTo>
                      <a:pt x="1254" y="287"/>
                    </a:lnTo>
                    <a:lnTo>
                      <a:pt x="1260" y="285"/>
                    </a:lnTo>
                    <a:lnTo>
                      <a:pt x="1262" y="283"/>
                    </a:lnTo>
                    <a:lnTo>
                      <a:pt x="1264" y="281"/>
                    </a:lnTo>
                    <a:lnTo>
                      <a:pt x="1266" y="277"/>
                    </a:lnTo>
                    <a:lnTo>
                      <a:pt x="1266" y="273"/>
                    </a:lnTo>
                    <a:lnTo>
                      <a:pt x="1266" y="273"/>
                    </a:lnTo>
                    <a:lnTo>
                      <a:pt x="1264" y="271"/>
                    </a:lnTo>
                    <a:lnTo>
                      <a:pt x="1264" y="271"/>
                    </a:lnTo>
                    <a:lnTo>
                      <a:pt x="1264" y="271"/>
                    </a:lnTo>
                    <a:lnTo>
                      <a:pt x="1264" y="269"/>
                    </a:lnTo>
                    <a:lnTo>
                      <a:pt x="1266" y="269"/>
                    </a:lnTo>
                    <a:lnTo>
                      <a:pt x="1266" y="267"/>
                    </a:lnTo>
                    <a:lnTo>
                      <a:pt x="1266" y="265"/>
                    </a:lnTo>
                    <a:lnTo>
                      <a:pt x="1268" y="265"/>
                    </a:lnTo>
                    <a:lnTo>
                      <a:pt x="1268" y="263"/>
                    </a:lnTo>
                    <a:lnTo>
                      <a:pt x="1266" y="261"/>
                    </a:lnTo>
                    <a:lnTo>
                      <a:pt x="1276" y="252"/>
                    </a:lnTo>
                    <a:lnTo>
                      <a:pt x="1272" y="248"/>
                    </a:lnTo>
                    <a:lnTo>
                      <a:pt x="1268" y="246"/>
                    </a:lnTo>
                    <a:lnTo>
                      <a:pt x="1264" y="244"/>
                    </a:lnTo>
                    <a:lnTo>
                      <a:pt x="1264" y="240"/>
                    </a:lnTo>
                    <a:lnTo>
                      <a:pt x="1264" y="240"/>
                    </a:lnTo>
                    <a:lnTo>
                      <a:pt x="1262" y="238"/>
                    </a:lnTo>
                    <a:lnTo>
                      <a:pt x="1262" y="238"/>
                    </a:lnTo>
                    <a:lnTo>
                      <a:pt x="1262" y="238"/>
                    </a:lnTo>
                    <a:lnTo>
                      <a:pt x="1262" y="238"/>
                    </a:lnTo>
                    <a:lnTo>
                      <a:pt x="1262" y="234"/>
                    </a:lnTo>
                    <a:lnTo>
                      <a:pt x="1264" y="232"/>
                    </a:lnTo>
                    <a:lnTo>
                      <a:pt x="1264" y="232"/>
                    </a:lnTo>
                    <a:lnTo>
                      <a:pt x="1264" y="232"/>
                    </a:lnTo>
                    <a:lnTo>
                      <a:pt x="1264" y="230"/>
                    </a:lnTo>
                    <a:lnTo>
                      <a:pt x="1264" y="228"/>
                    </a:lnTo>
                    <a:lnTo>
                      <a:pt x="1262" y="226"/>
                    </a:lnTo>
                    <a:lnTo>
                      <a:pt x="1262" y="226"/>
                    </a:lnTo>
                    <a:lnTo>
                      <a:pt x="1260" y="220"/>
                    </a:lnTo>
                    <a:lnTo>
                      <a:pt x="1258" y="220"/>
                    </a:lnTo>
                    <a:lnTo>
                      <a:pt x="1258" y="220"/>
                    </a:lnTo>
                    <a:lnTo>
                      <a:pt x="1254" y="218"/>
                    </a:lnTo>
                    <a:lnTo>
                      <a:pt x="1254" y="218"/>
                    </a:lnTo>
                    <a:lnTo>
                      <a:pt x="1252" y="218"/>
                    </a:lnTo>
                    <a:lnTo>
                      <a:pt x="1248" y="213"/>
                    </a:lnTo>
                    <a:lnTo>
                      <a:pt x="1246" y="209"/>
                    </a:lnTo>
                    <a:lnTo>
                      <a:pt x="1246" y="205"/>
                    </a:lnTo>
                    <a:lnTo>
                      <a:pt x="1246" y="199"/>
                    </a:lnTo>
                    <a:lnTo>
                      <a:pt x="1244" y="191"/>
                    </a:lnTo>
                    <a:lnTo>
                      <a:pt x="1244" y="189"/>
                    </a:lnTo>
                    <a:lnTo>
                      <a:pt x="1244" y="187"/>
                    </a:lnTo>
                    <a:lnTo>
                      <a:pt x="1244" y="187"/>
                    </a:lnTo>
                    <a:lnTo>
                      <a:pt x="1244" y="185"/>
                    </a:lnTo>
                    <a:lnTo>
                      <a:pt x="1244" y="185"/>
                    </a:lnTo>
                    <a:lnTo>
                      <a:pt x="1242" y="185"/>
                    </a:lnTo>
                    <a:lnTo>
                      <a:pt x="1242" y="183"/>
                    </a:lnTo>
                    <a:lnTo>
                      <a:pt x="1242" y="183"/>
                    </a:lnTo>
                    <a:lnTo>
                      <a:pt x="1242" y="183"/>
                    </a:lnTo>
                    <a:lnTo>
                      <a:pt x="1241" y="183"/>
                    </a:lnTo>
                    <a:lnTo>
                      <a:pt x="1239" y="181"/>
                    </a:lnTo>
                    <a:lnTo>
                      <a:pt x="1237" y="181"/>
                    </a:lnTo>
                    <a:lnTo>
                      <a:pt x="1237" y="179"/>
                    </a:lnTo>
                    <a:lnTo>
                      <a:pt x="1237" y="177"/>
                    </a:lnTo>
                    <a:lnTo>
                      <a:pt x="1237" y="177"/>
                    </a:lnTo>
                    <a:lnTo>
                      <a:pt x="1237" y="175"/>
                    </a:lnTo>
                    <a:lnTo>
                      <a:pt x="1235" y="175"/>
                    </a:lnTo>
                    <a:lnTo>
                      <a:pt x="1235" y="175"/>
                    </a:lnTo>
                    <a:lnTo>
                      <a:pt x="1235" y="175"/>
                    </a:lnTo>
                    <a:lnTo>
                      <a:pt x="1235" y="174"/>
                    </a:lnTo>
                    <a:lnTo>
                      <a:pt x="1235" y="174"/>
                    </a:lnTo>
                    <a:lnTo>
                      <a:pt x="1235" y="172"/>
                    </a:lnTo>
                    <a:lnTo>
                      <a:pt x="1237" y="172"/>
                    </a:lnTo>
                    <a:lnTo>
                      <a:pt x="1235" y="170"/>
                    </a:lnTo>
                    <a:lnTo>
                      <a:pt x="1235" y="168"/>
                    </a:lnTo>
                    <a:lnTo>
                      <a:pt x="1233" y="168"/>
                    </a:lnTo>
                    <a:lnTo>
                      <a:pt x="1233" y="166"/>
                    </a:lnTo>
                    <a:lnTo>
                      <a:pt x="1231" y="166"/>
                    </a:lnTo>
                    <a:lnTo>
                      <a:pt x="1231" y="164"/>
                    </a:lnTo>
                    <a:lnTo>
                      <a:pt x="1227" y="164"/>
                    </a:lnTo>
                    <a:lnTo>
                      <a:pt x="1227" y="164"/>
                    </a:lnTo>
                    <a:lnTo>
                      <a:pt x="1227" y="164"/>
                    </a:lnTo>
                    <a:lnTo>
                      <a:pt x="1225" y="162"/>
                    </a:lnTo>
                    <a:lnTo>
                      <a:pt x="1225" y="160"/>
                    </a:lnTo>
                    <a:lnTo>
                      <a:pt x="1225" y="158"/>
                    </a:lnTo>
                    <a:lnTo>
                      <a:pt x="1227" y="158"/>
                    </a:lnTo>
                    <a:lnTo>
                      <a:pt x="1227" y="158"/>
                    </a:lnTo>
                    <a:lnTo>
                      <a:pt x="1227" y="156"/>
                    </a:lnTo>
                    <a:lnTo>
                      <a:pt x="1227" y="148"/>
                    </a:lnTo>
                    <a:lnTo>
                      <a:pt x="1229" y="142"/>
                    </a:lnTo>
                    <a:lnTo>
                      <a:pt x="1229" y="138"/>
                    </a:lnTo>
                    <a:lnTo>
                      <a:pt x="1229" y="138"/>
                    </a:lnTo>
                    <a:lnTo>
                      <a:pt x="1229" y="138"/>
                    </a:lnTo>
                    <a:lnTo>
                      <a:pt x="1231" y="136"/>
                    </a:lnTo>
                    <a:lnTo>
                      <a:pt x="1233" y="133"/>
                    </a:lnTo>
                    <a:lnTo>
                      <a:pt x="1235" y="129"/>
                    </a:lnTo>
                    <a:lnTo>
                      <a:pt x="1237" y="127"/>
                    </a:lnTo>
                    <a:lnTo>
                      <a:pt x="1237" y="123"/>
                    </a:lnTo>
                    <a:lnTo>
                      <a:pt x="1241" y="121"/>
                    </a:lnTo>
                    <a:lnTo>
                      <a:pt x="1242" y="119"/>
                    </a:lnTo>
                    <a:lnTo>
                      <a:pt x="1242" y="117"/>
                    </a:lnTo>
                    <a:lnTo>
                      <a:pt x="1244" y="113"/>
                    </a:lnTo>
                    <a:lnTo>
                      <a:pt x="1242" y="101"/>
                    </a:lnTo>
                    <a:lnTo>
                      <a:pt x="1237" y="95"/>
                    </a:lnTo>
                    <a:lnTo>
                      <a:pt x="1237" y="95"/>
                    </a:lnTo>
                    <a:lnTo>
                      <a:pt x="1235" y="78"/>
                    </a:lnTo>
                    <a:lnTo>
                      <a:pt x="1233" y="76"/>
                    </a:lnTo>
                    <a:lnTo>
                      <a:pt x="1231" y="74"/>
                    </a:lnTo>
                    <a:lnTo>
                      <a:pt x="1227" y="72"/>
                    </a:lnTo>
                    <a:lnTo>
                      <a:pt x="1227" y="74"/>
                    </a:lnTo>
                    <a:lnTo>
                      <a:pt x="1221" y="76"/>
                    </a:lnTo>
                    <a:lnTo>
                      <a:pt x="1219" y="76"/>
                    </a:lnTo>
                    <a:lnTo>
                      <a:pt x="1217" y="76"/>
                    </a:lnTo>
                    <a:lnTo>
                      <a:pt x="1215" y="74"/>
                    </a:lnTo>
                    <a:lnTo>
                      <a:pt x="1209" y="70"/>
                    </a:lnTo>
                    <a:lnTo>
                      <a:pt x="1205" y="70"/>
                    </a:lnTo>
                    <a:lnTo>
                      <a:pt x="1203" y="70"/>
                    </a:lnTo>
                    <a:lnTo>
                      <a:pt x="1200" y="70"/>
                    </a:lnTo>
                    <a:lnTo>
                      <a:pt x="1200" y="70"/>
                    </a:lnTo>
                    <a:lnTo>
                      <a:pt x="1198" y="70"/>
                    </a:lnTo>
                    <a:lnTo>
                      <a:pt x="1196" y="68"/>
                    </a:lnTo>
                    <a:lnTo>
                      <a:pt x="1196" y="68"/>
                    </a:lnTo>
                    <a:lnTo>
                      <a:pt x="1196" y="68"/>
                    </a:lnTo>
                    <a:lnTo>
                      <a:pt x="1194" y="66"/>
                    </a:lnTo>
                    <a:lnTo>
                      <a:pt x="1194" y="64"/>
                    </a:lnTo>
                    <a:lnTo>
                      <a:pt x="1194" y="60"/>
                    </a:lnTo>
                    <a:lnTo>
                      <a:pt x="1192" y="60"/>
                    </a:lnTo>
                    <a:lnTo>
                      <a:pt x="1192" y="58"/>
                    </a:lnTo>
                    <a:lnTo>
                      <a:pt x="1188" y="56"/>
                    </a:lnTo>
                    <a:lnTo>
                      <a:pt x="1186" y="56"/>
                    </a:lnTo>
                    <a:lnTo>
                      <a:pt x="1176" y="54"/>
                    </a:lnTo>
                    <a:lnTo>
                      <a:pt x="1172" y="52"/>
                    </a:lnTo>
                    <a:lnTo>
                      <a:pt x="1172" y="52"/>
                    </a:lnTo>
                    <a:lnTo>
                      <a:pt x="1170" y="51"/>
                    </a:lnTo>
                    <a:lnTo>
                      <a:pt x="1170" y="51"/>
                    </a:lnTo>
                    <a:lnTo>
                      <a:pt x="1170" y="51"/>
                    </a:lnTo>
                    <a:lnTo>
                      <a:pt x="1166" y="52"/>
                    </a:lnTo>
                    <a:lnTo>
                      <a:pt x="1166" y="52"/>
                    </a:lnTo>
                    <a:lnTo>
                      <a:pt x="1166" y="52"/>
                    </a:lnTo>
                    <a:lnTo>
                      <a:pt x="1166" y="52"/>
                    </a:lnTo>
                    <a:lnTo>
                      <a:pt x="1166" y="52"/>
                    </a:lnTo>
                    <a:lnTo>
                      <a:pt x="1164" y="52"/>
                    </a:lnTo>
                    <a:lnTo>
                      <a:pt x="1160" y="52"/>
                    </a:lnTo>
                    <a:lnTo>
                      <a:pt x="1160" y="52"/>
                    </a:lnTo>
                    <a:lnTo>
                      <a:pt x="1157" y="54"/>
                    </a:lnTo>
                    <a:lnTo>
                      <a:pt x="1149" y="68"/>
                    </a:lnTo>
                    <a:lnTo>
                      <a:pt x="1149" y="68"/>
                    </a:lnTo>
                    <a:lnTo>
                      <a:pt x="1149" y="68"/>
                    </a:lnTo>
                    <a:lnTo>
                      <a:pt x="1147" y="70"/>
                    </a:lnTo>
                    <a:lnTo>
                      <a:pt x="1147" y="70"/>
                    </a:lnTo>
                    <a:lnTo>
                      <a:pt x="1147" y="70"/>
                    </a:lnTo>
                    <a:lnTo>
                      <a:pt x="1147" y="70"/>
                    </a:lnTo>
                    <a:lnTo>
                      <a:pt x="1145" y="70"/>
                    </a:lnTo>
                    <a:lnTo>
                      <a:pt x="1143" y="70"/>
                    </a:lnTo>
                    <a:lnTo>
                      <a:pt x="1143" y="70"/>
                    </a:lnTo>
                    <a:lnTo>
                      <a:pt x="1141" y="68"/>
                    </a:lnTo>
                    <a:lnTo>
                      <a:pt x="1139" y="70"/>
                    </a:lnTo>
                    <a:lnTo>
                      <a:pt x="1137" y="70"/>
                    </a:lnTo>
                    <a:lnTo>
                      <a:pt x="1137" y="70"/>
                    </a:lnTo>
                    <a:lnTo>
                      <a:pt x="1127" y="68"/>
                    </a:lnTo>
                    <a:lnTo>
                      <a:pt x="1114" y="66"/>
                    </a:lnTo>
                    <a:lnTo>
                      <a:pt x="1098" y="66"/>
                    </a:lnTo>
                    <a:lnTo>
                      <a:pt x="1092" y="64"/>
                    </a:lnTo>
                    <a:lnTo>
                      <a:pt x="1090" y="64"/>
                    </a:lnTo>
                    <a:lnTo>
                      <a:pt x="1084" y="60"/>
                    </a:lnTo>
                    <a:lnTo>
                      <a:pt x="1073" y="51"/>
                    </a:lnTo>
                    <a:lnTo>
                      <a:pt x="1073" y="51"/>
                    </a:lnTo>
                    <a:lnTo>
                      <a:pt x="1073" y="51"/>
                    </a:lnTo>
                    <a:lnTo>
                      <a:pt x="1073" y="49"/>
                    </a:lnTo>
                    <a:lnTo>
                      <a:pt x="1073" y="47"/>
                    </a:lnTo>
                    <a:lnTo>
                      <a:pt x="1071" y="47"/>
                    </a:lnTo>
                    <a:lnTo>
                      <a:pt x="1069" y="49"/>
                    </a:lnTo>
                    <a:lnTo>
                      <a:pt x="1069" y="49"/>
                    </a:lnTo>
                    <a:lnTo>
                      <a:pt x="1069" y="49"/>
                    </a:lnTo>
                    <a:lnTo>
                      <a:pt x="1069" y="47"/>
                    </a:lnTo>
                    <a:lnTo>
                      <a:pt x="1069" y="45"/>
                    </a:lnTo>
                    <a:lnTo>
                      <a:pt x="1069" y="45"/>
                    </a:lnTo>
                    <a:lnTo>
                      <a:pt x="1067" y="45"/>
                    </a:lnTo>
                    <a:lnTo>
                      <a:pt x="1065" y="45"/>
                    </a:lnTo>
                    <a:lnTo>
                      <a:pt x="1065" y="45"/>
                    </a:lnTo>
                    <a:lnTo>
                      <a:pt x="1063" y="45"/>
                    </a:lnTo>
                    <a:lnTo>
                      <a:pt x="1063" y="45"/>
                    </a:lnTo>
                    <a:lnTo>
                      <a:pt x="1063" y="45"/>
                    </a:lnTo>
                    <a:lnTo>
                      <a:pt x="1065" y="43"/>
                    </a:lnTo>
                    <a:lnTo>
                      <a:pt x="1063" y="43"/>
                    </a:lnTo>
                    <a:lnTo>
                      <a:pt x="1063" y="41"/>
                    </a:lnTo>
                    <a:lnTo>
                      <a:pt x="1061" y="41"/>
                    </a:lnTo>
                    <a:lnTo>
                      <a:pt x="1061" y="41"/>
                    </a:lnTo>
                    <a:lnTo>
                      <a:pt x="1057" y="41"/>
                    </a:lnTo>
                    <a:lnTo>
                      <a:pt x="1057" y="39"/>
                    </a:lnTo>
                    <a:lnTo>
                      <a:pt x="1055" y="39"/>
                    </a:lnTo>
                    <a:lnTo>
                      <a:pt x="1055" y="37"/>
                    </a:lnTo>
                    <a:lnTo>
                      <a:pt x="1055" y="35"/>
                    </a:lnTo>
                    <a:lnTo>
                      <a:pt x="1053" y="35"/>
                    </a:lnTo>
                    <a:lnTo>
                      <a:pt x="1051" y="35"/>
                    </a:lnTo>
                    <a:lnTo>
                      <a:pt x="1049" y="35"/>
                    </a:lnTo>
                    <a:lnTo>
                      <a:pt x="1049" y="35"/>
                    </a:lnTo>
                    <a:lnTo>
                      <a:pt x="1047" y="35"/>
                    </a:lnTo>
                    <a:lnTo>
                      <a:pt x="1041" y="37"/>
                    </a:lnTo>
                    <a:lnTo>
                      <a:pt x="1039" y="39"/>
                    </a:lnTo>
                    <a:lnTo>
                      <a:pt x="1035" y="39"/>
                    </a:lnTo>
                    <a:lnTo>
                      <a:pt x="1032" y="37"/>
                    </a:lnTo>
                    <a:lnTo>
                      <a:pt x="1026" y="35"/>
                    </a:lnTo>
                    <a:lnTo>
                      <a:pt x="1018" y="31"/>
                    </a:lnTo>
                    <a:lnTo>
                      <a:pt x="1012" y="29"/>
                    </a:lnTo>
                    <a:lnTo>
                      <a:pt x="1008" y="27"/>
                    </a:lnTo>
                    <a:lnTo>
                      <a:pt x="1006" y="25"/>
                    </a:lnTo>
                    <a:lnTo>
                      <a:pt x="1004" y="25"/>
                    </a:lnTo>
                    <a:lnTo>
                      <a:pt x="1004" y="25"/>
                    </a:lnTo>
                    <a:lnTo>
                      <a:pt x="1004" y="25"/>
                    </a:lnTo>
                    <a:lnTo>
                      <a:pt x="1004" y="25"/>
                    </a:lnTo>
                    <a:lnTo>
                      <a:pt x="996" y="17"/>
                    </a:lnTo>
                    <a:lnTo>
                      <a:pt x="992" y="15"/>
                    </a:lnTo>
                    <a:lnTo>
                      <a:pt x="985" y="13"/>
                    </a:lnTo>
                    <a:lnTo>
                      <a:pt x="985" y="13"/>
                    </a:lnTo>
                    <a:lnTo>
                      <a:pt x="977" y="10"/>
                    </a:lnTo>
                    <a:lnTo>
                      <a:pt x="973" y="8"/>
                    </a:lnTo>
                    <a:lnTo>
                      <a:pt x="965" y="8"/>
                    </a:lnTo>
                    <a:lnTo>
                      <a:pt x="965" y="8"/>
                    </a:lnTo>
                    <a:lnTo>
                      <a:pt x="963" y="6"/>
                    </a:lnTo>
                    <a:lnTo>
                      <a:pt x="963" y="6"/>
                    </a:lnTo>
                    <a:lnTo>
                      <a:pt x="963" y="6"/>
                    </a:lnTo>
                    <a:lnTo>
                      <a:pt x="961" y="6"/>
                    </a:lnTo>
                    <a:lnTo>
                      <a:pt x="961" y="6"/>
                    </a:lnTo>
                    <a:lnTo>
                      <a:pt x="961" y="6"/>
                    </a:lnTo>
                    <a:lnTo>
                      <a:pt x="961" y="10"/>
                    </a:lnTo>
                    <a:lnTo>
                      <a:pt x="959" y="11"/>
                    </a:lnTo>
                    <a:lnTo>
                      <a:pt x="957" y="13"/>
                    </a:lnTo>
                    <a:lnTo>
                      <a:pt x="957" y="13"/>
                    </a:lnTo>
                    <a:lnTo>
                      <a:pt x="957" y="13"/>
                    </a:lnTo>
                    <a:lnTo>
                      <a:pt x="944" y="17"/>
                    </a:lnTo>
                    <a:lnTo>
                      <a:pt x="940" y="17"/>
                    </a:lnTo>
                    <a:lnTo>
                      <a:pt x="942" y="15"/>
                    </a:lnTo>
                    <a:lnTo>
                      <a:pt x="942" y="13"/>
                    </a:lnTo>
                    <a:lnTo>
                      <a:pt x="942" y="11"/>
                    </a:lnTo>
                    <a:lnTo>
                      <a:pt x="942" y="11"/>
                    </a:lnTo>
                    <a:lnTo>
                      <a:pt x="942" y="8"/>
                    </a:lnTo>
                    <a:lnTo>
                      <a:pt x="940" y="6"/>
                    </a:lnTo>
                    <a:lnTo>
                      <a:pt x="940" y="4"/>
                    </a:lnTo>
                    <a:lnTo>
                      <a:pt x="928" y="2"/>
                    </a:lnTo>
                    <a:lnTo>
                      <a:pt x="926" y="2"/>
                    </a:lnTo>
                    <a:lnTo>
                      <a:pt x="926" y="2"/>
                    </a:lnTo>
                    <a:lnTo>
                      <a:pt x="926" y="2"/>
                    </a:lnTo>
                    <a:lnTo>
                      <a:pt x="926" y="2"/>
                    </a:lnTo>
                    <a:lnTo>
                      <a:pt x="918" y="0"/>
                    </a:lnTo>
                    <a:lnTo>
                      <a:pt x="914" y="0"/>
                    </a:lnTo>
                    <a:lnTo>
                      <a:pt x="914" y="0"/>
                    </a:lnTo>
                    <a:lnTo>
                      <a:pt x="912" y="0"/>
                    </a:lnTo>
                    <a:lnTo>
                      <a:pt x="912" y="2"/>
                    </a:lnTo>
                    <a:lnTo>
                      <a:pt x="912" y="2"/>
                    </a:lnTo>
                    <a:lnTo>
                      <a:pt x="912" y="4"/>
                    </a:lnTo>
                    <a:lnTo>
                      <a:pt x="912" y="6"/>
                    </a:lnTo>
                    <a:lnTo>
                      <a:pt x="910" y="10"/>
                    </a:lnTo>
                    <a:lnTo>
                      <a:pt x="910" y="15"/>
                    </a:lnTo>
                    <a:lnTo>
                      <a:pt x="910" y="21"/>
                    </a:lnTo>
                    <a:lnTo>
                      <a:pt x="912" y="23"/>
                    </a:lnTo>
                    <a:lnTo>
                      <a:pt x="912" y="31"/>
                    </a:lnTo>
                    <a:lnTo>
                      <a:pt x="908" y="47"/>
                    </a:lnTo>
                    <a:lnTo>
                      <a:pt x="906" y="51"/>
                    </a:lnTo>
                    <a:lnTo>
                      <a:pt x="906" y="51"/>
                    </a:lnTo>
                    <a:lnTo>
                      <a:pt x="906" y="52"/>
                    </a:lnTo>
                    <a:lnTo>
                      <a:pt x="906" y="52"/>
                    </a:lnTo>
                    <a:lnTo>
                      <a:pt x="908" y="56"/>
                    </a:lnTo>
                    <a:lnTo>
                      <a:pt x="908" y="56"/>
                    </a:lnTo>
                    <a:lnTo>
                      <a:pt x="908" y="58"/>
                    </a:lnTo>
                    <a:lnTo>
                      <a:pt x="908" y="58"/>
                    </a:lnTo>
                    <a:lnTo>
                      <a:pt x="906" y="62"/>
                    </a:lnTo>
                    <a:lnTo>
                      <a:pt x="905" y="62"/>
                    </a:lnTo>
                    <a:lnTo>
                      <a:pt x="903" y="62"/>
                    </a:lnTo>
                    <a:lnTo>
                      <a:pt x="903" y="62"/>
                    </a:lnTo>
                    <a:lnTo>
                      <a:pt x="903" y="62"/>
                    </a:lnTo>
                    <a:lnTo>
                      <a:pt x="903" y="62"/>
                    </a:lnTo>
                    <a:lnTo>
                      <a:pt x="895" y="58"/>
                    </a:lnTo>
                    <a:lnTo>
                      <a:pt x="889" y="58"/>
                    </a:lnTo>
                    <a:lnTo>
                      <a:pt x="887" y="58"/>
                    </a:lnTo>
                    <a:lnTo>
                      <a:pt x="885" y="58"/>
                    </a:lnTo>
                    <a:lnTo>
                      <a:pt x="883" y="58"/>
                    </a:lnTo>
                    <a:lnTo>
                      <a:pt x="883" y="60"/>
                    </a:lnTo>
                    <a:lnTo>
                      <a:pt x="883" y="60"/>
                    </a:lnTo>
                    <a:lnTo>
                      <a:pt x="881" y="64"/>
                    </a:lnTo>
                    <a:lnTo>
                      <a:pt x="881" y="64"/>
                    </a:lnTo>
                    <a:lnTo>
                      <a:pt x="881" y="64"/>
                    </a:lnTo>
                    <a:lnTo>
                      <a:pt x="881" y="64"/>
                    </a:lnTo>
                    <a:lnTo>
                      <a:pt x="881" y="66"/>
                    </a:lnTo>
                    <a:lnTo>
                      <a:pt x="879" y="72"/>
                    </a:lnTo>
                    <a:lnTo>
                      <a:pt x="879" y="72"/>
                    </a:lnTo>
                    <a:lnTo>
                      <a:pt x="873" y="78"/>
                    </a:lnTo>
                    <a:lnTo>
                      <a:pt x="871" y="80"/>
                    </a:lnTo>
                    <a:lnTo>
                      <a:pt x="867" y="84"/>
                    </a:lnTo>
                    <a:lnTo>
                      <a:pt x="867" y="88"/>
                    </a:lnTo>
                    <a:lnTo>
                      <a:pt x="867" y="92"/>
                    </a:lnTo>
                    <a:lnTo>
                      <a:pt x="867" y="99"/>
                    </a:lnTo>
                    <a:lnTo>
                      <a:pt x="867" y="99"/>
                    </a:lnTo>
                    <a:lnTo>
                      <a:pt x="867" y="99"/>
                    </a:lnTo>
                    <a:lnTo>
                      <a:pt x="865" y="105"/>
                    </a:lnTo>
                    <a:lnTo>
                      <a:pt x="865" y="105"/>
                    </a:lnTo>
                    <a:lnTo>
                      <a:pt x="865" y="105"/>
                    </a:lnTo>
                    <a:lnTo>
                      <a:pt x="865" y="107"/>
                    </a:lnTo>
                    <a:lnTo>
                      <a:pt x="865" y="107"/>
                    </a:lnTo>
                    <a:lnTo>
                      <a:pt x="865" y="107"/>
                    </a:lnTo>
                    <a:lnTo>
                      <a:pt x="865" y="107"/>
                    </a:lnTo>
                    <a:lnTo>
                      <a:pt x="865" y="107"/>
                    </a:lnTo>
                    <a:lnTo>
                      <a:pt x="864" y="109"/>
                    </a:lnTo>
                    <a:lnTo>
                      <a:pt x="862" y="109"/>
                    </a:lnTo>
                    <a:lnTo>
                      <a:pt x="860" y="109"/>
                    </a:lnTo>
                    <a:lnTo>
                      <a:pt x="860" y="109"/>
                    </a:lnTo>
                    <a:lnTo>
                      <a:pt x="858" y="107"/>
                    </a:lnTo>
                    <a:lnTo>
                      <a:pt x="858" y="105"/>
                    </a:lnTo>
                    <a:lnTo>
                      <a:pt x="856" y="103"/>
                    </a:lnTo>
                    <a:lnTo>
                      <a:pt x="856" y="103"/>
                    </a:lnTo>
                    <a:lnTo>
                      <a:pt x="854" y="103"/>
                    </a:lnTo>
                    <a:lnTo>
                      <a:pt x="852" y="103"/>
                    </a:lnTo>
                    <a:lnTo>
                      <a:pt x="852" y="103"/>
                    </a:lnTo>
                    <a:lnTo>
                      <a:pt x="850" y="103"/>
                    </a:lnTo>
                    <a:lnTo>
                      <a:pt x="850" y="103"/>
                    </a:lnTo>
                    <a:lnTo>
                      <a:pt x="850" y="103"/>
                    </a:lnTo>
                    <a:lnTo>
                      <a:pt x="850" y="101"/>
                    </a:lnTo>
                    <a:lnTo>
                      <a:pt x="850" y="99"/>
                    </a:lnTo>
                    <a:lnTo>
                      <a:pt x="850" y="99"/>
                    </a:lnTo>
                    <a:lnTo>
                      <a:pt x="850" y="97"/>
                    </a:lnTo>
                    <a:lnTo>
                      <a:pt x="848" y="97"/>
                    </a:lnTo>
                    <a:lnTo>
                      <a:pt x="846" y="97"/>
                    </a:lnTo>
                    <a:lnTo>
                      <a:pt x="842" y="99"/>
                    </a:lnTo>
                    <a:lnTo>
                      <a:pt x="842" y="101"/>
                    </a:lnTo>
                    <a:lnTo>
                      <a:pt x="840" y="101"/>
                    </a:lnTo>
                    <a:lnTo>
                      <a:pt x="838" y="101"/>
                    </a:lnTo>
                    <a:lnTo>
                      <a:pt x="838" y="101"/>
                    </a:lnTo>
                    <a:lnTo>
                      <a:pt x="836" y="101"/>
                    </a:lnTo>
                    <a:lnTo>
                      <a:pt x="830" y="97"/>
                    </a:lnTo>
                    <a:lnTo>
                      <a:pt x="828" y="95"/>
                    </a:lnTo>
                    <a:lnTo>
                      <a:pt x="826" y="92"/>
                    </a:lnTo>
                    <a:lnTo>
                      <a:pt x="826" y="93"/>
                    </a:lnTo>
                    <a:lnTo>
                      <a:pt x="824" y="93"/>
                    </a:lnTo>
                    <a:lnTo>
                      <a:pt x="821" y="103"/>
                    </a:lnTo>
                    <a:lnTo>
                      <a:pt x="819" y="105"/>
                    </a:lnTo>
                    <a:lnTo>
                      <a:pt x="817" y="107"/>
                    </a:lnTo>
                    <a:lnTo>
                      <a:pt x="809" y="111"/>
                    </a:lnTo>
                    <a:lnTo>
                      <a:pt x="805" y="113"/>
                    </a:lnTo>
                    <a:lnTo>
                      <a:pt x="805" y="113"/>
                    </a:lnTo>
                    <a:lnTo>
                      <a:pt x="805" y="113"/>
                    </a:lnTo>
                    <a:lnTo>
                      <a:pt x="803" y="113"/>
                    </a:lnTo>
                    <a:lnTo>
                      <a:pt x="785" y="107"/>
                    </a:lnTo>
                    <a:lnTo>
                      <a:pt x="762" y="105"/>
                    </a:lnTo>
                    <a:lnTo>
                      <a:pt x="762" y="105"/>
                    </a:lnTo>
                    <a:lnTo>
                      <a:pt x="762" y="105"/>
                    </a:lnTo>
                    <a:lnTo>
                      <a:pt x="760" y="105"/>
                    </a:lnTo>
                    <a:lnTo>
                      <a:pt x="756" y="103"/>
                    </a:lnTo>
                    <a:lnTo>
                      <a:pt x="754" y="101"/>
                    </a:lnTo>
                    <a:lnTo>
                      <a:pt x="752" y="97"/>
                    </a:lnTo>
                    <a:lnTo>
                      <a:pt x="752" y="97"/>
                    </a:lnTo>
                    <a:lnTo>
                      <a:pt x="752" y="97"/>
                    </a:lnTo>
                    <a:lnTo>
                      <a:pt x="752" y="97"/>
                    </a:lnTo>
                    <a:lnTo>
                      <a:pt x="752" y="97"/>
                    </a:lnTo>
                    <a:lnTo>
                      <a:pt x="750" y="93"/>
                    </a:lnTo>
                    <a:lnTo>
                      <a:pt x="750" y="93"/>
                    </a:lnTo>
                    <a:lnTo>
                      <a:pt x="750" y="93"/>
                    </a:lnTo>
                    <a:lnTo>
                      <a:pt x="750" y="93"/>
                    </a:lnTo>
                    <a:lnTo>
                      <a:pt x="750" y="92"/>
                    </a:lnTo>
                    <a:lnTo>
                      <a:pt x="752" y="92"/>
                    </a:lnTo>
                    <a:lnTo>
                      <a:pt x="752" y="90"/>
                    </a:lnTo>
                    <a:lnTo>
                      <a:pt x="752" y="90"/>
                    </a:lnTo>
                    <a:lnTo>
                      <a:pt x="752" y="90"/>
                    </a:lnTo>
                    <a:lnTo>
                      <a:pt x="752" y="90"/>
                    </a:lnTo>
                    <a:lnTo>
                      <a:pt x="752" y="90"/>
                    </a:lnTo>
                    <a:lnTo>
                      <a:pt x="754" y="90"/>
                    </a:lnTo>
                    <a:lnTo>
                      <a:pt x="754" y="90"/>
                    </a:lnTo>
                    <a:lnTo>
                      <a:pt x="754" y="90"/>
                    </a:lnTo>
                    <a:lnTo>
                      <a:pt x="754" y="90"/>
                    </a:lnTo>
                    <a:lnTo>
                      <a:pt x="754" y="90"/>
                    </a:lnTo>
                    <a:lnTo>
                      <a:pt x="756" y="88"/>
                    </a:lnTo>
                    <a:lnTo>
                      <a:pt x="756" y="88"/>
                    </a:lnTo>
                    <a:lnTo>
                      <a:pt x="754" y="86"/>
                    </a:lnTo>
                    <a:lnTo>
                      <a:pt x="754" y="86"/>
                    </a:lnTo>
                    <a:lnTo>
                      <a:pt x="754" y="86"/>
                    </a:lnTo>
                    <a:lnTo>
                      <a:pt x="754" y="86"/>
                    </a:lnTo>
                    <a:lnTo>
                      <a:pt x="752" y="86"/>
                    </a:lnTo>
                    <a:lnTo>
                      <a:pt x="752" y="84"/>
                    </a:lnTo>
                    <a:lnTo>
                      <a:pt x="752" y="84"/>
                    </a:lnTo>
                    <a:lnTo>
                      <a:pt x="752" y="84"/>
                    </a:lnTo>
                    <a:lnTo>
                      <a:pt x="752" y="84"/>
                    </a:lnTo>
                    <a:lnTo>
                      <a:pt x="752" y="84"/>
                    </a:lnTo>
                    <a:lnTo>
                      <a:pt x="750" y="82"/>
                    </a:lnTo>
                    <a:lnTo>
                      <a:pt x="748" y="78"/>
                    </a:lnTo>
                    <a:lnTo>
                      <a:pt x="746" y="76"/>
                    </a:lnTo>
                    <a:lnTo>
                      <a:pt x="742" y="74"/>
                    </a:lnTo>
                    <a:lnTo>
                      <a:pt x="735" y="70"/>
                    </a:lnTo>
                    <a:lnTo>
                      <a:pt x="735" y="68"/>
                    </a:lnTo>
                    <a:lnTo>
                      <a:pt x="733" y="66"/>
                    </a:lnTo>
                    <a:lnTo>
                      <a:pt x="729" y="64"/>
                    </a:lnTo>
                    <a:lnTo>
                      <a:pt x="729" y="64"/>
                    </a:lnTo>
                    <a:lnTo>
                      <a:pt x="729" y="64"/>
                    </a:lnTo>
                    <a:lnTo>
                      <a:pt x="725" y="62"/>
                    </a:lnTo>
                    <a:lnTo>
                      <a:pt x="721" y="62"/>
                    </a:lnTo>
                    <a:lnTo>
                      <a:pt x="719" y="60"/>
                    </a:lnTo>
                    <a:lnTo>
                      <a:pt x="719" y="60"/>
                    </a:lnTo>
                    <a:lnTo>
                      <a:pt x="713" y="72"/>
                    </a:lnTo>
                    <a:lnTo>
                      <a:pt x="713" y="74"/>
                    </a:lnTo>
                    <a:lnTo>
                      <a:pt x="715" y="74"/>
                    </a:lnTo>
                    <a:lnTo>
                      <a:pt x="715" y="78"/>
                    </a:lnTo>
                    <a:lnTo>
                      <a:pt x="717" y="78"/>
                    </a:lnTo>
                    <a:lnTo>
                      <a:pt x="719" y="80"/>
                    </a:lnTo>
                    <a:lnTo>
                      <a:pt x="717" y="82"/>
                    </a:lnTo>
                    <a:lnTo>
                      <a:pt x="717" y="84"/>
                    </a:lnTo>
                    <a:lnTo>
                      <a:pt x="717" y="92"/>
                    </a:lnTo>
                    <a:lnTo>
                      <a:pt x="717" y="97"/>
                    </a:lnTo>
                    <a:lnTo>
                      <a:pt x="717" y="99"/>
                    </a:lnTo>
                    <a:lnTo>
                      <a:pt x="715" y="103"/>
                    </a:lnTo>
                    <a:lnTo>
                      <a:pt x="713" y="109"/>
                    </a:lnTo>
                    <a:lnTo>
                      <a:pt x="711" y="111"/>
                    </a:lnTo>
                    <a:lnTo>
                      <a:pt x="711" y="113"/>
                    </a:lnTo>
                    <a:lnTo>
                      <a:pt x="709" y="113"/>
                    </a:lnTo>
                    <a:lnTo>
                      <a:pt x="705" y="113"/>
                    </a:lnTo>
                    <a:lnTo>
                      <a:pt x="705" y="113"/>
                    </a:lnTo>
                    <a:lnTo>
                      <a:pt x="703" y="117"/>
                    </a:lnTo>
                    <a:lnTo>
                      <a:pt x="701" y="123"/>
                    </a:lnTo>
                    <a:lnTo>
                      <a:pt x="701" y="123"/>
                    </a:lnTo>
                    <a:lnTo>
                      <a:pt x="696" y="119"/>
                    </a:lnTo>
                    <a:lnTo>
                      <a:pt x="692" y="115"/>
                    </a:lnTo>
                    <a:lnTo>
                      <a:pt x="690" y="113"/>
                    </a:lnTo>
                    <a:lnTo>
                      <a:pt x="686" y="111"/>
                    </a:lnTo>
                    <a:lnTo>
                      <a:pt x="670" y="107"/>
                    </a:lnTo>
                    <a:lnTo>
                      <a:pt x="664" y="107"/>
                    </a:lnTo>
                    <a:lnTo>
                      <a:pt x="658" y="109"/>
                    </a:lnTo>
                    <a:lnTo>
                      <a:pt x="656" y="111"/>
                    </a:lnTo>
                    <a:lnTo>
                      <a:pt x="656" y="113"/>
                    </a:lnTo>
                    <a:lnTo>
                      <a:pt x="656" y="113"/>
                    </a:lnTo>
                    <a:lnTo>
                      <a:pt x="656" y="115"/>
                    </a:lnTo>
                    <a:lnTo>
                      <a:pt x="656" y="119"/>
                    </a:lnTo>
                    <a:lnTo>
                      <a:pt x="658" y="123"/>
                    </a:lnTo>
                    <a:lnTo>
                      <a:pt x="658" y="125"/>
                    </a:lnTo>
                    <a:lnTo>
                      <a:pt x="658" y="127"/>
                    </a:lnTo>
                    <a:lnTo>
                      <a:pt x="656" y="131"/>
                    </a:lnTo>
                    <a:lnTo>
                      <a:pt x="656" y="134"/>
                    </a:lnTo>
                    <a:lnTo>
                      <a:pt x="654" y="136"/>
                    </a:lnTo>
                    <a:lnTo>
                      <a:pt x="656" y="142"/>
                    </a:lnTo>
                    <a:lnTo>
                      <a:pt x="654" y="146"/>
                    </a:lnTo>
                    <a:lnTo>
                      <a:pt x="654" y="148"/>
                    </a:lnTo>
                    <a:lnTo>
                      <a:pt x="654" y="148"/>
                    </a:lnTo>
                    <a:lnTo>
                      <a:pt x="653" y="150"/>
                    </a:lnTo>
                    <a:lnTo>
                      <a:pt x="653" y="156"/>
                    </a:lnTo>
                    <a:lnTo>
                      <a:pt x="651" y="160"/>
                    </a:lnTo>
                    <a:lnTo>
                      <a:pt x="633" y="174"/>
                    </a:lnTo>
                    <a:lnTo>
                      <a:pt x="629" y="177"/>
                    </a:lnTo>
                    <a:lnTo>
                      <a:pt x="606" y="181"/>
                    </a:lnTo>
                    <a:lnTo>
                      <a:pt x="588" y="187"/>
                    </a:lnTo>
                    <a:lnTo>
                      <a:pt x="584" y="189"/>
                    </a:lnTo>
                    <a:lnTo>
                      <a:pt x="578" y="195"/>
                    </a:lnTo>
                    <a:lnTo>
                      <a:pt x="572" y="199"/>
                    </a:lnTo>
                    <a:lnTo>
                      <a:pt x="570" y="201"/>
                    </a:lnTo>
                    <a:lnTo>
                      <a:pt x="570" y="201"/>
                    </a:lnTo>
                    <a:lnTo>
                      <a:pt x="563" y="203"/>
                    </a:lnTo>
                    <a:lnTo>
                      <a:pt x="559" y="205"/>
                    </a:lnTo>
                    <a:lnTo>
                      <a:pt x="557" y="207"/>
                    </a:lnTo>
                    <a:lnTo>
                      <a:pt x="555" y="211"/>
                    </a:lnTo>
                    <a:lnTo>
                      <a:pt x="553" y="213"/>
                    </a:lnTo>
                    <a:lnTo>
                      <a:pt x="545" y="218"/>
                    </a:lnTo>
                    <a:lnTo>
                      <a:pt x="545" y="218"/>
                    </a:lnTo>
                    <a:lnTo>
                      <a:pt x="543" y="222"/>
                    </a:lnTo>
                    <a:lnTo>
                      <a:pt x="541" y="222"/>
                    </a:lnTo>
                    <a:lnTo>
                      <a:pt x="541" y="222"/>
                    </a:lnTo>
                    <a:lnTo>
                      <a:pt x="539" y="224"/>
                    </a:lnTo>
                    <a:lnTo>
                      <a:pt x="539" y="224"/>
                    </a:lnTo>
                    <a:lnTo>
                      <a:pt x="537" y="228"/>
                    </a:lnTo>
                    <a:lnTo>
                      <a:pt x="539" y="232"/>
                    </a:lnTo>
                    <a:lnTo>
                      <a:pt x="541" y="234"/>
                    </a:lnTo>
                    <a:lnTo>
                      <a:pt x="541" y="238"/>
                    </a:lnTo>
                    <a:lnTo>
                      <a:pt x="555" y="250"/>
                    </a:lnTo>
                    <a:lnTo>
                      <a:pt x="557" y="256"/>
                    </a:lnTo>
                    <a:lnTo>
                      <a:pt x="557" y="257"/>
                    </a:lnTo>
                    <a:lnTo>
                      <a:pt x="557" y="257"/>
                    </a:lnTo>
                    <a:lnTo>
                      <a:pt x="559" y="261"/>
                    </a:lnTo>
                    <a:lnTo>
                      <a:pt x="559" y="263"/>
                    </a:lnTo>
                    <a:lnTo>
                      <a:pt x="563" y="265"/>
                    </a:lnTo>
                    <a:lnTo>
                      <a:pt x="567" y="269"/>
                    </a:lnTo>
                    <a:lnTo>
                      <a:pt x="569" y="269"/>
                    </a:lnTo>
                    <a:lnTo>
                      <a:pt x="570" y="273"/>
                    </a:lnTo>
                    <a:lnTo>
                      <a:pt x="576" y="285"/>
                    </a:lnTo>
                    <a:lnTo>
                      <a:pt x="580" y="291"/>
                    </a:lnTo>
                    <a:lnTo>
                      <a:pt x="580" y="291"/>
                    </a:lnTo>
                    <a:lnTo>
                      <a:pt x="570" y="308"/>
                    </a:lnTo>
                    <a:lnTo>
                      <a:pt x="569" y="310"/>
                    </a:lnTo>
                    <a:lnTo>
                      <a:pt x="569" y="312"/>
                    </a:lnTo>
                    <a:lnTo>
                      <a:pt x="569" y="314"/>
                    </a:lnTo>
                    <a:lnTo>
                      <a:pt x="569" y="316"/>
                    </a:lnTo>
                    <a:lnTo>
                      <a:pt x="567" y="318"/>
                    </a:lnTo>
                    <a:lnTo>
                      <a:pt x="567" y="318"/>
                    </a:lnTo>
                    <a:lnTo>
                      <a:pt x="565" y="322"/>
                    </a:lnTo>
                    <a:lnTo>
                      <a:pt x="567" y="326"/>
                    </a:lnTo>
                    <a:lnTo>
                      <a:pt x="576" y="326"/>
                    </a:lnTo>
                    <a:lnTo>
                      <a:pt x="578" y="326"/>
                    </a:lnTo>
                    <a:lnTo>
                      <a:pt x="582" y="324"/>
                    </a:lnTo>
                    <a:lnTo>
                      <a:pt x="586" y="326"/>
                    </a:lnTo>
                    <a:lnTo>
                      <a:pt x="588" y="326"/>
                    </a:lnTo>
                    <a:lnTo>
                      <a:pt x="590" y="330"/>
                    </a:lnTo>
                    <a:lnTo>
                      <a:pt x="594" y="334"/>
                    </a:lnTo>
                    <a:lnTo>
                      <a:pt x="594" y="338"/>
                    </a:lnTo>
                    <a:lnTo>
                      <a:pt x="594" y="341"/>
                    </a:lnTo>
                    <a:lnTo>
                      <a:pt x="594" y="343"/>
                    </a:lnTo>
                    <a:lnTo>
                      <a:pt x="594" y="347"/>
                    </a:lnTo>
                    <a:lnTo>
                      <a:pt x="594" y="347"/>
                    </a:lnTo>
                    <a:lnTo>
                      <a:pt x="592" y="353"/>
                    </a:lnTo>
                    <a:lnTo>
                      <a:pt x="592" y="353"/>
                    </a:lnTo>
                    <a:lnTo>
                      <a:pt x="590" y="357"/>
                    </a:lnTo>
                    <a:lnTo>
                      <a:pt x="588" y="357"/>
                    </a:lnTo>
                    <a:lnTo>
                      <a:pt x="588" y="363"/>
                    </a:lnTo>
                    <a:lnTo>
                      <a:pt x="590" y="363"/>
                    </a:lnTo>
                    <a:lnTo>
                      <a:pt x="588" y="363"/>
                    </a:lnTo>
                    <a:lnTo>
                      <a:pt x="588" y="367"/>
                    </a:lnTo>
                    <a:lnTo>
                      <a:pt x="586" y="367"/>
                    </a:lnTo>
                    <a:lnTo>
                      <a:pt x="586" y="371"/>
                    </a:lnTo>
                    <a:lnTo>
                      <a:pt x="586" y="373"/>
                    </a:lnTo>
                    <a:lnTo>
                      <a:pt x="588" y="375"/>
                    </a:lnTo>
                    <a:lnTo>
                      <a:pt x="588" y="377"/>
                    </a:lnTo>
                    <a:lnTo>
                      <a:pt x="588" y="377"/>
                    </a:lnTo>
                    <a:lnTo>
                      <a:pt x="588" y="379"/>
                    </a:lnTo>
                    <a:lnTo>
                      <a:pt x="584" y="384"/>
                    </a:lnTo>
                    <a:lnTo>
                      <a:pt x="582" y="386"/>
                    </a:lnTo>
                    <a:lnTo>
                      <a:pt x="580" y="386"/>
                    </a:lnTo>
                    <a:lnTo>
                      <a:pt x="580" y="384"/>
                    </a:lnTo>
                    <a:lnTo>
                      <a:pt x="578" y="384"/>
                    </a:lnTo>
                    <a:lnTo>
                      <a:pt x="576" y="384"/>
                    </a:lnTo>
                    <a:lnTo>
                      <a:pt x="576" y="384"/>
                    </a:lnTo>
                    <a:lnTo>
                      <a:pt x="574" y="384"/>
                    </a:lnTo>
                    <a:lnTo>
                      <a:pt x="572" y="384"/>
                    </a:lnTo>
                    <a:lnTo>
                      <a:pt x="570" y="384"/>
                    </a:lnTo>
                    <a:lnTo>
                      <a:pt x="563" y="379"/>
                    </a:lnTo>
                    <a:lnTo>
                      <a:pt x="555" y="369"/>
                    </a:lnTo>
                    <a:lnTo>
                      <a:pt x="553" y="369"/>
                    </a:lnTo>
                    <a:lnTo>
                      <a:pt x="551" y="367"/>
                    </a:lnTo>
                    <a:lnTo>
                      <a:pt x="549" y="367"/>
                    </a:lnTo>
                    <a:lnTo>
                      <a:pt x="545" y="363"/>
                    </a:lnTo>
                    <a:lnTo>
                      <a:pt x="545" y="357"/>
                    </a:lnTo>
                    <a:lnTo>
                      <a:pt x="547" y="351"/>
                    </a:lnTo>
                    <a:lnTo>
                      <a:pt x="551" y="349"/>
                    </a:lnTo>
                    <a:lnTo>
                      <a:pt x="547" y="347"/>
                    </a:lnTo>
                    <a:lnTo>
                      <a:pt x="543" y="343"/>
                    </a:lnTo>
                    <a:lnTo>
                      <a:pt x="541" y="341"/>
                    </a:lnTo>
                    <a:lnTo>
                      <a:pt x="543" y="336"/>
                    </a:lnTo>
                    <a:lnTo>
                      <a:pt x="539" y="338"/>
                    </a:lnTo>
                    <a:lnTo>
                      <a:pt x="529" y="334"/>
                    </a:lnTo>
                    <a:lnTo>
                      <a:pt x="524" y="334"/>
                    </a:lnTo>
                    <a:lnTo>
                      <a:pt x="518" y="336"/>
                    </a:lnTo>
                    <a:lnTo>
                      <a:pt x="516" y="338"/>
                    </a:lnTo>
                    <a:lnTo>
                      <a:pt x="510" y="343"/>
                    </a:lnTo>
                    <a:lnTo>
                      <a:pt x="508" y="343"/>
                    </a:lnTo>
                    <a:lnTo>
                      <a:pt x="504" y="345"/>
                    </a:lnTo>
                    <a:lnTo>
                      <a:pt x="502" y="345"/>
                    </a:lnTo>
                    <a:lnTo>
                      <a:pt x="498" y="345"/>
                    </a:lnTo>
                    <a:lnTo>
                      <a:pt x="496" y="345"/>
                    </a:lnTo>
                    <a:lnTo>
                      <a:pt x="490" y="339"/>
                    </a:lnTo>
                    <a:lnTo>
                      <a:pt x="488" y="339"/>
                    </a:lnTo>
                    <a:lnTo>
                      <a:pt x="488" y="338"/>
                    </a:lnTo>
                    <a:lnTo>
                      <a:pt x="486" y="332"/>
                    </a:lnTo>
                    <a:lnTo>
                      <a:pt x="486" y="330"/>
                    </a:lnTo>
                    <a:lnTo>
                      <a:pt x="483" y="330"/>
                    </a:lnTo>
                    <a:lnTo>
                      <a:pt x="477" y="332"/>
                    </a:lnTo>
                    <a:lnTo>
                      <a:pt x="473" y="332"/>
                    </a:lnTo>
                    <a:lnTo>
                      <a:pt x="463" y="330"/>
                    </a:lnTo>
                    <a:lnTo>
                      <a:pt x="461" y="332"/>
                    </a:lnTo>
                    <a:lnTo>
                      <a:pt x="457" y="334"/>
                    </a:lnTo>
                    <a:lnTo>
                      <a:pt x="455" y="334"/>
                    </a:lnTo>
                    <a:lnTo>
                      <a:pt x="453" y="332"/>
                    </a:lnTo>
                    <a:lnTo>
                      <a:pt x="451" y="330"/>
                    </a:lnTo>
                    <a:lnTo>
                      <a:pt x="453" y="328"/>
                    </a:lnTo>
                    <a:lnTo>
                      <a:pt x="453" y="326"/>
                    </a:lnTo>
                    <a:lnTo>
                      <a:pt x="455" y="324"/>
                    </a:lnTo>
                    <a:lnTo>
                      <a:pt x="455" y="322"/>
                    </a:lnTo>
                    <a:lnTo>
                      <a:pt x="455" y="320"/>
                    </a:lnTo>
                    <a:lnTo>
                      <a:pt x="455" y="320"/>
                    </a:lnTo>
                    <a:lnTo>
                      <a:pt x="453" y="322"/>
                    </a:lnTo>
                    <a:lnTo>
                      <a:pt x="451" y="322"/>
                    </a:lnTo>
                    <a:lnTo>
                      <a:pt x="447" y="326"/>
                    </a:lnTo>
                    <a:lnTo>
                      <a:pt x="445" y="326"/>
                    </a:lnTo>
                    <a:lnTo>
                      <a:pt x="445" y="328"/>
                    </a:lnTo>
                    <a:lnTo>
                      <a:pt x="445" y="330"/>
                    </a:lnTo>
                    <a:lnTo>
                      <a:pt x="447" y="332"/>
                    </a:lnTo>
                    <a:lnTo>
                      <a:pt x="447" y="334"/>
                    </a:lnTo>
                    <a:lnTo>
                      <a:pt x="449" y="334"/>
                    </a:lnTo>
                    <a:lnTo>
                      <a:pt x="449" y="336"/>
                    </a:lnTo>
                    <a:lnTo>
                      <a:pt x="449" y="341"/>
                    </a:lnTo>
                    <a:lnTo>
                      <a:pt x="449" y="343"/>
                    </a:lnTo>
                    <a:lnTo>
                      <a:pt x="449" y="345"/>
                    </a:lnTo>
                    <a:lnTo>
                      <a:pt x="443" y="351"/>
                    </a:lnTo>
                    <a:lnTo>
                      <a:pt x="443" y="351"/>
                    </a:lnTo>
                    <a:lnTo>
                      <a:pt x="404" y="349"/>
                    </a:lnTo>
                    <a:lnTo>
                      <a:pt x="391" y="353"/>
                    </a:lnTo>
                    <a:lnTo>
                      <a:pt x="389" y="353"/>
                    </a:lnTo>
                    <a:lnTo>
                      <a:pt x="387" y="359"/>
                    </a:lnTo>
                    <a:lnTo>
                      <a:pt x="385" y="359"/>
                    </a:lnTo>
                    <a:lnTo>
                      <a:pt x="375" y="357"/>
                    </a:lnTo>
                    <a:lnTo>
                      <a:pt x="361" y="357"/>
                    </a:lnTo>
                    <a:lnTo>
                      <a:pt x="354" y="355"/>
                    </a:lnTo>
                    <a:lnTo>
                      <a:pt x="352" y="355"/>
                    </a:lnTo>
                    <a:lnTo>
                      <a:pt x="352" y="355"/>
                    </a:lnTo>
                    <a:lnTo>
                      <a:pt x="346" y="361"/>
                    </a:lnTo>
                    <a:lnTo>
                      <a:pt x="346" y="363"/>
                    </a:lnTo>
                    <a:lnTo>
                      <a:pt x="344" y="369"/>
                    </a:lnTo>
                    <a:lnTo>
                      <a:pt x="342" y="371"/>
                    </a:lnTo>
                    <a:lnTo>
                      <a:pt x="340" y="375"/>
                    </a:lnTo>
                    <a:lnTo>
                      <a:pt x="336" y="375"/>
                    </a:lnTo>
                    <a:lnTo>
                      <a:pt x="328" y="377"/>
                    </a:lnTo>
                    <a:lnTo>
                      <a:pt x="324" y="377"/>
                    </a:lnTo>
                    <a:lnTo>
                      <a:pt x="320" y="375"/>
                    </a:lnTo>
                    <a:lnTo>
                      <a:pt x="317" y="377"/>
                    </a:lnTo>
                    <a:lnTo>
                      <a:pt x="309" y="384"/>
                    </a:lnTo>
                    <a:lnTo>
                      <a:pt x="311" y="386"/>
                    </a:lnTo>
                    <a:lnTo>
                      <a:pt x="313" y="386"/>
                    </a:lnTo>
                    <a:lnTo>
                      <a:pt x="313" y="388"/>
                    </a:lnTo>
                    <a:lnTo>
                      <a:pt x="313" y="390"/>
                    </a:lnTo>
                    <a:lnTo>
                      <a:pt x="309" y="392"/>
                    </a:lnTo>
                    <a:lnTo>
                      <a:pt x="301" y="392"/>
                    </a:lnTo>
                    <a:lnTo>
                      <a:pt x="299" y="394"/>
                    </a:lnTo>
                    <a:lnTo>
                      <a:pt x="295" y="396"/>
                    </a:lnTo>
                    <a:lnTo>
                      <a:pt x="293" y="400"/>
                    </a:lnTo>
                    <a:lnTo>
                      <a:pt x="291" y="402"/>
                    </a:lnTo>
                    <a:lnTo>
                      <a:pt x="287" y="404"/>
                    </a:lnTo>
                    <a:lnTo>
                      <a:pt x="283" y="404"/>
                    </a:lnTo>
                    <a:lnTo>
                      <a:pt x="283" y="396"/>
                    </a:lnTo>
                    <a:lnTo>
                      <a:pt x="279" y="394"/>
                    </a:lnTo>
                    <a:lnTo>
                      <a:pt x="275" y="396"/>
                    </a:lnTo>
                    <a:lnTo>
                      <a:pt x="266" y="404"/>
                    </a:lnTo>
                    <a:lnTo>
                      <a:pt x="262" y="404"/>
                    </a:lnTo>
                    <a:lnTo>
                      <a:pt x="244" y="404"/>
                    </a:lnTo>
                    <a:lnTo>
                      <a:pt x="242" y="404"/>
                    </a:lnTo>
                    <a:lnTo>
                      <a:pt x="240" y="400"/>
                    </a:lnTo>
                    <a:lnTo>
                      <a:pt x="240" y="400"/>
                    </a:lnTo>
                    <a:lnTo>
                      <a:pt x="240" y="398"/>
                    </a:lnTo>
                    <a:lnTo>
                      <a:pt x="242" y="396"/>
                    </a:lnTo>
                    <a:lnTo>
                      <a:pt x="242" y="396"/>
                    </a:lnTo>
                    <a:lnTo>
                      <a:pt x="240" y="394"/>
                    </a:lnTo>
                    <a:lnTo>
                      <a:pt x="233" y="384"/>
                    </a:lnTo>
                    <a:lnTo>
                      <a:pt x="225" y="380"/>
                    </a:lnTo>
                    <a:lnTo>
                      <a:pt x="223" y="379"/>
                    </a:lnTo>
                    <a:lnTo>
                      <a:pt x="229" y="375"/>
                    </a:lnTo>
                    <a:lnTo>
                      <a:pt x="229" y="375"/>
                    </a:lnTo>
                    <a:lnTo>
                      <a:pt x="227" y="371"/>
                    </a:lnTo>
                    <a:lnTo>
                      <a:pt x="225" y="371"/>
                    </a:lnTo>
                    <a:lnTo>
                      <a:pt x="221" y="371"/>
                    </a:lnTo>
                    <a:lnTo>
                      <a:pt x="219" y="371"/>
                    </a:lnTo>
                    <a:lnTo>
                      <a:pt x="213" y="373"/>
                    </a:lnTo>
                    <a:lnTo>
                      <a:pt x="207" y="375"/>
                    </a:lnTo>
                    <a:lnTo>
                      <a:pt x="205" y="375"/>
                    </a:lnTo>
                    <a:lnTo>
                      <a:pt x="205" y="373"/>
                    </a:lnTo>
                    <a:lnTo>
                      <a:pt x="205" y="371"/>
                    </a:lnTo>
                    <a:lnTo>
                      <a:pt x="203" y="371"/>
                    </a:lnTo>
                    <a:lnTo>
                      <a:pt x="182" y="363"/>
                    </a:lnTo>
                    <a:lnTo>
                      <a:pt x="178" y="363"/>
                    </a:lnTo>
                    <a:lnTo>
                      <a:pt x="176" y="363"/>
                    </a:lnTo>
                    <a:lnTo>
                      <a:pt x="172" y="369"/>
                    </a:lnTo>
                    <a:lnTo>
                      <a:pt x="170" y="371"/>
                    </a:lnTo>
                    <a:lnTo>
                      <a:pt x="168" y="371"/>
                    </a:lnTo>
                    <a:lnTo>
                      <a:pt x="160" y="369"/>
                    </a:lnTo>
                    <a:lnTo>
                      <a:pt x="158" y="369"/>
                    </a:lnTo>
                    <a:lnTo>
                      <a:pt x="156" y="367"/>
                    </a:lnTo>
                    <a:lnTo>
                      <a:pt x="156" y="367"/>
                    </a:lnTo>
                    <a:lnTo>
                      <a:pt x="156" y="363"/>
                    </a:lnTo>
                    <a:lnTo>
                      <a:pt x="156" y="363"/>
                    </a:lnTo>
                    <a:lnTo>
                      <a:pt x="158" y="361"/>
                    </a:lnTo>
                    <a:lnTo>
                      <a:pt x="158" y="361"/>
                    </a:lnTo>
                    <a:lnTo>
                      <a:pt x="156" y="357"/>
                    </a:lnTo>
                    <a:lnTo>
                      <a:pt x="156" y="357"/>
                    </a:lnTo>
                    <a:lnTo>
                      <a:pt x="154" y="357"/>
                    </a:lnTo>
                    <a:lnTo>
                      <a:pt x="152" y="359"/>
                    </a:lnTo>
                    <a:lnTo>
                      <a:pt x="150" y="359"/>
                    </a:lnTo>
                    <a:lnTo>
                      <a:pt x="150" y="361"/>
                    </a:lnTo>
                    <a:lnTo>
                      <a:pt x="150" y="365"/>
                    </a:lnTo>
                    <a:lnTo>
                      <a:pt x="152" y="367"/>
                    </a:lnTo>
                    <a:lnTo>
                      <a:pt x="152" y="369"/>
                    </a:lnTo>
                    <a:lnTo>
                      <a:pt x="150" y="379"/>
                    </a:lnTo>
                    <a:lnTo>
                      <a:pt x="152" y="380"/>
                    </a:lnTo>
                    <a:lnTo>
                      <a:pt x="154" y="382"/>
                    </a:lnTo>
                    <a:lnTo>
                      <a:pt x="154" y="384"/>
                    </a:lnTo>
                    <a:lnTo>
                      <a:pt x="156" y="386"/>
                    </a:lnTo>
                    <a:lnTo>
                      <a:pt x="156" y="392"/>
                    </a:lnTo>
                    <a:lnTo>
                      <a:pt x="154" y="398"/>
                    </a:lnTo>
                    <a:lnTo>
                      <a:pt x="152" y="404"/>
                    </a:lnTo>
                    <a:lnTo>
                      <a:pt x="149" y="406"/>
                    </a:lnTo>
                    <a:lnTo>
                      <a:pt x="149" y="408"/>
                    </a:lnTo>
                    <a:lnTo>
                      <a:pt x="145" y="410"/>
                    </a:lnTo>
                    <a:lnTo>
                      <a:pt x="143" y="410"/>
                    </a:lnTo>
                    <a:lnTo>
                      <a:pt x="141" y="412"/>
                    </a:lnTo>
                    <a:lnTo>
                      <a:pt x="137" y="420"/>
                    </a:lnTo>
                    <a:lnTo>
                      <a:pt x="135" y="423"/>
                    </a:lnTo>
                    <a:lnTo>
                      <a:pt x="131" y="425"/>
                    </a:lnTo>
                    <a:lnTo>
                      <a:pt x="123" y="431"/>
                    </a:lnTo>
                    <a:lnTo>
                      <a:pt x="121" y="431"/>
                    </a:lnTo>
                    <a:lnTo>
                      <a:pt x="109" y="433"/>
                    </a:lnTo>
                    <a:lnTo>
                      <a:pt x="107" y="433"/>
                    </a:lnTo>
                    <a:lnTo>
                      <a:pt x="106" y="433"/>
                    </a:lnTo>
                    <a:lnTo>
                      <a:pt x="107" y="431"/>
                    </a:lnTo>
                    <a:lnTo>
                      <a:pt x="109" y="429"/>
                    </a:lnTo>
                    <a:lnTo>
                      <a:pt x="109" y="429"/>
                    </a:lnTo>
                    <a:lnTo>
                      <a:pt x="111" y="427"/>
                    </a:lnTo>
                    <a:lnTo>
                      <a:pt x="111" y="427"/>
                    </a:lnTo>
                    <a:lnTo>
                      <a:pt x="113" y="425"/>
                    </a:lnTo>
                    <a:lnTo>
                      <a:pt x="113" y="423"/>
                    </a:lnTo>
                    <a:lnTo>
                      <a:pt x="111" y="421"/>
                    </a:lnTo>
                    <a:lnTo>
                      <a:pt x="115" y="414"/>
                    </a:lnTo>
                    <a:lnTo>
                      <a:pt x="115" y="410"/>
                    </a:lnTo>
                    <a:lnTo>
                      <a:pt x="111" y="408"/>
                    </a:lnTo>
                    <a:lnTo>
                      <a:pt x="106" y="408"/>
                    </a:lnTo>
                    <a:lnTo>
                      <a:pt x="104" y="412"/>
                    </a:lnTo>
                    <a:lnTo>
                      <a:pt x="102" y="412"/>
                    </a:lnTo>
                    <a:lnTo>
                      <a:pt x="102" y="412"/>
                    </a:lnTo>
                    <a:lnTo>
                      <a:pt x="100" y="410"/>
                    </a:lnTo>
                    <a:lnTo>
                      <a:pt x="98" y="410"/>
                    </a:lnTo>
                    <a:lnTo>
                      <a:pt x="96" y="412"/>
                    </a:lnTo>
                    <a:lnTo>
                      <a:pt x="96" y="412"/>
                    </a:lnTo>
                    <a:lnTo>
                      <a:pt x="94" y="412"/>
                    </a:lnTo>
                    <a:lnTo>
                      <a:pt x="92" y="410"/>
                    </a:lnTo>
                    <a:lnTo>
                      <a:pt x="92" y="408"/>
                    </a:lnTo>
                    <a:lnTo>
                      <a:pt x="92" y="406"/>
                    </a:lnTo>
                    <a:lnTo>
                      <a:pt x="92" y="404"/>
                    </a:lnTo>
                    <a:lnTo>
                      <a:pt x="90" y="400"/>
                    </a:lnTo>
                    <a:lnTo>
                      <a:pt x="94" y="398"/>
                    </a:lnTo>
                    <a:lnTo>
                      <a:pt x="94" y="396"/>
                    </a:lnTo>
                    <a:lnTo>
                      <a:pt x="92" y="392"/>
                    </a:lnTo>
                    <a:lnTo>
                      <a:pt x="84" y="380"/>
                    </a:lnTo>
                    <a:lnTo>
                      <a:pt x="82" y="380"/>
                    </a:lnTo>
                    <a:lnTo>
                      <a:pt x="80" y="382"/>
                    </a:lnTo>
                    <a:lnTo>
                      <a:pt x="80" y="382"/>
                    </a:lnTo>
                    <a:lnTo>
                      <a:pt x="78" y="382"/>
                    </a:lnTo>
                    <a:lnTo>
                      <a:pt x="76" y="380"/>
                    </a:lnTo>
                    <a:lnTo>
                      <a:pt x="76" y="380"/>
                    </a:lnTo>
                    <a:lnTo>
                      <a:pt x="76" y="379"/>
                    </a:lnTo>
                    <a:lnTo>
                      <a:pt x="76" y="377"/>
                    </a:lnTo>
                    <a:lnTo>
                      <a:pt x="74" y="375"/>
                    </a:lnTo>
                    <a:lnTo>
                      <a:pt x="72" y="371"/>
                    </a:lnTo>
                    <a:lnTo>
                      <a:pt x="70" y="367"/>
                    </a:lnTo>
                    <a:lnTo>
                      <a:pt x="68" y="369"/>
                    </a:lnTo>
                    <a:lnTo>
                      <a:pt x="66" y="369"/>
                    </a:lnTo>
                    <a:lnTo>
                      <a:pt x="63" y="369"/>
                    </a:lnTo>
                    <a:lnTo>
                      <a:pt x="57" y="367"/>
                    </a:lnTo>
                    <a:lnTo>
                      <a:pt x="57" y="367"/>
                    </a:lnTo>
                    <a:lnTo>
                      <a:pt x="53" y="369"/>
                    </a:lnTo>
                    <a:lnTo>
                      <a:pt x="53" y="369"/>
                    </a:lnTo>
                    <a:lnTo>
                      <a:pt x="49" y="367"/>
                    </a:lnTo>
                    <a:lnTo>
                      <a:pt x="49" y="365"/>
                    </a:lnTo>
                    <a:lnTo>
                      <a:pt x="49" y="361"/>
                    </a:lnTo>
                    <a:lnTo>
                      <a:pt x="49" y="359"/>
                    </a:lnTo>
                    <a:lnTo>
                      <a:pt x="47" y="357"/>
                    </a:lnTo>
                    <a:lnTo>
                      <a:pt x="43" y="355"/>
                    </a:lnTo>
                    <a:lnTo>
                      <a:pt x="41" y="355"/>
                    </a:lnTo>
                    <a:lnTo>
                      <a:pt x="39" y="357"/>
                    </a:lnTo>
                    <a:lnTo>
                      <a:pt x="35" y="361"/>
                    </a:lnTo>
                    <a:lnTo>
                      <a:pt x="33" y="367"/>
                    </a:lnTo>
                    <a:lnTo>
                      <a:pt x="35" y="369"/>
                    </a:lnTo>
                    <a:lnTo>
                      <a:pt x="37" y="373"/>
                    </a:lnTo>
                    <a:lnTo>
                      <a:pt x="31" y="373"/>
                    </a:lnTo>
                    <a:lnTo>
                      <a:pt x="27" y="373"/>
                    </a:lnTo>
                    <a:lnTo>
                      <a:pt x="27" y="373"/>
                    </a:lnTo>
                    <a:lnTo>
                      <a:pt x="27" y="377"/>
                    </a:lnTo>
                    <a:lnTo>
                      <a:pt x="25" y="379"/>
                    </a:lnTo>
                    <a:lnTo>
                      <a:pt x="25" y="379"/>
                    </a:lnTo>
                    <a:lnTo>
                      <a:pt x="22" y="379"/>
                    </a:lnTo>
                    <a:lnTo>
                      <a:pt x="20" y="377"/>
                    </a:lnTo>
                    <a:lnTo>
                      <a:pt x="20" y="375"/>
                    </a:lnTo>
                    <a:lnTo>
                      <a:pt x="20" y="375"/>
                    </a:lnTo>
                    <a:lnTo>
                      <a:pt x="18" y="375"/>
                    </a:lnTo>
                    <a:lnTo>
                      <a:pt x="16" y="377"/>
                    </a:lnTo>
                    <a:lnTo>
                      <a:pt x="14" y="379"/>
                    </a:lnTo>
                    <a:lnTo>
                      <a:pt x="12" y="379"/>
                    </a:lnTo>
                    <a:lnTo>
                      <a:pt x="10" y="377"/>
                    </a:lnTo>
                    <a:lnTo>
                      <a:pt x="8" y="377"/>
                    </a:lnTo>
                    <a:lnTo>
                      <a:pt x="6" y="375"/>
                    </a:lnTo>
                    <a:lnTo>
                      <a:pt x="6" y="375"/>
                    </a:lnTo>
                    <a:lnTo>
                      <a:pt x="10" y="382"/>
                    </a:lnTo>
                    <a:lnTo>
                      <a:pt x="18" y="384"/>
                    </a:lnTo>
                    <a:lnTo>
                      <a:pt x="22" y="390"/>
                    </a:lnTo>
                    <a:lnTo>
                      <a:pt x="22" y="400"/>
                    </a:lnTo>
                    <a:lnTo>
                      <a:pt x="20" y="404"/>
                    </a:lnTo>
                    <a:lnTo>
                      <a:pt x="14" y="412"/>
                    </a:lnTo>
                    <a:lnTo>
                      <a:pt x="14" y="414"/>
                    </a:lnTo>
                    <a:lnTo>
                      <a:pt x="12" y="418"/>
                    </a:lnTo>
                    <a:lnTo>
                      <a:pt x="12" y="420"/>
                    </a:lnTo>
                    <a:lnTo>
                      <a:pt x="6" y="427"/>
                    </a:lnTo>
                    <a:lnTo>
                      <a:pt x="0" y="435"/>
                    </a:lnTo>
                    <a:lnTo>
                      <a:pt x="0" y="435"/>
                    </a:lnTo>
                    <a:lnTo>
                      <a:pt x="0" y="435"/>
                    </a:lnTo>
                    <a:lnTo>
                      <a:pt x="2" y="439"/>
                    </a:lnTo>
                    <a:lnTo>
                      <a:pt x="4" y="441"/>
                    </a:lnTo>
                    <a:lnTo>
                      <a:pt x="4" y="441"/>
                    </a:lnTo>
                    <a:lnTo>
                      <a:pt x="4" y="445"/>
                    </a:lnTo>
                    <a:lnTo>
                      <a:pt x="4" y="447"/>
                    </a:lnTo>
                    <a:lnTo>
                      <a:pt x="4" y="447"/>
                    </a:lnTo>
                    <a:lnTo>
                      <a:pt x="6" y="449"/>
                    </a:lnTo>
                    <a:lnTo>
                      <a:pt x="6" y="451"/>
                    </a:lnTo>
                    <a:lnTo>
                      <a:pt x="8" y="453"/>
                    </a:lnTo>
                    <a:lnTo>
                      <a:pt x="8" y="453"/>
                    </a:lnTo>
                    <a:lnTo>
                      <a:pt x="6" y="455"/>
                    </a:lnTo>
                    <a:lnTo>
                      <a:pt x="6" y="457"/>
                    </a:lnTo>
                    <a:lnTo>
                      <a:pt x="6" y="459"/>
                    </a:lnTo>
                    <a:lnTo>
                      <a:pt x="10" y="462"/>
                    </a:lnTo>
                    <a:lnTo>
                      <a:pt x="14" y="468"/>
                    </a:lnTo>
                    <a:lnTo>
                      <a:pt x="16" y="472"/>
                    </a:lnTo>
                    <a:lnTo>
                      <a:pt x="16" y="474"/>
                    </a:lnTo>
                    <a:lnTo>
                      <a:pt x="16" y="480"/>
                    </a:lnTo>
                    <a:lnTo>
                      <a:pt x="10" y="486"/>
                    </a:lnTo>
                    <a:lnTo>
                      <a:pt x="14" y="488"/>
                    </a:lnTo>
                    <a:lnTo>
                      <a:pt x="22" y="486"/>
                    </a:lnTo>
                    <a:lnTo>
                      <a:pt x="25" y="486"/>
                    </a:lnTo>
                    <a:lnTo>
                      <a:pt x="57" y="496"/>
                    </a:lnTo>
                    <a:lnTo>
                      <a:pt x="57" y="500"/>
                    </a:lnTo>
                    <a:lnTo>
                      <a:pt x="57" y="500"/>
                    </a:lnTo>
                    <a:lnTo>
                      <a:pt x="59" y="500"/>
                    </a:lnTo>
                    <a:lnTo>
                      <a:pt x="59" y="500"/>
                    </a:lnTo>
                    <a:lnTo>
                      <a:pt x="59" y="502"/>
                    </a:lnTo>
                    <a:lnTo>
                      <a:pt x="59" y="503"/>
                    </a:lnTo>
                    <a:lnTo>
                      <a:pt x="57" y="509"/>
                    </a:lnTo>
                    <a:lnTo>
                      <a:pt x="57" y="513"/>
                    </a:lnTo>
                    <a:lnTo>
                      <a:pt x="57" y="515"/>
                    </a:lnTo>
                    <a:lnTo>
                      <a:pt x="59" y="517"/>
                    </a:lnTo>
                    <a:lnTo>
                      <a:pt x="61" y="519"/>
                    </a:lnTo>
                    <a:lnTo>
                      <a:pt x="119" y="519"/>
                    </a:lnTo>
                    <a:lnTo>
                      <a:pt x="119" y="519"/>
                    </a:lnTo>
                    <a:lnTo>
                      <a:pt x="123" y="519"/>
                    </a:lnTo>
                    <a:lnTo>
                      <a:pt x="125" y="519"/>
                    </a:lnTo>
                    <a:lnTo>
                      <a:pt x="129" y="519"/>
                    </a:lnTo>
                    <a:lnTo>
                      <a:pt x="129" y="515"/>
                    </a:lnTo>
                    <a:lnTo>
                      <a:pt x="133" y="509"/>
                    </a:lnTo>
                    <a:lnTo>
                      <a:pt x="137" y="503"/>
                    </a:lnTo>
                    <a:lnTo>
                      <a:pt x="143" y="502"/>
                    </a:lnTo>
                    <a:lnTo>
                      <a:pt x="143" y="502"/>
                    </a:lnTo>
                    <a:lnTo>
                      <a:pt x="145" y="502"/>
                    </a:lnTo>
                    <a:lnTo>
                      <a:pt x="145" y="502"/>
                    </a:lnTo>
                    <a:lnTo>
                      <a:pt x="145" y="502"/>
                    </a:lnTo>
                    <a:lnTo>
                      <a:pt x="147" y="503"/>
                    </a:lnTo>
                    <a:lnTo>
                      <a:pt x="150" y="509"/>
                    </a:lnTo>
                    <a:lnTo>
                      <a:pt x="156" y="513"/>
                    </a:lnTo>
                    <a:lnTo>
                      <a:pt x="156" y="515"/>
                    </a:lnTo>
                    <a:lnTo>
                      <a:pt x="158" y="519"/>
                    </a:lnTo>
                    <a:lnTo>
                      <a:pt x="266" y="519"/>
                    </a:lnTo>
                    <a:lnTo>
                      <a:pt x="274" y="511"/>
                    </a:lnTo>
                    <a:lnTo>
                      <a:pt x="277" y="509"/>
                    </a:lnTo>
                    <a:lnTo>
                      <a:pt x="289" y="505"/>
                    </a:lnTo>
                    <a:lnTo>
                      <a:pt x="301" y="503"/>
                    </a:lnTo>
                    <a:lnTo>
                      <a:pt x="307" y="505"/>
                    </a:lnTo>
                    <a:lnTo>
                      <a:pt x="311" y="507"/>
                    </a:lnTo>
                    <a:lnTo>
                      <a:pt x="317" y="507"/>
                    </a:lnTo>
                    <a:lnTo>
                      <a:pt x="322" y="502"/>
                    </a:lnTo>
                    <a:lnTo>
                      <a:pt x="324" y="500"/>
                    </a:lnTo>
                    <a:lnTo>
                      <a:pt x="324" y="500"/>
                    </a:lnTo>
                    <a:lnTo>
                      <a:pt x="326" y="498"/>
                    </a:lnTo>
                    <a:lnTo>
                      <a:pt x="330" y="500"/>
                    </a:lnTo>
                    <a:lnTo>
                      <a:pt x="330" y="500"/>
                    </a:lnTo>
                    <a:lnTo>
                      <a:pt x="332" y="502"/>
                    </a:lnTo>
                    <a:lnTo>
                      <a:pt x="332" y="502"/>
                    </a:lnTo>
                    <a:lnTo>
                      <a:pt x="334" y="503"/>
                    </a:lnTo>
                    <a:lnTo>
                      <a:pt x="336" y="503"/>
                    </a:lnTo>
                    <a:lnTo>
                      <a:pt x="336" y="503"/>
                    </a:lnTo>
                    <a:lnTo>
                      <a:pt x="338" y="502"/>
                    </a:lnTo>
                    <a:lnTo>
                      <a:pt x="338" y="502"/>
                    </a:lnTo>
                    <a:lnTo>
                      <a:pt x="344" y="500"/>
                    </a:lnTo>
                    <a:lnTo>
                      <a:pt x="348" y="500"/>
                    </a:lnTo>
                    <a:lnTo>
                      <a:pt x="356" y="502"/>
                    </a:lnTo>
                    <a:lnTo>
                      <a:pt x="356" y="502"/>
                    </a:lnTo>
                    <a:lnTo>
                      <a:pt x="356" y="502"/>
                    </a:lnTo>
                    <a:lnTo>
                      <a:pt x="358" y="502"/>
                    </a:lnTo>
                    <a:lnTo>
                      <a:pt x="359" y="502"/>
                    </a:lnTo>
                    <a:lnTo>
                      <a:pt x="361" y="502"/>
                    </a:lnTo>
                    <a:lnTo>
                      <a:pt x="367" y="505"/>
                    </a:lnTo>
                    <a:lnTo>
                      <a:pt x="371" y="507"/>
                    </a:lnTo>
                    <a:lnTo>
                      <a:pt x="373" y="507"/>
                    </a:lnTo>
                    <a:lnTo>
                      <a:pt x="375" y="503"/>
                    </a:lnTo>
                    <a:lnTo>
                      <a:pt x="377" y="503"/>
                    </a:lnTo>
                    <a:lnTo>
                      <a:pt x="385" y="502"/>
                    </a:lnTo>
                    <a:lnTo>
                      <a:pt x="391" y="498"/>
                    </a:lnTo>
                    <a:lnTo>
                      <a:pt x="399" y="494"/>
                    </a:lnTo>
                    <a:lnTo>
                      <a:pt x="406" y="492"/>
                    </a:lnTo>
                    <a:lnTo>
                      <a:pt x="418" y="490"/>
                    </a:lnTo>
                    <a:lnTo>
                      <a:pt x="434" y="482"/>
                    </a:lnTo>
                    <a:lnTo>
                      <a:pt x="438" y="480"/>
                    </a:lnTo>
                    <a:lnTo>
                      <a:pt x="445" y="480"/>
                    </a:lnTo>
                    <a:lnTo>
                      <a:pt x="449" y="480"/>
                    </a:lnTo>
                    <a:lnTo>
                      <a:pt x="449" y="484"/>
                    </a:lnTo>
                    <a:lnTo>
                      <a:pt x="449" y="488"/>
                    </a:lnTo>
                    <a:lnTo>
                      <a:pt x="445" y="492"/>
                    </a:lnTo>
                    <a:lnTo>
                      <a:pt x="436" y="498"/>
                    </a:lnTo>
                    <a:lnTo>
                      <a:pt x="434" y="502"/>
                    </a:lnTo>
                    <a:lnTo>
                      <a:pt x="434" y="503"/>
                    </a:lnTo>
                    <a:lnTo>
                      <a:pt x="436" y="507"/>
                    </a:lnTo>
                    <a:lnTo>
                      <a:pt x="436" y="513"/>
                    </a:lnTo>
                    <a:lnTo>
                      <a:pt x="438" y="515"/>
                    </a:lnTo>
                    <a:lnTo>
                      <a:pt x="438" y="517"/>
                    </a:lnTo>
                    <a:lnTo>
                      <a:pt x="438" y="519"/>
                    </a:lnTo>
                    <a:lnTo>
                      <a:pt x="1114" y="519"/>
                    </a:lnTo>
                    <a:lnTo>
                      <a:pt x="1117" y="51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49" name="Freeform 1166">
                <a:extLst>
                  <a:ext uri="{FF2B5EF4-FFF2-40B4-BE49-F238E27FC236}">
                    <a16:creationId xmlns:a16="http://schemas.microsoft.com/office/drawing/2014/main" id="{ECB8DE2D-7912-45AE-89E0-3498BFED80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0" y="3472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50" name="Rectangle 1167">
                <a:extLst>
                  <a:ext uri="{FF2B5EF4-FFF2-40B4-BE49-F238E27FC236}">
                    <a16:creationId xmlns:a16="http://schemas.microsoft.com/office/drawing/2014/main" id="{FF35FA13-011B-4534-AF4F-66927E671B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7" y="348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51" name="Freeform 1168">
                <a:extLst>
                  <a:ext uri="{FF2B5EF4-FFF2-40B4-BE49-F238E27FC236}">
                    <a16:creationId xmlns:a16="http://schemas.microsoft.com/office/drawing/2014/main" id="{579C053C-A323-45D8-B9E5-84902C6411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" y="3445"/>
                <a:ext cx="0" cy="10"/>
              </a:xfrm>
              <a:custGeom>
                <a:avLst/>
                <a:gdLst>
                  <a:gd name="T0" fmla="*/ 0 h 10"/>
                  <a:gd name="T1" fmla="*/ 8 h 10"/>
                  <a:gd name="T2" fmla="*/ 10 h 10"/>
                  <a:gd name="T3" fmla="*/ 8 h 10"/>
                  <a:gd name="T4" fmla="*/ 0 h 1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0">
                    <a:moveTo>
                      <a:pt x="0" y="0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52" name="Freeform 1169">
                <a:extLst>
                  <a:ext uri="{FF2B5EF4-FFF2-40B4-BE49-F238E27FC236}">
                    <a16:creationId xmlns:a16="http://schemas.microsoft.com/office/drawing/2014/main" id="{3C6A800A-86B2-4D4E-BC75-F69E7C186D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0" y="3465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53" name="Freeform 1170">
                <a:extLst>
                  <a:ext uri="{FF2B5EF4-FFF2-40B4-BE49-F238E27FC236}">
                    <a16:creationId xmlns:a16="http://schemas.microsoft.com/office/drawing/2014/main" id="{F39B54C1-09AE-4660-993C-45EF455C17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7" y="353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0 w 2"/>
                  <a:gd name="T5" fmla="*/ 0 h 2"/>
                  <a:gd name="T6" fmla="*/ 2 w 2"/>
                  <a:gd name="T7" fmla="*/ 2 h 2"/>
                  <a:gd name="T8" fmla="*/ 0 w 2"/>
                  <a:gd name="T9" fmla="*/ 0 h 2"/>
                  <a:gd name="T10" fmla="*/ 0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54" name="Freeform 1171">
                <a:extLst>
                  <a:ext uri="{FF2B5EF4-FFF2-40B4-BE49-F238E27FC236}">
                    <a16:creationId xmlns:a16="http://schemas.microsoft.com/office/drawing/2014/main" id="{9B39E478-A22B-4F9B-989C-E32551529D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9" y="3482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55" name="Freeform 1172">
                <a:extLst>
                  <a:ext uri="{FF2B5EF4-FFF2-40B4-BE49-F238E27FC236}">
                    <a16:creationId xmlns:a16="http://schemas.microsoft.com/office/drawing/2014/main" id="{C3208C25-CEB7-43E0-A189-85A73FF28D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9" y="3515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0 w 4"/>
                  <a:gd name="T3" fmla="*/ 0 h 2"/>
                  <a:gd name="T4" fmla="*/ 4 w 4"/>
                  <a:gd name="T5" fmla="*/ 2 h 2"/>
                  <a:gd name="T6" fmla="*/ 0 w 4"/>
                  <a:gd name="T7" fmla="*/ 0 h 2"/>
                  <a:gd name="T8" fmla="*/ 0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56" name="Freeform 1173">
                <a:extLst>
                  <a:ext uri="{FF2B5EF4-FFF2-40B4-BE49-F238E27FC236}">
                    <a16:creationId xmlns:a16="http://schemas.microsoft.com/office/drawing/2014/main" id="{097F26E2-62AF-4B6E-B0F1-678A17D315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9" y="3527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57" name="Freeform 1174">
                <a:extLst>
                  <a:ext uri="{FF2B5EF4-FFF2-40B4-BE49-F238E27FC236}">
                    <a16:creationId xmlns:a16="http://schemas.microsoft.com/office/drawing/2014/main" id="{FD3831CB-B129-481F-96BC-E8DF9A3B78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" y="3461"/>
                <a:ext cx="6" cy="2"/>
              </a:xfrm>
              <a:custGeom>
                <a:avLst/>
                <a:gdLst>
                  <a:gd name="T0" fmla="*/ 4 w 6"/>
                  <a:gd name="T1" fmla="*/ 0 h 2"/>
                  <a:gd name="T2" fmla="*/ 0 w 6"/>
                  <a:gd name="T3" fmla="*/ 0 h 2"/>
                  <a:gd name="T4" fmla="*/ 0 w 6"/>
                  <a:gd name="T5" fmla="*/ 0 h 2"/>
                  <a:gd name="T6" fmla="*/ 0 w 6"/>
                  <a:gd name="T7" fmla="*/ 0 h 2"/>
                  <a:gd name="T8" fmla="*/ 4 w 6"/>
                  <a:gd name="T9" fmla="*/ 0 h 2"/>
                  <a:gd name="T10" fmla="*/ 4 w 6"/>
                  <a:gd name="T11" fmla="*/ 2 h 2"/>
                  <a:gd name="T12" fmla="*/ 6 w 6"/>
                  <a:gd name="T13" fmla="*/ 2 h 2"/>
                  <a:gd name="T14" fmla="*/ 4 w 6"/>
                  <a:gd name="T15" fmla="*/ 2 h 2"/>
                  <a:gd name="T16" fmla="*/ 4 w 6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58" name="Freeform 1175">
                <a:extLst>
                  <a:ext uri="{FF2B5EF4-FFF2-40B4-BE49-F238E27FC236}">
                    <a16:creationId xmlns:a16="http://schemas.microsoft.com/office/drawing/2014/main" id="{50F7EB47-3A11-4015-B15A-40A65B67F0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4" y="3430"/>
                <a:ext cx="4" cy="5"/>
              </a:xfrm>
              <a:custGeom>
                <a:avLst/>
                <a:gdLst>
                  <a:gd name="T0" fmla="*/ 4 w 4"/>
                  <a:gd name="T1" fmla="*/ 0 h 5"/>
                  <a:gd name="T2" fmla="*/ 2 w 4"/>
                  <a:gd name="T3" fmla="*/ 3 h 5"/>
                  <a:gd name="T4" fmla="*/ 0 w 4"/>
                  <a:gd name="T5" fmla="*/ 5 h 5"/>
                  <a:gd name="T6" fmla="*/ 0 w 4"/>
                  <a:gd name="T7" fmla="*/ 5 h 5"/>
                  <a:gd name="T8" fmla="*/ 2 w 4"/>
                  <a:gd name="T9" fmla="*/ 3 h 5"/>
                  <a:gd name="T10" fmla="*/ 4 w 4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4" y="0"/>
                    </a:moveTo>
                    <a:lnTo>
                      <a:pt x="2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59" name="Freeform 1176">
                <a:extLst>
                  <a:ext uri="{FF2B5EF4-FFF2-40B4-BE49-F238E27FC236}">
                    <a16:creationId xmlns:a16="http://schemas.microsoft.com/office/drawing/2014/main" id="{C0FD5E72-2BE0-4FEB-BA2D-DA5F54E61F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3416"/>
                <a:ext cx="1" cy="2"/>
              </a:xfrm>
              <a:custGeom>
                <a:avLst/>
                <a:gdLst>
                  <a:gd name="T0" fmla="*/ 1 w 1"/>
                  <a:gd name="T1" fmla="*/ 0 h 2"/>
                  <a:gd name="T2" fmla="*/ 1 w 1"/>
                  <a:gd name="T3" fmla="*/ 0 h 2"/>
                  <a:gd name="T4" fmla="*/ 0 w 1"/>
                  <a:gd name="T5" fmla="*/ 2 h 2"/>
                  <a:gd name="T6" fmla="*/ 0 w 1"/>
                  <a:gd name="T7" fmla="*/ 2 h 2"/>
                  <a:gd name="T8" fmla="*/ 1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60" name="Freeform 1177">
                <a:extLst>
                  <a:ext uri="{FF2B5EF4-FFF2-40B4-BE49-F238E27FC236}">
                    <a16:creationId xmlns:a16="http://schemas.microsoft.com/office/drawing/2014/main" id="{001B656A-5737-4AD5-A70A-029A46524C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" y="3769"/>
                <a:ext cx="6" cy="14"/>
              </a:xfrm>
              <a:custGeom>
                <a:avLst/>
                <a:gdLst>
                  <a:gd name="T0" fmla="*/ 6 w 6"/>
                  <a:gd name="T1" fmla="*/ 8 h 14"/>
                  <a:gd name="T2" fmla="*/ 0 w 6"/>
                  <a:gd name="T3" fmla="*/ 14 h 14"/>
                  <a:gd name="T4" fmla="*/ 0 w 6"/>
                  <a:gd name="T5" fmla="*/ 14 h 14"/>
                  <a:gd name="T6" fmla="*/ 6 w 6"/>
                  <a:gd name="T7" fmla="*/ 8 h 14"/>
                  <a:gd name="T8" fmla="*/ 6 w 6"/>
                  <a:gd name="T9" fmla="*/ 2 h 14"/>
                  <a:gd name="T10" fmla="*/ 6 w 6"/>
                  <a:gd name="T11" fmla="*/ 0 h 14"/>
                  <a:gd name="T12" fmla="*/ 6 w 6"/>
                  <a:gd name="T13" fmla="*/ 2 h 14"/>
                  <a:gd name="T14" fmla="*/ 6 w 6"/>
                  <a:gd name="T15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4">
                    <a:moveTo>
                      <a:pt x="6" y="8"/>
                    </a:moveTo>
                    <a:lnTo>
                      <a:pt x="0" y="14"/>
                    </a:lnTo>
                    <a:lnTo>
                      <a:pt x="0" y="14"/>
                    </a:lnTo>
                    <a:lnTo>
                      <a:pt x="6" y="8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61" name="Freeform 1178">
                <a:extLst>
                  <a:ext uri="{FF2B5EF4-FFF2-40B4-BE49-F238E27FC236}">
                    <a16:creationId xmlns:a16="http://schemas.microsoft.com/office/drawing/2014/main" id="{04C83AE5-8170-4374-ABC8-C580E223E6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" y="3752"/>
                <a:ext cx="0" cy="4"/>
              </a:xfrm>
              <a:custGeom>
                <a:avLst/>
                <a:gdLst>
                  <a:gd name="T0" fmla="*/ 4 h 4"/>
                  <a:gd name="T1" fmla="*/ 4 h 4"/>
                  <a:gd name="T2" fmla="*/ 2 h 4"/>
                  <a:gd name="T3" fmla="*/ 0 h 4"/>
                  <a:gd name="T4" fmla="*/ 2 h 4"/>
                  <a:gd name="T5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62" name="Freeform 1179">
                <a:extLst>
                  <a:ext uri="{FF2B5EF4-FFF2-40B4-BE49-F238E27FC236}">
                    <a16:creationId xmlns:a16="http://schemas.microsoft.com/office/drawing/2014/main" id="{724C4EEF-C399-4536-B773-36E153025A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" y="3732"/>
                <a:ext cx="4" cy="6"/>
              </a:xfrm>
              <a:custGeom>
                <a:avLst/>
                <a:gdLst>
                  <a:gd name="T0" fmla="*/ 4 w 4"/>
                  <a:gd name="T1" fmla="*/ 6 h 6"/>
                  <a:gd name="T2" fmla="*/ 2 w 4"/>
                  <a:gd name="T3" fmla="*/ 4 h 6"/>
                  <a:gd name="T4" fmla="*/ 0 w 4"/>
                  <a:gd name="T5" fmla="*/ 0 h 6"/>
                  <a:gd name="T6" fmla="*/ 0 w 4"/>
                  <a:gd name="T7" fmla="*/ 0 h 6"/>
                  <a:gd name="T8" fmla="*/ 2 w 4"/>
                  <a:gd name="T9" fmla="*/ 4 h 6"/>
                  <a:gd name="T10" fmla="*/ 4 w 4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63" name="Freeform 1180">
                <a:extLst>
                  <a:ext uri="{FF2B5EF4-FFF2-40B4-BE49-F238E27FC236}">
                    <a16:creationId xmlns:a16="http://schemas.microsoft.com/office/drawing/2014/main" id="{7A8E34ED-14C4-4C6D-A132-BEAF47DD7D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" y="3744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2 h 4"/>
                  <a:gd name="T4" fmla="*/ 0 w 2"/>
                  <a:gd name="T5" fmla="*/ 0 h 4"/>
                  <a:gd name="T6" fmla="*/ 2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64" name="Freeform 1181">
                <a:extLst>
                  <a:ext uri="{FF2B5EF4-FFF2-40B4-BE49-F238E27FC236}">
                    <a16:creationId xmlns:a16="http://schemas.microsoft.com/office/drawing/2014/main" id="{D7849382-16D0-4F47-B7A6-2B9139BF26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9" y="3357"/>
                <a:ext cx="8" cy="4"/>
              </a:xfrm>
              <a:custGeom>
                <a:avLst/>
                <a:gdLst>
                  <a:gd name="T0" fmla="*/ 0 w 8"/>
                  <a:gd name="T1" fmla="*/ 0 h 4"/>
                  <a:gd name="T2" fmla="*/ 6 w 8"/>
                  <a:gd name="T3" fmla="*/ 4 h 4"/>
                  <a:gd name="T4" fmla="*/ 8 w 8"/>
                  <a:gd name="T5" fmla="*/ 4 h 4"/>
                  <a:gd name="T6" fmla="*/ 6 w 8"/>
                  <a:gd name="T7" fmla="*/ 4 h 4"/>
                  <a:gd name="T8" fmla="*/ 0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0" y="0"/>
                    </a:moveTo>
                    <a:lnTo>
                      <a:pt x="6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65" name="Freeform 1182">
                <a:extLst>
                  <a:ext uri="{FF2B5EF4-FFF2-40B4-BE49-F238E27FC236}">
                    <a16:creationId xmlns:a16="http://schemas.microsoft.com/office/drawing/2014/main" id="{4ECF1542-8353-410E-AA05-03BD426AB0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4" y="335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66" name="Rectangle 1183">
                <a:extLst>
                  <a:ext uri="{FF2B5EF4-FFF2-40B4-BE49-F238E27FC236}">
                    <a16:creationId xmlns:a16="http://schemas.microsoft.com/office/drawing/2014/main" id="{03891634-135D-4EC8-8626-024A799680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7" y="339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67" name="Freeform 1184">
                <a:extLst>
                  <a:ext uri="{FF2B5EF4-FFF2-40B4-BE49-F238E27FC236}">
                    <a16:creationId xmlns:a16="http://schemas.microsoft.com/office/drawing/2014/main" id="{EFA9D550-40B6-4222-A6D1-6F1170E60C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" y="3394"/>
                <a:ext cx="0" cy="6"/>
              </a:xfrm>
              <a:custGeom>
                <a:avLst/>
                <a:gdLst>
                  <a:gd name="T0" fmla="*/ 2 h 6"/>
                  <a:gd name="T1" fmla="*/ 2 h 6"/>
                  <a:gd name="T2" fmla="*/ 0 h 6"/>
                  <a:gd name="T3" fmla="*/ 0 h 6"/>
                  <a:gd name="T4" fmla="*/ 2 h 6"/>
                  <a:gd name="T5" fmla="*/ 2 h 6"/>
                  <a:gd name="T6" fmla="*/ 4 h 6"/>
                  <a:gd name="T7" fmla="*/ 6 h 6"/>
                  <a:gd name="T8" fmla="*/ 6 h 6"/>
                  <a:gd name="T9" fmla="*/ 4 h 6"/>
                  <a:gd name="T10" fmla="*/ 2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  <a:cxn ang="0">
                    <a:pos x="0" y="T10"/>
                  </a:cxn>
                </a:cxnLst>
                <a:rect l="0" t="0" r="r" b="b"/>
                <a:pathLst>
                  <a:path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68" name="Freeform 1185">
                <a:extLst>
                  <a:ext uri="{FF2B5EF4-FFF2-40B4-BE49-F238E27FC236}">
                    <a16:creationId xmlns:a16="http://schemas.microsoft.com/office/drawing/2014/main" id="{5B3226E5-DA04-44C9-8E32-D95A450F2F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2" y="3303"/>
                <a:ext cx="4" cy="7"/>
              </a:xfrm>
              <a:custGeom>
                <a:avLst/>
                <a:gdLst>
                  <a:gd name="T0" fmla="*/ 4 w 4"/>
                  <a:gd name="T1" fmla="*/ 4 h 7"/>
                  <a:gd name="T2" fmla="*/ 2 w 4"/>
                  <a:gd name="T3" fmla="*/ 5 h 7"/>
                  <a:gd name="T4" fmla="*/ 0 w 4"/>
                  <a:gd name="T5" fmla="*/ 7 h 7"/>
                  <a:gd name="T6" fmla="*/ 0 w 4"/>
                  <a:gd name="T7" fmla="*/ 7 h 7"/>
                  <a:gd name="T8" fmla="*/ 0 w 4"/>
                  <a:gd name="T9" fmla="*/ 7 h 7"/>
                  <a:gd name="T10" fmla="*/ 2 w 4"/>
                  <a:gd name="T11" fmla="*/ 5 h 7"/>
                  <a:gd name="T12" fmla="*/ 4 w 4"/>
                  <a:gd name="T13" fmla="*/ 4 h 7"/>
                  <a:gd name="T14" fmla="*/ 4 w 4"/>
                  <a:gd name="T15" fmla="*/ 0 h 7"/>
                  <a:gd name="T16" fmla="*/ 4 w 4"/>
                  <a:gd name="T17" fmla="*/ 0 h 7"/>
                  <a:gd name="T18" fmla="*/ 4 w 4"/>
                  <a:gd name="T19" fmla="*/ 0 h 7"/>
                  <a:gd name="T20" fmla="*/ 4 w 4"/>
                  <a:gd name="T21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7">
                    <a:moveTo>
                      <a:pt x="4" y="4"/>
                    </a:moveTo>
                    <a:lnTo>
                      <a:pt x="2" y="5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69" name="Freeform 1186">
                <a:extLst>
                  <a:ext uri="{FF2B5EF4-FFF2-40B4-BE49-F238E27FC236}">
                    <a16:creationId xmlns:a16="http://schemas.microsoft.com/office/drawing/2014/main" id="{255CDDAF-D977-4753-8B32-6B1DC18BAE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" y="3400"/>
                <a:ext cx="4" cy="6"/>
              </a:xfrm>
              <a:custGeom>
                <a:avLst/>
                <a:gdLst>
                  <a:gd name="T0" fmla="*/ 2 w 4"/>
                  <a:gd name="T1" fmla="*/ 2 h 6"/>
                  <a:gd name="T2" fmla="*/ 0 w 4"/>
                  <a:gd name="T3" fmla="*/ 0 h 6"/>
                  <a:gd name="T4" fmla="*/ 2 w 4"/>
                  <a:gd name="T5" fmla="*/ 2 h 6"/>
                  <a:gd name="T6" fmla="*/ 2 w 4"/>
                  <a:gd name="T7" fmla="*/ 4 h 6"/>
                  <a:gd name="T8" fmla="*/ 4 w 4"/>
                  <a:gd name="T9" fmla="*/ 6 h 6"/>
                  <a:gd name="T10" fmla="*/ 2 w 4"/>
                  <a:gd name="T11" fmla="*/ 4 h 6"/>
                  <a:gd name="T12" fmla="*/ 2 w 4"/>
                  <a:gd name="T1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2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70" name="Rectangle 1187">
                <a:extLst>
                  <a:ext uri="{FF2B5EF4-FFF2-40B4-BE49-F238E27FC236}">
                    <a16:creationId xmlns:a16="http://schemas.microsoft.com/office/drawing/2014/main" id="{8AEAB0E4-827F-4A81-95B7-05A1D9DCBE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5" y="339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71" name="Freeform 1188">
                <a:extLst>
                  <a:ext uri="{FF2B5EF4-FFF2-40B4-BE49-F238E27FC236}">
                    <a16:creationId xmlns:a16="http://schemas.microsoft.com/office/drawing/2014/main" id="{F932AA7C-0F61-41DB-9FA6-81AD2F02EC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7" y="3400"/>
                <a:ext cx="4" cy="0"/>
              </a:xfrm>
              <a:custGeom>
                <a:avLst/>
                <a:gdLst>
                  <a:gd name="T0" fmla="*/ 2 w 4"/>
                  <a:gd name="T1" fmla="*/ 0 w 4"/>
                  <a:gd name="T2" fmla="*/ 0 w 4"/>
                  <a:gd name="T3" fmla="*/ 0 w 4"/>
                  <a:gd name="T4" fmla="*/ 2 w 4"/>
                  <a:gd name="T5" fmla="*/ 4 w 4"/>
                  <a:gd name="T6" fmla="*/ 4 w 4"/>
                  <a:gd name="T7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72" name="Freeform 1189">
                <a:extLst>
                  <a:ext uri="{FF2B5EF4-FFF2-40B4-BE49-F238E27FC236}">
                    <a16:creationId xmlns:a16="http://schemas.microsoft.com/office/drawing/2014/main" id="{AACE4B22-690F-483F-8EE1-D562B1D3B5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5" y="3402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73" name="Rectangle 1190">
                <a:extLst>
                  <a:ext uri="{FF2B5EF4-FFF2-40B4-BE49-F238E27FC236}">
                    <a16:creationId xmlns:a16="http://schemas.microsoft.com/office/drawing/2014/main" id="{0D92BE03-D487-4A44-B766-EA8C146AB8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33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74" name="Freeform 1191">
                <a:extLst>
                  <a:ext uri="{FF2B5EF4-FFF2-40B4-BE49-F238E27FC236}">
                    <a16:creationId xmlns:a16="http://schemas.microsoft.com/office/drawing/2014/main" id="{292A602B-F8F9-4C82-A8E5-C167A7C164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367"/>
                <a:ext cx="6" cy="0"/>
              </a:xfrm>
              <a:custGeom>
                <a:avLst/>
                <a:gdLst>
                  <a:gd name="T0" fmla="*/ 2 w 6"/>
                  <a:gd name="T1" fmla="*/ 0 w 6"/>
                  <a:gd name="T2" fmla="*/ 2 w 6"/>
                  <a:gd name="T3" fmla="*/ 6 w 6"/>
                  <a:gd name="T4" fmla="*/ 6 w 6"/>
                  <a:gd name="T5" fmla="*/ 2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75" name="Rectangle 1192">
                <a:extLst>
                  <a:ext uri="{FF2B5EF4-FFF2-40B4-BE49-F238E27FC236}">
                    <a16:creationId xmlns:a16="http://schemas.microsoft.com/office/drawing/2014/main" id="{337355FB-173A-423B-93FE-47CBBAA13F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8" y="330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76" name="Freeform 1193">
                <a:extLst>
                  <a:ext uri="{FF2B5EF4-FFF2-40B4-BE49-F238E27FC236}">
                    <a16:creationId xmlns:a16="http://schemas.microsoft.com/office/drawing/2014/main" id="{9DEA7409-94DF-460A-80BF-B6489CF94C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8" y="3359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77" name="Freeform 1194">
                <a:extLst>
                  <a:ext uri="{FF2B5EF4-FFF2-40B4-BE49-F238E27FC236}">
                    <a16:creationId xmlns:a16="http://schemas.microsoft.com/office/drawing/2014/main" id="{525A5A30-8DF8-4FB0-A1EF-5CB41FFEC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7" y="3308"/>
                <a:ext cx="0" cy="4"/>
              </a:xfrm>
              <a:custGeom>
                <a:avLst/>
                <a:gdLst>
                  <a:gd name="T0" fmla="*/ 0 h 4"/>
                  <a:gd name="T1" fmla="*/ 2 h 4"/>
                  <a:gd name="T2" fmla="*/ 4 h 4"/>
                  <a:gd name="T3" fmla="*/ 2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78" name="Freeform 1195">
                <a:extLst>
                  <a:ext uri="{FF2B5EF4-FFF2-40B4-BE49-F238E27FC236}">
                    <a16:creationId xmlns:a16="http://schemas.microsoft.com/office/drawing/2014/main" id="{7BEBEC14-5B6C-4B2B-A775-28157649C4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7" y="3357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0 w 2"/>
                  <a:gd name="T3" fmla="*/ 0 h 6"/>
                  <a:gd name="T4" fmla="*/ 2 w 2"/>
                  <a:gd name="T5" fmla="*/ 0 h 6"/>
                  <a:gd name="T6" fmla="*/ 2 w 2"/>
                  <a:gd name="T7" fmla="*/ 4 h 6"/>
                  <a:gd name="T8" fmla="*/ 2 w 2"/>
                  <a:gd name="T9" fmla="*/ 6 h 6"/>
                  <a:gd name="T10" fmla="*/ 2 w 2"/>
                  <a:gd name="T11" fmla="*/ 4 h 6"/>
                  <a:gd name="T12" fmla="*/ 2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79" name="Freeform 1196">
                <a:extLst>
                  <a:ext uri="{FF2B5EF4-FFF2-40B4-BE49-F238E27FC236}">
                    <a16:creationId xmlns:a16="http://schemas.microsoft.com/office/drawing/2014/main" id="{3E400BAF-9FFB-4F6F-900C-4D25EAFAA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3" y="3398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80" name="Freeform 1197">
                <a:extLst>
                  <a:ext uri="{FF2B5EF4-FFF2-40B4-BE49-F238E27FC236}">
                    <a16:creationId xmlns:a16="http://schemas.microsoft.com/office/drawing/2014/main" id="{FE49BA40-B3F1-4DCE-AEF5-B4A27114F2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1" y="3365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0 w 4"/>
                  <a:gd name="T3" fmla="*/ 0 h 2"/>
                  <a:gd name="T4" fmla="*/ 2 w 4"/>
                  <a:gd name="T5" fmla="*/ 2 h 2"/>
                  <a:gd name="T6" fmla="*/ 4 w 4"/>
                  <a:gd name="T7" fmla="*/ 2 h 2"/>
                  <a:gd name="T8" fmla="*/ 2 w 4"/>
                  <a:gd name="T9" fmla="*/ 2 h 2"/>
                  <a:gd name="T10" fmla="*/ 0 w 4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81" name="Rectangle 1198">
                <a:extLst>
                  <a:ext uri="{FF2B5EF4-FFF2-40B4-BE49-F238E27FC236}">
                    <a16:creationId xmlns:a16="http://schemas.microsoft.com/office/drawing/2014/main" id="{701E33BA-2662-498A-959D-074CC1CEE0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7" y="338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82" name="Freeform 1199">
                <a:extLst>
                  <a:ext uri="{FF2B5EF4-FFF2-40B4-BE49-F238E27FC236}">
                    <a16:creationId xmlns:a16="http://schemas.microsoft.com/office/drawing/2014/main" id="{93954F3E-58F6-4548-9518-27A3D09C3C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1" y="3389"/>
                <a:ext cx="2" cy="3"/>
              </a:xfrm>
              <a:custGeom>
                <a:avLst/>
                <a:gdLst>
                  <a:gd name="T0" fmla="*/ 0 w 2"/>
                  <a:gd name="T1" fmla="*/ 1 h 3"/>
                  <a:gd name="T2" fmla="*/ 0 w 2"/>
                  <a:gd name="T3" fmla="*/ 0 h 3"/>
                  <a:gd name="T4" fmla="*/ 2 w 2"/>
                  <a:gd name="T5" fmla="*/ 3 h 3"/>
                  <a:gd name="T6" fmla="*/ 0 w 2"/>
                  <a:gd name="T7" fmla="*/ 0 h 3"/>
                  <a:gd name="T8" fmla="*/ 0 w 2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0" y="1"/>
                    </a:moveTo>
                    <a:lnTo>
                      <a:pt x="0" y="0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83" name="Freeform 1200">
                <a:extLst>
                  <a:ext uri="{FF2B5EF4-FFF2-40B4-BE49-F238E27FC236}">
                    <a16:creationId xmlns:a16="http://schemas.microsoft.com/office/drawing/2014/main" id="{8D52DFCA-80CB-4E83-926F-0FF898CE23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0" y="3402"/>
                <a:ext cx="14" cy="8"/>
              </a:xfrm>
              <a:custGeom>
                <a:avLst/>
                <a:gdLst>
                  <a:gd name="T0" fmla="*/ 4 w 14"/>
                  <a:gd name="T1" fmla="*/ 6 h 8"/>
                  <a:gd name="T2" fmla="*/ 0 w 14"/>
                  <a:gd name="T3" fmla="*/ 8 h 8"/>
                  <a:gd name="T4" fmla="*/ 0 w 14"/>
                  <a:gd name="T5" fmla="*/ 8 h 8"/>
                  <a:gd name="T6" fmla="*/ 0 w 14"/>
                  <a:gd name="T7" fmla="*/ 8 h 8"/>
                  <a:gd name="T8" fmla="*/ 4 w 14"/>
                  <a:gd name="T9" fmla="*/ 6 h 8"/>
                  <a:gd name="T10" fmla="*/ 12 w 14"/>
                  <a:gd name="T11" fmla="*/ 2 h 8"/>
                  <a:gd name="T12" fmla="*/ 14 w 14"/>
                  <a:gd name="T13" fmla="*/ 0 h 8"/>
                  <a:gd name="T14" fmla="*/ 12 w 14"/>
                  <a:gd name="T15" fmla="*/ 2 h 8"/>
                  <a:gd name="T16" fmla="*/ 4 w 14"/>
                  <a:gd name="T17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8">
                    <a:moveTo>
                      <a:pt x="4" y="6"/>
                    </a:move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12" y="2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84" name="Rectangle 1201">
                <a:extLst>
                  <a:ext uri="{FF2B5EF4-FFF2-40B4-BE49-F238E27FC236}">
                    <a16:creationId xmlns:a16="http://schemas.microsoft.com/office/drawing/2014/main" id="{40F5B40D-3601-4327-BE23-B51EA89218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9" y="338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85" name="Freeform 1202">
                <a:extLst>
                  <a:ext uri="{FF2B5EF4-FFF2-40B4-BE49-F238E27FC236}">
                    <a16:creationId xmlns:a16="http://schemas.microsoft.com/office/drawing/2014/main" id="{F75B953D-C757-49E8-A97B-E88FE317BC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3" y="3375"/>
                <a:ext cx="4" cy="6"/>
              </a:xfrm>
              <a:custGeom>
                <a:avLst/>
                <a:gdLst>
                  <a:gd name="T0" fmla="*/ 0 w 4"/>
                  <a:gd name="T1" fmla="*/ 0 h 6"/>
                  <a:gd name="T2" fmla="*/ 0 w 4"/>
                  <a:gd name="T3" fmla="*/ 0 h 6"/>
                  <a:gd name="T4" fmla="*/ 2 w 4"/>
                  <a:gd name="T5" fmla="*/ 4 h 6"/>
                  <a:gd name="T6" fmla="*/ 4 w 4"/>
                  <a:gd name="T7" fmla="*/ 6 h 6"/>
                  <a:gd name="T8" fmla="*/ 2 w 4"/>
                  <a:gd name="T9" fmla="*/ 4 h 6"/>
                  <a:gd name="T10" fmla="*/ 0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0" y="0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86" name="Rectangle 1203">
                <a:extLst>
                  <a:ext uri="{FF2B5EF4-FFF2-40B4-BE49-F238E27FC236}">
                    <a16:creationId xmlns:a16="http://schemas.microsoft.com/office/drawing/2014/main" id="{4AB3BFB9-EE53-4EF3-B786-5DD6CCA25B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7" y="338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87" name="Freeform 1204">
                <a:extLst>
                  <a:ext uri="{FF2B5EF4-FFF2-40B4-BE49-F238E27FC236}">
                    <a16:creationId xmlns:a16="http://schemas.microsoft.com/office/drawing/2014/main" id="{DF3F862D-0342-4827-92F9-7E37AF48DF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9" y="3385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88" name="Freeform 1205">
                <a:extLst>
                  <a:ext uri="{FF2B5EF4-FFF2-40B4-BE49-F238E27FC236}">
                    <a16:creationId xmlns:a16="http://schemas.microsoft.com/office/drawing/2014/main" id="{E7EA4AC7-0D0D-420E-A143-9C22141CC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3340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89" name="Freeform 1206">
                <a:extLst>
                  <a:ext uri="{FF2B5EF4-FFF2-40B4-BE49-F238E27FC236}">
                    <a16:creationId xmlns:a16="http://schemas.microsoft.com/office/drawing/2014/main" id="{685A0F1B-44AC-4AF3-8D05-DDE38FC8B7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0" y="3365"/>
                <a:ext cx="7" cy="6"/>
              </a:xfrm>
              <a:custGeom>
                <a:avLst/>
                <a:gdLst>
                  <a:gd name="T0" fmla="*/ 0 w 7"/>
                  <a:gd name="T1" fmla="*/ 0 h 6"/>
                  <a:gd name="T2" fmla="*/ 0 w 7"/>
                  <a:gd name="T3" fmla="*/ 2 h 6"/>
                  <a:gd name="T4" fmla="*/ 7 w 7"/>
                  <a:gd name="T5" fmla="*/ 6 h 6"/>
                  <a:gd name="T6" fmla="*/ 0 w 7"/>
                  <a:gd name="T7" fmla="*/ 2 h 6"/>
                  <a:gd name="T8" fmla="*/ 0 w 7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lnTo>
                      <a:pt x="0" y="2"/>
                    </a:lnTo>
                    <a:lnTo>
                      <a:pt x="7" y="6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90" name="Rectangle 1207">
                <a:extLst>
                  <a:ext uri="{FF2B5EF4-FFF2-40B4-BE49-F238E27FC236}">
                    <a16:creationId xmlns:a16="http://schemas.microsoft.com/office/drawing/2014/main" id="{46212EE1-AB31-4ED8-8B90-7F668AAAE8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4" y="33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91" name="Freeform 1208">
                <a:extLst>
                  <a:ext uri="{FF2B5EF4-FFF2-40B4-BE49-F238E27FC236}">
                    <a16:creationId xmlns:a16="http://schemas.microsoft.com/office/drawing/2014/main" id="{B9C9AEBF-3D0A-49FF-86FA-1C58A27655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4" y="3365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0 w 4"/>
                  <a:gd name="T3" fmla="*/ 2 h 2"/>
                  <a:gd name="T4" fmla="*/ 2 w 4"/>
                  <a:gd name="T5" fmla="*/ 0 h 2"/>
                  <a:gd name="T6" fmla="*/ 4 w 4"/>
                  <a:gd name="T7" fmla="*/ 2 h 2"/>
                  <a:gd name="T8" fmla="*/ 4 w 4"/>
                  <a:gd name="T9" fmla="*/ 2 h 2"/>
                  <a:gd name="T10" fmla="*/ 4 w 4"/>
                  <a:gd name="T11" fmla="*/ 2 h 2"/>
                  <a:gd name="T12" fmla="*/ 2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92" name="Freeform 1209">
                <a:extLst>
                  <a:ext uri="{FF2B5EF4-FFF2-40B4-BE49-F238E27FC236}">
                    <a16:creationId xmlns:a16="http://schemas.microsoft.com/office/drawing/2014/main" id="{67A6706B-83FE-4A5C-B593-6D7FEC5BD1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3394"/>
                <a:ext cx="6" cy="2"/>
              </a:xfrm>
              <a:custGeom>
                <a:avLst/>
                <a:gdLst>
                  <a:gd name="T0" fmla="*/ 0 w 6"/>
                  <a:gd name="T1" fmla="*/ 2 h 2"/>
                  <a:gd name="T2" fmla="*/ 4 w 6"/>
                  <a:gd name="T3" fmla="*/ 0 h 2"/>
                  <a:gd name="T4" fmla="*/ 6 w 6"/>
                  <a:gd name="T5" fmla="*/ 0 h 2"/>
                  <a:gd name="T6" fmla="*/ 4 w 6"/>
                  <a:gd name="T7" fmla="*/ 0 h 2"/>
                  <a:gd name="T8" fmla="*/ 0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0" y="2"/>
                    </a:move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</p:grpSp>
        <p:grpSp>
          <p:nvGrpSpPr>
            <p:cNvPr id="532" name="Group 1411">
              <a:extLst>
                <a:ext uri="{FF2B5EF4-FFF2-40B4-BE49-F238E27FC236}">
                  <a16:creationId xmlns:a16="http://schemas.microsoft.com/office/drawing/2014/main" id="{EBDDD37B-B305-44DA-8D85-3761B2115FC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729" y="1108952"/>
              <a:ext cx="5705483" cy="4943444"/>
              <a:chOff x="10" y="702"/>
              <a:chExt cx="3594" cy="3114"/>
            </a:xfrm>
            <a:grpFill/>
          </p:grpSpPr>
          <p:sp>
            <p:nvSpPr>
              <p:cNvPr id="693" name="Freeform 1211">
                <a:extLst>
                  <a:ext uri="{FF2B5EF4-FFF2-40B4-BE49-F238E27FC236}">
                    <a16:creationId xmlns:a16="http://schemas.microsoft.com/office/drawing/2014/main" id="{0DBEEAFF-B874-4F51-B836-39FA7AF15E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7" y="3404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2 w 3"/>
                  <a:gd name="T3" fmla="*/ 2 h 2"/>
                  <a:gd name="T4" fmla="*/ 3 w 3"/>
                  <a:gd name="T5" fmla="*/ 0 h 2"/>
                  <a:gd name="T6" fmla="*/ 2 w 3"/>
                  <a:gd name="T7" fmla="*/ 2 h 2"/>
                  <a:gd name="T8" fmla="*/ 0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2" y="2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94" name="Freeform 1212">
                <a:extLst>
                  <a:ext uri="{FF2B5EF4-FFF2-40B4-BE49-F238E27FC236}">
                    <a16:creationId xmlns:a16="http://schemas.microsoft.com/office/drawing/2014/main" id="{D0F19BD6-A56B-41FC-B681-54A0776093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4" y="3351"/>
                <a:ext cx="8" cy="14"/>
              </a:xfrm>
              <a:custGeom>
                <a:avLst/>
                <a:gdLst>
                  <a:gd name="T0" fmla="*/ 0 w 8"/>
                  <a:gd name="T1" fmla="*/ 14 h 14"/>
                  <a:gd name="T2" fmla="*/ 0 w 8"/>
                  <a:gd name="T3" fmla="*/ 14 h 14"/>
                  <a:gd name="T4" fmla="*/ 8 w 8"/>
                  <a:gd name="T5" fmla="*/ 0 h 14"/>
                  <a:gd name="T6" fmla="*/ 8 w 8"/>
                  <a:gd name="T7" fmla="*/ 0 h 14"/>
                  <a:gd name="T8" fmla="*/ 0 w 8"/>
                  <a:gd name="T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4">
                    <a:moveTo>
                      <a:pt x="0" y="14"/>
                    </a:moveTo>
                    <a:lnTo>
                      <a:pt x="0" y="1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95" name="Freeform 1213">
                <a:extLst>
                  <a:ext uri="{FF2B5EF4-FFF2-40B4-BE49-F238E27FC236}">
                    <a16:creationId xmlns:a16="http://schemas.microsoft.com/office/drawing/2014/main" id="{69A6FF4F-6ED7-4CDE-984E-F1DFE2AF8B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7" y="3297"/>
                <a:ext cx="2" cy="6"/>
              </a:xfrm>
              <a:custGeom>
                <a:avLst/>
                <a:gdLst>
                  <a:gd name="T0" fmla="*/ 0 w 2"/>
                  <a:gd name="T1" fmla="*/ 2 h 6"/>
                  <a:gd name="T2" fmla="*/ 0 w 2"/>
                  <a:gd name="T3" fmla="*/ 2 h 6"/>
                  <a:gd name="T4" fmla="*/ 0 w 2"/>
                  <a:gd name="T5" fmla="*/ 4 h 6"/>
                  <a:gd name="T6" fmla="*/ 0 w 2"/>
                  <a:gd name="T7" fmla="*/ 6 h 6"/>
                  <a:gd name="T8" fmla="*/ 0 w 2"/>
                  <a:gd name="T9" fmla="*/ 4 h 6"/>
                  <a:gd name="T10" fmla="*/ 0 w 2"/>
                  <a:gd name="T11" fmla="*/ 2 h 6"/>
                  <a:gd name="T12" fmla="*/ 0 w 2"/>
                  <a:gd name="T13" fmla="*/ 2 h 6"/>
                  <a:gd name="T14" fmla="*/ 0 w 2"/>
                  <a:gd name="T15" fmla="*/ 0 h 6"/>
                  <a:gd name="T16" fmla="*/ 2 w 2"/>
                  <a:gd name="T17" fmla="*/ 0 h 6"/>
                  <a:gd name="T18" fmla="*/ 0 w 2"/>
                  <a:gd name="T19" fmla="*/ 0 h 6"/>
                  <a:gd name="T20" fmla="*/ 0 w 2"/>
                  <a:gd name="T21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96" name="Rectangle 1214">
                <a:extLst>
                  <a:ext uri="{FF2B5EF4-FFF2-40B4-BE49-F238E27FC236}">
                    <a16:creationId xmlns:a16="http://schemas.microsoft.com/office/drawing/2014/main" id="{892DE24F-8B31-4027-A25E-145E43D0F4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" y="340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97" name="Freeform 1215">
                <a:extLst>
                  <a:ext uri="{FF2B5EF4-FFF2-40B4-BE49-F238E27FC236}">
                    <a16:creationId xmlns:a16="http://schemas.microsoft.com/office/drawing/2014/main" id="{CDCF30C9-C07D-4968-9579-5629295C64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0" y="3396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2 w 2"/>
                  <a:gd name="T3" fmla="*/ 0 h 6"/>
                  <a:gd name="T4" fmla="*/ 2 w 2"/>
                  <a:gd name="T5" fmla="*/ 0 h 6"/>
                  <a:gd name="T6" fmla="*/ 0 w 2"/>
                  <a:gd name="T7" fmla="*/ 6 h 6"/>
                  <a:gd name="T8" fmla="*/ 0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98" name="Freeform 1216">
                <a:extLst>
                  <a:ext uri="{FF2B5EF4-FFF2-40B4-BE49-F238E27FC236}">
                    <a16:creationId xmlns:a16="http://schemas.microsoft.com/office/drawing/2014/main" id="{E70133CB-19C1-4659-8D72-6602E4194B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0" y="3310"/>
                <a:ext cx="19" cy="12"/>
              </a:xfrm>
              <a:custGeom>
                <a:avLst/>
                <a:gdLst>
                  <a:gd name="T0" fmla="*/ 7 w 19"/>
                  <a:gd name="T1" fmla="*/ 2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7 w 19"/>
                  <a:gd name="T9" fmla="*/ 2 h 12"/>
                  <a:gd name="T10" fmla="*/ 11 w 19"/>
                  <a:gd name="T11" fmla="*/ 4 h 12"/>
                  <a:gd name="T12" fmla="*/ 19 w 19"/>
                  <a:gd name="T13" fmla="*/ 12 h 12"/>
                  <a:gd name="T14" fmla="*/ 11 w 19"/>
                  <a:gd name="T15" fmla="*/ 4 h 12"/>
                  <a:gd name="T16" fmla="*/ 7 w 19"/>
                  <a:gd name="T1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2">
                    <a:moveTo>
                      <a:pt x="7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7" y="2"/>
                    </a:lnTo>
                    <a:lnTo>
                      <a:pt x="11" y="4"/>
                    </a:lnTo>
                    <a:lnTo>
                      <a:pt x="19" y="12"/>
                    </a:lnTo>
                    <a:lnTo>
                      <a:pt x="11" y="4"/>
                    </a:lnTo>
                    <a:lnTo>
                      <a:pt x="7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99" name="Freeform 1217">
                <a:extLst>
                  <a:ext uri="{FF2B5EF4-FFF2-40B4-BE49-F238E27FC236}">
                    <a16:creationId xmlns:a16="http://schemas.microsoft.com/office/drawing/2014/main" id="{3FDA6CF3-D149-4A47-841D-1F2A68ED80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8" y="3369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6 w 6"/>
                  <a:gd name="T3" fmla="*/ 0 h 6"/>
                  <a:gd name="T4" fmla="*/ 6 w 6"/>
                  <a:gd name="T5" fmla="*/ 0 h 6"/>
                  <a:gd name="T6" fmla="*/ 6 w 6"/>
                  <a:gd name="T7" fmla="*/ 0 h 6"/>
                  <a:gd name="T8" fmla="*/ 0 w 6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00" name="Freeform 1218">
                <a:extLst>
                  <a:ext uri="{FF2B5EF4-FFF2-40B4-BE49-F238E27FC236}">
                    <a16:creationId xmlns:a16="http://schemas.microsoft.com/office/drawing/2014/main" id="{4A630B2C-FBEB-4FF0-87C0-73CE8C2053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4" y="3332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01" name="Freeform 1219">
                <a:extLst>
                  <a:ext uri="{FF2B5EF4-FFF2-40B4-BE49-F238E27FC236}">
                    <a16:creationId xmlns:a16="http://schemas.microsoft.com/office/drawing/2014/main" id="{1E42D3BD-2B2F-429D-BF07-9DBB302C29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7" y="3387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02" name="Freeform 1220">
                <a:extLst>
                  <a:ext uri="{FF2B5EF4-FFF2-40B4-BE49-F238E27FC236}">
                    <a16:creationId xmlns:a16="http://schemas.microsoft.com/office/drawing/2014/main" id="{14817747-B04E-4490-94A0-7889CEC84E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1" y="3348"/>
                <a:ext cx="2" cy="7"/>
              </a:xfrm>
              <a:custGeom>
                <a:avLst/>
                <a:gdLst>
                  <a:gd name="T0" fmla="*/ 0 w 2"/>
                  <a:gd name="T1" fmla="*/ 1 h 7"/>
                  <a:gd name="T2" fmla="*/ 0 w 2"/>
                  <a:gd name="T3" fmla="*/ 1 h 7"/>
                  <a:gd name="T4" fmla="*/ 2 w 2"/>
                  <a:gd name="T5" fmla="*/ 5 h 7"/>
                  <a:gd name="T6" fmla="*/ 2 w 2"/>
                  <a:gd name="T7" fmla="*/ 5 h 7"/>
                  <a:gd name="T8" fmla="*/ 2 w 2"/>
                  <a:gd name="T9" fmla="*/ 7 h 7"/>
                  <a:gd name="T10" fmla="*/ 2 w 2"/>
                  <a:gd name="T11" fmla="*/ 5 h 7"/>
                  <a:gd name="T12" fmla="*/ 2 w 2"/>
                  <a:gd name="T13" fmla="*/ 5 h 7"/>
                  <a:gd name="T14" fmla="*/ 0 w 2"/>
                  <a:gd name="T15" fmla="*/ 1 h 7"/>
                  <a:gd name="T16" fmla="*/ 0 w 2"/>
                  <a:gd name="T17" fmla="*/ 1 h 7"/>
                  <a:gd name="T18" fmla="*/ 0 w 2"/>
                  <a:gd name="T19" fmla="*/ 0 h 7"/>
                  <a:gd name="T20" fmla="*/ 0 w 2"/>
                  <a:gd name="T21" fmla="*/ 0 h 7"/>
                  <a:gd name="T22" fmla="*/ 0 w 2"/>
                  <a:gd name="T23" fmla="*/ 0 h 7"/>
                  <a:gd name="T24" fmla="*/ 0 w 2"/>
                  <a:gd name="T2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7">
                    <a:moveTo>
                      <a:pt x="0" y="1"/>
                    </a:moveTo>
                    <a:lnTo>
                      <a:pt x="0" y="1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03" name="Freeform 1221">
                <a:extLst>
                  <a:ext uri="{FF2B5EF4-FFF2-40B4-BE49-F238E27FC236}">
                    <a16:creationId xmlns:a16="http://schemas.microsoft.com/office/drawing/2014/main" id="{1B4513C3-6C9A-4D9C-92CF-764BCA2EA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2" y="3365"/>
                <a:ext cx="10" cy="2"/>
              </a:xfrm>
              <a:custGeom>
                <a:avLst/>
                <a:gdLst>
                  <a:gd name="T0" fmla="*/ 10 w 10"/>
                  <a:gd name="T1" fmla="*/ 2 h 2"/>
                  <a:gd name="T2" fmla="*/ 0 w 10"/>
                  <a:gd name="T3" fmla="*/ 0 h 2"/>
                  <a:gd name="T4" fmla="*/ 10 w 10"/>
                  <a:gd name="T5" fmla="*/ 2 h 2"/>
                  <a:gd name="T6" fmla="*/ 10 w 10"/>
                  <a:gd name="T7" fmla="*/ 2 h 2"/>
                  <a:gd name="T8" fmla="*/ 10 w 10"/>
                  <a:gd name="T9" fmla="*/ 2 h 2"/>
                  <a:gd name="T10" fmla="*/ 10 w 10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2">
                    <a:moveTo>
                      <a:pt x="10" y="2"/>
                    </a:moveTo>
                    <a:lnTo>
                      <a:pt x="0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04" name="Freeform 1222">
                <a:extLst>
                  <a:ext uri="{FF2B5EF4-FFF2-40B4-BE49-F238E27FC236}">
                    <a16:creationId xmlns:a16="http://schemas.microsoft.com/office/drawing/2014/main" id="{993EF854-46BB-4CE5-BD9C-3B90F815FF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4" y="3344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05" name="Freeform 1223">
                <a:extLst>
                  <a:ext uri="{FF2B5EF4-FFF2-40B4-BE49-F238E27FC236}">
                    <a16:creationId xmlns:a16="http://schemas.microsoft.com/office/drawing/2014/main" id="{A1886863-C181-40A3-9E1F-9BEAF803CB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5" y="3349"/>
                <a:ext cx="6" cy="0"/>
              </a:xfrm>
              <a:custGeom>
                <a:avLst/>
                <a:gdLst>
                  <a:gd name="T0" fmla="*/ 0 w 6"/>
                  <a:gd name="T1" fmla="*/ 0 w 6"/>
                  <a:gd name="T2" fmla="*/ 0 w 6"/>
                  <a:gd name="T3" fmla="*/ 4 w 6"/>
                  <a:gd name="T4" fmla="*/ 6 w 6"/>
                  <a:gd name="T5" fmla="*/ 4 w 6"/>
                  <a:gd name="T6" fmla="*/ 0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6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06" name="Freeform 1224">
                <a:extLst>
                  <a:ext uri="{FF2B5EF4-FFF2-40B4-BE49-F238E27FC236}">
                    <a16:creationId xmlns:a16="http://schemas.microsoft.com/office/drawing/2014/main" id="{6BDD5106-9670-4350-A554-7BAFB096FD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" y="3307"/>
                <a:ext cx="0" cy="11"/>
              </a:xfrm>
              <a:custGeom>
                <a:avLst/>
                <a:gdLst>
                  <a:gd name="T0" fmla="*/ 5 h 11"/>
                  <a:gd name="T1" fmla="*/ 11 h 11"/>
                  <a:gd name="T2" fmla="*/ 5 h 11"/>
                  <a:gd name="T3" fmla="*/ 0 h 11"/>
                  <a:gd name="T4" fmla="*/ 0 h 11"/>
                  <a:gd name="T5" fmla="*/ 5 h 1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11">
                    <a:moveTo>
                      <a:pt x="0" y="5"/>
                    </a:moveTo>
                    <a:lnTo>
                      <a:pt x="0" y="11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07" name="Freeform 1225">
                <a:extLst>
                  <a:ext uri="{FF2B5EF4-FFF2-40B4-BE49-F238E27FC236}">
                    <a16:creationId xmlns:a16="http://schemas.microsoft.com/office/drawing/2014/main" id="{9A85B99A-7C64-43C9-8869-1C30708A16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4" y="3355"/>
                <a:ext cx="14" cy="4"/>
              </a:xfrm>
              <a:custGeom>
                <a:avLst/>
                <a:gdLst>
                  <a:gd name="T0" fmla="*/ 0 w 14"/>
                  <a:gd name="T1" fmla="*/ 0 h 4"/>
                  <a:gd name="T2" fmla="*/ 6 w 14"/>
                  <a:gd name="T3" fmla="*/ 0 h 4"/>
                  <a:gd name="T4" fmla="*/ 14 w 14"/>
                  <a:gd name="T5" fmla="*/ 4 h 4"/>
                  <a:gd name="T6" fmla="*/ 6 w 14"/>
                  <a:gd name="T7" fmla="*/ 0 h 4"/>
                  <a:gd name="T8" fmla="*/ 0 w 1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4">
                    <a:moveTo>
                      <a:pt x="0" y="0"/>
                    </a:moveTo>
                    <a:lnTo>
                      <a:pt x="6" y="0"/>
                    </a:lnTo>
                    <a:lnTo>
                      <a:pt x="14" y="4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08" name="Rectangle 1226">
                <a:extLst>
                  <a:ext uri="{FF2B5EF4-FFF2-40B4-BE49-F238E27FC236}">
                    <a16:creationId xmlns:a16="http://schemas.microsoft.com/office/drawing/2014/main" id="{9A8D78E2-9FE0-40FE-8E55-07F4CC28EE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1" y="329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09" name="Freeform 1227">
                <a:extLst>
                  <a:ext uri="{FF2B5EF4-FFF2-40B4-BE49-F238E27FC236}">
                    <a16:creationId xmlns:a16="http://schemas.microsoft.com/office/drawing/2014/main" id="{9C97828C-6F25-4EFB-AAA5-4CC82FFFC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0" y="3334"/>
                <a:ext cx="6" cy="4"/>
              </a:xfrm>
              <a:custGeom>
                <a:avLst/>
                <a:gdLst>
                  <a:gd name="T0" fmla="*/ 2 w 6"/>
                  <a:gd name="T1" fmla="*/ 4 h 4"/>
                  <a:gd name="T2" fmla="*/ 2 w 6"/>
                  <a:gd name="T3" fmla="*/ 2 h 4"/>
                  <a:gd name="T4" fmla="*/ 0 w 6"/>
                  <a:gd name="T5" fmla="*/ 2 h 4"/>
                  <a:gd name="T6" fmla="*/ 0 w 6"/>
                  <a:gd name="T7" fmla="*/ 0 h 4"/>
                  <a:gd name="T8" fmla="*/ 0 w 6"/>
                  <a:gd name="T9" fmla="*/ 2 h 4"/>
                  <a:gd name="T10" fmla="*/ 2 w 6"/>
                  <a:gd name="T11" fmla="*/ 2 h 4"/>
                  <a:gd name="T12" fmla="*/ 2 w 6"/>
                  <a:gd name="T13" fmla="*/ 4 h 4"/>
                  <a:gd name="T14" fmla="*/ 6 w 6"/>
                  <a:gd name="T15" fmla="*/ 4 h 4"/>
                  <a:gd name="T16" fmla="*/ 6 w 6"/>
                  <a:gd name="T17" fmla="*/ 4 h 4"/>
                  <a:gd name="T18" fmla="*/ 6 w 6"/>
                  <a:gd name="T19" fmla="*/ 4 h 4"/>
                  <a:gd name="T20" fmla="*/ 2 w 6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10" name="Freeform 1228">
                <a:extLst>
                  <a:ext uri="{FF2B5EF4-FFF2-40B4-BE49-F238E27FC236}">
                    <a16:creationId xmlns:a16="http://schemas.microsoft.com/office/drawing/2014/main" id="{950EF907-CB34-45C8-96C5-138D6A3DCE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8" y="335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11" name="Freeform 1229">
                <a:extLst>
                  <a:ext uri="{FF2B5EF4-FFF2-40B4-BE49-F238E27FC236}">
                    <a16:creationId xmlns:a16="http://schemas.microsoft.com/office/drawing/2014/main" id="{B3F5C8A5-EC64-4DD5-8850-CBD58796AC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2" y="3377"/>
                <a:ext cx="4" cy="8"/>
              </a:xfrm>
              <a:custGeom>
                <a:avLst/>
                <a:gdLst>
                  <a:gd name="T0" fmla="*/ 0 w 4"/>
                  <a:gd name="T1" fmla="*/ 4 h 8"/>
                  <a:gd name="T2" fmla="*/ 0 w 4"/>
                  <a:gd name="T3" fmla="*/ 8 h 8"/>
                  <a:gd name="T4" fmla="*/ 0 w 4"/>
                  <a:gd name="T5" fmla="*/ 4 h 8"/>
                  <a:gd name="T6" fmla="*/ 4 w 4"/>
                  <a:gd name="T7" fmla="*/ 0 h 8"/>
                  <a:gd name="T8" fmla="*/ 4 w 4"/>
                  <a:gd name="T9" fmla="*/ 0 h 8"/>
                  <a:gd name="T10" fmla="*/ 0 w 4"/>
                  <a:gd name="T1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0" y="4"/>
                    </a:moveTo>
                    <a:lnTo>
                      <a:pt x="0" y="8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12" name="Freeform 1230">
                <a:extLst>
                  <a:ext uri="{FF2B5EF4-FFF2-40B4-BE49-F238E27FC236}">
                    <a16:creationId xmlns:a16="http://schemas.microsoft.com/office/drawing/2014/main" id="{C538A2B8-95FB-4D47-9C09-84CCCECF53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8" y="3373"/>
                <a:ext cx="4" cy="19"/>
              </a:xfrm>
              <a:custGeom>
                <a:avLst/>
                <a:gdLst>
                  <a:gd name="T0" fmla="*/ 0 w 4"/>
                  <a:gd name="T1" fmla="*/ 0 h 19"/>
                  <a:gd name="T2" fmla="*/ 2 w 4"/>
                  <a:gd name="T3" fmla="*/ 2 h 19"/>
                  <a:gd name="T4" fmla="*/ 4 w 4"/>
                  <a:gd name="T5" fmla="*/ 19 h 19"/>
                  <a:gd name="T6" fmla="*/ 2 w 4"/>
                  <a:gd name="T7" fmla="*/ 2 h 19"/>
                  <a:gd name="T8" fmla="*/ 0 w 4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9">
                    <a:moveTo>
                      <a:pt x="0" y="0"/>
                    </a:moveTo>
                    <a:lnTo>
                      <a:pt x="2" y="2"/>
                    </a:lnTo>
                    <a:lnTo>
                      <a:pt x="4" y="19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13" name="Freeform 1231">
                <a:extLst>
                  <a:ext uri="{FF2B5EF4-FFF2-40B4-BE49-F238E27FC236}">
                    <a16:creationId xmlns:a16="http://schemas.microsoft.com/office/drawing/2014/main" id="{BDB7EA58-CA01-4767-8479-1A48DC49EA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5" y="3348"/>
                <a:ext cx="2" cy="1"/>
              </a:xfrm>
              <a:custGeom>
                <a:avLst/>
                <a:gdLst>
                  <a:gd name="T0" fmla="*/ 0 w 2"/>
                  <a:gd name="T1" fmla="*/ 0 h 1"/>
                  <a:gd name="T2" fmla="*/ 0 w 2"/>
                  <a:gd name="T3" fmla="*/ 0 h 1"/>
                  <a:gd name="T4" fmla="*/ 2 w 2"/>
                  <a:gd name="T5" fmla="*/ 1 h 1"/>
                  <a:gd name="T6" fmla="*/ 0 w 2"/>
                  <a:gd name="T7" fmla="*/ 0 h 1"/>
                  <a:gd name="T8" fmla="*/ 0 w 2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0" y="0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14" name="Rectangle 1232">
                <a:extLst>
                  <a:ext uri="{FF2B5EF4-FFF2-40B4-BE49-F238E27FC236}">
                    <a16:creationId xmlns:a16="http://schemas.microsoft.com/office/drawing/2014/main" id="{551BD31C-D326-4F14-BE92-E3BAC9A1FE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11" y="334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15" name="Freeform 1233">
                <a:extLst>
                  <a:ext uri="{FF2B5EF4-FFF2-40B4-BE49-F238E27FC236}">
                    <a16:creationId xmlns:a16="http://schemas.microsoft.com/office/drawing/2014/main" id="{19C58038-16A0-4B97-8613-D7592B4E30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4" y="3371"/>
                <a:ext cx="8" cy="2"/>
              </a:xfrm>
              <a:custGeom>
                <a:avLst/>
                <a:gdLst>
                  <a:gd name="T0" fmla="*/ 0 w 8"/>
                  <a:gd name="T1" fmla="*/ 2 h 2"/>
                  <a:gd name="T2" fmla="*/ 2 w 8"/>
                  <a:gd name="T3" fmla="*/ 2 h 2"/>
                  <a:gd name="T4" fmla="*/ 8 w 8"/>
                  <a:gd name="T5" fmla="*/ 0 h 2"/>
                  <a:gd name="T6" fmla="*/ 2 w 8"/>
                  <a:gd name="T7" fmla="*/ 2 h 2"/>
                  <a:gd name="T8" fmla="*/ 0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lnTo>
                      <a:pt x="2" y="2"/>
                    </a:lnTo>
                    <a:lnTo>
                      <a:pt x="8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16" name="Freeform 1234">
                <a:extLst>
                  <a:ext uri="{FF2B5EF4-FFF2-40B4-BE49-F238E27FC236}">
                    <a16:creationId xmlns:a16="http://schemas.microsoft.com/office/drawing/2014/main" id="{0E980D02-8A0D-4DC4-9BF2-8B3F64B505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3" y="3299"/>
                <a:ext cx="12" cy="4"/>
              </a:xfrm>
              <a:custGeom>
                <a:avLst/>
                <a:gdLst>
                  <a:gd name="T0" fmla="*/ 0 w 12"/>
                  <a:gd name="T1" fmla="*/ 0 h 4"/>
                  <a:gd name="T2" fmla="*/ 12 w 12"/>
                  <a:gd name="T3" fmla="*/ 2 h 4"/>
                  <a:gd name="T4" fmla="*/ 12 w 12"/>
                  <a:gd name="T5" fmla="*/ 4 h 4"/>
                  <a:gd name="T6" fmla="*/ 12 w 12"/>
                  <a:gd name="T7" fmla="*/ 2 h 4"/>
                  <a:gd name="T8" fmla="*/ 0 w 1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">
                    <a:moveTo>
                      <a:pt x="0" y="0"/>
                    </a:moveTo>
                    <a:lnTo>
                      <a:pt x="12" y="2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17" name="Freeform 1235">
                <a:extLst>
                  <a:ext uri="{FF2B5EF4-FFF2-40B4-BE49-F238E27FC236}">
                    <a16:creationId xmlns:a16="http://schemas.microsoft.com/office/drawing/2014/main" id="{7C3A04AF-5D14-42B2-9412-DC4910444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6" y="3344"/>
                <a:ext cx="2" cy="4"/>
              </a:xfrm>
              <a:custGeom>
                <a:avLst/>
                <a:gdLst>
                  <a:gd name="T0" fmla="*/ 2 w 2"/>
                  <a:gd name="T1" fmla="*/ 2 h 4"/>
                  <a:gd name="T2" fmla="*/ 2 w 2"/>
                  <a:gd name="T3" fmla="*/ 0 h 4"/>
                  <a:gd name="T4" fmla="*/ 0 w 2"/>
                  <a:gd name="T5" fmla="*/ 0 h 4"/>
                  <a:gd name="T6" fmla="*/ 2 w 2"/>
                  <a:gd name="T7" fmla="*/ 0 h 4"/>
                  <a:gd name="T8" fmla="*/ 2 w 2"/>
                  <a:gd name="T9" fmla="*/ 2 h 4"/>
                  <a:gd name="T10" fmla="*/ 2 w 2"/>
                  <a:gd name="T11" fmla="*/ 4 h 4"/>
                  <a:gd name="T12" fmla="*/ 2 w 2"/>
                  <a:gd name="T13" fmla="*/ 4 h 4"/>
                  <a:gd name="T14" fmla="*/ 2 w 2"/>
                  <a:gd name="T15" fmla="*/ 4 h 4"/>
                  <a:gd name="T16" fmla="*/ 2 w 2"/>
                  <a:gd name="T1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18" name="Freeform 1236">
                <a:extLst>
                  <a:ext uri="{FF2B5EF4-FFF2-40B4-BE49-F238E27FC236}">
                    <a16:creationId xmlns:a16="http://schemas.microsoft.com/office/drawing/2014/main" id="{2DC8227F-1CA7-4352-8D77-4AC293CA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9" y="3322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19" name="Rectangle 1237">
                <a:extLst>
                  <a:ext uri="{FF2B5EF4-FFF2-40B4-BE49-F238E27FC236}">
                    <a16:creationId xmlns:a16="http://schemas.microsoft.com/office/drawing/2014/main" id="{6BDC193D-5620-432D-B309-AF086633E9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10" y="334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20" name="Rectangle 1238">
                <a:extLst>
                  <a:ext uri="{FF2B5EF4-FFF2-40B4-BE49-F238E27FC236}">
                    <a16:creationId xmlns:a16="http://schemas.microsoft.com/office/drawing/2014/main" id="{52473C3E-21F3-4835-AB18-935CFD92AD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2" y="336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21" name="Freeform 1239">
                <a:extLst>
                  <a:ext uri="{FF2B5EF4-FFF2-40B4-BE49-F238E27FC236}">
                    <a16:creationId xmlns:a16="http://schemas.microsoft.com/office/drawing/2014/main" id="{66D30291-7AE2-4A31-9CBA-1BF79CEE22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3326"/>
                <a:ext cx="14" cy="6"/>
              </a:xfrm>
              <a:custGeom>
                <a:avLst/>
                <a:gdLst>
                  <a:gd name="T0" fmla="*/ 0 w 14"/>
                  <a:gd name="T1" fmla="*/ 0 h 6"/>
                  <a:gd name="T2" fmla="*/ 6 w 14"/>
                  <a:gd name="T3" fmla="*/ 2 h 6"/>
                  <a:gd name="T4" fmla="*/ 14 w 14"/>
                  <a:gd name="T5" fmla="*/ 6 h 6"/>
                  <a:gd name="T6" fmla="*/ 6 w 14"/>
                  <a:gd name="T7" fmla="*/ 2 h 6"/>
                  <a:gd name="T8" fmla="*/ 0 w 1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6">
                    <a:moveTo>
                      <a:pt x="0" y="0"/>
                    </a:moveTo>
                    <a:lnTo>
                      <a:pt x="6" y="2"/>
                    </a:lnTo>
                    <a:lnTo>
                      <a:pt x="14" y="6"/>
                    </a:lnTo>
                    <a:lnTo>
                      <a:pt x="6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22" name="Freeform 1240">
                <a:extLst>
                  <a:ext uri="{FF2B5EF4-FFF2-40B4-BE49-F238E27FC236}">
                    <a16:creationId xmlns:a16="http://schemas.microsoft.com/office/drawing/2014/main" id="{0C299F6E-0E98-405C-97CA-E068B71C89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2" y="3342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23" name="Freeform 1241">
                <a:extLst>
                  <a:ext uri="{FF2B5EF4-FFF2-40B4-BE49-F238E27FC236}">
                    <a16:creationId xmlns:a16="http://schemas.microsoft.com/office/drawing/2014/main" id="{AE004DC2-C78D-49D5-B3C3-5BDAD733B4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3180"/>
                <a:ext cx="314" cy="636"/>
              </a:xfrm>
              <a:custGeom>
                <a:avLst/>
                <a:gdLst>
                  <a:gd name="T0" fmla="*/ 62 w 314"/>
                  <a:gd name="T1" fmla="*/ 599 h 636"/>
                  <a:gd name="T2" fmla="*/ 70 w 314"/>
                  <a:gd name="T3" fmla="*/ 587 h 636"/>
                  <a:gd name="T4" fmla="*/ 105 w 314"/>
                  <a:gd name="T5" fmla="*/ 558 h 636"/>
                  <a:gd name="T6" fmla="*/ 115 w 314"/>
                  <a:gd name="T7" fmla="*/ 538 h 636"/>
                  <a:gd name="T8" fmla="*/ 117 w 314"/>
                  <a:gd name="T9" fmla="*/ 529 h 636"/>
                  <a:gd name="T10" fmla="*/ 95 w 314"/>
                  <a:gd name="T11" fmla="*/ 521 h 636"/>
                  <a:gd name="T12" fmla="*/ 111 w 314"/>
                  <a:gd name="T13" fmla="*/ 505 h 636"/>
                  <a:gd name="T14" fmla="*/ 115 w 314"/>
                  <a:gd name="T15" fmla="*/ 496 h 636"/>
                  <a:gd name="T16" fmla="*/ 137 w 314"/>
                  <a:gd name="T17" fmla="*/ 497 h 636"/>
                  <a:gd name="T18" fmla="*/ 144 w 314"/>
                  <a:gd name="T19" fmla="*/ 511 h 636"/>
                  <a:gd name="T20" fmla="*/ 154 w 314"/>
                  <a:gd name="T21" fmla="*/ 515 h 636"/>
                  <a:gd name="T22" fmla="*/ 181 w 314"/>
                  <a:gd name="T23" fmla="*/ 509 h 636"/>
                  <a:gd name="T24" fmla="*/ 183 w 314"/>
                  <a:gd name="T25" fmla="*/ 499 h 636"/>
                  <a:gd name="T26" fmla="*/ 189 w 314"/>
                  <a:gd name="T27" fmla="*/ 499 h 636"/>
                  <a:gd name="T28" fmla="*/ 195 w 314"/>
                  <a:gd name="T29" fmla="*/ 496 h 636"/>
                  <a:gd name="T30" fmla="*/ 195 w 314"/>
                  <a:gd name="T31" fmla="*/ 490 h 636"/>
                  <a:gd name="T32" fmla="*/ 193 w 314"/>
                  <a:gd name="T33" fmla="*/ 484 h 636"/>
                  <a:gd name="T34" fmla="*/ 213 w 314"/>
                  <a:gd name="T35" fmla="*/ 470 h 636"/>
                  <a:gd name="T36" fmla="*/ 205 w 314"/>
                  <a:gd name="T37" fmla="*/ 456 h 636"/>
                  <a:gd name="T38" fmla="*/ 199 w 314"/>
                  <a:gd name="T39" fmla="*/ 441 h 636"/>
                  <a:gd name="T40" fmla="*/ 205 w 314"/>
                  <a:gd name="T41" fmla="*/ 414 h 636"/>
                  <a:gd name="T42" fmla="*/ 207 w 314"/>
                  <a:gd name="T43" fmla="*/ 402 h 636"/>
                  <a:gd name="T44" fmla="*/ 211 w 314"/>
                  <a:gd name="T45" fmla="*/ 394 h 636"/>
                  <a:gd name="T46" fmla="*/ 217 w 314"/>
                  <a:gd name="T47" fmla="*/ 371 h 636"/>
                  <a:gd name="T48" fmla="*/ 213 w 314"/>
                  <a:gd name="T49" fmla="*/ 333 h 636"/>
                  <a:gd name="T50" fmla="*/ 230 w 314"/>
                  <a:gd name="T51" fmla="*/ 302 h 636"/>
                  <a:gd name="T52" fmla="*/ 240 w 314"/>
                  <a:gd name="T53" fmla="*/ 281 h 636"/>
                  <a:gd name="T54" fmla="*/ 238 w 314"/>
                  <a:gd name="T55" fmla="*/ 259 h 636"/>
                  <a:gd name="T56" fmla="*/ 246 w 314"/>
                  <a:gd name="T57" fmla="*/ 244 h 636"/>
                  <a:gd name="T58" fmla="*/ 256 w 314"/>
                  <a:gd name="T59" fmla="*/ 205 h 636"/>
                  <a:gd name="T60" fmla="*/ 271 w 314"/>
                  <a:gd name="T61" fmla="*/ 191 h 636"/>
                  <a:gd name="T62" fmla="*/ 283 w 314"/>
                  <a:gd name="T63" fmla="*/ 179 h 636"/>
                  <a:gd name="T64" fmla="*/ 287 w 314"/>
                  <a:gd name="T65" fmla="*/ 173 h 636"/>
                  <a:gd name="T66" fmla="*/ 305 w 314"/>
                  <a:gd name="T67" fmla="*/ 144 h 636"/>
                  <a:gd name="T68" fmla="*/ 269 w 314"/>
                  <a:gd name="T69" fmla="*/ 111 h 636"/>
                  <a:gd name="T70" fmla="*/ 234 w 314"/>
                  <a:gd name="T71" fmla="*/ 109 h 636"/>
                  <a:gd name="T72" fmla="*/ 222 w 314"/>
                  <a:gd name="T73" fmla="*/ 109 h 636"/>
                  <a:gd name="T74" fmla="*/ 211 w 314"/>
                  <a:gd name="T75" fmla="*/ 101 h 636"/>
                  <a:gd name="T76" fmla="*/ 193 w 314"/>
                  <a:gd name="T77" fmla="*/ 85 h 636"/>
                  <a:gd name="T78" fmla="*/ 181 w 314"/>
                  <a:gd name="T79" fmla="*/ 76 h 636"/>
                  <a:gd name="T80" fmla="*/ 170 w 314"/>
                  <a:gd name="T81" fmla="*/ 84 h 636"/>
                  <a:gd name="T82" fmla="*/ 160 w 314"/>
                  <a:gd name="T83" fmla="*/ 91 h 636"/>
                  <a:gd name="T84" fmla="*/ 135 w 314"/>
                  <a:gd name="T85" fmla="*/ 87 h 636"/>
                  <a:gd name="T86" fmla="*/ 125 w 314"/>
                  <a:gd name="T87" fmla="*/ 87 h 636"/>
                  <a:gd name="T88" fmla="*/ 101 w 314"/>
                  <a:gd name="T89" fmla="*/ 66 h 636"/>
                  <a:gd name="T90" fmla="*/ 86 w 314"/>
                  <a:gd name="T91" fmla="*/ 74 h 636"/>
                  <a:gd name="T92" fmla="*/ 66 w 314"/>
                  <a:gd name="T93" fmla="*/ 78 h 636"/>
                  <a:gd name="T94" fmla="*/ 60 w 314"/>
                  <a:gd name="T95" fmla="*/ 66 h 636"/>
                  <a:gd name="T96" fmla="*/ 56 w 314"/>
                  <a:gd name="T97" fmla="*/ 56 h 636"/>
                  <a:gd name="T98" fmla="*/ 53 w 314"/>
                  <a:gd name="T99" fmla="*/ 50 h 636"/>
                  <a:gd name="T100" fmla="*/ 43 w 314"/>
                  <a:gd name="T101" fmla="*/ 29 h 636"/>
                  <a:gd name="T102" fmla="*/ 33 w 314"/>
                  <a:gd name="T103" fmla="*/ 13 h 636"/>
                  <a:gd name="T104" fmla="*/ 8 w 314"/>
                  <a:gd name="T105" fmla="*/ 2 h 636"/>
                  <a:gd name="T106" fmla="*/ 19 w 314"/>
                  <a:gd name="T107" fmla="*/ 636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14" h="636">
                    <a:moveTo>
                      <a:pt x="27" y="626"/>
                    </a:moveTo>
                    <a:lnTo>
                      <a:pt x="47" y="620"/>
                    </a:lnTo>
                    <a:lnTo>
                      <a:pt x="56" y="613"/>
                    </a:lnTo>
                    <a:lnTo>
                      <a:pt x="60" y="607"/>
                    </a:lnTo>
                    <a:lnTo>
                      <a:pt x="58" y="603"/>
                    </a:lnTo>
                    <a:lnTo>
                      <a:pt x="62" y="599"/>
                    </a:lnTo>
                    <a:lnTo>
                      <a:pt x="62" y="597"/>
                    </a:lnTo>
                    <a:lnTo>
                      <a:pt x="66" y="595"/>
                    </a:lnTo>
                    <a:lnTo>
                      <a:pt x="68" y="593"/>
                    </a:lnTo>
                    <a:lnTo>
                      <a:pt x="68" y="593"/>
                    </a:lnTo>
                    <a:lnTo>
                      <a:pt x="70" y="591"/>
                    </a:lnTo>
                    <a:lnTo>
                      <a:pt x="70" y="587"/>
                    </a:lnTo>
                    <a:lnTo>
                      <a:pt x="76" y="585"/>
                    </a:lnTo>
                    <a:lnTo>
                      <a:pt x="86" y="576"/>
                    </a:lnTo>
                    <a:lnTo>
                      <a:pt x="86" y="576"/>
                    </a:lnTo>
                    <a:lnTo>
                      <a:pt x="90" y="570"/>
                    </a:lnTo>
                    <a:lnTo>
                      <a:pt x="95" y="566"/>
                    </a:lnTo>
                    <a:lnTo>
                      <a:pt x="105" y="558"/>
                    </a:lnTo>
                    <a:lnTo>
                      <a:pt x="105" y="550"/>
                    </a:lnTo>
                    <a:lnTo>
                      <a:pt x="107" y="546"/>
                    </a:lnTo>
                    <a:lnTo>
                      <a:pt x="109" y="542"/>
                    </a:lnTo>
                    <a:lnTo>
                      <a:pt x="111" y="542"/>
                    </a:lnTo>
                    <a:lnTo>
                      <a:pt x="111" y="542"/>
                    </a:lnTo>
                    <a:lnTo>
                      <a:pt x="115" y="538"/>
                    </a:lnTo>
                    <a:lnTo>
                      <a:pt x="117" y="538"/>
                    </a:lnTo>
                    <a:lnTo>
                      <a:pt x="117" y="537"/>
                    </a:lnTo>
                    <a:lnTo>
                      <a:pt x="119" y="537"/>
                    </a:lnTo>
                    <a:lnTo>
                      <a:pt x="121" y="535"/>
                    </a:lnTo>
                    <a:lnTo>
                      <a:pt x="119" y="531"/>
                    </a:lnTo>
                    <a:lnTo>
                      <a:pt x="117" y="529"/>
                    </a:lnTo>
                    <a:lnTo>
                      <a:pt x="113" y="527"/>
                    </a:lnTo>
                    <a:lnTo>
                      <a:pt x="111" y="529"/>
                    </a:lnTo>
                    <a:lnTo>
                      <a:pt x="92" y="531"/>
                    </a:lnTo>
                    <a:lnTo>
                      <a:pt x="92" y="527"/>
                    </a:lnTo>
                    <a:lnTo>
                      <a:pt x="94" y="523"/>
                    </a:lnTo>
                    <a:lnTo>
                      <a:pt x="95" y="521"/>
                    </a:lnTo>
                    <a:lnTo>
                      <a:pt x="101" y="517"/>
                    </a:lnTo>
                    <a:lnTo>
                      <a:pt x="101" y="513"/>
                    </a:lnTo>
                    <a:lnTo>
                      <a:pt x="105" y="511"/>
                    </a:lnTo>
                    <a:lnTo>
                      <a:pt x="107" y="511"/>
                    </a:lnTo>
                    <a:lnTo>
                      <a:pt x="111" y="509"/>
                    </a:lnTo>
                    <a:lnTo>
                      <a:pt x="111" y="505"/>
                    </a:lnTo>
                    <a:lnTo>
                      <a:pt x="111" y="503"/>
                    </a:lnTo>
                    <a:lnTo>
                      <a:pt x="109" y="499"/>
                    </a:lnTo>
                    <a:lnTo>
                      <a:pt x="109" y="497"/>
                    </a:lnTo>
                    <a:lnTo>
                      <a:pt x="111" y="496"/>
                    </a:lnTo>
                    <a:lnTo>
                      <a:pt x="113" y="496"/>
                    </a:lnTo>
                    <a:lnTo>
                      <a:pt x="115" y="496"/>
                    </a:lnTo>
                    <a:lnTo>
                      <a:pt x="117" y="496"/>
                    </a:lnTo>
                    <a:lnTo>
                      <a:pt x="119" y="496"/>
                    </a:lnTo>
                    <a:lnTo>
                      <a:pt x="123" y="497"/>
                    </a:lnTo>
                    <a:lnTo>
                      <a:pt x="131" y="496"/>
                    </a:lnTo>
                    <a:lnTo>
                      <a:pt x="135" y="496"/>
                    </a:lnTo>
                    <a:lnTo>
                      <a:pt x="137" y="497"/>
                    </a:lnTo>
                    <a:lnTo>
                      <a:pt x="137" y="497"/>
                    </a:lnTo>
                    <a:lnTo>
                      <a:pt x="138" y="497"/>
                    </a:lnTo>
                    <a:lnTo>
                      <a:pt x="144" y="497"/>
                    </a:lnTo>
                    <a:lnTo>
                      <a:pt x="140" y="505"/>
                    </a:lnTo>
                    <a:lnTo>
                      <a:pt x="142" y="509"/>
                    </a:lnTo>
                    <a:lnTo>
                      <a:pt x="144" y="511"/>
                    </a:lnTo>
                    <a:lnTo>
                      <a:pt x="150" y="511"/>
                    </a:lnTo>
                    <a:lnTo>
                      <a:pt x="150" y="513"/>
                    </a:lnTo>
                    <a:lnTo>
                      <a:pt x="152" y="513"/>
                    </a:lnTo>
                    <a:lnTo>
                      <a:pt x="152" y="515"/>
                    </a:lnTo>
                    <a:lnTo>
                      <a:pt x="152" y="515"/>
                    </a:lnTo>
                    <a:lnTo>
                      <a:pt x="154" y="515"/>
                    </a:lnTo>
                    <a:lnTo>
                      <a:pt x="160" y="511"/>
                    </a:lnTo>
                    <a:lnTo>
                      <a:pt x="166" y="511"/>
                    </a:lnTo>
                    <a:lnTo>
                      <a:pt x="170" y="511"/>
                    </a:lnTo>
                    <a:lnTo>
                      <a:pt x="178" y="511"/>
                    </a:lnTo>
                    <a:lnTo>
                      <a:pt x="178" y="511"/>
                    </a:lnTo>
                    <a:lnTo>
                      <a:pt x="181" y="509"/>
                    </a:lnTo>
                    <a:lnTo>
                      <a:pt x="183" y="507"/>
                    </a:lnTo>
                    <a:lnTo>
                      <a:pt x="185" y="505"/>
                    </a:lnTo>
                    <a:lnTo>
                      <a:pt x="185" y="503"/>
                    </a:lnTo>
                    <a:lnTo>
                      <a:pt x="185" y="501"/>
                    </a:lnTo>
                    <a:lnTo>
                      <a:pt x="183" y="501"/>
                    </a:lnTo>
                    <a:lnTo>
                      <a:pt x="183" y="499"/>
                    </a:lnTo>
                    <a:lnTo>
                      <a:pt x="183" y="497"/>
                    </a:lnTo>
                    <a:lnTo>
                      <a:pt x="183" y="497"/>
                    </a:lnTo>
                    <a:lnTo>
                      <a:pt x="185" y="496"/>
                    </a:lnTo>
                    <a:lnTo>
                      <a:pt x="187" y="497"/>
                    </a:lnTo>
                    <a:lnTo>
                      <a:pt x="187" y="497"/>
                    </a:lnTo>
                    <a:lnTo>
                      <a:pt x="189" y="499"/>
                    </a:lnTo>
                    <a:lnTo>
                      <a:pt x="191" y="499"/>
                    </a:lnTo>
                    <a:lnTo>
                      <a:pt x="193" y="497"/>
                    </a:lnTo>
                    <a:lnTo>
                      <a:pt x="195" y="496"/>
                    </a:lnTo>
                    <a:lnTo>
                      <a:pt x="195" y="496"/>
                    </a:lnTo>
                    <a:lnTo>
                      <a:pt x="195" y="496"/>
                    </a:lnTo>
                    <a:lnTo>
                      <a:pt x="195" y="496"/>
                    </a:lnTo>
                    <a:lnTo>
                      <a:pt x="195" y="494"/>
                    </a:lnTo>
                    <a:lnTo>
                      <a:pt x="193" y="492"/>
                    </a:lnTo>
                    <a:lnTo>
                      <a:pt x="193" y="492"/>
                    </a:lnTo>
                    <a:lnTo>
                      <a:pt x="193" y="492"/>
                    </a:lnTo>
                    <a:lnTo>
                      <a:pt x="193" y="490"/>
                    </a:lnTo>
                    <a:lnTo>
                      <a:pt x="195" y="490"/>
                    </a:lnTo>
                    <a:lnTo>
                      <a:pt x="197" y="490"/>
                    </a:lnTo>
                    <a:lnTo>
                      <a:pt x="197" y="490"/>
                    </a:lnTo>
                    <a:lnTo>
                      <a:pt x="197" y="486"/>
                    </a:lnTo>
                    <a:lnTo>
                      <a:pt x="197" y="486"/>
                    </a:lnTo>
                    <a:lnTo>
                      <a:pt x="195" y="484"/>
                    </a:lnTo>
                    <a:lnTo>
                      <a:pt x="193" y="484"/>
                    </a:lnTo>
                    <a:lnTo>
                      <a:pt x="201" y="478"/>
                    </a:lnTo>
                    <a:lnTo>
                      <a:pt x="201" y="478"/>
                    </a:lnTo>
                    <a:lnTo>
                      <a:pt x="205" y="476"/>
                    </a:lnTo>
                    <a:lnTo>
                      <a:pt x="211" y="474"/>
                    </a:lnTo>
                    <a:lnTo>
                      <a:pt x="211" y="474"/>
                    </a:lnTo>
                    <a:lnTo>
                      <a:pt x="213" y="470"/>
                    </a:lnTo>
                    <a:lnTo>
                      <a:pt x="213" y="470"/>
                    </a:lnTo>
                    <a:lnTo>
                      <a:pt x="213" y="468"/>
                    </a:lnTo>
                    <a:lnTo>
                      <a:pt x="211" y="466"/>
                    </a:lnTo>
                    <a:lnTo>
                      <a:pt x="211" y="466"/>
                    </a:lnTo>
                    <a:lnTo>
                      <a:pt x="209" y="464"/>
                    </a:lnTo>
                    <a:lnTo>
                      <a:pt x="205" y="456"/>
                    </a:lnTo>
                    <a:lnTo>
                      <a:pt x="203" y="455"/>
                    </a:lnTo>
                    <a:lnTo>
                      <a:pt x="201" y="453"/>
                    </a:lnTo>
                    <a:lnTo>
                      <a:pt x="199" y="451"/>
                    </a:lnTo>
                    <a:lnTo>
                      <a:pt x="199" y="449"/>
                    </a:lnTo>
                    <a:lnTo>
                      <a:pt x="199" y="443"/>
                    </a:lnTo>
                    <a:lnTo>
                      <a:pt x="199" y="441"/>
                    </a:lnTo>
                    <a:lnTo>
                      <a:pt x="203" y="439"/>
                    </a:lnTo>
                    <a:lnTo>
                      <a:pt x="203" y="437"/>
                    </a:lnTo>
                    <a:lnTo>
                      <a:pt x="203" y="433"/>
                    </a:lnTo>
                    <a:lnTo>
                      <a:pt x="201" y="425"/>
                    </a:lnTo>
                    <a:lnTo>
                      <a:pt x="201" y="421"/>
                    </a:lnTo>
                    <a:lnTo>
                      <a:pt x="205" y="414"/>
                    </a:lnTo>
                    <a:lnTo>
                      <a:pt x="205" y="412"/>
                    </a:lnTo>
                    <a:lnTo>
                      <a:pt x="207" y="410"/>
                    </a:lnTo>
                    <a:lnTo>
                      <a:pt x="207" y="408"/>
                    </a:lnTo>
                    <a:lnTo>
                      <a:pt x="207" y="404"/>
                    </a:lnTo>
                    <a:lnTo>
                      <a:pt x="207" y="402"/>
                    </a:lnTo>
                    <a:lnTo>
                      <a:pt x="207" y="402"/>
                    </a:lnTo>
                    <a:lnTo>
                      <a:pt x="207" y="400"/>
                    </a:lnTo>
                    <a:lnTo>
                      <a:pt x="207" y="400"/>
                    </a:lnTo>
                    <a:lnTo>
                      <a:pt x="207" y="398"/>
                    </a:lnTo>
                    <a:lnTo>
                      <a:pt x="209" y="398"/>
                    </a:lnTo>
                    <a:lnTo>
                      <a:pt x="209" y="396"/>
                    </a:lnTo>
                    <a:lnTo>
                      <a:pt x="211" y="394"/>
                    </a:lnTo>
                    <a:lnTo>
                      <a:pt x="211" y="392"/>
                    </a:lnTo>
                    <a:lnTo>
                      <a:pt x="211" y="388"/>
                    </a:lnTo>
                    <a:lnTo>
                      <a:pt x="211" y="386"/>
                    </a:lnTo>
                    <a:lnTo>
                      <a:pt x="217" y="380"/>
                    </a:lnTo>
                    <a:lnTo>
                      <a:pt x="217" y="378"/>
                    </a:lnTo>
                    <a:lnTo>
                      <a:pt x="217" y="371"/>
                    </a:lnTo>
                    <a:lnTo>
                      <a:pt x="209" y="357"/>
                    </a:lnTo>
                    <a:lnTo>
                      <a:pt x="209" y="347"/>
                    </a:lnTo>
                    <a:lnTo>
                      <a:pt x="211" y="341"/>
                    </a:lnTo>
                    <a:lnTo>
                      <a:pt x="211" y="337"/>
                    </a:lnTo>
                    <a:lnTo>
                      <a:pt x="213" y="335"/>
                    </a:lnTo>
                    <a:lnTo>
                      <a:pt x="213" y="333"/>
                    </a:lnTo>
                    <a:lnTo>
                      <a:pt x="215" y="332"/>
                    </a:lnTo>
                    <a:lnTo>
                      <a:pt x="215" y="330"/>
                    </a:lnTo>
                    <a:lnTo>
                      <a:pt x="217" y="326"/>
                    </a:lnTo>
                    <a:lnTo>
                      <a:pt x="226" y="310"/>
                    </a:lnTo>
                    <a:lnTo>
                      <a:pt x="228" y="308"/>
                    </a:lnTo>
                    <a:lnTo>
                      <a:pt x="230" y="302"/>
                    </a:lnTo>
                    <a:lnTo>
                      <a:pt x="230" y="298"/>
                    </a:lnTo>
                    <a:lnTo>
                      <a:pt x="230" y="292"/>
                    </a:lnTo>
                    <a:lnTo>
                      <a:pt x="234" y="291"/>
                    </a:lnTo>
                    <a:lnTo>
                      <a:pt x="236" y="289"/>
                    </a:lnTo>
                    <a:lnTo>
                      <a:pt x="238" y="285"/>
                    </a:lnTo>
                    <a:lnTo>
                      <a:pt x="240" y="281"/>
                    </a:lnTo>
                    <a:lnTo>
                      <a:pt x="238" y="279"/>
                    </a:lnTo>
                    <a:lnTo>
                      <a:pt x="238" y="275"/>
                    </a:lnTo>
                    <a:lnTo>
                      <a:pt x="236" y="273"/>
                    </a:lnTo>
                    <a:lnTo>
                      <a:pt x="236" y="269"/>
                    </a:lnTo>
                    <a:lnTo>
                      <a:pt x="238" y="261"/>
                    </a:lnTo>
                    <a:lnTo>
                      <a:pt x="238" y="259"/>
                    </a:lnTo>
                    <a:lnTo>
                      <a:pt x="240" y="257"/>
                    </a:lnTo>
                    <a:lnTo>
                      <a:pt x="242" y="255"/>
                    </a:lnTo>
                    <a:lnTo>
                      <a:pt x="242" y="253"/>
                    </a:lnTo>
                    <a:lnTo>
                      <a:pt x="242" y="248"/>
                    </a:lnTo>
                    <a:lnTo>
                      <a:pt x="244" y="246"/>
                    </a:lnTo>
                    <a:lnTo>
                      <a:pt x="246" y="244"/>
                    </a:lnTo>
                    <a:lnTo>
                      <a:pt x="250" y="240"/>
                    </a:lnTo>
                    <a:lnTo>
                      <a:pt x="250" y="238"/>
                    </a:lnTo>
                    <a:lnTo>
                      <a:pt x="248" y="234"/>
                    </a:lnTo>
                    <a:lnTo>
                      <a:pt x="248" y="224"/>
                    </a:lnTo>
                    <a:lnTo>
                      <a:pt x="250" y="216"/>
                    </a:lnTo>
                    <a:lnTo>
                      <a:pt x="256" y="205"/>
                    </a:lnTo>
                    <a:lnTo>
                      <a:pt x="258" y="205"/>
                    </a:lnTo>
                    <a:lnTo>
                      <a:pt x="262" y="203"/>
                    </a:lnTo>
                    <a:lnTo>
                      <a:pt x="263" y="201"/>
                    </a:lnTo>
                    <a:lnTo>
                      <a:pt x="267" y="195"/>
                    </a:lnTo>
                    <a:lnTo>
                      <a:pt x="269" y="195"/>
                    </a:lnTo>
                    <a:lnTo>
                      <a:pt x="271" y="191"/>
                    </a:lnTo>
                    <a:lnTo>
                      <a:pt x="273" y="189"/>
                    </a:lnTo>
                    <a:lnTo>
                      <a:pt x="275" y="187"/>
                    </a:lnTo>
                    <a:lnTo>
                      <a:pt x="275" y="183"/>
                    </a:lnTo>
                    <a:lnTo>
                      <a:pt x="275" y="181"/>
                    </a:lnTo>
                    <a:lnTo>
                      <a:pt x="277" y="179"/>
                    </a:lnTo>
                    <a:lnTo>
                      <a:pt x="283" y="179"/>
                    </a:lnTo>
                    <a:lnTo>
                      <a:pt x="283" y="179"/>
                    </a:lnTo>
                    <a:lnTo>
                      <a:pt x="285" y="179"/>
                    </a:lnTo>
                    <a:lnTo>
                      <a:pt x="285" y="177"/>
                    </a:lnTo>
                    <a:lnTo>
                      <a:pt x="285" y="175"/>
                    </a:lnTo>
                    <a:lnTo>
                      <a:pt x="287" y="173"/>
                    </a:lnTo>
                    <a:lnTo>
                      <a:pt x="287" y="173"/>
                    </a:lnTo>
                    <a:lnTo>
                      <a:pt x="287" y="171"/>
                    </a:lnTo>
                    <a:lnTo>
                      <a:pt x="289" y="171"/>
                    </a:lnTo>
                    <a:lnTo>
                      <a:pt x="295" y="169"/>
                    </a:lnTo>
                    <a:lnTo>
                      <a:pt x="297" y="168"/>
                    </a:lnTo>
                    <a:lnTo>
                      <a:pt x="299" y="164"/>
                    </a:lnTo>
                    <a:lnTo>
                      <a:pt x="305" y="144"/>
                    </a:lnTo>
                    <a:lnTo>
                      <a:pt x="310" y="134"/>
                    </a:lnTo>
                    <a:lnTo>
                      <a:pt x="314" y="128"/>
                    </a:lnTo>
                    <a:lnTo>
                      <a:pt x="314" y="128"/>
                    </a:lnTo>
                    <a:lnTo>
                      <a:pt x="312" y="128"/>
                    </a:lnTo>
                    <a:lnTo>
                      <a:pt x="297" y="125"/>
                    </a:lnTo>
                    <a:lnTo>
                      <a:pt x="269" y="111"/>
                    </a:lnTo>
                    <a:lnTo>
                      <a:pt x="265" y="109"/>
                    </a:lnTo>
                    <a:lnTo>
                      <a:pt x="258" y="111"/>
                    </a:lnTo>
                    <a:lnTo>
                      <a:pt x="242" y="107"/>
                    </a:lnTo>
                    <a:lnTo>
                      <a:pt x="240" y="107"/>
                    </a:lnTo>
                    <a:lnTo>
                      <a:pt x="236" y="109"/>
                    </a:lnTo>
                    <a:lnTo>
                      <a:pt x="234" y="109"/>
                    </a:lnTo>
                    <a:lnTo>
                      <a:pt x="234" y="109"/>
                    </a:lnTo>
                    <a:lnTo>
                      <a:pt x="230" y="109"/>
                    </a:lnTo>
                    <a:lnTo>
                      <a:pt x="228" y="107"/>
                    </a:lnTo>
                    <a:lnTo>
                      <a:pt x="226" y="109"/>
                    </a:lnTo>
                    <a:lnTo>
                      <a:pt x="224" y="109"/>
                    </a:lnTo>
                    <a:lnTo>
                      <a:pt x="222" y="109"/>
                    </a:lnTo>
                    <a:lnTo>
                      <a:pt x="221" y="109"/>
                    </a:lnTo>
                    <a:lnTo>
                      <a:pt x="219" y="109"/>
                    </a:lnTo>
                    <a:lnTo>
                      <a:pt x="219" y="107"/>
                    </a:lnTo>
                    <a:lnTo>
                      <a:pt x="217" y="105"/>
                    </a:lnTo>
                    <a:lnTo>
                      <a:pt x="215" y="103"/>
                    </a:lnTo>
                    <a:lnTo>
                      <a:pt x="211" y="101"/>
                    </a:lnTo>
                    <a:lnTo>
                      <a:pt x="205" y="99"/>
                    </a:lnTo>
                    <a:lnTo>
                      <a:pt x="201" y="97"/>
                    </a:lnTo>
                    <a:lnTo>
                      <a:pt x="199" y="95"/>
                    </a:lnTo>
                    <a:lnTo>
                      <a:pt x="195" y="89"/>
                    </a:lnTo>
                    <a:lnTo>
                      <a:pt x="191" y="85"/>
                    </a:lnTo>
                    <a:lnTo>
                      <a:pt x="193" y="85"/>
                    </a:lnTo>
                    <a:lnTo>
                      <a:pt x="193" y="85"/>
                    </a:lnTo>
                    <a:lnTo>
                      <a:pt x="193" y="84"/>
                    </a:lnTo>
                    <a:lnTo>
                      <a:pt x="193" y="80"/>
                    </a:lnTo>
                    <a:lnTo>
                      <a:pt x="189" y="80"/>
                    </a:lnTo>
                    <a:lnTo>
                      <a:pt x="183" y="80"/>
                    </a:lnTo>
                    <a:lnTo>
                      <a:pt x="181" y="76"/>
                    </a:lnTo>
                    <a:lnTo>
                      <a:pt x="179" y="76"/>
                    </a:lnTo>
                    <a:lnTo>
                      <a:pt x="176" y="76"/>
                    </a:lnTo>
                    <a:lnTo>
                      <a:pt x="176" y="78"/>
                    </a:lnTo>
                    <a:lnTo>
                      <a:pt x="172" y="78"/>
                    </a:lnTo>
                    <a:lnTo>
                      <a:pt x="172" y="80"/>
                    </a:lnTo>
                    <a:lnTo>
                      <a:pt x="170" y="84"/>
                    </a:lnTo>
                    <a:lnTo>
                      <a:pt x="170" y="85"/>
                    </a:lnTo>
                    <a:lnTo>
                      <a:pt x="168" y="85"/>
                    </a:lnTo>
                    <a:lnTo>
                      <a:pt x="164" y="85"/>
                    </a:lnTo>
                    <a:lnTo>
                      <a:pt x="164" y="85"/>
                    </a:lnTo>
                    <a:lnTo>
                      <a:pt x="162" y="87"/>
                    </a:lnTo>
                    <a:lnTo>
                      <a:pt x="160" y="91"/>
                    </a:lnTo>
                    <a:lnTo>
                      <a:pt x="160" y="91"/>
                    </a:lnTo>
                    <a:lnTo>
                      <a:pt x="158" y="91"/>
                    </a:lnTo>
                    <a:lnTo>
                      <a:pt x="154" y="89"/>
                    </a:lnTo>
                    <a:lnTo>
                      <a:pt x="138" y="89"/>
                    </a:lnTo>
                    <a:lnTo>
                      <a:pt x="137" y="89"/>
                    </a:lnTo>
                    <a:lnTo>
                      <a:pt x="135" y="87"/>
                    </a:lnTo>
                    <a:lnTo>
                      <a:pt x="127" y="84"/>
                    </a:lnTo>
                    <a:lnTo>
                      <a:pt x="127" y="84"/>
                    </a:lnTo>
                    <a:lnTo>
                      <a:pt x="125" y="84"/>
                    </a:lnTo>
                    <a:lnTo>
                      <a:pt x="125" y="85"/>
                    </a:lnTo>
                    <a:lnTo>
                      <a:pt x="127" y="87"/>
                    </a:lnTo>
                    <a:lnTo>
                      <a:pt x="125" y="87"/>
                    </a:lnTo>
                    <a:lnTo>
                      <a:pt x="121" y="91"/>
                    </a:lnTo>
                    <a:lnTo>
                      <a:pt x="117" y="89"/>
                    </a:lnTo>
                    <a:lnTo>
                      <a:pt x="115" y="82"/>
                    </a:lnTo>
                    <a:lnTo>
                      <a:pt x="115" y="72"/>
                    </a:lnTo>
                    <a:lnTo>
                      <a:pt x="111" y="72"/>
                    </a:lnTo>
                    <a:lnTo>
                      <a:pt x="101" y="66"/>
                    </a:lnTo>
                    <a:lnTo>
                      <a:pt x="99" y="66"/>
                    </a:lnTo>
                    <a:lnTo>
                      <a:pt x="94" y="66"/>
                    </a:lnTo>
                    <a:lnTo>
                      <a:pt x="88" y="66"/>
                    </a:lnTo>
                    <a:lnTo>
                      <a:pt x="86" y="66"/>
                    </a:lnTo>
                    <a:lnTo>
                      <a:pt x="84" y="70"/>
                    </a:lnTo>
                    <a:lnTo>
                      <a:pt x="86" y="74"/>
                    </a:lnTo>
                    <a:lnTo>
                      <a:pt x="86" y="78"/>
                    </a:lnTo>
                    <a:lnTo>
                      <a:pt x="84" y="82"/>
                    </a:lnTo>
                    <a:lnTo>
                      <a:pt x="82" y="82"/>
                    </a:lnTo>
                    <a:lnTo>
                      <a:pt x="74" y="80"/>
                    </a:lnTo>
                    <a:lnTo>
                      <a:pt x="68" y="80"/>
                    </a:lnTo>
                    <a:lnTo>
                      <a:pt x="66" y="78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2" y="64"/>
                    </a:lnTo>
                    <a:lnTo>
                      <a:pt x="60" y="66"/>
                    </a:lnTo>
                    <a:lnTo>
                      <a:pt x="60" y="66"/>
                    </a:lnTo>
                    <a:lnTo>
                      <a:pt x="60" y="66"/>
                    </a:lnTo>
                    <a:lnTo>
                      <a:pt x="58" y="64"/>
                    </a:lnTo>
                    <a:lnTo>
                      <a:pt x="58" y="62"/>
                    </a:lnTo>
                    <a:lnTo>
                      <a:pt x="58" y="62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4" y="54"/>
                    </a:lnTo>
                    <a:lnTo>
                      <a:pt x="53" y="54"/>
                    </a:lnTo>
                    <a:lnTo>
                      <a:pt x="53" y="54"/>
                    </a:lnTo>
                    <a:lnTo>
                      <a:pt x="53" y="50"/>
                    </a:lnTo>
                    <a:lnTo>
                      <a:pt x="53" y="50"/>
                    </a:lnTo>
                    <a:lnTo>
                      <a:pt x="43" y="39"/>
                    </a:lnTo>
                    <a:lnTo>
                      <a:pt x="39" y="35"/>
                    </a:lnTo>
                    <a:lnTo>
                      <a:pt x="39" y="33"/>
                    </a:lnTo>
                    <a:lnTo>
                      <a:pt x="39" y="31"/>
                    </a:lnTo>
                    <a:lnTo>
                      <a:pt x="43" y="31"/>
                    </a:lnTo>
                    <a:lnTo>
                      <a:pt x="43" y="29"/>
                    </a:lnTo>
                    <a:lnTo>
                      <a:pt x="43" y="27"/>
                    </a:lnTo>
                    <a:lnTo>
                      <a:pt x="35" y="17"/>
                    </a:lnTo>
                    <a:lnTo>
                      <a:pt x="33" y="15"/>
                    </a:lnTo>
                    <a:lnTo>
                      <a:pt x="33" y="15"/>
                    </a:lnTo>
                    <a:lnTo>
                      <a:pt x="33" y="15"/>
                    </a:lnTo>
                    <a:lnTo>
                      <a:pt x="33" y="13"/>
                    </a:lnTo>
                    <a:lnTo>
                      <a:pt x="31" y="11"/>
                    </a:lnTo>
                    <a:lnTo>
                      <a:pt x="29" y="7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36"/>
                    </a:lnTo>
                    <a:lnTo>
                      <a:pt x="19" y="636"/>
                    </a:lnTo>
                    <a:lnTo>
                      <a:pt x="19" y="630"/>
                    </a:lnTo>
                    <a:lnTo>
                      <a:pt x="27" y="62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24" name="Freeform 1242">
                <a:extLst>
                  <a:ext uri="{FF2B5EF4-FFF2-40B4-BE49-F238E27FC236}">
                    <a16:creationId xmlns:a16="http://schemas.microsoft.com/office/drawing/2014/main" id="{0D16C667-C260-4902-B25A-D38FCE32C3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" y="3599"/>
                <a:ext cx="577" cy="217"/>
              </a:xfrm>
              <a:custGeom>
                <a:avLst/>
                <a:gdLst>
                  <a:gd name="T0" fmla="*/ 575 w 577"/>
                  <a:gd name="T1" fmla="*/ 201 h 217"/>
                  <a:gd name="T2" fmla="*/ 573 w 577"/>
                  <a:gd name="T3" fmla="*/ 198 h 217"/>
                  <a:gd name="T4" fmla="*/ 526 w 577"/>
                  <a:gd name="T5" fmla="*/ 184 h 217"/>
                  <a:gd name="T6" fmla="*/ 512 w 577"/>
                  <a:gd name="T7" fmla="*/ 184 h 217"/>
                  <a:gd name="T8" fmla="*/ 510 w 577"/>
                  <a:gd name="T9" fmla="*/ 178 h 217"/>
                  <a:gd name="T10" fmla="*/ 514 w 577"/>
                  <a:gd name="T11" fmla="*/ 166 h 217"/>
                  <a:gd name="T12" fmla="*/ 510 w 577"/>
                  <a:gd name="T13" fmla="*/ 149 h 217"/>
                  <a:gd name="T14" fmla="*/ 514 w 577"/>
                  <a:gd name="T15" fmla="*/ 139 h 217"/>
                  <a:gd name="T16" fmla="*/ 530 w 577"/>
                  <a:gd name="T17" fmla="*/ 112 h 217"/>
                  <a:gd name="T18" fmla="*/ 534 w 577"/>
                  <a:gd name="T19" fmla="*/ 82 h 217"/>
                  <a:gd name="T20" fmla="*/ 516 w 577"/>
                  <a:gd name="T21" fmla="*/ 77 h 217"/>
                  <a:gd name="T22" fmla="*/ 493 w 577"/>
                  <a:gd name="T23" fmla="*/ 57 h 217"/>
                  <a:gd name="T24" fmla="*/ 459 w 577"/>
                  <a:gd name="T25" fmla="*/ 34 h 217"/>
                  <a:gd name="T26" fmla="*/ 420 w 577"/>
                  <a:gd name="T27" fmla="*/ 37 h 217"/>
                  <a:gd name="T28" fmla="*/ 403 w 577"/>
                  <a:gd name="T29" fmla="*/ 32 h 217"/>
                  <a:gd name="T30" fmla="*/ 391 w 577"/>
                  <a:gd name="T31" fmla="*/ 20 h 217"/>
                  <a:gd name="T32" fmla="*/ 381 w 577"/>
                  <a:gd name="T33" fmla="*/ 24 h 217"/>
                  <a:gd name="T34" fmla="*/ 381 w 577"/>
                  <a:gd name="T35" fmla="*/ 14 h 217"/>
                  <a:gd name="T36" fmla="*/ 375 w 577"/>
                  <a:gd name="T37" fmla="*/ 10 h 217"/>
                  <a:gd name="T38" fmla="*/ 368 w 577"/>
                  <a:gd name="T39" fmla="*/ 10 h 217"/>
                  <a:gd name="T40" fmla="*/ 362 w 577"/>
                  <a:gd name="T41" fmla="*/ 2 h 217"/>
                  <a:gd name="T42" fmla="*/ 352 w 577"/>
                  <a:gd name="T43" fmla="*/ 8 h 217"/>
                  <a:gd name="T44" fmla="*/ 336 w 577"/>
                  <a:gd name="T45" fmla="*/ 16 h 217"/>
                  <a:gd name="T46" fmla="*/ 327 w 577"/>
                  <a:gd name="T47" fmla="*/ 28 h 217"/>
                  <a:gd name="T48" fmla="*/ 330 w 577"/>
                  <a:gd name="T49" fmla="*/ 36 h 217"/>
                  <a:gd name="T50" fmla="*/ 346 w 577"/>
                  <a:gd name="T51" fmla="*/ 37 h 217"/>
                  <a:gd name="T52" fmla="*/ 362 w 577"/>
                  <a:gd name="T53" fmla="*/ 37 h 217"/>
                  <a:gd name="T54" fmla="*/ 362 w 577"/>
                  <a:gd name="T55" fmla="*/ 39 h 217"/>
                  <a:gd name="T56" fmla="*/ 358 w 577"/>
                  <a:gd name="T57" fmla="*/ 43 h 217"/>
                  <a:gd name="T58" fmla="*/ 358 w 577"/>
                  <a:gd name="T59" fmla="*/ 51 h 217"/>
                  <a:gd name="T60" fmla="*/ 354 w 577"/>
                  <a:gd name="T61" fmla="*/ 51 h 217"/>
                  <a:gd name="T62" fmla="*/ 336 w 577"/>
                  <a:gd name="T63" fmla="*/ 53 h 217"/>
                  <a:gd name="T64" fmla="*/ 315 w 577"/>
                  <a:gd name="T65" fmla="*/ 53 h 217"/>
                  <a:gd name="T66" fmla="*/ 307 w 577"/>
                  <a:gd name="T67" fmla="*/ 47 h 217"/>
                  <a:gd name="T68" fmla="*/ 289 w 577"/>
                  <a:gd name="T69" fmla="*/ 49 h 217"/>
                  <a:gd name="T70" fmla="*/ 280 w 577"/>
                  <a:gd name="T71" fmla="*/ 55 h 217"/>
                  <a:gd name="T72" fmla="*/ 246 w 577"/>
                  <a:gd name="T73" fmla="*/ 61 h 217"/>
                  <a:gd name="T74" fmla="*/ 235 w 577"/>
                  <a:gd name="T75" fmla="*/ 53 h 217"/>
                  <a:gd name="T76" fmla="*/ 215 w 577"/>
                  <a:gd name="T77" fmla="*/ 63 h 217"/>
                  <a:gd name="T78" fmla="*/ 198 w 577"/>
                  <a:gd name="T79" fmla="*/ 59 h 217"/>
                  <a:gd name="T80" fmla="*/ 192 w 577"/>
                  <a:gd name="T81" fmla="*/ 55 h 217"/>
                  <a:gd name="T82" fmla="*/ 174 w 577"/>
                  <a:gd name="T83" fmla="*/ 65 h 217"/>
                  <a:gd name="T84" fmla="*/ 178 w 577"/>
                  <a:gd name="T85" fmla="*/ 71 h 217"/>
                  <a:gd name="T86" fmla="*/ 174 w 577"/>
                  <a:gd name="T87" fmla="*/ 73 h 217"/>
                  <a:gd name="T88" fmla="*/ 176 w 577"/>
                  <a:gd name="T89" fmla="*/ 77 h 217"/>
                  <a:gd name="T90" fmla="*/ 168 w 577"/>
                  <a:gd name="T91" fmla="*/ 78 h 217"/>
                  <a:gd name="T92" fmla="*/ 164 w 577"/>
                  <a:gd name="T93" fmla="*/ 82 h 217"/>
                  <a:gd name="T94" fmla="*/ 162 w 577"/>
                  <a:gd name="T95" fmla="*/ 90 h 217"/>
                  <a:gd name="T96" fmla="*/ 141 w 577"/>
                  <a:gd name="T97" fmla="*/ 92 h 217"/>
                  <a:gd name="T98" fmla="*/ 131 w 577"/>
                  <a:gd name="T99" fmla="*/ 94 h 217"/>
                  <a:gd name="T100" fmla="*/ 125 w 577"/>
                  <a:gd name="T101" fmla="*/ 78 h 217"/>
                  <a:gd name="T102" fmla="*/ 112 w 577"/>
                  <a:gd name="T103" fmla="*/ 77 h 217"/>
                  <a:gd name="T104" fmla="*/ 94 w 577"/>
                  <a:gd name="T105" fmla="*/ 77 h 217"/>
                  <a:gd name="T106" fmla="*/ 92 w 577"/>
                  <a:gd name="T107" fmla="*/ 86 h 217"/>
                  <a:gd name="T108" fmla="*/ 82 w 577"/>
                  <a:gd name="T109" fmla="*/ 98 h 217"/>
                  <a:gd name="T110" fmla="*/ 92 w 577"/>
                  <a:gd name="T111" fmla="*/ 110 h 217"/>
                  <a:gd name="T112" fmla="*/ 100 w 577"/>
                  <a:gd name="T113" fmla="*/ 118 h 217"/>
                  <a:gd name="T114" fmla="*/ 92 w 577"/>
                  <a:gd name="T115" fmla="*/ 123 h 217"/>
                  <a:gd name="T116" fmla="*/ 76 w 577"/>
                  <a:gd name="T117" fmla="*/ 147 h 217"/>
                  <a:gd name="T118" fmla="*/ 51 w 577"/>
                  <a:gd name="T119" fmla="*/ 168 h 217"/>
                  <a:gd name="T120" fmla="*/ 43 w 577"/>
                  <a:gd name="T121" fmla="*/ 178 h 217"/>
                  <a:gd name="T122" fmla="*/ 28 w 577"/>
                  <a:gd name="T123" fmla="*/ 201 h 217"/>
                  <a:gd name="T124" fmla="*/ 575 w 577"/>
                  <a:gd name="T125" fmla="*/ 215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7" h="217">
                    <a:moveTo>
                      <a:pt x="575" y="215"/>
                    </a:moveTo>
                    <a:lnTo>
                      <a:pt x="573" y="213"/>
                    </a:lnTo>
                    <a:lnTo>
                      <a:pt x="573" y="211"/>
                    </a:lnTo>
                    <a:lnTo>
                      <a:pt x="573" y="207"/>
                    </a:lnTo>
                    <a:lnTo>
                      <a:pt x="575" y="201"/>
                    </a:lnTo>
                    <a:lnTo>
                      <a:pt x="575" y="200"/>
                    </a:lnTo>
                    <a:lnTo>
                      <a:pt x="575" y="198"/>
                    </a:lnTo>
                    <a:lnTo>
                      <a:pt x="575" y="198"/>
                    </a:lnTo>
                    <a:lnTo>
                      <a:pt x="573" y="198"/>
                    </a:lnTo>
                    <a:lnTo>
                      <a:pt x="573" y="198"/>
                    </a:lnTo>
                    <a:lnTo>
                      <a:pt x="573" y="194"/>
                    </a:lnTo>
                    <a:lnTo>
                      <a:pt x="541" y="184"/>
                    </a:lnTo>
                    <a:lnTo>
                      <a:pt x="538" y="184"/>
                    </a:lnTo>
                    <a:lnTo>
                      <a:pt x="530" y="186"/>
                    </a:lnTo>
                    <a:lnTo>
                      <a:pt x="526" y="184"/>
                    </a:lnTo>
                    <a:lnTo>
                      <a:pt x="526" y="184"/>
                    </a:lnTo>
                    <a:lnTo>
                      <a:pt x="524" y="186"/>
                    </a:lnTo>
                    <a:lnTo>
                      <a:pt x="522" y="186"/>
                    </a:lnTo>
                    <a:lnTo>
                      <a:pt x="512" y="184"/>
                    </a:lnTo>
                    <a:lnTo>
                      <a:pt x="512" y="184"/>
                    </a:lnTo>
                    <a:lnTo>
                      <a:pt x="508" y="182"/>
                    </a:lnTo>
                    <a:lnTo>
                      <a:pt x="508" y="182"/>
                    </a:lnTo>
                    <a:lnTo>
                      <a:pt x="508" y="182"/>
                    </a:lnTo>
                    <a:lnTo>
                      <a:pt x="508" y="180"/>
                    </a:lnTo>
                    <a:lnTo>
                      <a:pt x="510" y="178"/>
                    </a:lnTo>
                    <a:lnTo>
                      <a:pt x="512" y="176"/>
                    </a:lnTo>
                    <a:lnTo>
                      <a:pt x="514" y="174"/>
                    </a:lnTo>
                    <a:lnTo>
                      <a:pt x="514" y="172"/>
                    </a:lnTo>
                    <a:lnTo>
                      <a:pt x="514" y="168"/>
                    </a:lnTo>
                    <a:lnTo>
                      <a:pt x="514" y="166"/>
                    </a:lnTo>
                    <a:lnTo>
                      <a:pt x="514" y="162"/>
                    </a:lnTo>
                    <a:lnTo>
                      <a:pt x="512" y="159"/>
                    </a:lnTo>
                    <a:lnTo>
                      <a:pt x="510" y="159"/>
                    </a:lnTo>
                    <a:lnTo>
                      <a:pt x="510" y="155"/>
                    </a:lnTo>
                    <a:lnTo>
                      <a:pt x="510" y="149"/>
                    </a:lnTo>
                    <a:lnTo>
                      <a:pt x="510" y="147"/>
                    </a:lnTo>
                    <a:lnTo>
                      <a:pt x="510" y="147"/>
                    </a:lnTo>
                    <a:lnTo>
                      <a:pt x="510" y="147"/>
                    </a:lnTo>
                    <a:lnTo>
                      <a:pt x="510" y="145"/>
                    </a:lnTo>
                    <a:lnTo>
                      <a:pt x="514" y="139"/>
                    </a:lnTo>
                    <a:lnTo>
                      <a:pt x="516" y="133"/>
                    </a:lnTo>
                    <a:lnTo>
                      <a:pt x="522" y="125"/>
                    </a:lnTo>
                    <a:lnTo>
                      <a:pt x="528" y="118"/>
                    </a:lnTo>
                    <a:lnTo>
                      <a:pt x="528" y="116"/>
                    </a:lnTo>
                    <a:lnTo>
                      <a:pt x="530" y="112"/>
                    </a:lnTo>
                    <a:lnTo>
                      <a:pt x="530" y="110"/>
                    </a:lnTo>
                    <a:lnTo>
                      <a:pt x="536" y="102"/>
                    </a:lnTo>
                    <a:lnTo>
                      <a:pt x="538" y="98"/>
                    </a:lnTo>
                    <a:lnTo>
                      <a:pt x="538" y="88"/>
                    </a:lnTo>
                    <a:lnTo>
                      <a:pt x="534" y="82"/>
                    </a:lnTo>
                    <a:lnTo>
                      <a:pt x="526" y="80"/>
                    </a:lnTo>
                    <a:lnTo>
                      <a:pt x="522" y="73"/>
                    </a:lnTo>
                    <a:lnTo>
                      <a:pt x="522" y="73"/>
                    </a:lnTo>
                    <a:lnTo>
                      <a:pt x="522" y="73"/>
                    </a:lnTo>
                    <a:lnTo>
                      <a:pt x="516" y="77"/>
                    </a:lnTo>
                    <a:lnTo>
                      <a:pt x="512" y="78"/>
                    </a:lnTo>
                    <a:lnTo>
                      <a:pt x="497" y="65"/>
                    </a:lnTo>
                    <a:lnTo>
                      <a:pt x="495" y="65"/>
                    </a:lnTo>
                    <a:lnTo>
                      <a:pt x="493" y="59"/>
                    </a:lnTo>
                    <a:lnTo>
                      <a:pt x="493" y="57"/>
                    </a:lnTo>
                    <a:lnTo>
                      <a:pt x="491" y="55"/>
                    </a:lnTo>
                    <a:lnTo>
                      <a:pt x="463" y="39"/>
                    </a:lnTo>
                    <a:lnTo>
                      <a:pt x="461" y="37"/>
                    </a:lnTo>
                    <a:lnTo>
                      <a:pt x="461" y="37"/>
                    </a:lnTo>
                    <a:lnTo>
                      <a:pt x="459" y="34"/>
                    </a:lnTo>
                    <a:lnTo>
                      <a:pt x="450" y="34"/>
                    </a:lnTo>
                    <a:lnTo>
                      <a:pt x="432" y="32"/>
                    </a:lnTo>
                    <a:lnTo>
                      <a:pt x="428" y="32"/>
                    </a:lnTo>
                    <a:lnTo>
                      <a:pt x="426" y="36"/>
                    </a:lnTo>
                    <a:lnTo>
                      <a:pt x="420" y="37"/>
                    </a:lnTo>
                    <a:lnTo>
                      <a:pt x="413" y="37"/>
                    </a:lnTo>
                    <a:lnTo>
                      <a:pt x="409" y="37"/>
                    </a:lnTo>
                    <a:lnTo>
                      <a:pt x="405" y="34"/>
                    </a:lnTo>
                    <a:lnTo>
                      <a:pt x="405" y="34"/>
                    </a:lnTo>
                    <a:lnTo>
                      <a:pt x="403" y="32"/>
                    </a:lnTo>
                    <a:lnTo>
                      <a:pt x="403" y="30"/>
                    </a:lnTo>
                    <a:lnTo>
                      <a:pt x="405" y="28"/>
                    </a:lnTo>
                    <a:lnTo>
                      <a:pt x="401" y="24"/>
                    </a:lnTo>
                    <a:lnTo>
                      <a:pt x="395" y="22"/>
                    </a:lnTo>
                    <a:lnTo>
                      <a:pt x="391" y="20"/>
                    </a:lnTo>
                    <a:lnTo>
                      <a:pt x="389" y="26"/>
                    </a:lnTo>
                    <a:lnTo>
                      <a:pt x="391" y="28"/>
                    </a:lnTo>
                    <a:lnTo>
                      <a:pt x="381" y="28"/>
                    </a:lnTo>
                    <a:lnTo>
                      <a:pt x="381" y="26"/>
                    </a:lnTo>
                    <a:lnTo>
                      <a:pt x="381" y="24"/>
                    </a:lnTo>
                    <a:lnTo>
                      <a:pt x="379" y="22"/>
                    </a:lnTo>
                    <a:lnTo>
                      <a:pt x="379" y="20"/>
                    </a:lnTo>
                    <a:lnTo>
                      <a:pt x="379" y="18"/>
                    </a:lnTo>
                    <a:lnTo>
                      <a:pt x="381" y="16"/>
                    </a:lnTo>
                    <a:lnTo>
                      <a:pt x="381" y="14"/>
                    </a:lnTo>
                    <a:lnTo>
                      <a:pt x="381" y="12"/>
                    </a:lnTo>
                    <a:lnTo>
                      <a:pt x="379" y="12"/>
                    </a:lnTo>
                    <a:lnTo>
                      <a:pt x="377" y="12"/>
                    </a:lnTo>
                    <a:lnTo>
                      <a:pt x="375" y="12"/>
                    </a:lnTo>
                    <a:lnTo>
                      <a:pt x="375" y="10"/>
                    </a:lnTo>
                    <a:lnTo>
                      <a:pt x="373" y="6"/>
                    </a:lnTo>
                    <a:lnTo>
                      <a:pt x="371" y="4"/>
                    </a:lnTo>
                    <a:lnTo>
                      <a:pt x="370" y="4"/>
                    </a:lnTo>
                    <a:lnTo>
                      <a:pt x="368" y="4"/>
                    </a:lnTo>
                    <a:lnTo>
                      <a:pt x="368" y="10"/>
                    </a:lnTo>
                    <a:lnTo>
                      <a:pt x="366" y="12"/>
                    </a:lnTo>
                    <a:lnTo>
                      <a:pt x="364" y="10"/>
                    </a:lnTo>
                    <a:lnTo>
                      <a:pt x="364" y="8"/>
                    </a:lnTo>
                    <a:lnTo>
                      <a:pt x="362" y="4"/>
                    </a:lnTo>
                    <a:lnTo>
                      <a:pt x="362" y="2"/>
                    </a:lnTo>
                    <a:lnTo>
                      <a:pt x="360" y="0"/>
                    </a:lnTo>
                    <a:lnTo>
                      <a:pt x="356" y="0"/>
                    </a:lnTo>
                    <a:lnTo>
                      <a:pt x="352" y="2"/>
                    </a:lnTo>
                    <a:lnTo>
                      <a:pt x="354" y="6"/>
                    </a:lnTo>
                    <a:lnTo>
                      <a:pt x="352" y="8"/>
                    </a:lnTo>
                    <a:lnTo>
                      <a:pt x="342" y="10"/>
                    </a:lnTo>
                    <a:lnTo>
                      <a:pt x="340" y="10"/>
                    </a:lnTo>
                    <a:lnTo>
                      <a:pt x="338" y="10"/>
                    </a:lnTo>
                    <a:lnTo>
                      <a:pt x="336" y="14"/>
                    </a:lnTo>
                    <a:lnTo>
                      <a:pt x="336" y="16"/>
                    </a:lnTo>
                    <a:lnTo>
                      <a:pt x="334" y="20"/>
                    </a:lnTo>
                    <a:lnTo>
                      <a:pt x="332" y="22"/>
                    </a:lnTo>
                    <a:lnTo>
                      <a:pt x="328" y="24"/>
                    </a:lnTo>
                    <a:lnTo>
                      <a:pt x="327" y="26"/>
                    </a:lnTo>
                    <a:lnTo>
                      <a:pt x="327" y="28"/>
                    </a:lnTo>
                    <a:lnTo>
                      <a:pt x="328" y="30"/>
                    </a:lnTo>
                    <a:lnTo>
                      <a:pt x="328" y="32"/>
                    </a:lnTo>
                    <a:lnTo>
                      <a:pt x="327" y="36"/>
                    </a:lnTo>
                    <a:lnTo>
                      <a:pt x="330" y="36"/>
                    </a:lnTo>
                    <a:lnTo>
                      <a:pt x="330" y="36"/>
                    </a:lnTo>
                    <a:lnTo>
                      <a:pt x="334" y="39"/>
                    </a:lnTo>
                    <a:lnTo>
                      <a:pt x="338" y="41"/>
                    </a:lnTo>
                    <a:lnTo>
                      <a:pt x="342" y="41"/>
                    </a:lnTo>
                    <a:lnTo>
                      <a:pt x="344" y="39"/>
                    </a:lnTo>
                    <a:lnTo>
                      <a:pt x="346" y="37"/>
                    </a:lnTo>
                    <a:lnTo>
                      <a:pt x="348" y="37"/>
                    </a:lnTo>
                    <a:lnTo>
                      <a:pt x="356" y="36"/>
                    </a:lnTo>
                    <a:lnTo>
                      <a:pt x="360" y="36"/>
                    </a:lnTo>
                    <a:lnTo>
                      <a:pt x="362" y="36"/>
                    </a:lnTo>
                    <a:lnTo>
                      <a:pt x="362" y="37"/>
                    </a:lnTo>
                    <a:lnTo>
                      <a:pt x="364" y="37"/>
                    </a:lnTo>
                    <a:lnTo>
                      <a:pt x="362" y="43"/>
                    </a:lnTo>
                    <a:lnTo>
                      <a:pt x="362" y="41"/>
                    </a:lnTo>
                    <a:lnTo>
                      <a:pt x="362" y="41"/>
                    </a:lnTo>
                    <a:lnTo>
                      <a:pt x="362" y="39"/>
                    </a:lnTo>
                    <a:lnTo>
                      <a:pt x="360" y="39"/>
                    </a:lnTo>
                    <a:lnTo>
                      <a:pt x="360" y="41"/>
                    </a:lnTo>
                    <a:lnTo>
                      <a:pt x="358" y="41"/>
                    </a:lnTo>
                    <a:lnTo>
                      <a:pt x="358" y="43"/>
                    </a:lnTo>
                    <a:lnTo>
                      <a:pt x="358" y="43"/>
                    </a:lnTo>
                    <a:lnTo>
                      <a:pt x="360" y="45"/>
                    </a:lnTo>
                    <a:lnTo>
                      <a:pt x="360" y="45"/>
                    </a:lnTo>
                    <a:lnTo>
                      <a:pt x="360" y="47"/>
                    </a:lnTo>
                    <a:lnTo>
                      <a:pt x="360" y="49"/>
                    </a:lnTo>
                    <a:lnTo>
                      <a:pt x="358" y="51"/>
                    </a:lnTo>
                    <a:lnTo>
                      <a:pt x="358" y="51"/>
                    </a:lnTo>
                    <a:lnTo>
                      <a:pt x="358" y="53"/>
                    </a:lnTo>
                    <a:lnTo>
                      <a:pt x="356" y="53"/>
                    </a:lnTo>
                    <a:lnTo>
                      <a:pt x="354" y="51"/>
                    </a:lnTo>
                    <a:lnTo>
                      <a:pt x="354" y="51"/>
                    </a:lnTo>
                    <a:lnTo>
                      <a:pt x="352" y="47"/>
                    </a:lnTo>
                    <a:lnTo>
                      <a:pt x="350" y="45"/>
                    </a:lnTo>
                    <a:lnTo>
                      <a:pt x="344" y="45"/>
                    </a:lnTo>
                    <a:lnTo>
                      <a:pt x="338" y="49"/>
                    </a:lnTo>
                    <a:lnTo>
                      <a:pt x="336" y="53"/>
                    </a:lnTo>
                    <a:lnTo>
                      <a:pt x="336" y="55"/>
                    </a:lnTo>
                    <a:lnTo>
                      <a:pt x="332" y="55"/>
                    </a:lnTo>
                    <a:lnTo>
                      <a:pt x="332" y="55"/>
                    </a:lnTo>
                    <a:lnTo>
                      <a:pt x="321" y="55"/>
                    </a:lnTo>
                    <a:lnTo>
                      <a:pt x="315" y="53"/>
                    </a:lnTo>
                    <a:lnTo>
                      <a:pt x="313" y="53"/>
                    </a:lnTo>
                    <a:lnTo>
                      <a:pt x="311" y="51"/>
                    </a:lnTo>
                    <a:lnTo>
                      <a:pt x="311" y="47"/>
                    </a:lnTo>
                    <a:lnTo>
                      <a:pt x="309" y="47"/>
                    </a:lnTo>
                    <a:lnTo>
                      <a:pt x="307" y="47"/>
                    </a:lnTo>
                    <a:lnTo>
                      <a:pt x="303" y="45"/>
                    </a:lnTo>
                    <a:lnTo>
                      <a:pt x="301" y="45"/>
                    </a:lnTo>
                    <a:lnTo>
                      <a:pt x="291" y="47"/>
                    </a:lnTo>
                    <a:lnTo>
                      <a:pt x="291" y="47"/>
                    </a:lnTo>
                    <a:lnTo>
                      <a:pt x="289" y="49"/>
                    </a:lnTo>
                    <a:lnTo>
                      <a:pt x="289" y="49"/>
                    </a:lnTo>
                    <a:lnTo>
                      <a:pt x="286" y="51"/>
                    </a:lnTo>
                    <a:lnTo>
                      <a:pt x="282" y="53"/>
                    </a:lnTo>
                    <a:lnTo>
                      <a:pt x="282" y="53"/>
                    </a:lnTo>
                    <a:lnTo>
                      <a:pt x="280" y="55"/>
                    </a:lnTo>
                    <a:lnTo>
                      <a:pt x="278" y="57"/>
                    </a:lnTo>
                    <a:lnTo>
                      <a:pt x="278" y="57"/>
                    </a:lnTo>
                    <a:lnTo>
                      <a:pt x="276" y="59"/>
                    </a:lnTo>
                    <a:lnTo>
                      <a:pt x="268" y="61"/>
                    </a:lnTo>
                    <a:lnTo>
                      <a:pt x="246" y="61"/>
                    </a:lnTo>
                    <a:lnTo>
                      <a:pt x="246" y="59"/>
                    </a:lnTo>
                    <a:lnTo>
                      <a:pt x="246" y="57"/>
                    </a:lnTo>
                    <a:lnTo>
                      <a:pt x="246" y="55"/>
                    </a:lnTo>
                    <a:lnTo>
                      <a:pt x="244" y="53"/>
                    </a:lnTo>
                    <a:lnTo>
                      <a:pt x="235" y="53"/>
                    </a:lnTo>
                    <a:lnTo>
                      <a:pt x="231" y="51"/>
                    </a:lnTo>
                    <a:lnTo>
                      <a:pt x="229" y="57"/>
                    </a:lnTo>
                    <a:lnTo>
                      <a:pt x="225" y="59"/>
                    </a:lnTo>
                    <a:lnTo>
                      <a:pt x="223" y="61"/>
                    </a:lnTo>
                    <a:lnTo>
                      <a:pt x="215" y="63"/>
                    </a:lnTo>
                    <a:lnTo>
                      <a:pt x="209" y="65"/>
                    </a:lnTo>
                    <a:lnTo>
                      <a:pt x="205" y="65"/>
                    </a:lnTo>
                    <a:lnTo>
                      <a:pt x="203" y="63"/>
                    </a:lnTo>
                    <a:lnTo>
                      <a:pt x="196" y="59"/>
                    </a:lnTo>
                    <a:lnTo>
                      <a:pt x="198" y="59"/>
                    </a:lnTo>
                    <a:lnTo>
                      <a:pt x="202" y="59"/>
                    </a:lnTo>
                    <a:lnTo>
                      <a:pt x="202" y="57"/>
                    </a:lnTo>
                    <a:lnTo>
                      <a:pt x="205" y="51"/>
                    </a:lnTo>
                    <a:lnTo>
                      <a:pt x="202" y="51"/>
                    </a:lnTo>
                    <a:lnTo>
                      <a:pt x="192" y="55"/>
                    </a:lnTo>
                    <a:lnTo>
                      <a:pt x="192" y="55"/>
                    </a:lnTo>
                    <a:lnTo>
                      <a:pt x="186" y="57"/>
                    </a:lnTo>
                    <a:lnTo>
                      <a:pt x="182" y="59"/>
                    </a:lnTo>
                    <a:lnTo>
                      <a:pt x="182" y="59"/>
                    </a:lnTo>
                    <a:lnTo>
                      <a:pt x="174" y="65"/>
                    </a:lnTo>
                    <a:lnTo>
                      <a:pt x="176" y="65"/>
                    </a:lnTo>
                    <a:lnTo>
                      <a:pt x="178" y="67"/>
                    </a:lnTo>
                    <a:lnTo>
                      <a:pt x="178" y="67"/>
                    </a:lnTo>
                    <a:lnTo>
                      <a:pt x="178" y="71"/>
                    </a:lnTo>
                    <a:lnTo>
                      <a:pt x="178" y="71"/>
                    </a:lnTo>
                    <a:lnTo>
                      <a:pt x="176" y="71"/>
                    </a:lnTo>
                    <a:lnTo>
                      <a:pt x="174" y="71"/>
                    </a:lnTo>
                    <a:lnTo>
                      <a:pt x="174" y="73"/>
                    </a:lnTo>
                    <a:lnTo>
                      <a:pt x="174" y="73"/>
                    </a:lnTo>
                    <a:lnTo>
                      <a:pt x="174" y="73"/>
                    </a:lnTo>
                    <a:lnTo>
                      <a:pt x="176" y="75"/>
                    </a:lnTo>
                    <a:lnTo>
                      <a:pt x="176" y="77"/>
                    </a:lnTo>
                    <a:lnTo>
                      <a:pt x="176" y="77"/>
                    </a:lnTo>
                    <a:lnTo>
                      <a:pt x="176" y="77"/>
                    </a:lnTo>
                    <a:lnTo>
                      <a:pt x="176" y="77"/>
                    </a:lnTo>
                    <a:lnTo>
                      <a:pt x="174" y="78"/>
                    </a:lnTo>
                    <a:lnTo>
                      <a:pt x="172" y="80"/>
                    </a:lnTo>
                    <a:lnTo>
                      <a:pt x="170" y="80"/>
                    </a:lnTo>
                    <a:lnTo>
                      <a:pt x="168" y="78"/>
                    </a:lnTo>
                    <a:lnTo>
                      <a:pt x="168" y="78"/>
                    </a:lnTo>
                    <a:lnTo>
                      <a:pt x="166" y="77"/>
                    </a:lnTo>
                    <a:lnTo>
                      <a:pt x="164" y="78"/>
                    </a:lnTo>
                    <a:lnTo>
                      <a:pt x="164" y="78"/>
                    </a:lnTo>
                    <a:lnTo>
                      <a:pt x="164" y="80"/>
                    </a:lnTo>
                    <a:lnTo>
                      <a:pt x="164" y="82"/>
                    </a:lnTo>
                    <a:lnTo>
                      <a:pt x="166" y="82"/>
                    </a:lnTo>
                    <a:lnTo>
                      <a:pt x="166" y="84"/>
                    </a:lnTo>
                    <a:lnTo>
                      <a:pt x="166" y="86"/>
                    </a:lnTo>
                    <a:lnTo>
                      <a:pt x="164" y="88"/>
                    </a:lnTo>
                    <a:lnTo>
                      <a:pt x="162" y="90"/>
                    </a:lnTo>
                    <a:lnTo>
                      <a:pt x="159" y="92"/>
                    </a:lnTo>
                    <a:lnTo>
                      <a:pt x="159" y="92"/>
                    </a:lnTo>
                    <a:lnTo>
                      <a:pt x="151" y="92"/>
                    </a:lnTo>
                    <a:lnTo>
                      <a:pt x="147" y="92"/>
                    </a:lnTo>
                    <a:lnTo>
                      <a:pt x="141" y="92"/>
                    </a:lnTo>
                    <a:lnTo>
                      <a:pt x="135" y="96"/>
                    </a:lnTo>
                    <a:lnTo>
                      <a:pt x="133" y="96"/>
                    </a:lnTo>
                    <a:lnTo>
                      <a:pt x="133" y="96"/>
                    </a:lnTo>
                    <a:lnTo>
                      <a:pt x="133" y="94"/>
                    </a:lnTo>
                    <a:lnTo>
                      <a:pt x="131" y="94"/>
                    </a:lnTo>
                    <a:lnTo>
                      <a:pt x="131" y="92"/>
                    </a:lnTo>
                    <a:lnTo>
                      <a:pt x="125" y="92"/>
                    </a:lnTo>
                    <a:lnTo>
                      <a:pt x="123" y="90"/>
                    </a:lnTo>
                    <a:lnTo>
                      <a:pt x="121" y="86"/>
                    </a:lnTo>
                    <a:lnTo>
                      <a:pt x="125" y="78"/>
                    </a:lnTo>
                    <a:lnTo>
                      <a:pt x="119" y="78"/>
                    </a:lnTo>
                    <a:lnTo>
                      <a:pt x="118" y="78"/>
                    </a:lnTo>
                    <a:lnTo>
                      <a:pt x="118" y="78"/>
                    </a:lnTo>
                    <a:lnTo>
                      <a:pt x="116" y="77"/>
                    </a:lnTo>
                    <a:lnTo>
                      <a:pt x="112" y="77"/>
                    </a:lnTo>
                    <a:lnTo>
                      <a:pt x="104" y="78"/>
                    </a:lnTo>
                    <a:lnTo>
                      <a:pt x="100" y="77"/>
                    </a:lnTo>
                    <a:lnTo>
                      <a:pt x="98" y="77"/>
                    </a:lnTo>
                    <a:lnTo>
                      <a:pt x="96" y="77"/>
                    </a:lnTo>
                    <a:lnTo>
                      <a:pt x="94" y="77"/>
                    </a:lnTo>
                    <a:lnTo>
                      <a:pt x="92" y="77"/>
                    </a:lnTo>
                    <a:lnTo>
                      <a:pt x="90" y="78"/>
                    </a:lnTo>
                    <a:lnTo>
                      <a:pt x="90" y="80"/>
                    </a:lnTo>
                    <a:lnTo>
                      <a:pt x="92" y="84"/>
                    </a:lnTo>
                    <a:lnTo>
                      <a:pt x="92" y="86"/>
                    </a:lnTo>
                    <a:lnTo>
                      <a:pt x="92" y="90"/>
                    </a:lnTo>
                    <a:lnTo>
                      <a:pt x="88" y="92"/>
                    </a:lnTo>
                    <a:lnTo>
                      <a:pt x="86" y="92"/>
                    </a:lnTo>
                    <a:lnTo>
                      <a:pt x="82" y="94"/>
                    </a:lnTo>
                    <a:lnTo>
                      <a:pt x="82" y="98"/>
                    </a:lnTo>
                    <a:lnTo>
                      <a:pt x="76" y="102"/>
                    </a:lnTo>
                    <a:lnTo>
                      <a:pt x="75" y="104"/>
                    </a:lnTo>
                    <a:lnTo>
                      <a:pt x="73" y="108"/>
                    </a:lnTo>
                    <a:lnTo>
                      <a:pt x="73" y="112"/>
                    </a:lnTo>
                    <a:lnTo>
                      <a:pt x="92" y="110"/>
                    </a:lnTo>
                    <a:lnTo>
                      <a:pt x="94" y="108"/>
                    </a:lnTo>
                    <a:lnTo>
                      <a:pt x="98" y="110"/>
                    </a:lnTo>
                    <a:lnTo>
                      <a:pt x="100" y="112"/>
                    </a:lnTo>
                    <a:lnTo>
                      <a:pt x="102" y="116"/>
                    </a:lnTo>
                    <a:lnTo>
                      <a:pt x="100" y="118"/>
                    </a:lnTo>
                    <a:lnTo>
                      <a:pt x="98" y="118"/>
                    </a:lnTo>
                    <a:lnTo>
                      <a:pt x="98" y="119"/>
                    </a:lnTo>
                    <a:lnTo>
                      <a:pt x="96" y="119"/>
                    </a:lnTo>
                    <a:lnTo>
                      <a:pt x="92" y="123"/>
                    </a:lnTo>
                    <a:lnTo>
                      <a:pt x="92" y="123"/>
                    </a:lnTo>
                    <a:lnTo>
                      <a:pt x="90" y="123"/>
                    </a:lnTo>
                    <a:lnTo>
                      <a:pt x="88" y="127"/>
                    </a:lnTo>
                    <a:lnTo>
                      <a:pt x="86" y="131"/>
                    </a:lnTo>
                    <a:lnTo>
                      <a:pt x="86" y="139"/>
                    </a:lnTo>
                    <a:lnTo>
                      <a:pt x="76" y="147"/>
                    </a:lnTo>
                    <a:lnTo>
                      <a:pt x="71" y="151"/>
                    </a:lnTo>
                    <a:lnTo>
                      <a:pt x="67" y="157"/>
                    </a:lnTo>
                    <a:lnTo>
                      <a:pt x="67" y="157"/>
                    </a:lnTo>
                    <a:lnTo>
                      <a:pt x="57" y="166"/>
                    </a:lnTo>
                    <a:lnTo>
                      <a:pt x="51" y="168"/>
                    </a:lnTo>
                    <a:lnTo>
                      <a:pt x="51" y="172"/>
                    </a:lnTo>
                    <a:lnTo>
                      <a:pt x="49" y="174"/>
                    </a:lnTo>
                    <a:lnTo>
                      <a:pt x="49" y="174"/>
                    </a:lnTo>
                    <a:lnTo>
                      <a:pt x="47" y="176"/>
                    </a:lnTo>
                    <a:lnTo>
                      <a:pt x="43" y="178"/>
                    </a:lnTo>
                    <a:lnTo>
                      <a:pt x="43" y="180"/>
                    </a:lnTo>
                    <a:lnTo>
                      <a:pt x="39" y="184"/>
                    </a:lnTo>
                    <a:lnTo>
                      <a:pt x="41" y="188"/>
                    </a:lnTo>
                    <a:lnTo>
                      <a:pt x="37" y="194"/>
                    </a:lnTo>
                    <a:lnTo>
                      <a:pt x="28" y="201"/>
                    </a:lnTo>
                    <a:lnTo>
                      <a:pt x="8" y="207"/>
                    </a:lnTo>
                    <a:lnTo>
                      <a:pt x="0" y="211"/>
                    </a:lnTo>
                    <a:lnTo>
                      <a:pt x="0" y="217"/>
                    </a:lnTo>
                    <a:lnTo>
                      <a:pt x="577" y="217"/>
                    </a:lnTo>
                    <a:lnTo>
                      <a:pt x="575" y="21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25" name="Freeform 1243">
                <a:extLst>
                  <a:ext uri="{FF2B5EF4-FFF2-40B4-BE49-F238E27FC236}">
                    <a16:creationId xmlns:a16="http://schemas.microsoft.com/office/drawing/2014/main" id="{6DEDD5BE-BB21-4DA1-AD03-7C7263A5F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" y="3799"/>
                <a:ext cx="39" cy="17"/>
              </a:xfrm>
              <a:custGeom>
                <a:avLst/>
                <a:gdLst>
                  <a:gd name="T0" fmla="*/ 37 w 39"/>
                  <a:gd name="T1" fmla="*/ 13 h 17"/>
                  <a:gd name="T2" fmla="*/ 37 w 39"/>
                  <a:gd name="T3" fmla="*/ 11 h 17"/>
                  <a:gd name="T4" fmla="*/ 31 w 39"/>
                  <a:gd name="T5" fmla="*/ 7 h 17"/>
                  <a:gd name="T6" fmla="*/ 28 w 39"/>
                  <a:gd name="T7" fmla="*/ 1 h 17"/>
                  <a:gd name="T8" fmla="*/ 26 w 39"/>
                  <a:gd name="T9" fmla="*/ 0 h 17"/>
                  <a:gd name="T10" fmla="*/ 26 w 39"/>
                  <a:gd name="T11" fmla="*/ 0 h 17"/>
                  <a:gd name="T12" fmla="*/ 26 w 39"/>
                  <a:gd name="T13" fmla="*/ 0 h 17"/>
                  <a:gd name="T14" fmla="*/ 24 w 39"/>
                  <a:gd name="T15" fmla="*/ 0 h 17"/>
                  <a:gd name="T16" fmla="*/ 24 w 39"/>
                  <a:gd name="T17" fmla="*/ 0 h 17"/>
                  <a:gd name="T18" fmla="*/ 18 w 39"/>
                  <a:gd name="T19" fmla="*/ 1 h 17"/>
                  <a:gd name="T20" fmla="*/ 14 w 39"/>
                  <a:gd name="T21" fmla="*/ 7 h 17"/>
                  <a:gd name="T22" fmla="*/ 10 w 39"/>
                  <a:gd name="T23" fmla="*/ 13 h 17"/>
                  <a:gd name="T24" fmla="*/ 10 w 39"/>
                  <a:gd name="T25" fmla="*/ 17 h 17"/>
                  <a:gd name="T26" fmla="*/ 6 w 39"/>
                  <a:gd name="T27" fmla="*/ 17 h 17"/>
                  <a:gd name="T28" fmla="*/ 4 w 39"/>
                  <a:gd name="T29" fmla="*/ 17 h 17"/>
                  <a:gd name="T30" fmla="*/ 0 w 39"/>
                  <a:gd name="T31" fmla="*/ 17 h 17"/>
                  <a:gd name="T32" fmla="*/ 0 w 39"/>
                  <a:gd name="T33" fmla="*/ 17 h 17"/>
                  <a:gd name="T34" fmla="*/ 39 w 39"/>
                  <a:gd name="T35" fmla="*/ 17 h 17"/>
                  <a:gd name="T36" fmla="*/ 37 w 39"/>
                  <a:gd name="T37" fmla="*/ 1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9" h="17">
                    <a:moveTo>
                      <a:pt x="37" y="13"/>
                    </a:moveTo>
                    <a:lnTo>
                      <a:pt x="37" y="11"/>
                    </a:lnTo>
                    <a:lnTo>
                      <a:pt x="31" y="7"/>
                    </a:lnTo>
                    <a:lnTo>
                      <a:pt x="28" y="1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1"/>
                    </a:lnTo>
                    <a:lnTo>
                      <a:pt x="14" y="7"/>
                    </a:lnTo>
                    <a:lnTo>
                      <a:pt x="10" y="13"/>
                    </a:lnTo>
                    <a:lnTo>
                      <a:pt x="10" y="17"/>
                    </a:lnTo>
                    <a:lnTo>
                      <a:pt x="6" y="17"/>
                    </a:lnTo>
                    <a:lnTo>
                      <a:pt x="4" y="17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39" y="17"/>
                    </a:lnTo>
                    <a:lnTo>
                      <a:pt x="37" y="1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26" name="Freeform 1244">
                <a:extLst>
                  <a:ext uri="{FF2B5EF4-FFF2-40B4-BE49-F238E27FC236}">
                    <a16:creationId xmlns:a16="http://schemas.microsoft.com/office/drawing/2014/main" id="{EFC9518B-F8B1-4E3B-BFCD-2FF8C9811F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3748"/>
                <a:ext cx="0" cy="10"/>
              </a:xfrm>
              <a:custGeom>
                <a:avLst/>
                <a:gdLst>
                  <a:gd name="T0" fmla="*/ 0 h 10"/>
                  <a:gd name="T1" fmla="*/ 6 h 10"/>
                  <a:gd name="T2" fmla="*/ 10 h 10"/>
                  <a:gd name="T3" fmla="*/ 6 h 10"/>
                  <a:gd name="T4" fmla="*/ 0 h 1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0">
                    <a:moveTo>
                      <a:pt x="0" y="0"/>
                    </a:moveTo>
                    <a:lnTo>
                      <a:pt x="0" y="6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27" name="Freeform 1245">
                <a:extLst>
                  <a:ext uri="{FF2B5EF4-FFF2-40B4-BE49-F238E27FC236}">
                    <a16:creationId xmlns:a16="http://schemas.microsoft.com/office/drawing/2014/main" id="{153B328C-2ED0-4C5D-93F3-4EC2F3CCD9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3783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2 w 2"/>
                  <a:gd name="T5" fmla="*/ 0 h 2"/>
                  <a:gd name="T6" fmla="*/ 2 w 2"/>
                  <a:gd name="T7" fmla="*/ 0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28" name="Freeform 1246">
                <a:extLst>
                  <a:ext uri="{FF2B5EF4-FFF2-40B4-BE49-F238E27FC236}">
                    <a16:creationId xmlns:a16="http://schemas.microsoft.com/office/drawing/2014/main" id="{DC0A4536-DC9F-4506-AF42-4131108109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" y="3781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4 w 4"/>
                  <a:gd name="T3" fmla="*/ 2 h 2"/>
                  <a:gd name="T4" fmla="*/ 0 w 4"/>
                  <a:gd name="T5" fmla="*/ 0 h 2"/>
                  <a:gd name="T6" fmla="*/ 0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29" name="Freeform 1247">
                <a:extLst>
                  <a:ext uri="{FF2B5EF4-FFF2-40B4-BE49-F238E27FC236}">
                    <a16:creationId xmlns:a16="http://schemas.microsoft.com/office/drawing/2014/main" id="{EA3D11D4-F7BE-4F39-9F04-A41E1D7F1C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" y="3767"/>
                <a:ext cx="0" cy="6"/>
              </a:xfrm>
              <a:custGeom>
                <a:avLst/>
                <a:gdLst>
                  <a:gd name="T0" fmla="*/ 0 h 6"/>
                  <a:gd name="T1" fmla="*/ 4 h 6"/>
                  <a:gd name="T2" fmla="*/ 6 h 6"/>
                  <a:gd name="T3" fmla="*/ 4 h 6"/>
                  <a:gd name="T4" fmla="*/ 0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30" name="Freeform 1248">
                <a:extLst>
                  <a:ext uri="{FF2B5EF4-FFF2-40B4-BE49-F238E27FC236}">
                    <a16:creationId xmlns:a16="http://schemas.microsoft.com/office/drawing/2014/main" id="{00F5D0E2-08A0-40D5-B9D5-6EEF765351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3744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31" name="Freeform 1249">
                <a:extLst>
                  <a:ext uri="{FF2B5EF4-FFF2-40B4-BE49-F238E27FC236}">
                    <a16:creationId xmlns:a16="http://schemas.microsoft.com/office/drawing/2014/main" id="{FBBF0A22-F800-42FD-8645-F41043AEC9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096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0 h 2"/>
                  <a:gd name="T4" fmla="*/ 0 w 4"/>
                  <a:gd name="T5" fmla="*/ 0 h 2"/>
                  <a:gd name="T6" fmla="*/ 0 w 4"/>
                  <a:gd name="T7" fmla="*/ 2 h 2"/>
                  <a:gd name="T8" fmla="*/ 0 w 4"/>
                  <a:gd name="T9" fmla="*/ 2 h 2"/>
                  <a:gd name="T10" fmla="*/ 4 w 4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32" name="Freeform 1250">
                <a:extLst>
                  <a:ext uri="{FF2B5EF4-FFF2-40B4-BE49-F238E27FC236}">
                    <a16:creationId xmlns:a16="http://schemas.microsoft.com/office/drawing/2014/main" id="{7D501392-4C8A-4700-894C-6B2374D38C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" y="2082"/>
                <a:ext cx="12" cy="6"/>
              </a:xfrm>
              <a:custGeom>
                <a:avLst/>
                <a:gdLst>
                  <a:gd name="T0" fmla="*/ 4 w 12"/>
                  <a:gd name="T1" fmla="*/ 4 h 6"/>
                  <a:gd name="T2" fmla="*/ 10 w 12"/>
                  <a:gd name="T3" fmla="*/ 6 h 6"/>
                  <a:gd name="T4" fmla="*/ 10 w 12"/>
                  <a:gd name="T5" fmla="*/ 6 h 6"/>
                  <a:gd name="T6" fmla="*/ 10 w 12"/>
                  <a:gd name="T7" fmla="*/ 4 h 6"/>
                  <a:gd name="T8" fmla="*/ 12 w 12"/>
                  <a:gd name="T9" fmla="*/ 4 h 6"/>
                  <a:gd name="T10" fmla="*/ 12 w 12"/>
                  <a:gd name="T11" fmla="*/ 4 h 6"/>
                  <a:gd name="T12" fmla="*/ 2 w 12"/>
                  <a:gd name="T13" fmla="*/ 0 h 6"/>
                  <a:gd name="T14" fmla="*/ 0 w 12"/>
                  <a:gd name="T15" fmla="*/ 0 h 6"/>
                  <a:gd name="T16" fmla="*/ 0 w 12"/>
                  <a:gd name="T17" fmla="*/ 2 h 6"/>
                  <a:gd name="T18" fmla="*/ 4 w 12"/>
                  <a:gd name="T1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6">
                    <a:moveTo>
                      <a:pt x="4" y="4"/>
                    </a:moveTo>
                    <a:lnTo>
                      <a:pt x="10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33" name="Freeform 1251">
                <a:extLst>
                  <a:ext uri="{FF2B5EF4-FFF2-40B4-BE49-F238E27FC236}">
                    <a16:creationId xmlns:a16="http://schemas.microsoft.com/office/drawing/2014/main" id="{39F94131-0F08-469C-BB65-61841D8957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110"/>
                <a:ext cx="146" cy="451"/>
              </a:xfrm>
              <a:custGeom>
                <a:avLst/>
                <a:gdLst>
                  <a:gd name="T0" fmla="*/ 4 w 146"/>
                  <a:gd name="T1" fmla="*/ 451 h 451"/>
                  <a:gd name="T2" fmla="*/ 10 w 146"/>
                  <a:gd name="T3" fmla="*/ 439 h 451"/>
                  <a:gd name="T4" fmla="*/ 27 w 146"/>
                  <a:gd name="T5" fmla="*/ 441 h 451"/>
                  <a:gd name="T6" fmla="*/ 66 w 146"/>
                  <a:gd name="T7" fmla="*/ 429 h 451"/>
                  <a:gd name="T8" fmla="*/ 78 w 146"/>
                  <a:gd name="T9" fmla="*/ 416 h 451"/>
                  <a:gd name="T10" fmla="*/ 82 w 146"/>
                  <a:gd name="T11" fmla="*/ 412 h 451"/>
                  <a:gd name="T12" fmla="*/ 80 w 146"/>
                  <a:gd name="T13" fmla="*/ 406 h 451"/>
                  <a:gd name="T14" fmla="*/ 62 w 146"/>
                  <a:gd name="T15" fmla="*/ 394 h 451"/>
                  <a:gd name="T16" fmla="*/ 60 w 146"/>
                  <a:gd name="T17" fmla="*/ 386 h 451"/>
                  <a:gd name="T18" fmla="*/ 64 w 146"/>
                  <a:gd name="T19" fmla="*/ 384 h 451"/>
                  <a:gd name="T20" fmla="*/ 68 w 146"/>
                  <a:gd name="T21" fmla="*/ 376 h 451"/>
                  <a:gd name="T22" fmla="*/ 76 w 146"/>
                  <a:gd name="T23" fmla="*/ 373 h 451"/>
                  <a:gd name="T24" fmla="*/ 92 w 146"/>
                  <a:gd name="T25" fmla="*/ 361 h 451"/>
                  <a:gd name="T26" fmla="*/ 105 w 146"/>
                  <a:gd name="T27" fmla="*/ 353 h 451"/>
                  <a:gd name="T28" fmla="*/ 117 w 146"/>
                  <a:gd name="T29" fmla="*/ 339 h 451"/>
                  <a:gd name="T30" fmla="*/ 117 w 146"/>
                  <a:gd name="T31" fmla="*/ 335 h 451"/>
                  <a:gd name="T32" fmla="*/ 117 w 146"/>
                  <a:gd name="T33" fmla="*/ 320 h 451"/>
                  <a:gd name="T34" fmla="*/ 119 w 146"/>
                  <a:gd name="T35" fmla="*/ 296 h 451"/>
                  <a:gd name="T36" fmla="*/ 107 w 146"/>
                  <a:gd name="T37" fmla="*/ 281 h 451"/>
                  <a:gd name="T38" fmla="*/ 97 w 146"/>
                  <a:gd name="T39" fmla="*/ 285 h 451"/>
                  <a:gd name="T40" fmla="*/ 70 w 146"/>
                  <a:gd name="T41" fmla="*/ 279 h 451"/>
                  <a:gd name="T42" fmla="*/ 60 w 146"/>
                  <a:gd name="T43" fmla="*/ 269 h 451"/>
                  <a:gd name="T44" fmla="*/ 58 w 146"/>
                  <a:gd name="T45" fmla="*/ 253 h 451"/>
                  <a:gd name="T46" fmla="*/ 64 w 146"/>
                  <a:gd name="T47" fmla="*/ 244 h 451"/>
                  <a:gd name="T48" fmla="*/ 64 w 146"/>
                  <a:gd name="T49" fmla="*/ 238 h 451"/>
                  <a:gd name="T50" fmla="*/ 66 w 146"/>
                  <a:gd name="T51" fmla="*/ 230 h 451"/>
                  <a:gd name="T52" fmla="*/ 92 w 146"/>
                  <a:gd name="T53" fmla="*/ 226 h 451"/>
                  <a:gd name="T54" fmla="*/ 111 w 146"/>
                  <a:gd name="T55" fmla="*/ 230 h 451"/>
                  <a:gd name="T56" fmla="*/ 121 w 146"/>
                  <a:gd name="T57" fmla="*/ 216 h 451"/>
                  <a:gd name="T58" fmla="*/ 125 w 146"/>
                  <a:gd name="T59" fmla="*/ 171 h 451"/>
                  <a:gd name="T60" fmla="*/ 144 w 146"/>
                  <a:gd name="T61" fmla="*/ 136 h 451"/>
                  <a:gd name="T62" fmla="*/ 144 w 146"/>
                  <a:gd name="T63" fmla="*/ 99 h 451"/>
                  <a:gd name="T64" fmla="*/ 142 w 146"/>
                  <a:gd name="T65" fmla="*/ 93 h 451"/>
                  <a:gd name="T66" fmla="*/ 144 w 146"/>
                  <a:gd name="T67" fmla="*/ 82 h 451"/>
                  <a:gd name="T68" fmla="*/ 146 w 146"/>
                  <a:gd name="T69" fmla="*/ 68 h 451"/>
                  <a:gd name="T70" fmla="*/ 133 w 146"/>
                  <a:gd name="T71" fmla="*/ 56 h 451"/>
                  <a:gd name="T72" fmla="*/ 125 w 146"/>
                  <a:gd name="T73" fmla="*/ 46 h 451"/>
                  <a:gd name="T74" fmla="*/ 127 w 146"/>
                  <a:gd name="T75" fmla="*/ 45 h 451"/>
                  <a:gd name="T76" fmla="*/ 125 w 146"/>
                  <a:gd name="T77" fmla="*/ 43 h 451"/>
                  <a:gd name="T78" fmla="*/ 119 w 146"/>
                  <a:gd name="T79" fmla="*/ 43 h 451"/>
                  <a:gd name="T80" fmla="*/ 105 w 146"/>
                  <a:gd name="T81" fmla="*/ 37 h 451"/>
                  <a:gd name="T82" fmla="*/ 101 w 146"/>
                  <a:gd name="T83" fmla="*/ 35 h 451"/>
                  <a:gd name="T84" fmla="*/ 97 w 146"/>
                  <a:gd name="T85" fmla="*/ 31 h 451"/>
                  <a:gd name="T86" fmla="*/ 84 w 146"/>
                  <a:gd name="T87" fmla="*/ 2 h 451"/>
                  <a:gd name="T88" fmla="*/ 4 w 146"/>
                  <a:gd name="T89" fmla="*/ 13 h 451"/>
                  <a:gd name="T90" fmla="*/ 0 w 146"/>
                  <a:gd name="T91" fmla="*/ 445 h 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46" h="451">
                    <a:moveTo>
                      <a:pt x="0" y="445"/>
                    </a:moveTo>
                    <a:lnTo>
                      <a:pt x="4" y="447"/>
                    </a:lnTo>
                    <a:lnTo>
                      <a:pt x="4" y="451"/>
                    </a:lnTo>
                    <a:lnTo>
                      <a:pt x="10" y="449"/>
                    </a:lnTo>
                    <a:lnTo>
                      <a:pt x="11" y="447"/>
                    </a:lnTo>
                    <a:lnTo>
                      <a:pt x="10" y="439"/>
                    </a:lnTo>
                    <a:lnTo>
                      <a:pt x="19" y="443"/>
                    </a:lnTo>
                    <a:lnTo>
                      <a:pt x="23" y="443"/>
                    </a:lnTo>
                    <a:lnTo>
                      <a:pt x="27" y="441"/>
                    </a:lnTo>
                    <a:lnTo>
                      <a:pt x="35" y="435"/>
                    </a:lnTo>
                    <a:lnTo>
                      <a:pt x="51" y="429"/>
                    </a:lnTo>
                    <a:lnTo>
                      <a:pt x="66" y="429"/>
                    </a:lnTo>
                    <a:lnTo>
                      <a:pt x="70" y="427"/>
                    </a:lnTo>
                    <a:lnTo>
                      <a:pt x="74" y="421"/>
                    </a:lnTo>
                    <a:lnTo>
                      <a:pt x="78" y="416"/>
                    </a:lnTo>
                    <a:lnTo>
                      <a:pt x="80" y="414"/>
                    </a:lnTo>
                    <a:lnTo>
                      <a:pt x="80" y="414"/>
                    </a:lnTo>
                    <a:lnTo>
                      <a:pt x="82" y="412"/>
                    </a:lnTo>
                    <a:lnTo>
                      <a:pt x="82" y="410"/>
                    </a:lnTo>
                    <a:lnTo>
                      <a:pt x="82" y="408"/>
                    </a:lnTo>
                    <a:lnTo>
                      <a:pt x="80" y="406"/>
                    </a:lnTo>
                    <a:lnTo>
                      <a:pt x="76" y="402"/>
                    </a:lnTo>
                    <a:lnTo>
                      <a:pt x="64" y="396"/>
                    </a:lnTo>
                    <a:lnTo>
                      <a:pt x="62" y="394"/>
                    </a:lnTo>
                    <a:lnTo>
                      <a:pt x="58" y="392"/>
                    </a:lnTo>
                    <a:lnTo>
                      <a:pt x="58" y="388"/>
                    </a:lnTo>
                    <a:lnTo>
                      <a:pt x="60" y="386"/>
                    </a:lnTo>
                    <a:lnTo>
                      <a:pt x="60" y="384"/>
                    </a:lnTo>
                    <a:lnTo>
                      <a:pt x="62" y="384"/>
                    </a:lnTo>
                    <a:lnTo>
                      <a:pt x="64" y="384"/>
                    </a:lnTo>
                    <a:lnTo>
                      <a:pt x="66" y="382"/>
                    </a:lnTo>
                    <a:lnTo>
                      <a:pt x="68" y="378"/>
                    </a:lnTo>
                    <a:lnTo>
                      <a:pt x="68" y="376"/>
                    </a:lnTo>
                    <a:lnTo>
                      <a:pt x="72" y="375"/>
                    </a:lnTo>
                    <a:lnTo>
                      <a:pt x="74" y="373"/>
                    </a:lnTo>
                    <a:lnTo>
                      <a:pt x="76" y="373"/>
                    </a:lnTo>
                    <a:lnTo>
                      <a:pt x="86" y="371"/>
                    </a:lnTo>
                    <a:lnTo>
                      <a:pt x="88" y="369"/>
                    </a:lnTo>
                    <a:lnTo>
                      <a:pt x="92" y="361"/>
                    </a:lnTo>
                    <a:lnTo>
                      <a:pt x="94" y="359"/>
                    </a:lnTo>
                    <a:lnTo>
                      <a:pt x="101" y="355"/>
                    </a:lnTo>
                    <a:lnTo>
                      <a:pt x="105" y="353"/>
                    </a:lnTo>
                    <a:lnTo>
                      <a:pt x="109" y="345"/>
                    </a:lnTo>
                    <a:lnTo>
                      <a:pt x="111" y="343"/>
                    </a:lnTo>
                    <a:lnTo>
                      <a:pt x="117" y="339"/>
                    </a:lnTo>
                    <a:lnTo>
                      <a:pt x="119" y="337"/>
                    </a:lnTo>
                    <a:lnTo>
                      <a:pt x="117" y="337"/>
                    </a:lnTo>
                    <a:lnTo>
                      <a:pt x="117" y="335"/>
                    </a:lnTo>
                    <a:lnTo>
                      <a:pt x="115" y="330"/>
                    </a:lnTo>
                    <a:lnTo>
                      <a:pt x="115" y="324"/>
                    </a:lnTo>
                    <a:lnTo>
                      <a:pt x="117" y="320"/>
                    </a:lnTo>
                    <a:lnTo>
                      <a:pt x="121" y="312"/>
                    </a:lnTo>
                    <a:lnTo>
                      <a:pt x="121" y="302"/>
                    </a:lnTo>
                    <a:lnTo>
                      <a:pt x="119" y="296"/>
                    </a:lnTo>
                    <a:lnTo>
                      <a:pt x="109" y="279"/>
                    </a:lnTo>
                    <a:lnTo>
                      <a:pt x="107" y="279"/>
                    </a:lnTo>
                    <a:lnTo>
                      <a:pt x="107" y="281"/>
                    </a:lnTo>
                    <a:lnTo>
                      <a:pt x="105" y="283"/>
                    </a:lnTo>
                    <a:lnTo>
                      <a:pt x="101" y="285"/>
                    </a:lnTo>
                    <a:lnTo>
                      <a:pt x="97" y="285"/>
                    </a:lnTo>
                    <a:lnTo>
                      <a:pt x="92" y="283"/>
                    </a:lnTo>
                    <a:lnTo>
                      <a:pt x="84" y="281"/>
                    </a:lnTo>
                    <a:lnTo>
                      <a:pt x="70" y="279"/>
                    </a:lnTo>
                    <a:lnTo>
                      <a:pt x="66" y="277"/>
                    </a:lnTo>
                    <a:lnTo>
                      <a:pt x="62" y="273"/>
                    </a:lnTo>
                    <a:lnTo>
                      <a:pt x="60" y="269"/>
                    </a:lnTo>
                    <a:lnTo>
                      <a:pt x="60" y="263"/>
                    </a:lnTo>
                    <a:lnTo>
                      <a:pt x="60" y="259"/>
                    </a:lnTo>
                    <a:lnTo>
                      <a:pt x="58" y="253"/>
                    </a:lnTo>
                    <a:lnTo>
                      <a:pt x="60" y="253"/>
                    </a:lnTo>
                    <a:lnTo>
                      <a:pt x="70" y="250"/>
                    </a:lnTo>
                    <a:lnTo>
                      <a:pt x="64" y="244"/>
                    </a:lnTo>
                    <a:lnTo>
                      <a:pt x="64" y="244"/>
                    </a:lnTo>
                    <a:lnTo>
                      <a:pt x="64" y="240"/>
                    </a:lnTo>
                    <a:lnTo>
                      <a:pt x="64" y="238"/>
                    </a:lnTo>
                    <a:lnTo>
                      <a:pt x="64" y="236"/>
                    </a:lnTo>
                    <a:lnTo>
                      <a:pt x="64" y="234"/>
                    </a:lnTo>
                    <a:lnTo>
                      <a:pt x="66" y="230"/>
                    </a:lnTo>
                    <a:lnTo>
                      <a:pt x="70" y="228"/>
                    </a:lnTo>
                    <a:lnTo>
                      <a:pt x="74" y="226"/>
                    </a:lnTo>
                    <a:lnTo>
                      <a:pt x="92" y="226"/>
                    </a:lnTo>
                    <a:lnTo>
                      <a:pt x="99" y="230"/>
                    </a:lnTo>
                    <a:lnTo>
                      <a:pt x="107" y="228"/>
                    </a:lnTo>
                    <a:lnTo>
                      <a:pt x="111" y="230"/>
                    </a:lnTo>
                    <a:lnTo>
                      <a:pt x="117" y="232"/>
                    </a:lnTo>
                    <a:lnTo>
                      <a:pt x="119" y="226"/>
                    </a:lnTo>
                    <a:lnTo>
                      <a:pt x="121" y="216"/>
                    </a:lnTo>
                    <a:lnTo>
                      <a:pt x="123" y="185"/>
                    </a:lnTo>
                    <a:lnTo>
                      <a:pt x="123" y="177"/>
                    </a:lnTo>
                    <a:lnTo>
                      <a:pt x="125" y="171"/>
                    </a:lnTo>
                    <a:lnTo>
                      <a:pt x="127" y="168"/>
                    </a:lnTo>
                    <a:lnTo>
                      <a:pt x="140" y="146"/>
                    </a:lnTo>
                    <a:lnTo>
                      <a:pt x="144" y="136"/>
                    </a:lnTo>
                    <a:lnTo>
                      <a:pt x="146" y="128"/>
                    </a:lnTo>
                    <a:lnTo>
                      <a:pt x="146" y="119"/>
                    </a:lnTo>
                    <a:lnTo>
                      <a:pt x="144" y="99"/>
                    </a:lnTo>
                    <a:lnTo>
                      <a:pt x="144" y="95"/>
                    </a:lnTo>
                    <a:lnTo>
                      <a:pt x="142" y="95"/>
                    </a:lnTo>
                    <a:lnTo>
                      <a:pt x="142" y="93"/>
                    </a:lnTo>
                    <a:lnTo>
                      <a:pt x="142" y="89"/>
                    </a:lnTo>
                    <a:lnTo>
                      <a:pt x="142" y="87"/>
                    </a:lnTo>
                    <a:lnTo>
                      <a:pt x="144" y="82"/>
                    </a:lnTo>
                    <a:lnTo>
                      <a:pt x="146" y="76"/>
                    </a:lnTo>
                    <a:lnTo>
                      <a:pt x="146" y="72"/>
                    </a:lnTo>
                    <a:lnTo>
                      <a:pt x="146" y="68"/>
                    </a:lnTo>
                    <a:lnTo>
                      <a:pt x="146" y="60"/>
                    </a:lnTo>
                    <a:lnTo>
                      <a:pt x="144" y="60"/>
                    </a:lnTo>
                    <a:lnTo>
                      <a:pt x="133" y="56"/>
                    </a:lnTo>
                    <a:lnTo>
                      <a:pt x="127" y="54"/>
                    </a:lnTo>
                    <a:lnTo>
                      <a:pt x="127" y="48"/>
                    </a:lnTo>
                    <a:lnTo>
                      <a:pt x="125" y="46"/>
                    </a:lnTo>
                    <a:lnTo>
                      <a:pt x="125" y="46"/>
                    </a:lnTo>
                    <a:lnTo>
                      <a:pt x="127" y="45"/>
                    </a:lnTo>
                    <a:lnTo>
                      <a:pt x="127" y="45"/>
                    </a:lnTo>
                    <a:lnTo>
                      <a:pt x="127" y="43"/>
                    </a:lnTo>
                    <a:lnTo>
                      <a:pt x="127" y="43"/>
                    </a:lnTo>
                    <a:lnTo>
                      <a:pt x="125" y="43"/>
                    </a:lnTo>
                    <a:lnTo>
                      <a:pt x="123" y="45"/>
                    </a:lnTo>
                    <a:lnTo>
                      <a:pt x="121" y="43"/>
                    </a:lnTo>
                    <a:lnTo>
                      <a:pt x="119" y="43"/>
                    </a:lnTo>
                    <a:lnTo>
                      <a:pt x="117" y="43"/>
                    </a:lnTo>
                    <a:lnTo>
                      <a:pt x="109" y="39"/>
                    </a:lnTo>
                    <a:lnTo>
                      <a:pt x="105" y="37"/>
                    </a:lnTo>
                    <a:lnTo>
                      <a:pt x="103" y="37"/>
                    </a:lnTo>
                    <a:lnTo>
                      <a:pt x="103" y="35"/>
                    </a:lnTo>
                    <a:lnTo>
                      <a:pt x="101" y="35"/>
                    </a:lnTo>
                    <a:lnTo>
                      <a:pt x="101" y="33"/>
                    </a:lnTo>
                    <a:lnTo>
                      <a:pt x="97" y="31"/>
                    </a:lnTo>
                    <a:lnTo>
                      <a:pt x="97" y="31"/>
                    </a:lnTo>
                    <a:lnTo>
                      <a:pt x="92" y="7"/>
                    </a:lnTo>
                    <a:lnTo>
                      <a:pt x="88" y="4"/>
                    </a:lnTo>
                    <a:lnTo>
                      <a:pt x="84" y="2"/>
                    </a:lnTo>
                    <a:lnTo>
                      <a:pt x="68" y="0"/>
                    </a:lnTo>
                    <a:lnTo>
                      <a:pt x="29" y="5"/>
                    </a:lnTo>
                    <a:lnTo>
                      <a:pt x="4" y="13"/>
                    </a:lnTo>
                    <a:lnTo>
                      <a:pt x="0" y="15"/>
                    </a:lnTo>
                    <a:lnTo>
                      <a:pt x="0" y="445"/>
                    </a:lnTo>
                    <a:lnTo>
                      <a:pt x="0" y="44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34" name="Freeform 1252">
                <a:extLst>
                  <a:ext uri="{FF2B5EF4-FFF2-40B4-BE49-F238E27FC236}">
                    <a16:creationId xmlns:a16="http://schemas.microsoft.com/office/drawing/2014/main" id="{59550303-6599-4309-9D4D-C75DDBB955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7" y="766"/>
                <a:ext cx="51" cy="45"/>
              </a:xfrm>
              <a:custGeom>
                <a:avLst/>
                <a:gdLst>
                  <a:gd name="T0" fmla="*/ 8 w 51"/>
                  <a:gd name="T1" fmla="*/ 41 h 45"/>
                  <a:gd name="T2" fmla="*/ 10 w 51"/>
                  <a:gd name="T3" fmla="*/ 43 h 45"/>
                  <a:gd name="T4" fmla="*/ 14 w 51"/>
                  <a:gd name="T5" fmla="*/ 43 h 45"/>
                  <a:gd name="T6" fmla="*/ 16 w 51"/>
                  <a:gd name="T7" fmla="*/ 45 h 45"/>
                  <a:gd name="T8" fmla="*/ 16 w 51"/>
                  <a:gd name="T9" fmla="*/ 43 h 45"/>
                  <a:gd name="T10" fmla="*/ 22 w 51"/>
                  <a:gd name="T11" fmla="*/ 34 h 45"/>
                  <a:gd name="T12" fmla="*/ 22 w 51"/>
                  <a:gd name="T13" fmla="*/ 32 h 45"/>
                  <a:gd name="T14" fmla="*/ 22 w 51"/>
                  <a:gd name="T15" fmla="*/ 30 h 45"/>
                  <a:gd name="T16" fmla="*/ 20 w 51"/>
                  <a:gd name="T17" fmla="*/ 28 h 45"/>
                  <a:gd name="T18" fmla="*/ 18 w 51"/>
                  <a:gd name="T19" fmla="*/ 26 h 45"/>
                  <a:gd name="T20" fmla="*/ 22 w 51"/>
                  <a:gd name="T21" fmla="*/ 20 h 45"/>
                  <a:gd name="T22" fmla="*/ 28 w 51"/>
                  <a:gd name="T23" fmla="*/ 16 h 45"/>
                  <a:gd name="T24" fmla="*/ 31 w 51"/>
                  <a:gd name="T25" fmla="*/ 14 h 45"/>
                  <a:gd name="T26" fmla="*/ 35 w 51"/>
                  <a:gd name="T27" fmla="*/ 12 h 45"/>
                  <a:gd name="T28" fmla="*/ 43 w 51"/>
                  <a:gd name="T29" fmla="*/ 14 h 45"/>
                  <a:gd name="T30" fmla="*/ 47 w 51"/>
                  <a:gd name="T31" fmla="*/ 10 h 45"/>
                  <a:gd name="T32" fmla="*/ 47 w 51"/>
                  <a:gd name="T33" fmla="*/ 10 h 45"/>
                  <a:gd name="T34" fmla="*/ 49 w 51"/>
                  <a:gd name="T35" fmla="*/ 10 h 45"/>
                  <a:gd name="T36" fmla="*/ 49 w 51"/>
                  <a:gd name="T37" fmla="*/ 10 h 45"/>
                  <a:gd name="T38" fmla="*/ 51 w 51"/>
                  <a:gd name="T39" fmla="*/ 8 h 45"/>
                  <a:gd name="T40" fmla="*/ 47 w 51"/>
                  <a:gd name="T41" fmla="*/ 4 h 45"/>
                  <a:gd name="T42" fmla="*/ 45 w 51"/>
                  <a:gd name="T43" fmla="*/ 4 h 45"/>
                  <a:gd name="T44" fmla="*/ 39 w 51"/>
                  <a:gd name="T45" fmla="*/ 4 h 45"/>
                  <a:gd name="T46" fmla="*/ 33 w 51"/>
                  <a:gd name="T47" fmla="*/ 6 h 45"/>
                  <a:gd name="T48" fmla="*/ 31 w 51"/>
                  <a:gd name="T49" fmla="*/ 4 h 45"/>
                  <a:gd name="T50" fmla="*/ 31 w 51"/>
                  <a:gd name="T51" fmla="*/ 0 h 45"/>
                  <a:gd name="T52" fmla="*/ 29 w 51"/>
                  <a:gd name="T53" fmla="*/ 2 h 45"/>
                  <a:gd name="T54" fmla="*/ 26 w 51"/>
                  <a:gd name="T55" fmla="*/ 0 h 45"/>
                  <a:gd name="T56" fmla="*/ 24 w 51"/>
                  <a:gd name="T57" fmla="*/ 0 h 45"/>
                  <a:gd name="T58" fmla="*/ 22 w 51"/>
                  <a:gd name="T59" fmla="*/ 0 h 45"/>
                  <a:gd name="T60" fmla="*/ 20 w 51"/>
                  <a:gd name="T61" fmla="*/ 2 h 45"/>
                  <a:gd name="T62" fmla="*/ 14 w 51"/>
                  <a:gd name="T63" fmla="*/ 2 h 45"/>
                  <a:gd name="T64" fmla="*/ 10 w 51"/>
                  <a:gd name="T65" fmla="*/ 4 h 45"/>
                  <a:gd name="T66" fmla="*/ 8 w 51"/>
                  <a:gd name="T67" fmla="*/ 6 h 45"/>
                  <a:gd name="T68" fmla="*/ 8 w 51"/>
                  <a:gd name="T69" fmla="*/ 10 h 45"/>
                  <a:gd name="T70" fmla="*/ 6 w 51"/>
                  <a:gd name="T71" fmla="*/ 12 h 45"/>
                  <a:gd name="T72" fmla="*/ 6 w 51"/>
                  <a:gd name="T73" fmla="*/ 16 h 45"/>
                  <a:gd name="T74" fmla="*/ 2 w 51"/>
                  <a:gd name="T75" fmla="*/ 20 h 45"/>
                  <a:gd name="T76" fmla="*/ 0 w 51"/>
                  <a:gd name="T77" fmla="*/ 22 h 45"/>
                  <a:gd name="T78" fmla="*/ 0 w 51"/>
                  <a:gd name="T79" fmla="*/ 26 h 45"/>
                  <a:gd name="T80" fmla="*/ 6 w 51"/>
                  <a:gd name="T81" fmla="*/ 37 h 45"/>
                  <a:gd name="T82" fmla="*/ 8 w 51"/>
                  <a:gd name="T83" fmla="*/ 41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1" h="45">
                    <a:moveTo>
                      <a:pt x="8" y="41"/>
                    </a:moveTo>
                    <a:lnTo>
                      <a:pt x="10" y="43"/>
                    </a:lnTo>
                    <a:lnTo>
                      <a:pt x="14" y="43"/>
                    </a:lnTo>
                    <a:lnTo>
                      <a:pt x="16" y="45"/>
                    </a:lnTo>
                    <a:lnTo>
                      <a:pt x="16" y="43"/>
                    </a:lnTo>
                    <a:lnTo>
                      <a:pt x="22" y="34"/>
                    </a:lnTo>
                    <a:lnTo>
                      <a:pt x="22" y="32"/>
                    </a:lnTo>
                    <a:lnTo>
                      <a:pt x="22" y="30"/>
                    </a:lnTo>
                    <a:lnTo>
                      <a:pt x="20" y="28"/>
                    </a:lnTo>
                    <a:lnTo>
                      <a:pt x="18" y="26"/>
                    </a:lnTo>
                    <a:lnTo>
                      <a:pt x="22" y="20"/>
                    </a:lnTo>
                    <a:lnTo>
                      <a:pt x="28" y="16"/>
                    </a:lnTo>
                    <a:lnTo>
                      <a:pt x="31" y="14"/>
                    </a:lnTo>
                    <a:lnTo>
                      <a:pt x="35" y="12"/>
                    </a:lnTo>
                    <a:lnTo>
                      <a:pt x="43" y="14"/>
                    </a:lnTo>
                    <a:lnTo>
                      <a:pt x="47" y="10"/>
                    </a:lnTo>
                    <a:lnTo>
                      <a:pt x="47" y="10"/>
                    </a:lnTo>
                    <a:lnTo>
                      <a:pt x="49" y="10"/>
                    </a:lnTo>
                    <a:lnTo>
                      <a:pt x="49" y="10"/>
                    </a:lnTo>
                    <a:lnTo>
                      <a:pt x="51" y="8"/>
                    </a:lnTo>
                    <a:lnTo>
                      <a:pt x="47" y="4"/>
                    </a:lnTo>
                    <a:lnTo>
                      <a:pt x="45" y="4"/>
                    </a:lnTo>
                    <a:lnTo>
                      <a:pt x="39" y="4"/>
                    </a:lnTo>
                    <a:lnTo>
                      <a:pt x="33" y="6"/>
                    </a:lnTo>
                    <a:lnTo>
                      <a:pt x="31" y="4"/>
                    </a:lnTo>
                    <a:lnTo>
                      <a:pt x="31" y="0"/>
                    </a:lnTo>
                    <a:lnTo>
                      <a:pt x="29" y="2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0" y="2"/>
                    </a:lnTo>
                    <a:lnTo>
                      <a:pt x="14" y="2"/>
                    </a:lnTo>
                    <a:lnTo>
                      <a:pt x="10" y="4"/>
                    </a:lnTo>
                    <a:lnTo>
                      <a:pt x="8" y="6"/>
                    </a:lnTo>
                    <a:lnTo>
                      <a:pt x="8" y="10"/>
                    </a:lnTo>
                    <a:lnTo>
                      <a:pt x="6" y="12"/>
                    </a:lnTo>
                    <a:lnTo>
                      <a:pt x="6" y="16"/>
                    </a:lnTo>
                    <a:lnTo>
                      <a:pt x="2" y="20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6" y="37"/>
                    </a:lnTo>
                    <a:lnTo>
                      <a:pt x="8" y="4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35" name="Freeform 1253">
                <a:extLst>
                  <a:ext uri="{FF2B5EF4-FFF2-40B4-BE49-F238E27FC236}">
                    <a16:creationId xmlns:a16="http://schemas.microsoft.com/office/drawing/2014/main" id="{B2BA7E9D-B4E2-4B7F-9F5E-B3144B82B0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964"/>
                <a:ext cx="121" cy="347"/>
              </a:xfrm>
              <a:custGeom>
                <a:avLst/>
                <a:gdLst>
                  <a:gd name="T0" fmla="*/ 2 w 121"/>
                  <a:gd name="T1" fmla="*/ 294 h 347"/>
                  <a:gd name="T2" fmla="*/ 0 w 121"/>
                  <a:gd name="T3" fmla="*/ 322 h 347"/>
                  <a:gd name="T4" fmla="*/ 2 w 121"/>
                  <a:gd name="T5" fmla="*/ 339 h 347"/>
                  <a:gd name="T6" fmla="*/ 9 w 121"/>
                  <a:gd name="T7" fmla="*/ 345 h 347"/>
                  <a:gd name="T8" fmla="*/ 23 w 121"/>
                  <a:gd name="T9" fmla="*/ 320 h 347"/>
                  <a:gd name="T10" fmla="*/ 27 w 121"/>
                  <a:gd name="T11" fmla="*/ 308 h 347"/>
                  <a:gd name="T12" fmla="*/ 29 w 121"/>
                  <a:gd name="T13" fmla="*/ 294 h 347"/>
                  <a:gd name="T14" fmla="*/ 33 w 121"/>
                  <a:gd name="T15" fmla="*/ 277 h 347"/>
                  <a:gd name="T16" fmla="*/ 37 w 121"/>
                  <a:gd name="T17" fmla="*/ 265 h 347"/>
                  <a:gd name="T18" fmla="*/ 39 w 121"/>
                  <a:gd name="T19" fmla="*/ 255 h 347"/>
                  <a:gd name="T20" fmla="*/ 39 w 121"/>
                  <a:gd name="T21" fmla="*/ 251 h 347"/>
                  <a:gd name="T22" fmla="*/ 41 w 121"/>
                  <a:gd name="T23" fmla="*/ 240 h 347"/>
                  <a:gd name="T24" fmla="*/ 47 w 121"/>
                  <a:gd name="T25" fmla="*/ 236 h 347"/>
                  <a:gd name="T26" fmla="*/ 49 w 121"/>
                  <a:gd name="T27" fmla="*/ 224 h 347"/>
                  <a:gd name="T28" fmla="*/ 60 w 121"/>
                  <a:gd name="T29" fmla="*/ 179 h 347"/>
                  <a:gd name="T30" fmla="*/ 62 w 121"/>
                  <a:gd name="T31" fmla="*/ 171 h 347"/>
                  <a:gd name="T32" fmla="*/ 72 w 121"/>
                  <a:gd name="T33" fmla="*/ 162 h 347"/>
                  <a:gd name="T34" fmla="*/ 76 w 121"/>
                  <a:gd name="T35" fmla="*/ 140 h 347"/>
                  <a:gd name="T36" fmla="*/ 82 w 121"/>
                  <a:gd name="T37" fmla="*/ 128 h 347"/>
                  <a:gd name="T38" fmla="*/ 84 w 121"/>
                  <a:gd name="T39" fmla="*/ 111 h 347"/>
                  <a:gd name="T40" fmla="*/ 88 w 121"/>
                  <a:gd name="T41" fmla="*/ 103 h 347"/>
                  <a:gd name="T42" fmla="*/ 84 w 121"/>
                  <a:gd name="T43" fmla="*/ 97 h 347"/>
                  <a:gd name="T44" fmla="*/ 93 w 121"/>
                  <a:gd name="T45" fmla="*/ 89 h 347"/>
                  <a:gd name="T46" fmla="*/ 103 w 121"/>
                  <a:gd name="T47" fmla="*/ 64 h 347"/>
                  <a:gd name="T48" fmla="*/ 105 w 121"/>
                  <a:gd name="T49" fmla="*/ 54 h 347"/>
                  <a:gd name="T50" fmla="*/ 109 w 121"/>
                  <a:gd name="T51" fmla="*/ 50 h 347"/>
                  <a:gd name="T52" fmla="*/ 111 w 121"/>
                  <a:gd name="T53" fmla="*/ 39 h 347"/>
                  <a:gd name="T54" fmla="*/ 113 w 121"/>
                  <a:gd name="T55" fmla="*/ 15 h 347"/>
                  <a:gd name="T56" fmla="*/ 121 w 121"/>
                  <a:gd name="T57" fmla="*/ 9 h 347"/>
                  <a:gd name="T58" fmla="*/ 119 w 121"/>
                  <a:gd name="T59" fmla="*/ 5 h 347"/>
                  <a:gd name="T60" fmla="*/ 119 w 121"/>
                  <a:gd name="T61" fmla="*/ 1 h 347"/>
                  <a:gd name="T62" fmla="*/ 115 w 121"/>
                  <a:gd name="T63" fmla="*/ 3 h 347"/>
                  <a:gd name="T64" fmla="*/ 111 w 121"/>
                  <a:gd name="T65" fmla="*/ 0 h 347"/>
                  <a:gd name="T66" fmla="*/ 103 w 121"/>
                  <a:gd name="T67" fmla="*/ 3 h 347"/>
                  <a:gd name="T68" fmla="*/ 93 w 121"/>
                  <a:gd name="T69" fmla="*/ 21 h 347"/>
                  <a:gd name="T70" fmla="*/ 91 w 121"/>
                  <a:gd name="T71" fmla="*/ 44 h 347"/>
                  <a:gd name="T72" fmla="*/ 86 w 121"/>
                  <a:gd name="T73" fmla="*/ 50 h 347"/>
                  <a:gd name="T74" fmla="*/ 66 w 121"/>
                  <a:gd name="T75" fmla="*/ 107 h 347"/>
                  <a:gd name="T76" fmla="*/ 52 w 121"/>
                  <a:gd name="T77" fmla="*/ 142 h 347"/>
                  <a:gd name="T78" fmla="*/ 41 w 121"/>
                  <a:gd name="T79" fmla="*/ 144 h 347"/>
                  <a:gd name="T80" fmla="*/ 7 w 121"/>
                  <a:gd name="T81" fmla="*/ 226 h 347"/>
                  <a:gd name="T82" fmla="*/ 0 w 121"/>
                  <a:gd name="T83" fmla="*/ 246 h 347"/>
                  <a:gd name="T84" fmla="*/ 0 w 121"/>
                  <a:gd name="T85" fmla="*/ 27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1" h="347">
                    <a:moveTo>
                      <a:pt x="2" y="285"/>
                    </a:moveTo>
                    <a:lnTo>
                      <a:pt x="2" y="290"/>
                    </a:lnTo>
                    <a:lnTo>
                      <a:pt x="2" y="294"/>
                    </a:lnTo>
                    <a:lnTo>
                      <a:pt x="2" y="308"/>
                    </a:lnTo>
                    <a:lnTo>
                      <a:pt x="2" y="316"/>
                    </a:lnTo>
                    <a:lnTo>
                      <a:pt x="0" y="322"/>
                    </a:lnTo>
                    <a:lnTo>
                      <a:pt x="2" y="330"/>
                    </a:lnTo>
                    <a:lnTo>
                      <a:pt x="2" y="333"/>
                    </a:lnTo>
                    <a:lnTo>
                      <a:pt x="2" y="339"/>
                    </a:lnTo>
                    <a:lnTo>
                      <a:pt x="2" y="343"/>
                    </a:lnTo>
                    <a:lnTo>
                      <a:pt x="6" y="347"/>
                    </a:lnTo>
                    <a:lnTo>
                      <a:pt x="9" y="345"/>
                    </a:lnTo>
                    <a:lnTo>
                      <a:pt x="11" y="343"/>
                    </a:lnTo>
                    <a:lnTo>
                      <a:pt x="15" y="339"/>
                    </a:lnTo>
                    <a:lnTo>
                      <a:pt x="23" y="320"/>
                    </a:lnTo>
                    <a:lnTo>
                      <a:pt x="25" y="314"/>
                    </a:lnTo>
                    <a:lnTo>
                      <a:pt x="25" y="312"/>
                    </a:lnTo>
                    <a:lnTo>
                      <a:pt x="27" y="308"/>
                    </a:lnTo>
                    <a:lnTo>
                      <a:pt x="29" y="304"/>
                    </a:lnTo>
                    <a:lnTo>
                      <a:pt x="29" y="298"/>
                    </a:lnTo>
                    <a:lnTo>
                      <a:pt x="29" y="294"/>
                    </a:lnTo>
                    <a:lnTo>
                      <a:pt x="29" y="290"/>
                    </a:lnTo>
                    <a:lnTo>
                      <a:pt x="31" y="283"/>
                    </a:lnTo>
                    <a:lnTo>
                      <a:pt x="33" y="277"/>
                    </a:lnTo>
                    <a:lnTo>
                      <a:pt x="37" y="271"/>
                    </a:lnTo>
                    <a:lnTo>
                      <a:pt x="37" y="269"/>
                    </a:lnTo>
                    <a:lnTo>
                      <a:pt x="37" y="265"/>
                    </a:lnTo>
                    <a:lnTo>
                      <a:pt x="37" y="259"/>
                    </a:lnTo>
                    <a:lnTo>
                      <a:pt x="39" y="259"/>
                    </a:lnTo>
                    <a:lnTo>
                      <a:pt x="39" y="255"/>
                    </a:lnTo>
                    <a:lnTo>
                      <a:pt x="41" y="253"/>
                    </a:lnTo>
                    <a:lnTo>
                      <a:pt x="41" y="251"/>
                    </a:lnTo>
                    <a:lnTo>
                      <a:pt x="39" y="251"/>
                    </a:lnTo>
                    <a:lnTo>
                      <a:pt x="39" y="249"/>
                    </a:lnTo>
                    <a:lnTo>
                      <a:pt x="41" y="244"/>
                    </a:lnTo>
                    <a:lnTo>
                      <a:pt x="41" y="240"/>
                    </a:lnTo>
                    <a:lnTo>
                      <a:pt x="43" y="240"/>
                    </a:lnTo>
                    <a:lnTo>
                      <a:pt x="45" y="238"/>
                    </a:lnTo>
                    <a:lnTo>
                      <a:pt x="47" y="236"/>
                    </a:lnTo>
                    <a:lnTo>
                      <a:pt x="47" y="234"/>
                    </a:lnTo>
                    <a:lnTo>
                      <a:pt x="49" y="230"/>
                    </a:lnTo>
                    <a:lnTo>
                      <a:pt x="49" y="224"/>
                    </a:lnTo>
                    <a:lnTo>
                      <a:pt x="50" y="216"/>
                    </a:lnTo>
                    <a:lnTo>
                      <a:pt x="60" y="187"/>
                    </a:lnTo>
                    <a:lnTo>
                      <a:pt x="60" y="179"/>
                    </a:lnTo>
                    <a:lnTo>
                      <a:pt x="60" y="177"/>
                    </a:lnTo>
                    <a:lnTo>
                      <a:pt x="60" y="173"/>
                    </a:lnTo>
                    <a:lnTo>
                      <a:pt x="62" y="171"/>
                    </a:lnTo>
                    <a:lnTo>
                      <a:pt x="62" y="169"/>
                    </a:lnTo>
                    <a:lnTo>
                      <a:pt x="64" y="167"/>
                    </a:lnTo>
                    <a:lnTo>
                      <a:pt x="72" y="162"/>
                    </a:lnTo>
                    <a:lnTo>
                      <a:pt x="72" y="162"/>
                    </a:lnTo>
                    <a:lnTo>
                      <a:pt x="74" y="158"/>
                    </a:lnTo>
                    <a:lnTo>
                      <a:pt x="76" y="140"/>
                    </a:lnTo>
                    <a:lnTo>
                      <a:pt x="78" y="138"/>
                    </a:lnTo>
                    <a:lnTo>
                      <a:pt x="82" y="134"/>
                    </a:lnTo>
                    <a:lnTo>
                      <a:pt x="82" y="128"/>
                    </a:lnTo>
                    <a:lnTo>
                      <a:pt x="80" y="123"/>
                    </a:lnTo>
                    <a:lnTo>
                      <a:pt x="80" y="119"/>
                    </a:lnTo>
                    <a:lnTo>
                      <a:pt x="84" y="111"/>
                    </a:lnTo>
                    <a:lnTo>
                      <a:pt x="86" y="107"/>
                    </a:lnTo>
                    <a:lnTo>
                      <a:pt x="90" y="103"/>
                    </a:lnTo>
                    <a:lnTo>
                      <a:pt x="88" y="103"/>
                    </a:lnTo>
                    <a:lnTo>
                      <a:pt x="86" y="101"/>
                    </a:lnTo>
                    <a:lnTo>
                      <a:pt x="84" y="99"/>
                    </a:lnTo>
                    <a:lnTo>
                      <a:pt x="84" y="97"/>
                    </a:lnTo>
                    <a:lnTo>
                      <a:pt x="88" y="95"/>
                    </a:lnTo>
                    <a:lnTo>
                      <a:pt x="91" y="93"/>
                    </a:lnTo>
                    <a:lnTo>
                      <a:pt x="93" y="89"/>
                    </a:lnTo>
                    <a:lnTo>
                      <a:pt x="95" y="82"/>
                    </a:lnTo>
                    <a:lnTo>
                      <a:pt x="95" y="78"/>
                    </a:lnTo>
                    <a:lnTo>
                      <a:pt x="103" y="64"/>
                    </a:lnTo>
                    <a:lnTo>
                      <a:pt x="103" y="60"/>
                    </a:lnTo>
                    <a:lnTo>
                      <a:pt x="105" y="56"/>
                    </a:lnTo>
                    <a:lnTo>
                      <a:pt x="105" y="54"/>
                    </a:lnTo>
                    <a:lnTo>
                      <a:pt x="105" y="52"/>
                    </a:lnTo>
                    <a:lnTo>
                      <a:pt x="109" y="52"/>
                    </a:lnTo>
                    <a:lnTo>
                      <a:pt x="109" y="50"/>
                    </a:lnTo>
                    <a:lnTo>
                      <a:pt x="109" y="50"/>
                    </a:lnTo>
                    <a:lnTo>
                      <a:pt x="109" y="46"/>
                    </a:lnTo>
                    <a:lnTo>
                      <a:pt x="111" y="39"/>
                    </a:lnTo>
                    <a:lnTo>
                      <a:pt x="111" y="35"/>
                    </a:lnTo>
                    <a:lnTo>
                      <a:pt x="107" y="25"/>
                    </a:lnTo>
                    <a:lnTo>
                      <a:pt x="113" y="15"/>
                    </a:lnTo>
                    <a:lnTo>
                      <a:pt x="117" y="11"/>
                    </a:lnTo>
                    <a:lnTo>
                      <a:pt x="121" y="11"/>
                    </a:lnTo>
                    <a:lnTo>
                      <a:pt x="121" y="9"/>
                    </a:lnTo>
                    <a:lnTo>
                      <a:pt x="121" y="7"/>
                    </a:lnTo>
                    <a:lnTo>
                      <a:pt x="121" y="5"/>
                    </a:lnTo>
                    <a:lnTo>
                      <a:pt x="119" y="5"/>
                    </a:lnTo>
                    <a:lnTo>
                      <a:pt x="119" y="3"/>
                    </a:lnTo>
                    <a:lnTo>
                      <a:pt x="119" y="3"/>
                    </a:lnTo>
                    <a:lnTo>
                      <a:pt x="119" y="1"/>
                    </a:lnTo>
                    <a:lnTo>
                      <a:pt x="119" y="0"/>
                    </a:lnTo>
                    <a:lnTo>
                      <a:pt x="117" y="0"/>
                    </a:lnTo>
                    <a:lnTo>
                      <a:pt x="115" y="3"/>
                    </a:lnTo>
                    <a:lnTo>
                      <a:pt x="115" y="3"/>
                    </a:lnTo>
                    <a:lnTo>
                      <a:pt x="113" y="3"/>
                    </a:lnTo>
                    <a:lnTo>
                      <a:pt x="111" y="0"/>
                    </a:lnTo>
                    <a:lnTo>
                      <a:pt x="109" y="0"/>
                    </a:lnTo>
                    <a:lnTo>
                      <a:pt x="107" y="0"/>
                    </a:lnTo>
                    <a:lnTo>
                      <a:pt x="103" y="3"/>
                    </a:lnTo>
                    <a:lnTo>
                      <a:pt x="99" y="11"/>
                    </a:lnTo>
                    <a:lnTo>
                      <a:pt x="95" y="15"/>
                    </a:lnTo>
                    <a:lnTo>
                      <a:pt x="93" y="21"/>
                    </a:lnTo>
                    <a:lnTo>
                      <a:pt x="93" y="39"/>
                    </a:lnTo>
                    <a:lnTo>
                      <a:pt x="93" y="41"/>
                    </a:lnTo>
                    <a:lnTo>
                      <a:pt x="91" y="44"/>
                    </a:lnTo>
                    <a:lnTo>
                      <a:pt x="88" y="44"/>
                    </a:lnTo>
                    <a:lnTo>
                      <a:pt x="86" y="46"/>
                    </a:lnTo>
                    <a:lnTo>
                      <a:pt x="86" y="50"/>
                    </a:lnTo>
                    <a:lnTo>
                      <a:pt x="82" y="72"/>
                    </a:lnTo>
                    <a:lnTo>
                      <a:pt x="74" y="91"/>
                    </a:lnTo>
                    <a:lnTo>
                      <a:pt x="66" y="107"/>
                    </a:lnTo>
                    <a:lnTo>
                      <a:pt x="58" y="126"/>
                    </a:lnTo>
                    <a:lnTo>
                      <a:pt x="56" y="138"/>
                    </a:lnTo>
                    <a:lnTo>
                      <a:pt x="52" y="142"/>
                    </a:lnTo>
                    <a:lnTo>
                      <a:pt x="49" y="144"/>
                    </a:lnTo>
                    <a:lnTo>
                      <a:pt x="43" y="144"/>
                    </a:lnTo>
                    <a:lnTo>
                      <a:pt x="41" y="144"/>
                    </a:lnTo>
                    <a:lnTo>
                      <a:pt x="37" y="148"/>
                    </a:lnTo>
                    <a:lnTo>
                      <a:pt x="9" y="220"/>
                    </a:lnTo>
                    <a:lnTo>
                      <a:pt x="7" y="226"/>
                    </a:lnTo>
                    <a:lnTo>
                      <a:pt x="7" y="228"/>
                    </a:lnTo>
                    <a:lnTo>
                      <a:pt x="4" y="236"/>
                    </a:lnTo>
                    <a:lnTo>
                      <a:pt x="0" y="246"/>
                    </a:lnTo>
                    <a:lnTo>
                      <a:pt x="0" y="247"/>
                    </a:lnTo>
                    <a:lnTo>
                      <a:pt x="0" y="273"/>
                    </a:lnTo>
                    <a:lnTo>
                      <a:pt x="0" y="279"/>
                    </a:lnTo>
                    <a:lnTo>
                      <a:pt x="2" y="28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36" name="Freeform 1254">
                <a:extLst>
                  <a:ext uri="{FF2B5EF4-FFF2-40B4-BE49-F238E27FC236}">
                    <a16:creationId xmlns:a16="http://schemas.microsoft.com/office/drawing/2014/main" id="{35EB3822-ECE0-4331-B051-30F62E5F00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2" y="702"/>
                <a:ext cx="68" cy="37"/>
              </a:xfrm>
              <a:custGeom>
                <a:avLst/>
                <a:gdLst>
                  <a:gd name="T0" fmla="*/ 1 w 68"/>
                  <a:gd name="T1" fmla="*/ 10 h 37"/>
                  <a:gd name="T2" fmla="*/ 0 w 68"/>
                  <a:gd name="T3" fmla="*/ 14 h 37"/>
                  <a:gd name="T4" fmla="*/ 0 w 68"/>
                  <a:gd name="T5" fmla="*/ 19 h 37"/>
                  <a:gd name="T6" fmla="*/ 0 w 68"/>
                  <a:gd name="T7" fmla="*/ 21 h 37"/>
                  <a:gd name="T8" fmla="*/ 5 w 68"/>
                  <a:gd name="T9" fmla="*/ 27 h 37"/>
                  <a:gd name="T10" fmla="*/ 5 w 68"/>
                  <a:gd name="T11" fmla="*/ 29 h 37"/>
                  <a:gd name="T12" fmla="*/ 7 w 68"/>
                  <a:gd name="T13" fmla="*/ 37 h 37"/>
                  <a:gd name="T14" fmla="*/ 7 w 68"/>
                  <a:gd name="T15" fmla="*/ 37 h 37"/>
                  <a:gd name="T16" fmla="*/ 7 w 68"/>
                  <a:gd name="T17" fmla="*/ 27 h 37"/>
                  <a:gd name="T18" fmla="*/ 13 w 68"/>
                  <a:gd name="T19" fmla="*/ 31 h 37"/>
                  <a:gd name="T20" fmla="*/ 15 w 68"/>
                  <a:gd name="T21" fmla="*/ 33 h 37"/>
                  <a:gd name="T22" fmla="*/ 17 w 68"/>
                  <a:gd name="T23" fmla="*/ 33 h 37"/>
                  <a:gd name="T24" fmla="*/ 17 w 68"/>
                  <a:gd name="T25" fmla="*/ 33 h 37"/>
                  <a:gd name="T26" fmla="*/ 19 w 68"/>
                  <a:gd name="T27" fmla="*/ 29 h 37"/>
                  <a:gd name="T28" fmla="*/ 19 w 68"/>
                  <a:gd name="T29" fmla="*/ 27 h 37"/>
                  <a:gd name="T30" fmla="*/ 23 w 68"/>
                  <a:gd name="T31" fmla="*/ 23 h 37"/>
                  <a:gd name="T32" fmla="*/ 29 w 68"/>
                  <a:gd name="T33" fmla="*/ 21 h 37"/>
                  <a:gd name="T34" fmla="*/ 33 w 68"/>
                  <a:gd name="T35" fmla="*/ 23 h 37"/>
                  <a:gd name="T36" fmla="*/ 37 w 68"/>
                  <a:gd name="T37" fmla="*/ 29 h 37"/>
                  <a:gd name="T38" fmla="*/ 41 w 68"/>
                  <a:gd name="T39" fmla="*/ 27 h 37"/>
                  <a:gd name="T40" fmla="*/ 48 w 68"/>
                  <a:gd name="T41" fmla="*/ 29 h 37"/>
                  <a:gd name="T42" fmla="*/ 58 w 68"/>
                  <a:gd name="T43" fmla="*/ 23 h 37"/>
                  <a:gd name="T44" fmla="*/ 62 w 68"/>
                  <a:gd name="T45" fmla="*/ 23 h 37"/>
                  <a:gd name="T46" fmla="*/ 66 w 68"/>
                  <a:gd name="T47" fmla="*/ 21 h 37"/>
                  <a:gd name="T48" fmla="*/ 66 w 68"/>
                  <a:gd name="T49" fmla="*/ 16 h 37"/>
                  <a:gd name="T50" fmla="*/ 68 w 68"/>
                  <a:gd name="T51" fmla="*/ 0 h 37"/>
                  <a:gd name="T52" fmla="*/ 68 w 68"/>
                  <a:gd name="T53" fmla="*/ 0 h 37"/>
                  <a:gd name="T54" fmla="*/ 11 w 68"/>
                  <a:gd name="T55" fmla="*/ 0 h 37"/>
                  <a:gd name="T56" fmla="*/ 1 w 68"/>
                  <a:gd name="T57" fmla="*/ 1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8" h="37">
                    <a:moveTo>
                      <a:pt x="1" y="10"/>
                    </a:moveTo>
                    <a:lnTo>
                      <a:pt x="0" y="14"/>
                    </a:lnTo>
                    <a:lnTo>
                      <a:pt x="0" y="19"/>
                    </a:lnTo>
                    <a:lnTo>
                      <a:pt x="0" y="21"/>
                    </a:lnTo>
                    <a:lnTo>
                      <a:pt x="5" y="27"/>
                    </a:lnTo>
                    <a:lnTo>
                      <a:pt x="5" y="29"/>
                    </a:lnTo>
                    <a:lnTo>
                      <a:pt x="7" y="37"/>
                    </a:lnTo>
                    <a:lnTo>
                      <a:pt x="7" y="37"/>
                    </a:lnTo>
                    <a:lnTo>
                      <a:pt x="7" y="27"/>
                    </a:lnTo>
                    <a:lnTo>
                      <a:pt x="13" y="31"/>
                    </a:lnTo>
                    <a:lnTo>
                      <a:pt x="15" y="33"/>
                    </a:lnTo>
                    <a:lnTo>
                      <a:pt x="17" y="33"/>
                    </a:lnTo>
                    <a:lnTo>
                      <a:pt x="17" y="33"/>
                    </a:lnTo>
                    <a:lnTo>
                      <a:pt x="19" y="29"/>
                    </a:lnTo>
                    <a:lnTo>
                      <a:pt x="19" y="27"/>
                    </a:lnTo>
                    <a:lnTo>
                      <a:pt x="23" y="23"/>
                    </a:lnTo>
                    <a:lnTo>
                      <a:pt x="29" y="21"/>
                    </a:lnTo>
                    <a:lnTo>
                      <a:pt x="33" y="23"/>
                    </a:lnTo>
                    <a:lnTo>
                      <a:pt x="37" y="29"/>
                    </a:lnTo>
                    <a:lnTo>
                      <a:pt x="41" y="27"/>
                    </a:lnTo>
                    <a:lnTo>
                      <a:pt x="48" y="29"/>
                    </a:lnTo>
                    <a:lnTo>
                      <a:pt x="58" y="23"/>
                    </a:lnTo>
                    <a:lnTo>
                      <a:pt x="62" y="23"/>
                    </a:lnTo>
                    <a:lnTo>
                      <a:pt x="66" y="21"/>
                    </a:lnTo>
                    <a:lnTo>
                      <a:pt x="66" y="16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11" y="0"/>
                    </a:lnTo>
                    <a:lnTo>
                      <a:pt x="1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37" name="Freeform 1255">
                <a:extLst>
                  <a:ext uri="{FF2B5EF4-FFF2-40B4-BE49-F238E27FC236}">
                    <a16:creationId xmlns:a16="http://schemas.microsoft.com/office/drawing/2014/main" id="{E7CF1D7F-E473-4A4B-BE12-87732E6A8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5" y="743"/>
                <a:ext cx="43" cy="39"/>
              </a:xfrm>
              <a:custGeom>
                <a:avLst/>
                <a:gdLst>
                  <a:gd name="T0" fmla="*/ 6 w 43"/>
                  <a:gd name="T1" fmla="*/ 16 h 39"/>
                  <a:gd name="T2" fmla="*/ 10 w 43"/>
                  <a:gd name="T3" fmla="*/ 16 h 39"/>
                  <a:gd name="T4" fmla="*/ 12 w 43"/>
                  <a:gd name="T5" fmla="*/ 17 h 39"/>
                  <a:gd name="T6" fmla="*/ 10 w 43"/>
                  <a:gd name="T7" fmla="*/ 19 h 39"/>
                  <a:gd name="T8" fmla="*/ 6 w 43"/>
                  <a:gd name="T9" fmla="*/ 17 h 39"/>
                  <a:gd name="T10" fmla="*/ 4 w 43"/>
                  <a:gd name="T11" fmla="*/ 19 h 39"/>
                  <a:gd name="T12" fmla="*/ 4 w 43"/>
                  <a:gd name="T13" fmla="*/ 21 h 39"/>
                  <a:gd name="T14" fmla="*/ 4 w 43"/>
                  <a:gd name="T15" fmla="*/ 25 h 39"/>
                  <a:gd name="T16" fmla="*/ 4 w 43"/>
                  <a:gd name="T17" fmla="*/ 27 h 39"/>
                  <a:gd name="T18" fmla="*/ 6 w 43"/>
                  <a:gd name="T19" fmla="*/ 29 h 39"/>
                  <a:gd name="T20" fmla="*/ 6 w 43"/>
                  <a:gd name="T21" fmla="*/ 33 h 39"/>
                  <a:gd name="T22" fmla="*/ 6 w 43"/>
                  <a:gd name="T23" fmla="*/ 35 h 39"/>
                  <a:gd name="T24" fmla="*/ 12 w 43"/>
                  <a:gd name="T25" fmla="*/ 35 h 39"/>
                  <a:gd name="T26" fmla="*/ 12 w 43"/>
                  <a:gd name="T27" fmla="*/ 37 h 39"/>
                  <a:gd name="T28" fmla="*/ 14 w 43"/>
                  <a:gd name="T29" fmla="*/ 39 h 39"/>
                  <a:gd name="T30" fmla="*/ 16 w 43"/>
                  <a:gd name="T31" fmla="*/ 39 h 39"/>
                  <a:gd name="T32" fmla="*/ 18 w 43"/>
                  <a:gd name="T33" fmla="*/ 39 h 39"/>
                  <a:gd name="T34" fmla="*/ 18 w 43"/>
                  <a:gd name="T35" fmla="*/ 39 h 39"/>
                  <a:gd name="T36" fmla="*/ 20 w 43"/>
                  <a:gd name="T37" fmla="*/ 35 h 39"/>
                  <a:gd name="T38" fmla="*/ 22 w 43"/>
                  <a:gd name="T39" fmla="*/ 33 h 39"/>
                  <a:gd name="T40" fmla="*/ 24 w 43"/>
                  <a:gd name="T41" fmla="*/ 35 h 39"/>
                  <a:gd name="T42" fmla="*/ 26 w 43"/>
                  <a:gd name="T43" fmla="*/ 33 h 39"/>
                  <a:gd name="T44" fmla="*/ 28 w 43"/>
                  <a:gd name="T45" fmla="*/ 31 h 39"/>
                  <a:gd name="T46" fmla="*/ 29 w 43"/>
                  <a:gd name="T47" fmla="*/ 23 h 39"/>
                  <a:gd name="T48" fmla="*/ 31 w 43"/>
                  <a:gd name="T49" fmla="*/ 17 h 39"/>
                  <a:gd name="T50" fmla="*/ 33 w 43"/>
                  <a:gd name="T51" fmla="*/ 16 h 39"/>
                  <a:gd name="T52" fmla="*/ 37 w 43"/>
                  <a:gd name="T53" fmla="*/ 16 h 39"/>
                  <a:gd name="T54" fmla="*/ 35 w 43"/>
                  <a:gd name="T55" fmla="*/ 19 h 39"/>
                  <a:gd name="T56" fmla="*/ 37 w 43"/>
                  <a:gd name="T57" fmla="*/ 21 h 39"/>
                  <a:gd name="T58" fmla="*/ 37 w 43"/>
                  <a:gd name="T59" fmla="*/ 21 h 39"/>
                  <a:gd name="T60" fmla="*/ 39 w 43"/>
                  <a:gd name="T61" fmla="*/ 19 h 39"/>
                  <a:gd name="T62" fmla="*/ 41 w 43"/>
                  <a:gd name="T63" fmla="*/ 17 h 39"/>
                  <a:gd name="T64" fmla="*/ 43 w 43"/>
                  <a:gd name="T65" fmla="*/ 10 h 39"/>
                  <a:gd name="T66" fmla="*/ 41 w 43"/>
                  <a:gd name="T67" fmla="*/ 8 h 39"/>
                  <a:gd name="T68" fmla="*/ 41 w 43"/>
                  <a:gd name="T69" fmla="*/ 6 h 39"/>
                  <a:gd name="T70" fmla="*/ 41 w 43"/>
                  <a:gd name="T71" fmla="*/ 2 h 39"/>
                  <a:gd name="T72" fmla="*/ 37 w 43"/>
                  <a:gd name="T73" fmla="*/ 0 h 39"/>
                  <a:gd name="T74" fmla="*/ 35 w 43"/>
                  <a:gd name="T75" fmla="*/ 0 h 39"/>
                  <a:gd name="T76" fmla="*/ 31 w 43"/>
                  <a:gd name="T77" fmla="*/ 4 h 39"/>
                  <a:gd name="T78" fmla="*/ 28 w 43"/>
                  <a:gd name="T79" fmla="*/ 6 h 39"/>
                  <a:gd name="T80" fmla="*/ 12 w 43"/>
                  <a:gd name="T81" fmla="*/ 6 h 39"/>
                  <a:gd name="T82" fmla="*/ 6 w 43"/>
                  <a:gd name="T83" fmla="*/ 4 h 39"/>
                  <a:gd name="T84" fmla="*/ 2 w 43"/>
                  <a:gd name="T85" fmla="*/ 6 h 39"/>
                  <a:gd name="T86" fmla="*/ 0 w 43"/>
                  <a:gd name="T87" fmla="*/ 10 h 39"/>
                  <a:gd name="T88" fmla="*/ 2 w 43"/>
                  <a:gd name="T89" fmla="*/ 16 h 39"/>
                  <a:gd name="T90" fmla="*/ 6 w 43"/>
                  <a:gd name="T91" fmla="*/ 1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" h="39">
                    <a:moveTo>
                      <a:pt x="6" y="16"/>
                    </a:moveTo>
                    <a:lnTo>
                      <a:pt x="10" y="16"/>
                    </a:lnTo>
                    <a:lnTo>
                      <a:pt x="12" y="17"/>
                    </a:lnTo>
                    <a:lnTo>
                      <a:pt x="10" y="19"/>
                    </a:lnTo>
                    <a:lnTo>
                      <a:pt x="6" y="17"/>
                    </a:lnTo>
                    <a:lnTo>
                      <a:pt x="4" y="19"/>
                    </a:lnTo>
                    <a:lnTo>
                      <a:pt x="4" y="21"/>
                    </a:lnTo>
                    <a:lnTo>
                      <a:pt x="4" y="25"/>
                    </a:lnTo>
                    <a:lnTo>
                      <a:pt x="4" y="27"/>
                    </a:lnTo>
                    <a:lnTo>
                      <a:pt x="6" y="29"/>
                    </a:lnTo>
                    <a:lnTo>
                      <a:pt x="6" y="33"/>
                    </a:lnTo>
                    <a:lnTo>
                      <a:pt x="6" y="35"/>
                    </a:lnTo>
                    <a:lnTo>
                      <a:pt x="12" y="35"/>
                    </a:lnTo>
                    <a:lnTo>
                      <a:pt x="12" y="37"/>
                    </a:lnTo>
                    <a:lnTo>
                      <a:pt x="14" y="39"/>
                    </a:lnTo>
                    <a:lnTo>
                      <a:pt x="16" y="39"/>
                    </a:lnTo>
                    <a:lnTo>
                      <a:pt x="18" y="39"/>
                    </a:lnTo>
                    <a:lnTo>
                      <a:pt x="18" y="39"/>
                    </a:lnTo>
                    <a:lnTo>
                      <a:pt x="20" y="35"/>
                    </a:lnTo>
                    <a:lnTo>
                      <a:pt x="22" y="33"/>
                    </a:lnTo>
                    <a:lnTo>
                      <a:pt x="24" y="35"/>
                    </a:lnTo>
                    <a:lnTo>
                      <a:pt x="26" y="33"/>
                    </a:lnTo>
                    <a:lnTo>
                      <a:pt x="28" y="31"/>
                    </a:lnTo>
                    <a:lnTo>
                      <a:pt x="29" y="23"/>
                    </a:lnTo>
                    <a:lnTo>
                      <a:pt x="31" y="17"/>
                    </a:lnTo>
                    <a:lnTo>
                      <a:pt x="33" y="16"/>
                    </a:lnTo>
                    <a:lnTo>
                      <a:pt x="37" y="16"/>
                    </a:lnTo>
                    <a:lnTo>
                      <a:pt x="35" y="19"/>
                    </a:lnTo>
                    <a:lnTo>
                      <a:pt x="37" y="21"/>
                    </a:lnTo>
                    <a:lnTo>
                      <a:pt x="37" y="21"/>
                    </a:lnTo>
                    <a:lnTo>
                      <a:pt x="39" y="19"/>
                    </a:lnTo>
                    <a:lnTo>
                      <a:pt x="41" y="17"/>
                    </a:lnTo>
                    <a:lnTo>
                      <a:pt x="43" y="10"/>
                    </a:lnTo>
                    <a:lnTo>
                      <a:pt x="41" y="8"/>
                    </a:lnTo>
                    <a:lnTo>
                      <a:pt x="41" y="6"/>
                    </a:lnTo>
                    <a:lnTo>
                      <a:pt x="41" y="2"/>
                    </a:lnTo>
                    <a:lnTo>
                      <a:pt x="37" y="0"/>
                    </a:lnTo>
                    <a:lnTo>
                      <a:pt x="35" y="0"/>
                    </a:lnTo>
                    <a:lnTo>
                      <a:pt x="31" y="4"/>
                    </a:lnTo>
                    <a:lnTo>
                      <a:pt x="28" y="6"/>
                    </a:lnTo>
                    <a:lnTo>
                      <a:pt x="12" y="6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6"/>
                    </a:lnTo>
                    <a:lnTo>
                      <a:pt x="6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38" name="Freeform 1256">
                <a:extLst>
                  <a:ext uri="{FF2B5EF4-FFF2-40B4-BE49-F238E27FC236}">
                    <a16:creationId xmlns:a16="http://schemas.microsoft.com/office/drawing/2014/main" id="{58691890-4DE1-4D1E-AD9E-9D93E8C0B4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9" y="1338"/>
                <a:ext cx="15" cy="16"/>
              </a:xfrm>
              <a:custGeom>
                <a:avLst/>
                <a:gdLst>
                  <a:gd name="T0" fmla="*/ 8 w 15"/>
                  <a:gd name="T1" fmla="*/ 14 h 16"/>
                  <a:gd name="T2" fmla="*/ 8 w 15"/>
                  <a:gd name="T3" fmla="*/ 16 h 16"/>
                  <a:gd name="T4" fmla="*/ 9 w 15"/>
                  <a:gd name="T5" fmla="*/ 16 h 16"/>
                  <a:gd name="T6" fmla="*/ 9 w 15"/>
                  <a:gd name="T7" fmla="*/ 14 h 16"/>
                  <a:gd name="T8" fmla="*/ 11 w 15"/>
                  <a:gd name="T9" fmla="*/ 14 h 16"/>
                  <a:gd name="T10" fmla="*/ 11 w 15"/>
                  <a:gd name="T11" fmla="*/ 10 h 16"/>
                  <a:gd name="T12" fmla="*/ 9 w 15"/>
                  <a:gd name="T13" fmla="*/ 8 h 16"/>
                  <a:gd name="T14" fmla="*/ 9 w 15"/>
                  <a:gd name="T15" fmla="*/ 6 h 16"/>
                  <a:gd name="T16" fmla="*/ 11 w 15"/>
                  <a:gd name="T17" fmla="*/ 6 h 16"/>
                  <a:gd name="T18" fmla="*/ 13 w 15"/>
                  <a:gd name="T19" fmla="*/ 4 h 16"/>
                  <a:gd name="T20" fmla="*/ 15 w 15"/>
                  <a:gd name="T21" fmla="*/ 2 h 16"/>
                  <a:gd name="T22" fmla="*/ 13 w 15"/>
                  <a:gd name="T23" fmla="*/ 2 h 16"/>
                  <a:gd name="T24" fmla="*/ 11 w 15"/>
                  <a:gd name="T25" fmla="*/ 2 h 16"/>
                  <a:gd name="T26" fmla="*/ 9 w 15"/>
                  <a:gd name="T27" fmla="*/ 2 h 16"/>
                  <a:gd name="T28" fmla="*/ 8 w 15"/>
                  <a:gd name="T29" fmla="*/ 2 h 16"/>
                  <a:gd name="T30" fmla="*/ 6 w 15"/>
                  <a:gd name="T31" fmla="*/ 2 h 16"/>
                  <a:gd name="T32" fmla="*/ 6 w 15"/>
                  <a:gd name="T33" fmla="*/ 0 h 16"/>
                  <a:gd name="T34" fmla="*/ 2 w 15"/>
                  <a:gd name="T35" fmla="*/ 2 h 16"/>
                  <a:gd name="T36" fmla="*/ 0 w 15"/>
                  <a:gd name="T37" fmla="*/ 6 h 16"/>
                  <a:gd name="T38" fmla="*/ 2 w 15"/>
                  <a:gd name="T39" fmla="*/ 10 h 16"/>
                  <a:gd name="T40" fmla="*/ 8 w 15"/>
                  <a:gd name="T41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" h="16">
                    <a:moveTo>
                      <a:pt x="8" y="14"/>
                    </a:moveTo>
                    <a:lnTo>
                      <a:pt x="8" y="16"/>
                    </a:lnTo>
                    <a:lnTo>
                      <a:pt x="9" y="16"/>
                    </a:lnTo>
                    <a:lnTo>
                      <a:pt x="9" y="14"/>
                    </a:lnTo>
                    <a:lnTo>
                      <a:pt x="11" y="14"/>
                    </a:lnTo>
                    <a:lnTo>
                      <a:pt x="11" y="10"/>
                    </a:lnTo>
                    <a:lnTo>
                      <a:pt x="9" y="8"/>
                    </a:lnTo>
                    <a:lnTo>
                      <a:pt x="9" y="6"/>
                    </a:lnTo>
                    <a:lnTo>
                      <a:pt x="11" y="6"/>
                    </a:lnTo>
                    <a:lnTo>
                      <a:pt x="13" y="4"/>
                    </a:lnTo>
                    <a:lnTo>
                      <a:pt x="15" y="2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9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8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39" name="Freeform 1257">
                <a:extLst>
                  <a:ext uri="{FF2B5EF4-FFF2-40B4-BE49-F238E27FC236}">
                    <a16:creationId xmlns:a16="http://schemas.microsoft.com/office/drawing/2014/main" id="{D2C1B4D1-66AB-4D71-AB24-0C14AA564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1" y="786"/>
                <a:ext cx="164" cy="314"/>
              </a:xfrm>
              <a:custGeom>
                <a:avLst/>
                <a:gdLst>
                  <a:gd name="T0" fmla="*/ 19 w 164"/>
                  <a:gd name="T1" fmla="*/ 250 h 314"/>
                  <a:gd name="T2" fmla="*/ 19 w 164"/>
                  <a:gd name="T3" fmla="*/ 261 h 314"/>
                  <a:gd name="T4" fmla="*/ 23 w 164"/>
                  <a:gd name="T5" fmla="*/ 265 h 314"/>
                  <a:gd name="T6" fmla="*/ 29 w 164"/>
                  <a:gd name="T7" fmla="*/ 271 h 314"/>
                  <a:gd name="T8" fmla="*/ 16 w 164"/>
                  <a:gd name="T9" fmla="*/ 281 h 314"/>
                  <a:gd name="T10" fmla="*/ 6 w 164"/>
                  <a:gd name="T11" fmla="*/ 310 h 314"/>
                  <a:gd name="T12" fmla="*/ 35 w 164"/>
                  <a:gd name="T13" fmla="*/ 302 h 314"/>
                  <a:gd name="T14" fmla="*/ 41 w 164"/>
                  <a:gd name="T15" fmla="*/ 289 h 314"/>
                  <a:gd name="T16" fmla="*/ 41 w 164"/>
                  <a:gd name="T17" fmla="*/ 281 h 314"/>
                  <a:gd name="T18" fmla="*/ 55 w 164"/>
                  <a:gd name="T19" fmla="*/ 252 h 314"/>
                  <a:gd name="T20" fmla="*/ 55 w 164"/>
                  <a:gd name="T21" fmla="*/ 240 h 314"/>
                  <a:gd name="T22" fmla="*/ 78 w 164"/>
                  <a:gd name="T23" fmla="*/ 224 h 314"/>
                  <a:gd name="T24" fmla="*/ 96 w 164"/>
                  <a:gd name="T25" fmla="*/ 215 h 314"/>
                  <a:gd name="T26" fmla="*/ 98 w 164"/>
                  <a:gd name="T27" fmla="*/ 203 h 314"/>
                  <a:gd name="T28" fmla="*/ 103 w 164"/>
                  <a:gd name="T29" fmla="*/ 185 h 314"/>
                  <a:gd name="T30" fmla="*/ 123 w 164"/>
                  <a:gd name="T31" fmla="*/ 170 h 314"/>
                  <a:gd name="T32" fmla="*/ 127 w 164"/>
                  <a:gd name="T33" fmla="*/ 166 h 314"/>
                  <a:gd name="T34" fmla="*/ 139 w 164"/>
                  <a:gd name="T35" fmla="*/ 166 h 314"/>
                  <a:gd name="T36" fmla="*/ 137 w 164"/>
                  <a:gd name="T37" fmla="*/ 152 h 314"/>
                  <a:gd name="T38" fmla="*/ 129 w 164"/>
                  <a:gd name="T39" fmla="*/ 150 h 314"/>
                  <a:gd name="T40" fmla="*/ 115 w 164"/>
                  <a:gd name="T41" fmla="*/ 148 h 314"/>
                  <a:gd name="T42" fmla="*/ 111 w 164"/>
                  <a:gd name="T43" fmla="*/ 140 h 314"/>
                  <a:gd name="T44" fmla="*/ 111 w 164"/>
                  <a:gd name="T45" fmla="*/ 127 h 314"/>
                  <a:gd name="T46" fmla="*/ 115 w 164"/>
                  <a:gd name="T47" fmla="*/ 109 h 314"/>
                  <a:gd name="T48" fmla="*/ 111 w 164"/>
                  <a:gd name="T49" fmla="*/ 96 h 314"/>
                  <a:gd name="T50" fmla="*/ 113 w 164"/>
                  <a:gd name="T51" fmla="*/ 86 h 314"/>
                  <a:gd name="T52" fmla="*/ 117 w 164"/>
                  <a:gd name="T53" fmla="*/ 62 h 314"/>
                  <a:gd name="T54" fmla="*/ 125 w 164"/>
                  <a:gd name="T55" fmla="*/ 62 h 314"/>
                  <a:gd name="T56" fmla="*/ 139 w 164"/>
                  <a:gd name="T57" fmla="*/ 58 h 314"/>
                  <a:gd name="T58" fmla="*/ 143 w 164"/>
                  <a:gd name="T59" fmla="*/ 45 h 314"/>
                  <a:gd name="T60" fmla="*/ 148 w 164"/>
                  <a:gd name="T61" fmla="*/ 37 h 314"/>
                  <a:gd name="T62" fmla="*/ 158 w 164"/>
                  <a:gd name="T63" fmla="*/ 19 h 314"/>
                  <a:gd name="T64" fmla="*/ 152 w 164"/>
                  <a:gd name="T65" fmla="*/ 10 h 314"/>
                  <a:gd name="T66" fmla="*/ 146 w 164"/>
                  <a:gd name="T67" fmla="*/ 4 h 314"/>
                  <a:gd name="T68" fmla="*/ 137 w 164"/>
                  <a:gd name="T69" fmla="*/ 12 h 314"/>
                  <a:gd name="T70" fmla="*/ 125 w 164"/>
                  <a:gd name="T71" fmla="*/ 4 h 314"/>
                  <a:gd name="T72" fmla="*/ 125 w 164"/>
                  <a:gd name="T73" fmla="*/ 10 h 314"/>
                  <a:gd name="T74" fmla="*/ 117 w 164"/>
                  <a:gd name="T75" fmla="*/ 31 h 314"/>
                  <a:gd name="T76" fmla="*/ 113 w 164"/>
                  <a:gd name="T77" fmla="*/ 19 h 314"/>
                  <a:gd name="T78" fmla="*/ 111 w 164"/>
                  <a:gd name="T79" fmla="*/ 15 h 314"/>
                  <a:gd name="T80" fmla="*/ 109 w 164"/>
                  <a:gd name="T81" fmla="*/ 6 h 314"/>
                  <a:gd name="T82" fmla="*/ 96 w 164"/>
                  <a:gd name="T83" fmla="*/ 4 h 314"/>
                  <a:gd name="T84" fmla="*/ 86 w 164"/>
                  <a:gd name="T85" fmla="*/ 21 h 314"/>
                  <a:gd name="T86" fmla="*/ 80 w 164"/>
                  <a:gd name="T87" fmla="*/ 29 h 314"/>
                  <a:gd name="T88" fmla="*/ 60 w 164"/>
                  <a:gd name="T89" fmla="*/ 39 h 314"/>
                  <a:gd name="T90" fmla="*/ 2 w 164"/>
                  <a:gd name="T91" fmla="*/ 129 h 314"/>
                  <a:gd name="T92" fmla="*/ 6 w 164"/>
                  <a:gd name="T93" fmla="*/ 154 h 314"/>
                  <a:gd name="T94" fmla="*/ 10 w 164"/>
                  <a:gd name="T95" fmla="*/ 164 h 314"/>
                  <a:gd name="T96" fmla="*/ 14 w 164"/>
                  <a:gd name="T97" fmla="*/ 170 h 314"/>
                  <a:gd name="T98" fmla="*/ 8 w 164"/>
                  <a:gd name="T99" fmla="*/ 191 h 314"/>
                  <a:gd name="T100" fmla="*/ 10 w 164"/>
                  <a:gd name="T101" fmla="*/ 217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4" h="314">
                    <a:moveTo>
                      <a:pt x="14" y="242"/>
                    </a:moveTo>
                    <a:lnTo>
                      <a:pt x="21" y="246"/>
                    </a:lnTo>
                    <a:lnTo>
                      <a:pt x="19" y="248"/>
                    </a:lnTo>
                    <a:lnTo>
                      <a:pt x="19" y="250"/>
                    </a:lnTo>
                    <a:lnTo>
                      <a:pt x="19" y="252"/>
                    </a:lnTo>
                    <a:lnTo>
                      <a:pt x="21" y="254"/>
                    </a:lnTo>
                    <a:lnTo>
                      <a:pt x="21" y="258"/>
                    </a:lnTo>
                    <a:lnTo>
                      <a:pt x="19" y="261"/>
                    </a:lnTo>
                    <a:lnTo>
                      <a:pt x="16" y="265"/>
                    </a:lnTo>
                    <a:lnTo>
                      <a:pt x="16" y="267"/>
                    </a:lnTo>
                    <a:lnTo>
                      <a:pt x="19" y="269"/>
                    </a:lnTo>
                    <a:lnTo>
                      <a:pt x="23" y="265"/>
                    </a:lnTo>
                    <a:lnTo>
                      <a:pt x="27" y="261"/>
                    </a:lnTo>
                    <a:lnTo>
                      <a:pt x="31" y="260"/>
                    </a:lnTo>
                    <a:lnTo>
                      <a:pt x="29" y="261"/>
                    </a:lnTo>
                    <a:lnTo>
                      <a:pt x="29" y="271"/>
                    </a:lnTo>
                    <a:lnTo>
                      <a:pt x="27" y="275"/>
                    </a:lnTo>
                    <a:lnTo>
                      <a:pt x="25" y="277"/>
                    </a:lnTo>
                    <a:lnTo>
                      <a:pt x="19" y="279"/>
                    </a:lnTo>
                    <a:lnTo>
                      <a:pt x="16" y="281"/>
                    </a:lnTo>
                    <a:lnTo>
                      <a:pt x="17" y="285"/>
                    </a:lnTo>
                    <a:lnTo>
                      <a:pt x="17" y="289"/>
                    </a:lnTo>
                    <a:lnTo>
                      <a:pt x="17" y="291"/>
                    </a:lnTo>
                    <a:lnTo>
                      <a:pt x="6" y="310"/>
                    </a:lnTo>
                    <a:lnTo>
                      <a:pt x="12" y="314"/>
                    </a:lnTo>
                    <a:lnTo>
                      <a:pt x="17" y="312"/>
                    </a:lnTo>
                    <a:lnTo>
                      <a:pt x="33" y="304"/>
                    </a:lnTo>
                    <a:lnTo>
                      <a:pt x="35" y="302"/>
                    </a:lnTo>
                    <a:lnTo>
                      <a:pt x="37" y="297"/>
                    </a:lnTo>
                    <a:lnTo>
                      <a:pt x="39" y="295"/>
                    </a:lnTo>
                    <a:lnTo>
                      <a:pt x="43" y="291"/>
                    </a:lnTo>
                    <a:lnTo>
                      <a:pt x="41" y="289"/>
                    </a:lnTo>
                    <a:lnTo>
                      <a:pt x="41" y="285"/>
                    </a:lnTo>
                    <a:lnTo>
                      <a:pt x="51" y="285"/>
                    </a:lnTo>
                    <a:lnTo>
                      <a:pt x="43" y="283"/>
                    </a:lnTo>
                    <a:lnTo>
                      <a:pt x="41" y="281"/>
                    </a:lnTo>
                    <a:lnTo>
                      <a:pt x="39" y="277"/>
                    </a:lnTo>
                    <a:lnTo>
                      <a:pt x="41" y="261"/>
                    </a:lnTo>
                    <a:lnTo>
                      <a:pt x="43" y="258"/>
                    </a:lnTo>
                    <a:lnTo>
                      <a:pt x="55" y="252"/>
                    </a:lnTo>
                    <a:lnTo>
                      <a:pt x="59" y="248"/>
                    </a:lnTo>
                    <a:lnTo>
                      <a:pt x="47" y="248"/>
                    </a:lnTo>
                    <a:lnTo>
                      <a:pt x="51" y="244"/>
                    </a:lnTo>
                    <a:lnTo>
                      <a:pt x="55" y="240"/>
                    </a:lnTo>
                    <a:lnTo>
                      <a:pt x="76" y="228"/>
                    </a:lnTo>
                    <a:lnTo>
                      <a:pt x="80" y="226"/>
                    </a:lnTo>
                    <a:lnTo>
                      <a:pt x="80" y="224"/>
                    </a:lnTo>
                    <a:lnTo>
                      <a:pt x="78" y="224"/>
                    </a:lnTo>
                    <a:lnTo>
                      <a:pt x="78" y="222"/>
                    </a:lnTo>
                    <a:lnTo>
                      <a:pt x="82" y="220"/>
                    </a:lnTo>
                    <a:lnTo>
                      <a:pt x="98" y="217"/>
                    </a:lnTo>
                    <a:lnTo>
                      <a:pt x="96" y="215"/>
                    </a:lnTo>
                    <a:lnTo>
                      <a:pt x="101" y="213"/>
                    </a:lnTo>
                    <a:lnTo>
                      <a:pt x="101" y="203"/>
                    </a:lnTo>
                    <a:lnTo>
                      <a:pt x="100" y="201"/>
                    </a:lnTo>
                    <a:lnTo>
                      <a:pt x="98" y="203"/>
                    </a:lnTo>
                    <a:lnTo>
                      <a:pt x="96" y="201"/>
                    </a:lnTo>
                    <a:lnTo>
                      <a:pt x="94" y="195"/>
                    </a:lnTo>
                    <a:lnTo>
                      <a:pt x="98" y="191"/>
                    </a:lnTo>
                    <a:lnTo>
                      <a:pt x="103" y="185"/>
                    </a:lnTo>
                    <a:lnTo>
                      <a:pt x="107" y="179"/>
                    </a:lnTo>
                    <a:lnTo>
                      <a:pt x="111" y="176"/>
                    </a:lnTo>
                    <a:lnTo>
                      <a:pt x="117" y="172"/>
                    </a:lnTo>
                    <a:lnTo>
                      <a:pt x="123" y="170"/>
                    </a:lnTo>
                    <a:lnTo>
                      <a:pt x="123" y="170"/>
                    </a:lnTo>
                    <a:lnTo>
                      <a:pt x="125" y="166"/>
                    </a:lnTo>
                    <a:lnTo>
                      <a:pt x="127" y="166"/>
                    </a:lnTo>
                    <a:lnTo>
                      <a:pt x="127" y="166"/>
                    </a:lnTo>
                    <a:lnTo>
                      <a:pt x="129" y="168"/>
                    </a:lnTo>
                    <a:lnTo>
                      <a:pt x="131" y="168"/>
                    </a:lnTo>
                    <a:lnTo>
                      <a:pt x="135" y="168"/>
                    </a:lnTo>
                    <a:lnTo>
                      <a:pt x="139" y="166"/>
                    </a:lnTo>
                    <a:lnTo>
                      <a:pt x="139" y="162"/>
                    </a:lnTo>
                    <a:lnTo>
                      <a:pt x="139" y="158"/>
                    </a:lnTo>
                    <a:lnTo>
                      <a:pt x="137" y="154"/>
                    </a:lnTo>
                    <a:lnTo>
                      <a:pt x="137" y="152"/>
                    </a:lnTo>
                    <a:lnTo>
                      <a:pt x="135" y="152"/>
                    </a:lnTo>
                    <a:lnTo>
                      <a:pt x="133" y="150"/>
                    </a:lnTo>
                    <a:lnTo>
                      <a:pt x="131" y="148"/>
                    </a:lnTo>
                    <a:lnTo>
                      <a:pt x="129" y="150"/>
                    </a:lnTo>
                    <a:lnTo>
                      <a:pt x="129" y="152"/>
                    </a:lnTo>
                    <a:lnTo>
                      <a:pt x="129" y="152"/>
                    </a:lnTo>
                    <a:lnTo>
                      <a:pt x="121" y="152"/>
                    </a:lnTo>
                    <a:lnTo>
                      <a:pt x="115" y="148"/>
                    </a:lnTo>
                    <a:lnTo>
                      <a:pt x="117" y="144"/>
                    </a:lnTo>
                    <a:lnTo>
                      <a:pt x="117" y="142"/>
                    </a:lnTo>
                    <a:lnTo>
                      <a:pt x="115" y="142"/>
                    </a:lnTo>
                    <a:lnTo>
                      <a:pt x="111" y="140"/>
                    </a:lnTo>
                    <a:lnTo>
                      <a:pt x="111" y="138"/>
                    </a:lnTo>
                    <a:lnTo>
                      <a:pt x="113" y="133"/>
                    </a:lnTo>
                    <a:lnTo>
                      <a:pt x="109" y="131"/>
                    </a:lnTo>
                    <a:lnTo>
                      <a:pt x="111" y="127"/>
                    </a:lnTo>
                    <a:lnTo>
                      <a:pt x="113" y="123"/>
                    </a:lnTo>
                    <a:lnTo>
                      <a:pt x="115" y="117"/>
                    </a:lnTo>
                    <a:lnTo>
                      <a:pt x="115" y="113"/>
                    </a:lnTo>
                    <a:lnTo>
                      <a:pt x="115" y="109"/>
                    </a:lnTo>
                    <a:lnTo>
                      <a:pt x="117" y="103"/>
                    </a:lnTo>
                    <a:lnTo>
                      <a:pt x="119" y="99"/>
                    </a:lnTo>
                    <a:lnTo>
                      <a:pt x="111" y="97"/>
                    </a:lnTo>
                    <a:lnTo>
                      <a:pt x="111" y="96"/>
                    </a:lnTo>
                    <a:lnTo>
                      <a:pt x="111" y="94"/>
                    </a:lnTo>
                    <a:lnTo>
                      <a:pt x="111" y="92"/>
                    </a:lnTo>
                    <a:lnTo>
                      <a:pt x="113" y="90"/>
                    </a:lnTo>
                    <a:lnTo>
                      <a:pt x="113" y="86"/>
                    </a:lnTo>
                    <a:lnTo>
                      <a:pt x="117" y="78"/>
                    </a:lnTo>
                    <a:lnTo>
                      <a:pt x="119" y="68"/>
                    </a:lnTo>
                    <a:lnTo>
                      <a:pt x="119" y="64"/>
                    </a:lnTo>
                    <a:lnTo>
                      <a:pt x="117" y="62"/>
                    </a:lnTo>
                    <a:lnTo>
                      <a:pt x="117" y="60"/>
                    </a:lnTo>
                    <a:lnTo>
                      <a:pt x="121" y="58"/>
                    </a:lnTo>
                    <a:lnTo>
                      <a:pt x="123" y="60"/>
                    </a:lnTo>
                    <a:lnTo>
                      <a:pt x="125" y="62"/>
                    </a:lnTo>
                    <a:lnTo>
                      <a:pt x="127" y="62"/>
                    </a:lnTo>
                    <a:lnTo>
                      <a:pt x="133" y="62"/>
                    </a:lnTo>
                    <a:lnTo>
                      <a:pt x="141" y="60"/>
                    </a:lnTo>
                    <a:lnTo>
                      <a:pt x="139" y="58"/>
                    </a:lnTo>
                    <a:lnTo>
                      <a:pt x="139" y="55"/>
                    </a:lnTo>
                    <a:lnTo>
                      <a:pt x="141" y="51"/>
                    </a:lnTo>
                    <a:lnTo>
                      <a:pt x="141" y="49"/>
                    </a:lnTo>
                    <a:lnTo>
                      <a:pt x="143" y="45"/>
                    </a:lnTo>
                    <a:lnTo>
                      <a:pt x="143" y="45"/>
                    </a:lnTo>
                    <a:lnTo>
                      <a:pt x="144" y="45"/>
                    </a:lnTo>
                    <a:lnTo>
                      <a:pt x="146" y="49"/>
                    </a:lnTo>
                    <a:lnTo>
                      <a:pt x="148" y="37"/>
                    </a:lnTo>
                    <a:lnTo>
                      <a:pt x="152" y="33"/>
                    </a:lnTo>
                    <a:lnTo>
                      <a:pt x="164" y="31"/>
                    </a:lnTo>
                    <a:lnTo>
                      <a:pt x="164" y="29"/>
                    </a:lnTo>
                    <a:lnTo>
                      <a:pt x="158" y="19"/>
                    </a:lnTo>
                    <a:lnTo>
                      <a:pt x="156" y="17"/>
                    </a:lnTo>
                    <a:lnTo>
                      <a:pt x="154" y="17"/>
                    </a:lnTo>
                    <a:lnTo>
                      <a:pt x="152" y="14"/>
                    </a:lnTo>
                    <a:lnTo>
                      <a:pt x="152" y="10"/>
                    </a:lnTo>
                    <a:lnTo>
                      <a:pt x="150" y="8"/>
                    </a:lnTo>
                    <a:lnTo>
                      <a:pt x="152" y="6"/>
                    </a:lnTo>
                    <a:lnTo>
                      <a:pt x="150" y="4"/>
                    </a:lnTo>
                    <a:lnTo>
                      <a:pt x="146" y="4"/>
                    </a:lnTo>
                    <a:lnTo>
                      <a:pt x="143" y="6"/>
                    </a:lnTo>
                    <a:lnTo>
                      <a:pt x="141" y="8"/>
                    </a:lnTo>
                    <a:lnTo>
                      <a:pt x="141" y="12"/>
                    </a:lnTo>
                    <a:lnTo>
                      <a:pt x="137" y="12"/>
                    </a:lnTo>
                    <a:lnTo>
                      <a:pt x="133" y="8"/>
                    </a:lnTo>
                    <a:lnTo>
                      <a:pt x="135" y="4"/>
                    </a:lnTo>
                    <a:lnTo>
                      <a:pt x="135" y="2"/>
                    </a:lnTo>
                    <a:lnTo>
                      <a:pt x="125" y="4"/>
                    </a:lnTo>
                    <a:lnTo>
                      <a:pt x="123" y="4"/>
                    </a:lnTo>
                    <a:lnTo>
                      <a:pt x="123" y="6"/>
                    </a:lnTo>
                    <a:lnTo>
                      <a:pt x="125" y="10"/>
                    </a:lnTo>
                    <a:lnTo>
                      <a:pt x="125" y="10"/>
                    </a:lnTo>
                    <a:lnTo>
                      <a:pt x="125" y="15"/>
                    </a:lnTo>
                    <a:lnTo>
                      <a:pt x="121" y="19"/>
                    </a:lnTo>
                    <a:lnTo>
                      <a:pt x="119" y="23"/>
                    </a:lnTo>
                    <a:lnTo>
                      <a:pt x="117" y="31"/>
                    </a:lnTo>
                    <a:lnTo>
                      <a:pt x="113" y="27"/>
                    </a:lnTo>
                    <a:lnTo>
                      <a:pt x="113" y="25"/>
                    </a:lnTo>
                    <a:lnTo>
                      <a:pt x="113" y="21"/>
                    </a:lnTo>
                    <a:lnTo>
                      <a:pt x="113" y="19"/>
                    </a:lnTo>
                    <a:lnTo>
                      <a:pt x="111" y="19"/>
                    </a:lnTo>
                    <a:lnTo>
                      <a:pt x="111" y="19"/>
                    </a:lnTo>
                    <a:lnTo>
                      <a:pt x="111" y="17"/>
                    </a:lnTo>
                    <a:lnTo>
                      <a:pt x="111" y="15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1" y="12"/>
                    </a:lnTo>
                    <a:lnTo>
                      <a:pt x="109" y="6"/>
                    </a:lnTo>
                    <a:lnTo>
                      <a:pt x="107" y="2"/>
                    </a:lnTo>
                    <a:lnTo>
                      <a:pt x="103" y="0"/>
                    </a:lnTo>
                    <a:lnTo>
                      <a:pt x="100" y="2"/>
                    </a:lnTo>
                    <a:lnTo>
                      <a:pt x="96" y="4"/>
                    </a:lnTo>
                    <a:lnTo>
                      <a:pt x="94" y="8"/>
                    </a:lnTo>
                    <a:lnTo>
                      <a:pt x="90" y="12"/>
                    </a:lnTo>
                    <a:lnTo>
                      <a:pt x="88" y="17"/>
                    </a:lnTo>
                    <a:lnTo>
                      <a:pt x="86" y="21"/>
                    </a:lnTo>
                    <a:lnTo>
                      <a:pt x="86" y="25"/>
                    </a:lnTo>
                    <a:lnTo>
                      <a:pt x="84" y="27"/>
                    </a:lnTo>
                    <a:lnTo>
                      <a:pt x="82" y="29"/>
                    </a:lnTo>
                    <a:lnTo>
                      <a:pt x="80" y="29"/>
                    </a:lnTo>
                    <a:lnTo>
                      <a:pt x="78" y="27"/>
                    </a:lnTo>
                    <a:lnTo>
                      <a:pt x="74" y="27"/>
                    </a:lnTo>
                    <a:lnTo>
                      <a:pt x="66" y="31"/>
                    </a:lnTo>
                    <a:lnTo>
                      <a:pt x="60" y="39"/>
                    </a:lnTo>
                    <a:lnTo>
                      <a:pt x="37" y="80"/>
                    </a:lnTo>
                    <a:lnTo>
                      <a:pt x="10" y="109"/>
                    </a:lnTo>
                    <a:lnTo>
                      <a:pt x="4" y="117"/>
                    </a:lnTo>
                    <a:lnTo>
                      <a:pt x="2" y="129"/>
                    </a:lnTo>
                    <a:lnTo>
                      <a:pt x="2" y="137"/>
                    </a:lnTo>
                    <a:lnTo>
                      <a:pt x="4" y="144"/>
                    </a:lnTo>
                    <a:lnTo>
                      <a:pt x="6" y="150"/>
                    </a:lnTo>
                    <a:lnTo>
                      <a:pt x="6" y="154"/>
                    </a:lnTo>
                    <a:lnTo>
                      <a:pt x="8" y="156"/>
                    </a:lnTo>
                    <a:lnTo>
                      <a:pt x="8" y="160"/>
                    </a:lnTo>
                    <a:lnTo>
                      <a:pt x="8" y="162"/>
                    </a:lnTo>
                    <a:lnTo>
                      <a:pt x="10" y="164"/>
                    </a:lnTo>
                    <a:lnTo>
                      <a:pt x="10" y="166"/>
                    </a:lnTo>
                    <a:lnTo>
                      <a:pt x="12" y="168"/>
                    </a:lnTo>
                    <a:lnTo>
                      <a:pt x="12" y="168"/>
                    </a:lnTo>
                    <a:lnTo>
                      <a:pt x="14" y="170"/>
                    </a:lnTo>
                    <a:lnTo>
                      <a:pt x="12" y="174"/>
                    </a:lnTo>
                    <a:lnTo>
                      <a:pt x="12" y="179"/>
                    </a:lnTo>
                    <a:lnTo>
                      <a:pt x="12" y="185"/>
                    </a:lnTo>
                    <a:lnTo>
                      <a:pt x="8" y="191"/>
                    </a:lnTo>
                    <a:lnTo>
                      <a:pt x="2" y="195"/>
                    </a:lnTo>
                    <a:lnTo>
                      <a:pt x="0" y="201"/>
                    </a:lnTo>
                    <a:lnTo>
                      <a:pt x="0" y="207"/>
                    </a:lnTo>
                    <a:lnTo>
                      <a:pt x="10" y="217"/>
                    </a:lnTo>
                    <a:lnTo>
                      <a:pt x="14" y="24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40" name="Freeform 1258">
                <a:extLst>
                  <a:ext uri="{FF2B5EF4-FFF2-40B4-BE49-F238E27FC236}">
                    <a16:creationId xmlns:a16="http://schemas.microsoft.com/office/drawing/2014/main" id="{5705E8EE-D6D7-4267-A1C8-045A90E48A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3" y="702"/>
                <a:ext cx="857" cy="869"/>
              </a:xfrm>
              <a:custGeom>
                <a:avLst/>
                <a:gdLst>
                  <a:gd name="T0" fmla="*/ 435 w 857"/>
                  <a:gd name="T1" fmla="*/ 117 h 869"/>
                  <a:gd name="T2" fmla="*/ 418 w 857"/>
                  <a:gd name="T3" fmla="*/ 55 h 869"/>
                  <a:gd name="T4" fmla="*/ 23 w 857"/>
                  <a:gd name="T5" fmla="*/ 33 h 869"/>
                  <a:gd name="T6" fmla="*/ 7 w 857"/>
                  <a:gd name="T7" fmla="*/ 94 h 869"/>
                  <a:gd name="T8" fmla="*/ 7 w 857"/>
                  <a:gd name="T9" fmla="*/ 154 h 869"/>
                  <a:gd name="T10" fmla="*/ 35 w 857"/>
                  <a:gd name="T11" fmla="*/ 180 h 869"/>
                  <a:gd name="T12" fmla="*/ 44 w 857"/>
                  <a:gd name="T13" fmla="*/ 222 h 869"/>
                  <a:gd name="T14" fmla="*/ 58 w 857"/>
                  <a:gd name="T15" fmla="*/ 238 h 869"/>
                  <a:gd name="T16" fmla="*/ 72 w 857"/>
                  <a:gd name="T17" fmla="*/ 265 h 869"/>
                  <a:gd name="T18" fmla="*/ 74 w 857"/>
                  <a:gd name="T19" fmla="*/ 295 h 869"/>
                  <a:gd name="T20" fmla="*/ 89 w 857"/>
                  <a:gd name="T21" fmla="*/ 316 h 869"/>
                  <a:gd name="T22" fmla="*/ 117 w 857"/>
                  <a:gd name="T23" fmla="*/ 377 h 869"/>
                  <a:gd name="T24" fmla="*/ 146 w 857"/>
                  <a:gd name="T25" fmla="*/ 418 h 869"/>
                  <a:gd name="T26" fmla="*/ 203 w 857"/>
                  <a:gd name="T27" fmla="*/ 478 h 869"/>
                  <a:gd name="T28" fmla="*/ 195 w 857"/>
                  <a:gd name="T29" fmla="*/ 590 h 869"/>
                  <a:gd name="T30" fmla="*/ 134 w 857"/>
                  <a:gd name="T31" fmla="*/ 586 h 869"/>
                  <a:gd name="T32" fmla="*/ 185 w 857"/>
                  <a:gd name="T33" fmla="*/ 689 h 869"/>
                  <a:gd name="T34" fmla="*/ 211 w 857"/>
                  <a:gd name="T35" fmla="*/ 748 h 869"/>
                  <a:gd name="T36" fmla="*/ 212 w 857"/>
                  <a:gd name="T37" fmla="*/ 816 h 869"/>
                  <a:gd name="T38" fmla="*/ 199 w 857"/>
                  <a:gd name="T39" fmla="*/ 857 h 869"/>
                  <a:gd name="T40" fmla="*/ 271 w 857"/>
                  <a:gd name="T41" fmla="*/ 867 h 869"/>
                  <a:gd name="T42" fmla="*/ 375 w 857"/>
                  <a:gd name="T43" fmla="*/ 841 h 869"/>
                  <a:gd name="T44" fmla="*/ 445 w 857"/>
                  <a:gd name="T45" fmla="*/ 791 h 869"/>
                  <a:gd name="T46" fmla="*/ 445 w 857"/>
                  <a:gd name="T47" fmla="*/ 699 h 869"/>
                  <a:gd name="T48" fmla="*/ 492 w 857"/>
                  <a:gd name="T49" fmla="*/ 660 h 869"/>
                  <a:gd name="T50" fmla="*/ 513 w 857"/>
                  <a:gd name="T51" fmla="*/ 670 h 869"/>
                  <a:gd name="T52" fmla="*/ 521 w 857"/>
                  <a:gd name="T53" fmla="*/ 623 h 869"/>
                  <a:gd name="T54" fmla="*/ 572 w 857"/>
                  <a:gd name="T55" fmla="*/ 617 h 869"/>
                  <a:gd name="T56" fmla="*/ 611 w 857"/>
                  <a:gd name="T57" fmla="*/ 631 h 869"/>
                  <a:gd name="T58" fmla="*/ 648 w 857"/>
                  <a:gd name="T59" fmla="*/ 617 h 869"/>
                  <a:gd name="T60" fmla="*/ 677 w 857"/>
                  <a:gd name="T61" fmla="*/ 621 h 869"/>
                  <a:gd name="T62" fmla="*/ 730 w 857"/>
                  <a:gd name="T63" fmla="*/ 599 h 869"/>
                  <a:gd name="T64" fmla="*/ 769 w 857"/>
                  <a:gd name="T65" fmla="*/ 478 h 869"/>
                  <a:gd name="T66" fmla="*/ 795 w 857"/>
                  <a:gd name="T67" fmla="*/ 439 h 869"/>
                  <a:gd name="T68" fmla="*/ 799 w 857"/>
                  <a:gd name="T69" fmla="*/ 400 h 869"/>
                  <a:gd name="T70" fmla="*/ 806 w 857"/>
                  <a:gd name="T71" fmla="*/ 357 h 869"/>
                  <a:gd name="T72" fmla="*/ 822 w 857"/>
                  <a:gd name="T73" fmla="*/ 357 h 869"/>
                  <a:gd name="T74" fmla="*/ 804 w 857"/>
                  <a:gd name="T75" fmla="*/ 287 h 869"/>
                  <a:gd name="T76" fmla="*/ 832 w 857"/>
                  <a:gd name="T77" fmla="*/ 236 h 869"/>
                  <a:gd name="T78" fmla="*/ 814 w 857"/>
                  <a:gd name="T79" fmla="*/ 187 h 869"/>
                  <a:gd name="T80" fmla="*/ 832 w 857"/>
                  <a:gd name="T81" fmla="*/ 178 h 869"/>
                  <a:gd name="T82" fmla="*/ 845 w 857"/>
                  <a:gd name="T83" fmla="*/ 156 h 869"/>
                  <a:gd name="T84" fmla="*/ 806 w 857"/>
                  <a:gd name="T85" fmla="*/ 109 h 869"/>
                  <a:gd name="T86" fmla="*/ 814 w 857"/>
                  <a:gd name="T87" fmla="*/ 90 h 869"/>
                  <a:gd name="T88" fmla="*/ 834 w 857"/>
                  <a:gd name="T89" fmla="*/ 86 h 869"/>
                  <a:gd name="T90" fmla="*/ 853 w 857"/>
                  <a:gd name="T91" fmla="*/ 99 h 869"/>
                  <a:gd name="T92" fmla="*/ 842 w 857"/>
                  <a:gd name="T93" fmla="*/ 64 h 869"/>
                  <a:gd name="T94" fmla="*/ 847 w 857"/>
                  <a:gd name="T95" fmla="*/ 47 h 869"/>
                  <a:gd name="T96" fmla="*/ 488 w 857"/>
                  <a:gd name="T97" fmla="*/ 0 h 869"/>
                  <a:gd name="T98" fmla="*/ 339 w 857"/>
                  <a:gd name="T99" fmla="*/ 427 h 869"/>
                  <a:gd name="T100" fmla="*/ 328 w 857"/>
                  <a:gd name="T101" fmla="*/ 418 h 869"/>
                  <a:gd name="T102" fmla="*/ 341 w 857"/>
                  <a:gd name="T103" fmla="*/ 365 h 869"/>
                  <a:gd name="T104" fmla="*/ 564 w 857"/>
                  <a:gd name="T105" fmla="*/ 19 h 869"/>
                  <a:gd name="T106" fmla="*/ 580 w 857"/>
                  <a:gd name="T107" fmla="*/ 49 h 869"/>
                  <a:gd name="T108" fmla="*/ 601 w 857"/>
                  <a:gd name="T109" fmla="*/ 53 h 869"/>
                  <a:gd name="T110" fmla="*/ 621 w 857"/>
                  <a:gd name="T111" fmla="*/ 76 h 869"/>
                  <a:gd name="T112" fmla="*/ 617 w 857"/>
                  <a:gd name="T113" fmla="*/ 90 h 869"/>
                  <a:gd name="T114" fmla="*/ 590 w 857"/>
                  <a:gd name="T115" fmla="*/ 86 h 869"/>
                  <a:gd name="T116" fmla="*/ 496 w 857"/>
                  <a:gd name="T117" fmla="*/ 459 h 869"/>
                  <a:gd name="T118" fmla="*/ 523 w 857"/>
                  <a:gd name="T119" fmla="*/ 474 h 869"/>
                  <a:gd name="T120" fmla="*/ 523 w 857"/>
                  <a:gd name="T121" fmla="*/ 492 h 869"/>
                  <a:gd name="T122" fmla="*/ 504 w 857"/>
                  <a:gd name="T123" fmla="*/ 496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857" h="869">
                    <a:moveTo>
                      <a:pt x="482" y="10"/>
                    </a:moveTo>
                    <a:lnTo>
                      <a:pt x="482" y="12"/>
                    </a:lnTo>
                    <a:lnTo>
                      <a:pt x="480" y="25"/>
                    </a:lnTo>
                    <a:lnTo>
                      <a:pt x="478" y="27"/>
                    </a:lnTo>
                    <a:lnTo>
                      <a:pt x="474" y="31"/>
                    </a:lnTo>
                    <a:lnTo>
                      <a:pt x="468" y="41"/>
                    </a:lnTo>
                    <a:lnTo>
                      <a:pt x="466" y="47"/>
                    </a:lnTo>
                    <a:lnTo>
                      <a:pt x="464" y="55"/>
                    </a:lnTo>
                    <a:lnTo>
                      <a:pt x="463" y="58"/>
                    </a:lnTo>
                    <a:lnTo>
                      <a:pt x="451" y="68"/>
                    </a:lnTo>
                    <a:lnTo>
                      <a:pt x="449" y="72"/>
                    </a:lnTo>
                    <a:lnTo>
                      <a:pt x="439" y="96"/>
                    </a:lnTo>
                    <a:lnTo>
                      <a:pt x="437" y="101"/>
                    </a:lnTo>
                    <a:lnTo>
                      <a:pt x="437" y="105"/>
                    </a:lnTo>
                    <a:lnTo>
                      <a:pt x="435" y="109"/>
                    </a:lnTo>
                    <a:lnTo>
                      <a:pt x="435" y="113"/>
                    </a:lnTo>
                    <a:lnTo>
                      <a:pt x="435" y="117"/>
                    </a:lnTo>
                    <a:lnTo>
                      <a:pt x="437" y="117"/>
                    </a:lnTo>
                    <a:lnTo>
                      <a:pt x="433" y="121"/>
                    </a:lnTo>
                    <a:lnTo>
                      <a:pt x="429" y="125"/>
                    </a:lnTo>
                    <a:lnTo>
                      <a:pt x="425" y="127"/>
                    </a:lnTo>
                    <a:lnTo>
                      <a:pt x="422" y="129"/>
                    </a:lnTo>
                    <a:lnTo>
                      <a:pt x="418" y="125"/>
                    </a:lnTo>
                    <a:lnTo>
                      <a:pt x="416" y="121"/>
                    </a:lnTo>
                    <a:lnTo>
                      <a:pt x="414" y="105"/>
                    </a:lnTo>
                    <a:lnTo>
                      <a:pt x="412" y="101"/>
                    </a:lnTo>
                    <a:lnTo>
                      <a:pt x="410" y="98"/>
                    </a:lnTo>
                    <a:lnTo>
                      <a:pt x="408" y="92"/>
                    </a:lnTo>
                    <a:lnTo>
                      <a:pt x="408" y="86"/>
                    </a:lnTo>
                    <a:lnTo>
                      <a:pt x="408" y="86"/>
                    </a:lnTo>
                    <a:lnTo>
                      <a:pt x="406" y="82"/>
                    </a:lnTo>
                    <a:lnTo>
                      <a:pt x="406" y="78"/>
                    </a:lnTo>
                    <a:lnTo>
                      <a:pt x="412" y="68"/>
                    </a:lnTo>
                    <a:lnTo>
                      <a:pt x="418" y="55"/>
                    </a:lnTo>
                    <a:lnTo>
                      <a:pt x="418" y="53"/>
                    </a:lnTo>
                    <a:lnTo>
                      <a:pt x="418" y="51"/>
                    </a:lnTo>
                    <a:lnTo>
                      <a:pt x="418" y="49"/>
                    </a:lnTo>
                    <a:lnTo>
                      <a:pt x="420" y="43"/>
                    </a:lnTo>
                    <a:lnTo>
                      <a:pt x="422" y="31"/>
                    </a:lnTo>
                    <a:lnTo>
                      <a:pt x="425" y="19"/>
                    </a:lnTo>
                    <a:lnTo>
                      <a:pt x="427" y="14"/>
                    </a:lnTo>
                    <a:lnTo>
                      <a:pt x="427" y="4"/>
                    </a:lnTo>
                    <a:lnTo>
                      <a:pt x="427" y="0"/>
                    </a:lnTo>
                    <a:lnTo>
                      <a:pt x="31" y="0"/>
                    </a:lnTo>
                    <a:lnTo>
                      <a:pt x="29" y="2"/>
                    </a:lnTo>
                    <a:lnTo>
                      <a:pt x="29" y="21"/>
                    </a:lnTo>
                    <a:lnTo>
                      <a:pt x="27" y="27"/>
                    </a:lnTo>
                    <a:lnTo>
                      <a:pt x="23" y="29"/>
                    </a:lnTo>
                    <a:lnTo>
                      <a:pt x="23" y="31"/>
                    </a:lnTo>
                    <a:lnTo>
                      <a:pt x="23" y="31"/>
                    </a:lnTo>
                    <a:lnTo>
                      <a:pt x="23" y="33"/>
                    </a:lnTo>
                    <a:lnTo>
                      <a:pt x="21" y="35"/>
                    </a:lnTo>
                    <a:lnTo>
                      <a:pt x="21" y="39"/>
                    </a:lnTo>
                    <a:lnTo>
                      <a:pt x="21" y="41"/>
                    </a:lnTo>
                    <a:lnTo>
                      <a:pt x="23" y="45"/>
                    </a:lnTo>
                    <a:lnTo>
                      <a:pt x="23" y="49"/>
                    </a:lnTo>
                    <a:lnTo>
                      <a:pt x="23" y="53"/>
                    </a:lnTo>
                    <a:lnTo>
                      <a:pt x="21" y="60"/>
                    </a:lnTo>
                    <a:lnTo>
                      <a:pt x="13" y="74"/>
                    </a:lnTo>
                    <a:lnTo>
                      <a:pt x="13" y="80"/>
                    </a:lnTo>
                    <a:lnTo>
                      <a:pt x="17" y="82"/>
                    </a:lnTo>
                    <a:lnTo>
                      <a:pt x="17" y="86"/>
                    </a:lnTo>
                    <a:lnTo>
                      <a:pt x="15" y="86"/>
                    </a:lnTo>
                    <a:lnTo>
                      <a:pt x="15" y="88"/>
                    </a:lnTo>
                    <a:lnTo>
                      <a:pt x="15" y="90"/>
                    </a:lnTo>
                    <a:lnTo>
                      <a:pt x="17" y="90"/>
                    </a:lnTo>
                    <a:lnTo>
                      <a:pt x="17" y="92"/>
                    </a:lnTo>
                    <a:lnTo>
                      <a:pt x="7" y="94"/>
                    </a:lnTo>
                    <a:lnTo>
                      <a:pt x="5" y="98"/>
                    </a:lnTo>
                    <a:lnTo>
                      <a:pt x="7" y="103"/>
                    </a:lnTo>
                    <a:lnTo>
                      <a:pt x="5" y="105"/>
                    </a:lnTo>
                    <a:lnTo>
                      <a:pt x="3" y="105"/>
                    </a:lnTo>
                    <a:lnTo>
                      <a:pt x="0" y="111"/>
                    </a:lnTo>
                    <a:lnTo>
                      <a:pt x="5" y="111"/>
                    </a:lnTo>
                    <a:lnTo>
                      <a:pt x="7" y="115"/>
                    </a:lnTo>
                    <a:lnTo>
                      <a:pt x="11" y="123"/>
                    </a:lnTo>
                    <a:lnTo>
                      <a:pt x="15" y="129"/>
                    </a:lnTo>
                    <a:lnTo>
                      <a:pt x="17" y="127"/>
                    </a:lnTo>
                    <a:lnTo>
                      <a:pt x="21" y="127"/>
                    </a:lnTo>
                    <a:lnTo>
                      <a:pt x="25" y="127"/>
                    </a:lnTo>
                    <a:lnTo>
                      <a:pt x="25" y="129"/>
                    </a:lnTo>
                    <a:lnTo>
                      <a:pt x="23" y="131"/>
                    </a:lnTo>
                    <a:lnTo>
                      <a:pt x="7" y="148"/>
                    </a:lnTo>
                    <a:lnTo>
                      <a:pt x="7" y="152"/>
                    </a:lnTo>
                    <a:lnTo>
                      <a:pt x="7" y="154"/>
                    </a:lnTo>
                    <a:lnTo>
                      <a:pt x="9" y="156"/>
                    </a:lnTo>
                    <a:lnTo>
                      <a:pt x="13" y="156"/>
                    </a:lnTo>
                    <a:lnTo>
                      <a:pt x="15" y="156"/>
                    </a:lnTo>
                    <a:lnTo>
                      <a:pt x="15" y="150"/>
                    </a:lnTo>
                    <a:lnTo>
                      <a:pt x="19" y="150"/>
                    </a:lnTo>
                    <a:lnTo>
                      <a:pt x="27" y="156"/>
                    </a:lnTo>
                    <a:lnTo>
                      <a:pt x="31" y="156"/>
                    </a:lnTo>
                    <a:lnTo>
                      <a:pt x="37" y="156"/>
                    </a:lnTo>
                    <a:lnTo>
                      <a:pt x="41" y="156"/>
                    </a:lnTo>
                    <a:lnTo>
                      <a:pt x="44" y="154"/>
                    </a:lnTo>
                    <a:lnTo>
                      <a:pt x="43" y="158"/>
                    </a:lnTo>
                    <a:lnTo>
                      <a:pt x="31" y="160"/>
                    </a:lnTo>
                    <a:lnTo>
                      <a:pt x="29" y="166"/>
                    </a:lnTo>
                    <a:lnTo>
                      <a:pt x="31" y="170"/>
                    </a:lnTo>
                    <a:lnTo>
                      <a:pt x="31" y="172"/>
                    </a:lnTo>
                    <a:lnTo>
                      <a:pt x="33" y="176"/>
                    </a:lnTo>
                    <a:lnTo>
                      <a:pt x="35" y="180"/>
                    </a:lnTo>
                    <a:lnTo>
                      <a:pt x="35" y="183"/>
                    </a:lnTo>
                    <a:lnTo>
                      <a:pt x="37" y="183"/>
                    </a:lnTo>
                    <a:lnTo>
                      <a:pt x="39" y="181"/>
                    </a:lnTo>
                    <a:lnTo>
                      <a:pt x="41" y="178"/>
                    </a:lnTo>
                    <a:lnTo>
                      <a:pt x="41" y="178"/>
                    </a:lnTo>
                    <a:lnTo>
                      <a:pt x="43" y="178"/>
                    </a:lnTo>
                    <a:lnTo>
                      <a:pt x="43" y="180"/>
                    </a:lnTo>
                    <a:lnTo>
                      <a:pt x="43" y="187"/>
                    </a:lnTo>
                    <a:lnTo>
                      <a:pt x="43" y="205"/>
                    </a:lnTo>
                    <a:lnTo>
                      <a:pt x="41" y="209"/>
                    </a:lnTo>
                    <a:lnTo>
                      <a:pt x="43" y="211"/>
                    </a:lnTo>
                    <a:lnTo>
                      <a:pt x="44" y="213"/>
                    </a:lnTo>
                    <a:lnTo>
                      <a:pt x="43" y="215"/>
                    </a:lnTo>
                    <a:lnTo>
                      <a:pt x="43" y="215"/>
                    </a:lnTo>
                    <a:lnTo>
                      <a:pt x="44" y="217"/>
                    </a:lnTo>
                    <a:lnTo>
                      <a:pt x="48" y="221"/>
                    </a:lnTo>
                    <a:lnTo>
                      <a:pt x="44" y="222"/>
                    </a:lnTo>
                    <a:lnTo>
                      <a:pt x="43" y="224"/>
                    </a:lnTo>
                    <a:lnTo>
                      <a:pt x="41" y="228"/>
                    </a:lnTo>
                    <a:lnTo>
                      <a:pt x="41" y="232"/>
                    </a:lnTo>
                    <a:lnTo>
                      <a:pt x="41" y="238"/>
                    </a:lnTo>
                    <a:lnTo>
                      <a:pt x="43" y="242"/>
                    </a:lnTo>
                    <a:lnTo>
                      <a:pt x="43" y="246"/>
                    </a:lnTo>
                    <a:lnTo>
                      <a:pt x="41" y="250"/>
                    </a:lnTo>
                    <a:lnTo>
                      <a:pt x="43" y="252"/>
                    </a:lnTo>
                    <a:lnTo>
                      <a:pt x="44" y="252"/>
                    </a:lnTo>
                    <a:lnTo>
                      <a:pt x="46" y="252"/>
                    </a:lnTo>
                    <a:lnTo>
                      <a:pt x="48" y="252"/>
                    </a:lnTo>
                    <a:lnTo>
                      <a:pt x="46" y="260"/>
                    </a:lnTo>
                    <a:lnTo>
                      <a:pt x="48" y="260"/>
                    </a:lnTo>
                    <a:lnTo>
                      <a:pt x="52" y="260"/>
                    </a:lnTo>
                    <a:lnTo>
                      <a:pt x="54" y="263"/>
                    </a:lnTo>
                    <a:lnTo>
                      <a:pt x="56" y="258"/>
                    </a:lnTo>
                    <a:lnTo>
                      <a:pt x="58" y="238"/>
                    </a:lnTo>
                    <a:lnTo>
                      <a:pt x="60" y="232"/>
                    </a:lnTo>
                    <a:lnTo>
                      <a:pt x="62" y="232"/>
                    </a:lnTo>
                    <a:lnTo>
                      <a:pt x="62" y="230"/>
                    </a:lnTo>
                    <a:lnTo>
                      <a:pt x="64" y="228"/>
                    </a:lnTo>
                    <a:lnTo>
                      <a:pt x="66" y="228"/>
                    </a:lnTo>
                    <a:lnTo>
                      <a:pt x="66" y="230"/>
                    </a:lnTo>
                    <a:lnTo>
                      <a:pt x="72" y="240"/>
                    </a:lnTo>
                    <a:lnTo>
                      <a:pt x="72" y="244"/>
                    </a:lnTo>
                    <a:lnTo>
                      <a:pt x="70" y="248"/>
                    </a:lnTo>
                    <a:lnTo>
                      <a:pt x="68" y="250"/>
                    </a:lnTo>
                    <a:lnTo>
                      <a:pt x="76" y="250"/>
                    </a:lnTo>
                    <a:lnTo>
                      <a:pt x="72" y="254"/>
                    </a:lnTo>
                    <a:lnTo>
                      <a:pt x="68" y="260"/>
                    </a:lnTo>
                    <a:lnTo>
                      <a:pt x="66" y="263"/>
                    </a:lnTo>
                    <a:lnTo>
                      <a:pt x="68" y="267"/>
                    </a:lnTo>
                    <a:lnTo>
                      <a:pt x="70" y="265"/>
                    </a:lnTo>
                    <a:lnTo>
                      <a:pt x="72" y="265"/>
                    </a:lnTo>
                    <a:lnTo>
                      <a:pt x="74" y="263"/>
                    </a:lnTo>
                    <a:lnTo>
                      <a:pt x="74" y="265"/>
                    </a:lnTo>
                    <a:lnTo>
                      <a:pt x="76" y="265"/>
                    </a:lnTo>
                    <a:lnTo>
                      <a:pt x="76" y="267"/>
                    </a:lnTo>
                    <a:lnTo>
                      <a:pt x="76" y="269"/>
                    </a:lnTo>
                    <a:lnTo>
                      <a:pt x="78" y="271"/>
                    </a:lnTo>
                    <a:lnTo>
                      <a:pt x="80" y="273"/>
                    </a:lnTo>
                    <a:lnTo>
                      <a:pt x="82" y="275"/>
                    </a:lnTo>
                    <a:lnTo>
                      <a:pt x="82" y="279"/>
                    </a:lnTo>
                    <a:lnTo>
                      <a:pt x="82" y="281"/>
                    </a:lnTo>
                    <a:lnTo>
                      <a:pt x="82" y="283"/>
                    </a:lnTo>
                    <a:lnTo>
                      <a:pt x="82" y="285"/>
                    </a:lnTo>
                    <a:lnTo>
                      <a:pt x="78" y="287"/>
                    </a:lnTo>
                    <a:lnTo>
                      <a:pt x="76" y="289"/>
                    </a:lnTo>
                    <a:lnTo>
                      <a:pt x="74" y="291"/>
                    </a:lnTo>
                    <a:lnTo>
                      <a:pt x="74" y="293"/>
                    </a:lnTo>
                    <a:lnTo>
                      <a:pt x="74" y="295"/>
                    </a:lnTo>
                    <a:lnTo>
                      <a:pt x="78" y="295"/>
                    </a:lnTo>
                    <a:lnTo>
                      <a:pt x="82" y="295"/>
                    </a:lnTo>
                    <a:lnTo>
                      <a:pt x="84" y="297"/>
                    </a:lnTo>
                    <a:lnTo>
                      <a:pt x="82" y="297"/>
                    </a:lnTo>
                    <a:lnTo>
                      <a:pt x="78" y="299"/>
                    </a:lnTo>
                    <a:lnTo>
                      <a:pt x="74" y="299"/>
                    </a:lnTo>
                    <a:lnTo>
                      <a:pt x="78" y="303"/>
                    </a:lnTo>
                    <a:lnTo>
                      <a:pt x="80" y="304"/>
                    </a:lnTo>
                    <a:lnTo>
                      <a:pt x="84" y="304"/>
                    </a:lnTo>
                    <a:lnTo>
                      <a:pt x="87" y="304"/>
                    </a:lnTo>
                    <a:lnTo>
                      <a:pt x="89" y="306"/>
                    </a:lnTo>
                    <a:lnTo>
                      <a:pt x="87" y="308"/>
                    </a:lnTo>
                    <a:lnTo>
                      <a:pt x="82" y="312"/>
                    </a:lnTo>
                    <a:lnTo>
                      <a:pt x="84" y="314"/>
                    </a:lnTo>
                    <a:lnTo>
                      <a:pt x="89" y="314"/>
                    </a:lnTo>
                    <a:lnTo>
                      <a:pt x="89" y="314"/>
                    </a:lnTo>
                    <a:lnTo>
                      <a:pt x="89" y="316"/>
                    </a:lnTo>
                    <a:lnTo>
                      <a:pt x="91" y="324"/>
                    </a:lnTo>
                    <a:lnTo>
                      <a:pt x="91" y="326"/>
                    </a:lnTo>
                    <a:lnTo>
                      <a:pt x="95" y="334"/>
                    </a:lnTo>
                    <a:lnTo>
                      <a:pt x="97" y="338"/>
                    </a:lnTo>
                    <a:lnTo>
                      <a:pt x="93" y="344"/>
                    </a:lnTo>
                    <a:lnTo>
                      <a:pt x="97" y="345"/>
                    </a:lnTo>
                    <a:lnTo>
                      <a:pt x="97" y="347"/>
                    </a:lnTo>
                    <a:lnTo>
                      <a:pt x="99" y="353"/>
                    </a:lnTo>
                    <a:lnTo>
                      <a:pt x="103" y="357"/>
                    </a:lnTo>
                    <a:lnTo>
                      <a:pt x="107" y="361"/>
                    </a:lnTo>
                    <a:lnTo>
                      <a:pt x="113" y="365"/>
                    </a:lnTo>
                    <a:lnTo>
                      <a:pt x="115" y="367"/>
                    </a:lnTo>
                    <a:lnTo>
                      <a:pt x="115" y="369"/>
                    </a:lnTo>
                    <a:lnTo>
                      <a:pt x="115" y="371"/>
                    </a:lnTo>
                    <a:lnTo>
                      <a:pt x="115" y="373"/>
                    </a:lnTo>
                    <a:lnTo>
                      <a:pt x="117" y="375"/>
                    </a:lnTo>
                    <a:lnTo>
                      <a:pt x="117" y="377"/>
                    </a:lnTo>
                    <a:lnTo>
                      <a:pt x="117" y="379"/>
                    </a:lnTo>
                    <a:lnTo>
                      <a:pt x="115" y="381"/>
                    </a:lnTo>
                    <a:lnTo>
                      <a:pt x="115" y="383"/>
                    </a:lnTo>
                    <a:lnTo>
                      <a:pt x="115" y="388"/>
                    </a:lnTo>
                    <a:lnTo>
                      <a:pt x="117" y="394"/>
                    </a:lnTo>
                    <a:lnTo>
                      <a:pt x="119" y="398"/>
                    </a:lnTo>
                    <a:lnTo>
                      <a:pt x="127" y="400"/>
                    </a:lnTo>
                    <a:lnTo>
                      <a:pt x="130" y="402"/>
                    </a:lnTo>
                    <a:lnTo>
                      <a:pt x="136" y="404"/>
                    </a:lnTo>
                    <a:lnTo>
                      <a:pt x="136" y="406"/>
                    </a:lnTo>
                    <a:lnTo>
                      <a:pt x="140" y="412"/>
                    </a:lnTo>
                    <a:lnTo>
                      <a:pt x="142" y="412"/>
                    </a:lnTo>
                    <a:lnTo>
                      <a:pt x="144" y="414"/>
                    </a:lnTo>
                    <a:lnTo>
                      <a:pt x="144" y="414"/>
                    </a:lnTo>
                    <a:lnTo>
                      <a:pt x="146" y="414"/>
                    </a:lnTo>
                    <a:lnTo>
                      <a:pt x="146" y="416"/>
                    </a:lnTo>
                    <a:lnTo>
                      <a:pt x="146" y="418"/>
                    </a:lnTo>
                    <a:lnTo>
                      <a:pt x="146" y="418"/>
                    </a:lnTo>
                    <a:lnTo>
                      <a:pt x="158" y="426"/>
                    </a:lnTo>
                    <a:lnTo>
                      <a:pt x="158" y="429"/>
                    </a:lnTo>
                    <a:lnTo>
                      <a:pt x="156" y="435"/>
                    </a:lnTo>
                    <a:lnTo>
                      <a:pt x="160" y="447"/>
                    </a:lnTo>
                    <a:lnTo>
                      <a:pt x="162" y="453"/>
                    </a:lnTo>
                    <a:lnTo>
                      <a:pt x="166" y="455"/>
                    </a:lnTo>
                    <a:lnTo>
                      <a:pt x="168" y="459"/>
                    </a:lnTo>
                    <a:lnTo>
                      <a:pt x="169" y="465"/>
                    </a:lnTo>
                    <a:lnTo>
                      <a:pt x="171" y="468"/>
                    </a:lnTo>
                    <a:lnTo>
                      <a:pt x="179" y="478"/>
                    </a:lnTo>
                    <a:lnTo>
                      <a:pt x="181" y="480"/>
                    </a:lnTo>
                    <a:lnTo>
                      <a:pt x="185" y="480"/>
                    </a:lnTo>
                    <a:lnTo>
                      <a:pt x="187" y="480"/>
                    </a:lnTo>
                    <a:lnTo>
                      <a:pt x="193" y="476"/>
                    </a:lnTo>
                    <a:lnTo>
                      <a:pt x="197" y="476"/>
                    </a:lnTo>
                    <a:lnTo>
                      <a:pt x="203" y="478"/>
                    </a:lnTo>
                    <a:lnTo>
                      <a:pt x="205" y="482"/>
                    </a:lnTo>
                    <a:lnTo>
                      <a:pt x="209" y="496"/>
                    </a:lnTo>
                    <a:lnTo>
                      <a:pt x="212" y="509"/>
                    </a:lnTo>
                    <a:lnTo>
                      <a:pt x="214" y="515"/>
                    </a:lnTo>
                    <a:lnTo>
                      <a:pt x="212" y="521"/>
                    </a:lnTo>
                    <a:lnTo>
                      <a:pt x="211" y="527"/>
                    </a:lnTo>
                    <a:lnTo>
                      <a:pt x="209" y="533"/>
                    </a:lnTo>
                    <a:lnTo>
                      <a:pt x="207" y="537"/>
                    </a:lnTo>
                    <a:lnTo>
                      <a:pt x="197" y="541"/>
                    </a:lnTo>
                    <a:lnTo>
                      <a:pt x="175" y="533"/>
                    </a:lnTo>
                    <a:lnTo>
                      <a:pt x="168" y="537"/>
                    </a:lnTo>
                    <a:lnTo>
                      <a:pt x="162" y="547"/>
                    </a:lnTo>
                    <a:lnTo>
                      <a:pt x="166" y="554"/>
                    </a:lnTo>
                    <a:lnTo>
                      <a:pt x="179" y="566"/>
                    </a:lnTo>
                    <a:lnTo>
                      <a:pt x="185" y="580"/>
                    </a:lnTo>
                    <a:lnTo>
                      <a:pt x="187" y="586"/>
                    </a:lnTo>
                    <a:lnTo>
                      <a:pt x="195" y="590"/>
                    </a:lnTo>
                    <a:lnTo>
                      <a:pt x="197" y="593"/>
                    </a:lnTo>
                    <a:lnTo>
                      <a:pt x="195" y="599"/>
                    </a:lnTo>
                    <a:lnTo>
                      <a:pt x="193" y="603"/>
                    </a:lnTo>
                    <a:lnTo>
                      <a:pt x="191" y="605"/>
                    </a:lnTo>
                    <a:lnTo>
                      <a:pt x="187" y="605"/>
                    </a:lnTo>
                    <a:lnTo>
                      <a:pt x="179" y="605"/>
                    </a:lnTo>
                    <a:lnTo>
                      <a:pt x="179" y="605"/>
                    </a:lnTo>
                    <a:lnTo>
                      <a:pt x="175" y="607"/>
                    </a:lnTo>
                    <a:lnTo>
                      <a:pt x="175" y="607"/>
                    </a:lnTo>
                    <a:lnTo>
                      <a:pt x="173" y="607"/>
                    </a:lnTo>
                    <a:lnTo>
                      <a:pt x="171" y="603"/>
                    </a:lnTo>
                    <a:lnTo>
                      <a:pt x="169" y="603"/>
                    </a:lnTo>
                    <a:lnTo>
                      <a:pt x="168" y="601"/>
                    </a:lnTo>
                    <a:lnTo>
                      <a:pt x="166" y="597"/>
                    </a:lnTo>
                    <a:lnTo>
                      <a:pt x="166" y="595"/>
                    </a:lnTo>
                    <a:lnTo>
                      <a:pt x="132" y="582"/>
                    </a:lnTo>
                    <a:lnTo>
                      <a:pt x="134" y="586"/>
                    </a:lnTo>
                    <a:lnTo>
                      <a:pt x="142" y="592"/>
                    </a:lnTo>
                    <a:lnTo>
                      <a:pt x="144" y="597"/>
                    </a:lnTo>
                    <a:lnTo>
                      <a:pt x="148" y="607"/>
                    </a:lnTo>
                    <a:lnTo>
                      <a:pt x="148" y="609"/>
                    </a:lnTo>
                    <a:lnTo>
                      <a:pt x="150" y="619"/>
                    </a:lnTo>
                    <a:lnTo>
                      <a:pt x="152" y="623"/>
                    </a:lnTo>
                    <a:lnTo>
                      <a:pt x="158" y="636"/>
                    </a:lnTo>
                    <a:lnTo>
                      <a:pt x="160" y="638"/>
                    </a:lnTo>
                    <a:lnTo>
                      <a:pt x="173" y="658"/>
                    </a:lnTo>
                    <a:lnTo>
                      <a:pt x="175" y="662"/>
                    </a:lnTo>
                    <a:lnTo>
                      <a:pt x="175" y="668"/>
                    </a:lnTo>
                    <a:lnTo>
                      <a:pt x="177" y="670"/>
                    </a:lnTo>
                    <a:lnTo>
                      <a:pt x="179" y="672"/>
                    </a:lnTo>
                    <a:lnTo>
                      <a:pt x="183" y="674"/>
                    </a:lnTo>
                    <a:lnTo>
                      <a:pt x="183" y="679"/>
                    </a:lnTo>
                    <a:lnTo>
                      <a:pt x="185" y="683"/>
                    </a:lnTo>
                    <a:lnTo>
                      <a:pt x="185" y="689"/>
                    </a:lnTo>
                    <a:lnTo>
                      <a:pt x="187" y="691"/>
                    </a:lnTo>
                    <a:lnTo>
                      <a:pt x="189" y="691"/>
                    </a:lnTo>
                    <a:lnTo>
                      <a:pt x="191" y="693"/>
                    </a:lnTo>
                    <a:lnTo>
                      <a:pt x="191" y="695"/>
                    </a:lnTo>
                    <a:lnTo>
                      <a:pt x="193" y="695"/>
                    </a:lnTo>
                    <a:lnTo>
                      <a:pt x="193" y="701"/>
                    </a:lnTo>
                    <a:lnTo>
                      <a:pt x="193" y="703"/>
                    </a:lnTo>
                    <a:lnTo>
                      <a:pt x="195" y="707"/>
                    </a:lnTo>
                    <a:lnTo>
                      <a:pt x="199" y="713"/>
                    </a:lnTo>
                    <a:lnTo>
                      <a:pt x="207" y="716"/>
                    </a:lnTo>
                    <a:lnTo>
                      <a:pt x="212" y="722"/>
                    </a:lnTo>
                    <a:lnTo>
                      <a:pt x="214" y="736"/>
                    </a:lnTo>
                    <a:lnTo>
                      <a:pt x="214" y="740"/>
                    </a:lnTo>
                    <a:lnTo>
                      <a:pt x="212" y="742"/>
                    </a:lnTo>
                    <a:lnTo>
                      <a:pt x="212" y="744"/>
                    </a:lnTo>
                    <a:lnTo>
                      <a:pt x="209" y="744"/>
                    </a:lnTo>
                    <a:lnTo>
                      <a:pt x="211" y="748"/>
                    </a:lnTo>
                    <a:lnTo>
                      <a:pt x="214" y="750"/>
                    </a:lnTo>
                    <a:lnTo>
                      <a:pt x="218" y="750"/>
                    </a:lnTo>
                    <a:lnTo>
                      <a:pt x="220" y="756"/>
                    </a:lnTo>
                    <a:lnTo>
                      <a:pt x="222" y="756"/>
                    </a:lnTo>
                    <a:lnTo>
                      <a:pt x="226" y="754"/>
                    </a:lnTo>
                    <a:lnTo>
                      <a:pt x="228" y="759"/>
                    </a:lnTo>
                    <a:lnTo>
                      <a:pt x="230" y="761"/>
                    </a:lnTo>
                    <a:lnTo>
                      <a:pt x="234" y="765"/>
                    </a:lnTo>
                    <a:lnTo>
                      <a:pt x="234" y="771"/>
                    </a:lnTo>
                    <a:lnTo>
                      <a:pt x="234" y="775"/>
                    </a:lnTo>
                    <a:lnTo>
                      <a:pt x="232" y="779"/>
                    </a:lnTo>
                    <a:lnTo>
                      <a:pt x="230" y="781"/>
                    </a:lnTo>
                    <a:lnTo>
                      <a:pt x="228" y="785"/>
                    </a:lnTo>
                    <a:lnTo>
                      <a:pt x="216" y="793"/>
                    </a:lnTo>
                    <a:lnTo>
                      <a:pt x="212" y="798"/>
                    </a:lnTo>
                    <a:lnTo>
                      <a:pt x="211" y="808"/>
                    </a:lnTo>
                    <a:lnTo>
                      <a:pt x="212" y="816"/>
                    </a:lnTo>
                    <a:lnTo>
                      <a:pt x="220" y="830"/>
                    </a:lnTo>
                    <a:lnTo>
                      <a:pt x="222" y="838"/>
                    </a:lnTo>
                    <a:lnTo>
                      <a:pt x="220" y="836"/>
                    </a:lnTo>
                    <a:lnTo>
                      <a:pt x="218" y="836"/>
                    </a:lnTo>
                    <a:lnTo>
                      <a:pt x="218" y="838"/>
                    </a:lnTo>
                    <a:lnTo>
                      <a:pt x="218" y="841"/>
                    </a:lnTo>
                    <a:lnTo>
                      <a:pt x="216" y="843"/>
                    </a:lnTo>
                    <a:lnTo>
                      <a:pt x="212" y="845"/>
                    </a:lnTo>
                    <a:lnTo>
                      <a:pt x="209" y="845"/>
                    </a:lnTo>
                    <a:lnTo>
                      <a:pt x="205" y="843"/>
                    </a:lnTo>
                    <a:lnTo>
                      <a:pt x="205" y="841"/>
                    </a:lnTo>
                    <a:lnTo>
                      <a:pt x="203" y="841"/>
                    </a:lnTo>
                    <a:lnTo>
                      <a:pt x="203" y="841"/>
                    </a:lnTo>
                    <a:lnTo>
                      <a:pt x="201" y="841"/>
                    </a:lnTo>
                    <a:lnTo>
                      <a:pt x="195" y="851"/>
                    </a:lnTo>
                    <a:lnTo>
                      <a:pt x="197" y="857"/>
                    </a:lnTo>
                    <a:lnTo>
                      <a:pt x="199" y="857"/>
                    </a:lnTo>
                    <a:lnTo>
                      <a:pt x="203" y="855"/>
                    </a:lnTo>
                    <a:lnTo>
                      <a:pt x="205" y="853"/>
                    </a:lnTo>
                    <a:lnTo>
                      <a:pt x="207" y="853"/>
                    </a:lnTo>
                    <a:lnTo>
                      <a:pt x="209" y="855"/>
                    </a:lnTo>
                    <a:lnTo>
                      <a:pt x="211" y="855"/>
                    </a:lnTo>
                    <a:lnTo>
                      <a:pt x="212" y="855"/>
                    </a:lnTo>
                    <a:lnTo>
                      <a:pt x="214" y="853"/>
                    </a:lnTo>
                    <a:lnTo>
                      <a:pt x="216" y="851"/>
                    </a:lnTo>
                    <a:lnTo>
                      <a:pt x="220" y="849"/>
                    </a:lnTo>
                    <a:lnTo>
                      <a:pt x="224" y="851"/>
                    </a:lnTo>
                    <a:lnTo>
                      <a:pt x="226" y="851"/>
                    </a:lnTo>
                    <a:lnTo>
                      <a:pt x="228" y="855"/>
                    </a:lnTo>
                    <a:lnTo>
                      <a:pt x="230" y="855"/>
                    </a:lnTo>
                    <a:lnTo>
                      <a:pt x="232" y="855"/>
                    </a:lnTo>
                    <a:lnTo>
                      <a:pt x="234" y="857"/>
                    </a:lnTo>
                    <a:lnTo>
                      <a:pt x="244" y="857"/>
                    </a:lnTo>
                    <a:lnTo>
                      <a:pt x="271" y="867"/>
                    </a:lnTo>
                    <a:lnTo>
                      <a:pt x="277" y="869"/>
                    </a:lnTo>
                    <a:lnTo>
                      <a:pt x="289" y="867"/>
                    </a:lnTo>
                    <a:lnTo>
                      <a:pt x="293" y="865"/>
                    </a:lnTo>
                    <a:lnTo>
                      <a:pt x="308" y="855"/>
                    </a:lnTo>
                    <a:lnTo>
                      <a:pt x="314" y="853"/>
                    </a:lnTo>
                    <a:lnTo>
                      <a:pt x="322" y="855"/>
                    </a:lnTo>
                    <a:lnTo>
                      <a:pt x="324" y="853"/>
                    </a:lnTo>
                    <a:lnTo>
                      <a:pt x="326" y="851"/>
                    </a:lnTo>
                    <a:lnTo>
                      <a:pt x="328" y="847"/>
                    </a:lnTo>
                    <a:lnTo>
                      <a:pt x="330" y="845"/>
                    </a:lnTo>
                    <a:lnTo>
                      <a:pt x="332" y="845"/>
                    </a:lnTo>
                    <a:lnTo>
                      <a:pt x="355" y="843"/>
                    </a:lnTo>
                    <a:lnTo>
                      <a:pt x="363" y="845"/>
                    </a:lnTo>
                    <a:lnTo>
                      <a:pt x="365" y="845"/>
                    </a:lnTo>
                    <a:lnTo>
                      <a:pt x="367" y="843"/>
                    </a:lnTo>
                    <a:lnTo>
                      <a:pt x="373" y="841"/>
                    </a:lnTo>
                    <a:lnTo>
                      <a:pt x="375" y="841"/>
                    </a:lnTo>
                    <a:lnTo>
                      <a:pt x="380" y="841"/>
                    </a:lnTo>
                    <a:lnTo>
                      <a:pt x="384" y="843"/>
                    </a:lnTo>
                    <a:lnTo>
                      <a:pt x="398" y="851"/>
                    </a:lnTo>
                    <a:lnTo>
                      <a:pt x="402" y="853"/>
                    </a:lnTo>
                    <a:lnTo>
                      <a:pt x="408" y="855"/>
                    </a:lnTo>
                    <a:lnTo>
                      <a:pt x="418" y="855"/>
                    </a:lnTo>
                    <a:lnTo>
                      <a:pt x="422" y="853"/>
                    </a:lnTo>
                    <a:lnTo>
                      <a:pt x="425" y="851"/>
                    </a:lnTo>
                    <a:lnTo>
                      <a:pt x="427" y="847"/>
                    </a:lnTo>
                    <a:lnTo>
                      <a:pt x="435" y="834"/>
                    </a:lnTo>
                    <a:lnTo>
                      <a:pt x="437" y="832"/>
                    </a:lnTo>
                    <a:lnTo>
                      <a:pt x="441" y="830"/>
                    </a:lnTo>
                    <a:lnTo>
                      <a:pt x="451" y="818"/>
                    </a:lnTo>
                    <a:lnTo>
                      <a:pt x="453" y="814"/>
                    </a:lnTo>
                    <a:lnTo>
                      <a:pt x="453" y="808"/>
                    </a:lnTo>
                    <a:lnTo>
                      <a:pt x="451" y="802"/>
                    </a:lnTo>
                    <a:lnTo>
                      <a:pt x="445" y="791"/>
                    </a:lnTo>
                    <a:lnTo>
                      <a:pt x="441" y="787"/>
                    </a:lnTo>
                    <a:lnTo>
                      <a:pt x="439" y="785"/>
                    </a:lnTo>
                    <a:lnTo>
                      <a:pt x="437" y="781"/>
                    </a:lnTo>
                    <a:lnTo>
                      <a:pt x="437" y="779"/>
                    </a:lnTo>
                    <a:lnTo>
                      <a:pt x="437" y="775"/>
                    </a:lnTo>
                    <a:lnTo>
                      <a:pt x="437" y="773"/>
                    </a:lnTo>
                    <a:lnTo>
                      <a:pt x="435" y="769"/>
                    </a:lnTo>
                    <a:lnTo>
                      <a:pt x="429" y="763"/>
                    </a:lnTo>
                    <a:lnTo>
                      <a:pt x="425" y="759"/>
                    </a:lnTo>
                    <a:lnTo>
                      <a:pt x="423" y="756"/>
                    </a:lnTo>
                    <a:lnTo>
                      <a:pt x="423" y="750"/>
                    </a:lnTo>
                    <a:lnTo>
                      <a:pt x="425" y="738"/>
                    </a:lnTo>
                    <a:lnTo>
                      <a:pt x="427" y="726"/>
                    </a:lnTo>
                    <a:lnTo>
                      <a:pt x="431" y="715"/>
                    </a:lnTo>
                    <a:lnTo>
                      <a:pt x="437" y="705"/>
                    </a:lnTo>
                    <a:lnTo>
                      <a:pt x="443" y="701"/>
                    </a:lnTo>
                    <a:lnTo>
                      <a:pt x="445" y="699"/>
                    </a:lnTo>
                    <a:lnTo>
                      <a:pt x="447" y="693"/>
                    </a:lnTo>
                    <a:lnTo>
                      <a:pt x="449" y="687"/>
                    </a:lnTo>
                    <a:lnTo>
                      <a:pt x="453" y="685"/>
                    </a:lnTo>
                    <a:lnTo>
                      <a:pt x="457" y="683"/>
                    </a:lnTo>
                    <a:lnTo>
                      <a:pt x="461" y="679"/>
                    </a:lnTo>
                    <a:lnTo>
                      <a:pt x="466" y="674"/>
                    </a:lnTo>
                    <a:lnTo>
                      <a:pt x="472" y="664"/>
                    </a:lnTo>
                    <a:lnTo>
                      <a:pt x="474" y="662"/>
                    </a:lnTo>
                    <a:lnTo>
                      <a:pt x="480" y="660"/>
                    </a:lnTo>
                    <a:lnTo>
                      <a:pt x="480" y="660"/>
                    </a:lnTo>
                    <a:lnTo>
                      <a:pt x="484" y="656"/>
                    </a:lnTo>
                    <a:lnTo>
                      <a:pt x="486" y="656"/>
                    </a:lnTo>
                    <a:lnTo>
                      <a:pt x="486" y="656"/>
                    </a:lnTo>
                    <a:lnTo>
                      <a:pt x="488" y="658"/>
                    </a:lnTo>
                    <a:lnTo>
                      <a:pt x="490" y="660"/>
                    </a:lnTo>
                    <a:lnTo>
                      <a:pt x="492" y="656"/>
                    </a:lnTo>
                    <a:lnTo>
                      <a:pt x="492" y="660"/>
                    </a:lnTo>
                    <a:lnTo>
                      <a:pt x="494" y="662"/>
                    </a:lnTo>
                    <a:lnTo>
                      <a:pt x="494" y="664"/>
                    </a:lnTo>
                    <a:lnTo>
                      <a:pt x="496" y="666"/>
                    </a:lnTo>
                    <a:lnTo>
                      <a:pt x="494" y="670"/>
                    </a:lnTo>
                    <a:lnTo>
                      <a:pt x="494" y="670"/>
                    </a:lnTo>
                    <a:lnTo>
                      <a:pt x="496" y="670"/>
                    </a:lnTo>
                    <a:lnTo>
                      <a:pt x="500" y="670"/>
                    </a:lnTo>
                    <a:lnTo>
                      <a:pt x="502" y="672"/>
                    </a:lnTo>
                    <a:lnTo>
                      <a:pt x="504" y="672"/>
                    </a:lnTo>
                    <a:lnTo>
                      <a:pt x="504" y="672"/>
                    </a:lnTo>
                    <a:lnTo>
                      <a:pt x="506" y="672"/>
                    </a:lnTo>
                    <a:lnTo>
                      <a:pt x="506" y="668"/>
                    </a:lnTo>
                    <a:lnTo>
                      <a:pt x="509" y="668"/>
                    </a:lnTo>
                    <a:lnTo>
                      <a:pt x="509" y="672"/>
                    </a:lnTo>
                    <a:lnTo>
                      <a:pt x="511" y="674"/>
                    </a:lnTo>
                    <a:lnTo>
                      <a:pt x="513" y="672"/>
                    </a:lnTo>
                    <a:lnTo>
                      <a:pt x="513" y="670"/>
                    </a:lnTo>
                    <a:lnTo>
                      <a:pt x="515" y="668"/>
                    </a:lnTo>
                    <a:lnTo>
                      <a:pt x="517" y="666"/>
                    </a:lnTo>
                    <a:lnTo>
                      <a:pt x="519" y="664"/>
                    </a:lnTo>
                    <a:lnTo>
                      <a:pt x="519" y="660"/>
                    </a:lnTo>
                    <a:lnTo>
                      <a:pt x="517" y="656"/>
                    </a:lnTo>
                    <a:lnTo>
                      <a:pt x="511" y="648"/>
                    </a:lnTo>
                    <a:lnTo>
                      <a:pt x="511" y="646"/>
                    </a:lnTo>
                    <a:lnTo>
                      <a:pt x="509" y="642"/>
                    </a:lnTo>
                    <a:lnTo>
                      <a:pt x="509" y="640"/>
                    </a:lnTo>
                    <a:lnTo>
                      <a:pt x="507" y="640"/>
                    </a:lnTo>
                    <a:lnTo>
                      <a:pt x="506" y="638"/>
                    </a:lnTo>
                    <a:lnTo>
                      <a:pt x="506" y="634"/>
                    </a:lnTo>
                    <a:lnTo>
                      <a:pt x="506" y="633"/>
                    </a:lnTo>
                    <a:lnTo>
                      <a:pt x="506" y="629"/>
                    </a:lnTo>
                    <a:lnTo>
                      <a:pt x="509" y="625"/>
                    </a:lnTo>
                    <a:lnTo>
                      <a:pt x="513" y="623"/>
                    </a:lnTo>
                    <a:lnTo>
                      <a:pt x="521" y="623"/>
                    </a:lnTo>
                    <a:lnTo>
                      <a:pt x="525" y="625"/>
                    </a:lnTo>
                    <a:lnTo>
                      <a:pt x="527" y="629"/>
                    </a:lnTo>
                    <a:lnTo>
                      <a:pt x="531" y="631"/>
                    </a:lnTo>
                    <a:lnTo>
                      <a:pt x="533" y="629"/>
                    </a:lnTo>
                    <a:lnTo>
                      <a:pt x="533" y="625"/>
                    </a:lnTo>
                    <a:lnTo>
                      <a:pt x="537" y="625"/>
                    </a:lnTo>
                    <a:lnTo>
                      <a:pt x="543" y="625"/>
                    </a:lnTo>
                    <a:lnTo>
                      <a:pt x="547" y="625"/>
                    </a:lnTo>
                    <a:lnTo>
                      <a:pt x="550" y="621"/>
                    </a:lnTo>
                    <a:lnTo>
                      <a:pt x="556" y="623"/>
                    </a:lnTo>
                    <a:lnTo>
                      <a:pt x="566" y="627"/>
                    </a:lnTo>
                    <a:lnTo>
                      <a:pt x="566" y="627"/>
                    </a:lnTo>
                    <a:lnTo>
                      <a:pt x="566" y="621"/>
                    </a:lnTo>
                    <a:lnTo>
                      <a:pt x="564" y="619"/>
                    </a:lnTo>
                    <a:lnTo>
                      <a:pt x="566" y="619"/>
                    </a:lnTo>
                    <a:lnTo>
                      <a:pt x="570" y="617"/>
                    </a:lnTo>
                    <a:lnTo>
                      <a:pt x="572" y="617"/>
                    </a:lnTo>
                    <a:lnTo>
                      <a:pt x="572" y="619"/>
                    </a:lnTo>
                    <a:lnTo>
                      <a:pt x="574" y="625"/>
                    </a:lnTo>
                    <a:lnTo>
                      <a:pt x="574" y="625"/>
                    </a:lnTo>
                    <a:lnTo>
                      <a:pt x="582" y="625"/>
                    </a:lnTo>
                    <a:lnTo>
                      <a:pt x="582" y="625"/>
                    </a:lnTo>
                    <a:lnTo>
                      <a:pt x="584" y="623"/>
                    </a:lnTo>
                    <a:lnTo>
                      <a:pt x="586" y="623"/>
                    </a:lnTo>
                    <a:lnTo>
                      <a:pt x="586" y="625"/>
                    </a:lnTo>
                    <a:lnTo>
                      <a:pt x="591" y="629"/>
                    </a:lnTo>
                    <a:lnTo>
                      <a:pt x="597" y="627"/>
                    </a:lnTo>
                    <a:lnTo>
                      <a:pt x="605" y="623"/>
                    </a:lnTo>
                    <a:lnTo>
                      <a:pt x="609" y="617"/>
                    </a:lnTo>
                    <a:lnTo>
                      <a:pt x="611" y="625"/>
                    </a:lnTo>
                    <a:lnTo>
                      <a:pt x="613" y="627"/>
                    </a:lnTo>
                    <a:lnTo>
                      <a:pt x="611" y="627"/>
                    </a:lnTo>
                    <a:lnTo>
                      <a:pt x="609" y="629"/>
                    </a:lnTo>
                    <a:lnTo>
                      <a:pt x="611" y="631"/>
                    </a:lnTo>
                    <a:lnTo>
                      <a:pt x="613" y="633"/>
                    </a:lnTo>
                    <a:lnTo>
                      <a:pt x="621" y="631"/>
                    </a:lnTo>
                    <a:lnTo>
                      <a:pt x="621" y="631"/>
                    </a:lnTo>
                    <a:lnTo>
                      <a:pt x="621" y="629"/>
                    </a:lnTo>
                    <a:lnTo>
                      <a:pt x="623" y="625"/>
                    </a:lnTo>
                    <a:lnTo>
                      <a:pt x="625" y="621"/>
                    </a:lnTo>
                    <a:lnTo>
                      <a:pt x="627" y="619"/>
                    </a:lnTo>
                    <a:lnTo>
                      <a:pt x="629" y="619"/>
                    </a:lnTo>
                    <a:lnTo>
                      <a:pt x="631" y="621"/>
                    </a:lnTo>
                    <a:lnTo>
                      <a:pt x="632" y="621"/>
                    </a:lnTo>
                    <a:lnTo>
                      <a:pt x="634" y="625"/>
                    </a:lnTo>
                    <a:lnTo>
                      <a:pt x="636" y="625"/>
                    </a:lnTo>
                    <a:lnTo>
                      <a:pt x="638" y="629"/>
                    </a:lnTo>
                    <a:lnTo>
                      <a:pt x="640" y="627"/>
                    </a:lnTo>
                    <a:lnTo>
                      <a:pt x="640" y="623"/>
                    </a:lnTo>
                    <a:lnTo>
                      <a:pt x="642" y="621"/>
                    </a:lnTo>
                    <a:lnTo>
                      <a:pt x="648" y="617"/>
                    </a:lnTo>
                    <a:lnTo>
                      <a:pt x="654" y="611"/>
                    </a:lnTo>
                    <a:lnTo>
                      <a:pt x="658" y="611"/>
                    </a:lnTo>
                    <a:lnTo>
                      <a:pt x="658" y="613"/>
                    </a:lnTo>
                    <a:lnTo>
                      <a:pt x="658" y="615"/>
                    </a:lnTo>
                    <a:lnTo>
                      <a:pt x="656" y="619"/>
                    </a:lnTo>
                    <a:lnTo>
                      <a:pt x="656" y="621"/>
                    </a:lnTo>
                    <a:lnTo>
                      <a:pt x="658" y="625"/>
                    </a:lnTo>
                    <a:lnTo>
                      <a:pt x="662" y="623"/>
                    </a:lnTo>
                    <a:lnTo>
                      <a:pt x="664" y="617"/>
                    </a:lnTo>
                    <a:lnTo>
                      <a:pt x="668" y="615"/>
                    </a:lnTo>
                    <a:lnTo>
                      <a:pt x="668" y="615"/>
                    </a:lnTo>
                    <a:lnTo>
                      <a:pt x="672" y="619"/>
                    </a:lnTo>
                    <a:lnTo>
                      <a:pt x="674" y="619"/>
                    </a:lnTo>
                    <a:lnTo>
                      <a:pt x="675" y="621"/>
                    </a:lnTo>
                    <a:lnTo>
                      <a:pt x="675" y="621"/>
                    </a:lnTo>
                    <a:lnTo>
                      <a:pt x="675" y="623"/>
                    </a:lnTo>
                    <a:lnTo>
                      <a:pt x="677" y="621"/>
                    </a:lnTo>
                    <a:lnTo>
                      <a:pt x="681" y="627"/>
                    </a:lnTo>
                    <a:lnTo>
                      <a:pt x="685" y="627"/>
                    </a:lnTo>
                    <a:lnTo>
                      <a:pt x="693" y="623"/>
                    </a:lnTo>
                    <a:lnTo>
                      <a:pt x="697" y="627"/>
                    </a:lnTo>
                    <a:lnTo>
                      <a:pt x="695" y="631"/>
                    </a:lnTo>
                    <a:lnTo>
                      <a:pt x="691" y="642"/>
                    </a:lnTo>
                    <a:lnTo>
                      <a:pt x="695" y="644"/>
                    </a:lnTo>
                    <a:lnTo>
                      <a:pt x="699" y="648"/>
                    </a:lnTo>
                    <a:lnTo>
                      <a:pt x="701" y="648"/>
                    </a:lnTo>
                    <a:lnTo>
                      <a:pt x="705" y="642"/>
                    </a:lnTo>
                    <a:lnTo>
                      <a:pt x="715" y="621"/>
                    </a:lnTo>
                    <a:lnTo>
                      <a:pt x="718" y="617"/>
                    </a:lnTo>
                    <a:lnTo>
                      <a:pt x="724" y="611"/>
                    </a:lnTo>
                    <a:lnTo>
                      <a:pt x="726" y="607"/>
                    </a:lnTo>
                    <a:lnTo>
                      <a:pt x="728" y="605"/>
                    </a:lnTo>
                    <a:lnTo>
                      <a:pt x="728" y="601"/>
                    </a:lnTo>
                    <a:lnTo>
                      <a:pt x="730" y="599"/>
                    </a:lnTo>
                    <a:lnTo>
                      <a:pt x="732" y="599"/>
                    </a:lnTo>
                    <a:lnTo>
                      <a:pt x="732" y="597"/>
                    </a:lnTo>
                    <a:lnTo>
                      <a:pt x="738" y="572"/>
                    </a:lnTo>
                    <a:lnTo>
                      <a:pt x="742" y="547"/>
                    </a:lnTo>
                    <a:lnTo>
                      <a:pt x="746" y="537"/>
                    </a:lnTo>
                    <a:lnTo>
                      <a:pt x="754" y="521"/>
                    </a:lnTo>
                    <a:lnTo>
                      <a:pt x="756" y="515"/>
                    </a:lnTo>
                    <a:lnTo>
                      <a:pt x="756" y="511"/>
                    </a:lnTo>
                    <a:lnTo>
                      <a:pt x="761" y="511"/>
                    </a:lnTo>
                    <a:lnTo>
                      <a:pt x="761" y="509"/>
                    </a:lnTo>
                    <a:lnTo>
                      <a:pt x="761" y="502"/>
                    </a:lnTo>
                    <a:lnTo>
                      <a:pt x="763" y="496"/>
                    </a:lnTo>
                    <a:lnTo>
                      <a:pt x="763" y="492"/>
                    </a:lnTo>
                    <a:lnTo>
                      <a:pt x="763" y="490"/>
                    </a:lnTo>
                    <a:lnTo>
                      <a:pt x="763" y="488"/>
                    </a:lnTo>
                    <a:lnTo>
                      <a:pt x="767" y="480"/>
                    </a:lnTo>
                    <a:lnTo>
                      <a:pt x="769" y="478"/>
                    </a:lnTo>
                    <a:lnTo>
                      <a:pt x="771" y="476"/>
                    </a:lnTo>
                    <a:lnTo>
                      <a:pt x="773" y="476"/>
                    </a:lnTo>
                    <a:lnTo>
                      <a:pt x="775" y="474"/>
                    </a:lnTo>
                    <a:lnTo>
                      <a:pt x="777" y="474"/>
                    </a:lnTo>
                    <a:lnTo>
                      <a:pt x="781" y="476"/>
                    </a:lnTo>
                    <a:lnTo>
                      <a:pt x="783" y="478"/>
                    </a:lnTo>
                    <a:lnTo>
                      <a:pt x="787" y="476"/>
                    </a:lnTo>
                    <a:lnTo>
                      <a:pt x="789" y="474"/>
                    </a:lnTo>
                    <a:lnTo>
                      <a:pt x="789" y="470"/>
                    </a:lnTo>
                    <a:lnTo>
                      <a:pt x="791" y="465"/>
                    </a:lnTo>
                    <a:lnTo>
                      <a:pt x="789" y="455"/>
                    </a:lnTo>
                    <a:lnTo>
                      <a:pt x="787" y="449"/>
                    </a:lnTo>
                    <a:lnTo>
                      <a:pt x="785" y="445"/>
                    </a:lnTo>
                    <a:lnTo>
                      <a:pt x="787" y="443"/>
                    </a:lnTo>
                    <a:lnTo>
                      <a:pt x="789" y="443"/>
                    </a:lnTo>
                    <a:lnTo>
                      <a:pt x="793" y="439"/>
                    </a:lnTo>
                    <a:lnTo>
                      <a:pt x="795" y="439"/>
                    </a:lnTo>
                    <a:lnTo>
                      <a:pt x="799" y="439"/>
                    </a:lnTo>
                    <a:lnTo>
                      <a:pt x="802" y="441"/>
                    </a:lnTo>
                    <a:lnTo>
                      <a:pt x="804" y="441"/>
                    </a:lnTo>
                    <a:lnTo>
                      <a:pt x="804" y="439"/>
                    </a:lnTo>
                    <a:lnTo>
                      <a:pt x="806" y="437"/>
                    </a:lnTo>
                    <a:lnTo>
                      <a:pt x="804" y="433"/>
                    </a:lnTo>
                    <a:lnTo>
                      <a:pt x="804" y="433"/>
                    </a:lnTo>
                    <a:lnTo>
                      <a:pt x="802" y="433"/>
                    </a:lnTo>
                    <a:lnTo>
                      <a:pt x="800" y="435"/>
                    </a:lnTo>
                    <a:lnTo>
                      <a:pt x="799" y="437"/>
                    </a:lnTo>
                    <a:lnTo>
                      <a:pt x="797" y="435"/>
                    </a:lnTo>
                    <a:lnTo>
                      <a:pt x="795" y="433"/>
                    </a:lnTo>
                    <a:lnTo>
                      <a:pt x="795" y="429"/>
                    </a:lnTo>
                    <a:lnTo>
                      <a:pt x="799" y="416"/>
                    </a:lnTo>
                    <a:lnTo>
                      <a:pt x="800" y="412"/>
                    </a:lnTo>
                    <a:lnTo>
                      <a:pt x="800" y="408"/>
                    </a:lnTo>
                    <a:lnTo>
                      <a:pt x="799" y="400"/>
                    </a:lnTo>
                    <a:lnTo>
                      <a:pt x="799" y="398"/>
                    </a:lnTo>
                    <a:lnTo>
                      <a:pt x="804" y="390"/>
                    </a:lnTo>
                    <a:lnTo>
                      <a:pt x="804" y="386"/>
                    </a:lnTo>
                    <a:lnTo>
                      <a:pt x="802" y="385"/>
                    </a:lnTo>
                    <a:lnTo>
                      <a:pt x="802" y="383"/>
                    </a:lnTo>
                    <a:lnTo>
                      <a:pt x="800" y="379"/>
                    </a:lnTo>
                    <a:lnTo>
                      <a:pt x="799" y="371"/>
                    </a:lnTo>
                    <a:lnTo>
                      <a:pt x="800" y="367"/>
                    </a:lnTo>
                    <a:lnTo>
                      <a:pt x="802" y="363"/>
                    </a:lnTo>
                    <a:lnTo>
                      <a:pt x="806" y="363"/>
                    </a:lnTo>
                    <a:lnTo>
                      <a:pt x="806" y="361"/>
                    </a:lnTo>
                    <a:lnTo>
                      <a:pt x="804" y="361"/>
                    </a:lnTo>
                    <a:lnTo>
                      <a:pt x="802" y="359"/>
                    </a:lnTo>
                    <a:lnTo>
                      <a:pt x="800" y="357"/>
                    </a:lnTo>
                    <a:lnTo>
                      <a:pt x="800" y="355"/>
                    </a:lnTo>
                    <a:lnTo>
                      <a:pt x="802" y="355"/>
                    </a:lnTo>
                    <a:lnTo>
                      <a:pt x="806" y="357"/>
                    </a:lnTo>
                    <a:lnTo>
                      <a:pt x="808" y="357"/>
                    </a:lnTo>
                    <a:lnTo>
                      <a:pt x="810" y="359"/>
                    </a:lnTo>
                    <a:lnTo>
                      <a:pt x="810" y="359"/>
                    </a:lnTo>
                    <a:lnTo>
                      <a:pt x="810" y="359"/>
                    </a:lnTo>
                    <a:lnTo>
                      <a:pt x="810" y="357"/>
                    </a:lnTo>
                    <a:lnTo>
                      <a:pt x="812" y="355"/>
                    </a:lnTo>
                    <a:lnTo>
                      <a:pt x="812" y="353"/>
                    </a:lnTo>
                    <a:lnTo>
                      <a:pt x="812" y="353"/>
                    </a:lnTo>
                    <a:lnTo>
                      <a:pt x="812" y="353"/>
                    </a:lnTo>
                    <a:lnTo>
                      <a:pt x="812" y="351"/>
                    </a:lnTo>
                    <a:lnTo>
                      <a:pt x="814" y="351"/>
                    </a:lnTo>
                    <a:lnTo>
                      <a:pt x="814" y="351"/>
                    </a:lnTo>
                    <a:lnTo>
                      <a:pt x="816" y="351"/>
                    </a:lnTo>
                    <a:lnTo>
                      <a:pt x="816" y="353"/>
                    </a:lnTo>
                    <a:lnTo>
                      <a:pt x="816" y="355"/>
                    </a:lnTo>
                    <a:lnTo>
                      <a:pt x="816" y="355"/>
                    </a:lnTo>
                    <a:lnTo>
                      <a:pt x="822" y="357"/>
                    </a:lnTo>
                    <a:lnTo>
                      <a:pt x="824" y="357"/>
                    </a:lnTo>
                    <a:lnTo>
                      <a:pt x="822" y="353"/>
                    </a:lnTo>
                    <a:lnTo>
                      <a:pt x="820" y="349"/>
                    </a:lnTo>
                    <a:lnTo>
                      <a:pt x="818" y="345"/>
                    </a:lnTo>
                    <a:lnTo>
                      <a:pt x="822" y="345"/>
                    </a:lnTo>
                    <a:lnTo>
                      <a:pt x="818" y="338"/>
                    </a:lnTo>
                    <a:lnTo>
                      <a:pt x="816" y="336"/>
                    </a:lnTo>
                    <a:lnTo>
                      <a:pt x="816" y="334"/>
                    </a:lnTo>
                    <a:lnTo>
                      <a:pt x="814" y="336"/>
                    </a:lnTo>
                    <a:lnTo>
                      <a:pt x="814" y="334"/>
                    </a:lnTo>
                    <a:lnTo>
                      <a:pt x="812" y="332"/>
                    </a:lnTo>
                    <a:lnTo>
                      <a:pt x="806" y="324"/>
                    </a:lnTo>
                    <a:lnTo>
                      <a:pt x="804" y="316"/>
                    </a:lnTo>
                    <a:lnTo>
                      <a:pt x="802" y="308"/>
                    </a:lnTo>
                    <a:lnTo>
                      <a:pt x="804" y="301"/>
                    </a:lnTo>
                    <a:lnTo>
                      <a:pt x="808" y="297"/>
                    </a:lnTo>
                    <a:lnTo>
                      <a:pt x="804" y="287"/>
                    </a:lnTo>
                    <a:lnTo>
                      <a:pt x="808" y="281"/>
                    </a:lnTo>
                    <a:lnTo>
                      <a:pt x="820" y="273"/>
                    </a:lnTo>
                    <a:lnTo>
                      <a:pt x="818" y="269"/>
                    </a:lnTo>
                    <a:lnTo>
                      <a:pt x="818" y="269"/>
                    </a:lnTo>
                    <a:lnTo>
                      <a:pt x="820" y="267"/>
                    </a:lnTo>
                    <a:lnTo>
                      <a:pt x="822" y="263"/>
                    </a:lnTo>
                    <a:lnTo>
                      <a:pt x="816" y="260"/>
                    </a:lnTo>
                    <a:lnTo>
                      <a:pt x="818" y="254"/>
                    </a:lnTo>
                    <a:lnTo>
                      <a:pt x="822" y="252"/>
                    </a:lnTo>
                    <a:lnTo>
                      <a:pt x="832" y="254"/>
                    </a:lnTo>
                    <a:lnTo>
                      <a:pt x="832" y="248"/>
                    </a:lnTo>
                    <a:lnTo>
                      <a:pt x="834" y="246"/>
                    </a:lnTo>
                    <a:lnTo>
                      <a:pt x="836" y="244"/>
                    </a:lnTo>
                    <a:lnTo>
                      <a:pt x="840" y="242"/>
                    </a:lnTo>
                    <a:lnTo>
                      <a:pt x="836" y="242"/>
                    </a:lnTo>
                    <a:lnTo>
                      <a:pt x="834" y="240"/>
                    </a:lnTo>
                    <a:lnTo>
                      <a:pt x="832" y="236"/>
                    </a:lnTo>
                    <a:lnTo>
                      <a:pt x="834" y="232"/>
                    </a:lnTo>
                    <a:lnTo>
                      <a:pt x="836" y="230"/>
                    </a:lnTo>
                    <a:lnTo>
                      <a:pt x="838" y="230"/>
                    </a:lnTo>
                    <a:lnTo>
                      <a:pt x="840" y="228"/>
                    </a:lnTo>
                    <a:lnTo>
                      <a:pt x="836" y="224"/>
                    </a:lnTo>
                    <a:lnTo>
                      <a:pt x="842" y="226"/>
                    </a:lnTo>
                    <a:lnTo>
                      <a:pt x="840" y="221"/>
                    </a:lnTo>
                    <a:lnTo>
                      <a:pt x="836" y="213"/>
                    </a:lnTo>
                    <a:lnTo>
                      <a:pt x="832" y="199"/>
                    </a:lnTo>
                    <a:lnTo>
                      <a:pt x="826" y="197"/>
                    </a:lnTo>
                    <a:lnTo>
                      <a:pt x="812" y="195"/>
                    </a:lnTo>
                    <a:lnTo>
                      <a:pt x="812" y="195"/>
                    </a:lnTo>
                    <a:lnTo>
                      <a:pt x="816" y="195"/>
                    </a:lnTo>
                    <a:lnTo>
                      <a:pt x="816" y="191"/>
                    </a:lnTo>
                    <a:lnTo>
                      <a:pt x="814" y="189"/>
                    </a:lnTo>
                    <a:lnTo>
                      <a:pt x="814" y="187"/>
                    </a:lnTo>
                    <a:lnTo>
                      <a:pt x="814" y="187"/>
                    </a:lnTo>
                    <a:lnTo>
                      <a:pt x="816" y="183"/>
                    </a:lnTo>
                    <a:lnTo>
                      <a:pt x="816" y="181"/>
                    </a:lnTo>
                    <a:lnTo>
                      <a:pt x="814" y="181"/>
                    </a:lnTo>
                    <a:lnTo>
                      <a:pt x="814" y="178"/>
                    </a:lnTo>
                    <a:lnTo>
                      <a:pt x="814" y="180"/>
                    </a:lnTo>
                    <a:lnTo>
                      <a:pt x="816" y="180"/>
                    </a:lnTo>
                    <a:lnTo>
                      <a:pt x="818" y="180"/>
                    </a:lnTo>
                    <a:lnTo>
                      <a:pt x="820" y="178"/>
                    </a:lnTo>
                    <a:lnTo>
                      <a:pt x="820" y="180"/>
                    </a:lnTo>
                    <a:lnTo>
                      <a:pt x="820" y="183"/>
                    </a:lnTo>
                    <a:lnTo>
                      <a:pt x="820" y="187"/>
                    </a:lnTo>
                    <a:lnTo>
                      <a:pt x="820" y="187"/>
                    </a:lnTo>
                    <a:lnTo>
                      <a:pt x="822" y="187"/>
                    </a:lnTo>
                    <a:lnTo>
                      <a:pt x="826" y="181"/>
                    </a:lnTo>
                    <a:lnTo>
                      <a:pt x="828" y="180"/>
                    </a:lnTo>
                    <a:lnTo>
                      <a:pt x="830" y="180"/>
                    </a:lnTo>
                    <a:lnTo>
                      <a:pt x="832" y="178"/>
                    </a:lnTo>
                    <a:lnTo>
                      <a:pt x="832" y="176"/>
                    </a:lnTo>
                    <a:lnTo>
                      <a:pt x="830" y="174"/>
                    </a:lnTo>
                    <a:lnTo>
                      <a:pt x="830" y="172"/>
                    </a:lnTo>
                    <a:lnTo>
                      <a:pt x="828" y="170"/>
                    </a:lnTo>
                    <a:lnTo>
                      <a:pt x="826" y="170"/>
                    </a:lnTo>
                    <a:lnTo>
                      <a:pt x="824" y="166"/>
                    </a:lnTo>
                    <a:lnTo>
                      <a:pt x="828" y="168"/>
                    </a:lnTo>
                    <a:lnTo>
                      <a:pt x="830" y="168"/>
                    </a:lnTo>
                    <a:lnTo>
                      <a:pt x="830" y="164"/>
                    </a:lnTo>
                    <a:lnTo>
                      <a:pt x="828" y="160"/>
                    </a:lnTo>
                    <a:lnTo>
                      <a:pt x="828" y="158"/>
                    </a:lnTo>
                    <a:lnTo>
                      <a:pt x="824" y="154"/>
                    </a:lnTo>
                    <a:lnTo>
                      <a:pt x="822" y="152"/>
                    </a:lnTo>
                    <a:lnTo>
                      <a:pt x="828" y="154"/>
                    </a:lnTo>
                    <a:lnTo>
                      <a:pt x="834" y="156"/>
                    </a:lnTo>
                    <a:lnTo>
                      <a:pt x="845" y="158"/>
                    </a:lnTo>
                    <a:lnTo>
                      <a:pt x="845" y="156"/>
                    </a:lnTo>
                    <a:lnTo>
                      <a:pt x="842" y="156"/>
                    </a:lnTo>
                    <a:lnTo>
                      <a:pt x="842" y="154"/>
                    </a:lnTo>
                    <a:lnTo>
                      <a:pt x="845" y="154"/>
                    </a:lnTo>
                    <a:lnTo>
                      <a:pt x="843" y="148"/>
                    </a:lnTo>
                    <a:lnTo>
                      <a:pt x="842" y="146"/>
                    </a:lnTo>
                    <a:lnTo>
                      <a:pt x="840" y="144"/>
                    </a:lnTo>
                    <a:lnTo>
                      <a:pt x="836" y="144"/>
                    </a:lnTo>
                    <a:lnTo>
                      <a:pt x="838" y="142"/>
                    </a:lnTo>
                    <a:lnTo>
                      <a:pt x="836" y="140"/>
                    </a:lnTo>
                    <a:lnTo>
                      <a:pt x="830" y="133"/>
                    </a:lnTo>
                    <a:lnTo>
                      <a:pt x="828" y="133"/>
                    </a:lnTo>
                    <a:lnTo>
                      <a:pt x="826" y="131"/>
                    </a:lnTo>
                    <a:lnTo>
                      <a:pt x="824" y="131"/>
                    </a:lnTo>
                    <a:lnTo>
                      <a:pt x="824" y="127"/>
                    </a:lnTo>
                    <a:lnTo>
                      <a:pt x="822" y="125"/>
                    </a:lnTo>
                    <a:lnTo>
                      <a:pt x="814" y="115"/>
                    </a:lnTo>
                    <a:lnTo>
                      <a:pt x="806" y="109"/>
                    </a:lnTo>
                    <a:lnTo>
                      <a:pt x="800" y="103"/>
                    </a:lnTo>
                    <a:lnTo>
                      <a:pt x="799" y="99"/>
                    </a:lnTo>
                    <a:lnTo>
                      <a:pt x="797" y="94"/>
                    </a:lnTo>
                    <a:lnTo>
                      <a:pt x="816" y="111"/>
                    </a:lnTo>
                    <a:lnTo>
                      <a:pt x="830" y="131"/>
                    </a:lnTo>
                    <a:lnTo>
                      <a:pt x="832" y="135"/>
                    </a:lnTo>
                    <a:lnTo>
                      <a:pt x="840" y="140"/>
                    </a:lnTo>
                    <a:lnTo>
                      <a:pt x="843" y="140"/>
                    </a:lnTo>
                    <a:lnTo>
                      <a:pt x="845" y="139"/>
                    </a:lnTo>
                    <a:lnTo>
                      <a:pt x="840" y="135"/>
                    </a:lnTo>
                    <a:lnTo>
                      <a:pt x="802" y="94"/>
                    </a:lnTo>
                    <a:lnTo>
                      <a:pt x="802" y="92"/>
                    </a:lnTo>
                    <a:lnTo>
                      <a:pt x="806" y="92"/>
                    </a:lnTo>
                    <a:lnTo>
                      <a:pt x="808" y="94"/>
                    </a:lnTo>
                    <a:lnTo>
                      <a:pt x="808" y="92"/>
                    </a:lnTo>
                    <a:lnTo>
                      <a:pt x="806" y="88"/>
                    </a:lnTo>
                    <a:lnTo>
                      <a:pt x="814" y="90"/>
                    </a:lnTo>
                    <a:lnTo>
                      <a:pt x="818" y="92"/>
                    </a:lnTo>
                    <a:lnTo>
                      <a:pt x="820" y="96"/>
                    </a:lnTo>
                    <a:lnTo>
                      <a:pt x="822" y="94"/>
                    </a:lnTo>
                    <a:lnTo>
                      <a:pt x="822" y="92"/>
                    </a:lnTo>
                    <a:lnTo>
                      <a:pt x="822" y="88"/>
                    </a:lnTo>
                    <a:lnTo>
                      <a:pt x="822" y="86"/>
                    </a:lnTo>
                    <a:lnTo>
                      <a:pt x="822" y="84"/>
                    </a:lnTo>
                    <a:lnTo>
                      <a:pt x="824" y="82"/>
                    </a:lnTo>
                    <a:lnTo>
                      <a:pt x="826" y="80"/>
                    </a:lnTo>
                    <a:lnTo>
                      <a:pt x="816" y="76"/>
                    </a:lnTo>
                    <a:lnTo>
                      <a:pt x="810" y="70"/>
                    </a:lnTo>
                    <a:lnTo>
                      <a:pt x="810" y="68"/>
                    </a:lnTo>
                    <a:lnTo>
                      <a:pt x="808" y="66"/>
                    </a:lnTo>
                    <a:lnTo>
                      <a:pt x="810" y="62"/>
                    </a:lnTo>
                    <a:lnTo>
                      <a:pt x="810" y="60"/>
                    </a:lnTo>
                    <a:lnTo>
                      <a:pt x="812" y="60"/>
                    </a:lnTo>
                    <a:lnTo>
                      <a:pt x="834" y="86"/>
                    </a:lnTo>
                    <a:lnTo>
                      <a:pt x="832" y="84"/>
                    </a:lnTo>
                    <a:lnTo>
                      <a:pt x="832" y="82"/>
                    </a:lnTo>
                    <a:lnTo>
                      <a:pt x="830" y="82"/>
                    </a:lnTo>
                    <a:lnTo>
                      <a:pt x="828" y="82"/>
                    </a:lnTo>
                    <a:lnTo>
                      <a:pt x="828" y="86"/>
                    </a:lnTo>
                    <a:lnTo>
                      <a:pt x="830" y="88"/>
                    </a:lnTo>
                    <a:lnTo>
                      <a:pt x="830" y="92"/>
                    </a:lnTo>
                    <a:lnTo>
                      <a:pt x="828" y="94"/>
                    </a:lnTo>
                    <a:lnTo>
                      <a:pt x="836" y="96"/>
                    </a:lnTo>
                    <a:lnTo>
                      <a:pt x="838" y="94"/>
                    </a:lnTo>
                    <a:lnTo>
                      <a:pt x="840" y="92"/>
                    </a:lnTo>
                    <a:lnTo>
                      <a:pt x="840" y="86"/>
                    </a:lnTo>
                    <a:lnTo>
                      <a:pt x="842" y="86"/>
                    </a:lnTo>
                    <a:lnTo>
                      <a:pt x="845" y="94"/>
                    </a:lnTo>
                    <a:lnTo>
                      <a:pt x="847" y="98"/>
                    </a:lnTo>
                    <a:lnTo>
                      <a:pt x="849" y="99"/>
                    </a:lnTo>
                    <a:lnTo>
                      <a:pt x="853" y="99"/>
                    </a:lnTo>
                    <a:lnTo>
                      <a:pt x="855" y="96"/>
                    </a:lnTo>
                    <a:lnTo>
                      <a:pt x="855" y="92"/>
                    </a:lnTo>
                    <a:lnTo>
                      <a:pt x="849" y="88"/>
                    </a:lnTo>
                    <a:lnTo>
                      <a:pt x="847" y="82"/>
                    </a:lnTo>
                    <a:lnTo>
                      <a:pt x="855" y="88"/>
                    </a:lnTo>
                    <a:lnTo>
                      <a:pt x="857" y="88"/>
                    </a:lnTo>
                    <a:lnTo>
                      <a:pt x="855" y="84"/>
                    </a:lnTo>
                    <a:lnTo>
                      <a:pt x="851" y="80"/>
                    </a:lnTo>
                    <a:lnTo>
                      <a:pt x="849" y="78"/>
                    </a:lnTo>
                    <a:lnTo>
                      <a:pt x="849" y="72"/>
                    </a:lnTo>
                    <a:lnTo>
                      <a:pt x="849" y="68"/>
                    </a:lnTo>
                    <a:lnTo>
                      <a:pt x="847" y="68"/>
                    </a:lnTo>
                    <a:lnTo>
                      <a:pt x="845" y="70"/>
                    </a:lnTo>
                    <a:lnTo>
                      <a:pt x="843" y="72"/>
                    </a:lnTo>
                    <a:lnTo>
                      <a:pt x="843" y="70"/>
                    </a:lnTo>
                    <a:lnTo>
                      <a:pt x="842" y="64"/>
                    </a:lnTo>
                    <a:lnTo>
                      <a:pt x="842" y="64"/>
                    </a:lnTo>
                    <a:lnTo>
                      <a:pt x="838" y="62"/>
                    </a:lnTo>
                    <a:lnTo>
                      <a:pt x="836" y="64"/>
                    </a:lnTo>
                    <a:lnTo>
                      <a:pt x="834" y="57"/>
                    </a:lnTo>
                    <a:lnTo>
                      <a:pt x="832" y="51"/>
                    </a:lnTo>
                    <a:lnTo>
                      <a:pt x="834" y="49"/>
                    </a:lnTo>
                    <a:lnTo>
                      <a:pt x="836" y="49"/>
                    </a:lnTo>
                    <a:lnTo>
                      <a:pt x="840" y="58"/>
                    </a:lnTo>
                    <a:lnTo>
                      <a:pt x="843" y="60"/>
                    </a:lnTo>
                    <a:lnTo>
                      <a:pt x="842" y="58"/>
                    </a:lnTo>
                    <a:lnTo>
                      <a:pt x="842" y="57"/>
                    </a:lnTo>
                    <a:lnTo>
                      <a:pt x="847" y="53"/>
                    </a:lnTo>
                    <a:lnTo>
                      <a:pt x="847" y="55"/>
                    </a:lnTo>
                    <a:lnTo>
                      <a:pt x="849" y="57"/>
                    </a:lnTo>
                    <a:lnTo>
                      <a:pt x="851" y="55"/>
                    </a:lnTo>
                    <a:lnTo>
                      <a:pt x="853" y="53"/>
                    </a:lnTo>
                    <a:lnTo>
                      <a:pt x="849" y="49"/>
                    </a:lnTo>
                    <a:lnTo>
                      <a:pt x="847" y="47"/>
                    </a:lnTo>
                    <a:lnTo>
                      <a:pt x="845" y="45"/>
                    </a:lnTo>
                    <a:lnTo>
                      <a:pt x="842" y="43"/>
                    </a:lnTo>
                    <a:lnTo>
                      <a:pt x="843" y="43"/>
                    </a:lnTo>
                    <a:lnTo>
                      <a:pt x="845" y="41"/>
                    </a:lnTo>
                    <a:lnTo>
                      <a:pt x="845" y="39"/>
                    </a:lnTo>
                    <a:lnTo>
                      <a:pt x="845" y="35"/>
                    </a:lnTo>
                    <a:lnTo>
                      <a:pt x="849" y="33"/>
                    </a:lnTo>
                    <a:lnTo>
                      <a:pt x="845" y="27"/>
                    </a:lnTo>
                    <a:lnTo>
                      <a:pt x="840" y="19"/>
                    </a:lnTo>
                    <a:lnTo>
                      <a:pt x="836" y="14"/>
                    </a:lnTo>
                    <a:lnTo>
                      <a:pt x="838" y="14"/>
                    </a:lnTo>
                    <a:lnTo>
                      <a:pt x="840" y="14"/>
                    </a:lnTo>
                    <a:lnTo>
                      <a:pt x="842" y="14"/>
                    </a:lnTo>
                    <a:lnTo>
                      <a:pt x="840" y="8"/>
                    </a:lnTo>
                    <a:lnTo>
                      <a:pt x="832" y="2"/>
                    </a:lnTo>
                    <a:lnTo>
                      <a:pt x="832" y="0"/>
                    </a:lnTo>
                    <a:lnTo>
                      <a:pt x="488" y="0"/>
                    </a:lnTo>
                    <a:lnTo>
                      <a:pt x="482" y="10"/>
                    </a:lnTo>
                    <a:close/>
                    <a:moveTo>
                      <a:pt x="363" y="367"/>
                    </a:moveTo>
                    <a:lnTo>
                      <a:pt x="361" y="367"/>
                    </a:lnTo>
                    <a:lnTo>
                      <a:pt x="361" y="369"/>
                    </a:lnTo>
                    <a:lnTo>
                      <a:pt x="357" y="371"/>
                    </a:lnTo>
                    <a:lnTo>
                      <a:pt x="353" y="379"/>
                    </a:lnTo>
                    <a:lnTo>
                      <a:pt x="351" y="383"/>
                    </a:lnTo>
                    <a:lnTo>
                      <a:pt x="353" y="386"/>
                    </a:lnTo>
                    <a:lnTo>
                      <a:pt x="353" y="390"/>
                    </a:lnTo>
                    <a:lnTo>
                      <a:pt x="353" y="396"/>
                    </a:lnTo>
                    <a:lnTo>
                      <a:pt x="353" y="402"/>
                    </a:lnTo>
                    <a:lnTo>
                      <a:pt x="351" y="406"/>
                    </a:lnTo>
                    <a:lnTo>
                      <a:pt x="349" y="410"/>
                    </a:lnTo>
                    <a:lnTo>
                      <a:pt x="347" y="418"/>
                    </a:lnTo>
                    <a:lnTo>
                      <a:pt x="341" y="426"/>
                    </a:lnTo>
                    <a:lnTo>
                      <a:pt x="341" y="427"/>
                    </a:lnTo>
                    <a:lnTo>
                      <a:pt x="339" y="427"/>
                    </a:lnTo>
                    <a:lnTo>
                      <a:pt x="338" y="431"/>
                    </a:lnTo>
                    <a:lnTo>
                      <a:pt x="336" y="435"/>
                    </a:lnTo>
                    <a:lnTo>
                      <a:pt x="334" y="439"/>
                    </a:lnTo>
                    <a:lnTo>
                      <a:pt x="336" y="441"/>
                    </a:lnTo>
                    <a:lnTo>
                      <a:pt x="336" y="443"/>
                    </a:lnTo>
                    <a:lnTo>
                      <a:pt x="334" y="443"/>
                    </a:lnTo>
                    <a:lnTo>
                      <a:pt x="332" y="443"/>
                    </a:lnTo>
                    <a:lnTo>
                      <a:pt x="332" y="437"/>
                    </a:lnTo>
                    <a:lnTo>
                      <a:pt x="332" y="433"/>
                    </a:lnTo>
                    <a:lnTo>
                      <a:pt x="330" y="431"/>
                    </a:lnTo>
                    <a:lnTo>
                      <a:pt x="326" y="433"/>
                    </a:lnTo>
                    <a:lnTo>
                      <a:pt x="328" y="429"/>
                    </a:lnTo>
                    <a:lnTo>
                      <a:pt x="328" y="427"/>
                    </a:lnTo>
                    <a:lnTo>
                      <a:pt x="328" y="424"/>
                    </a:lnTo>
                    <a:lnTo>
                      <a:pt x="326" y="422"/>
                    </a:lnTo>
                    <a:lnTo>
                      <a:pt x="326" y="420"/>
                    </a:lnTo>
                    <a:lnTo>
                      <a:pt x="328" y="418"/>
                    </a:lnTo>
                    <a:lnTo>
                      <a:pt x="330" y="418"/>
                    </a:lnTo>
                    <a:lnTo>
                      <a:pt x="332" y="416"/>
                    </a:lnTo>
                    <a:lnTo>
                      <a:pt x="330" y="416"/>
                    </a:lnTo>
                    <a:lnTo>
                      <a:pt x="328" y="414"/>
                    </a:lnTo>
                    <a:lnTo>
                      <a:pt x="330" y="410"/>
                    </a:lnTo>
                    <a:lnTo>
                      <a:pt x="332" y="406"/>
                    </a:lnTo>
                    <a:lnTo>
                      <a:pt x="332" y="404"/>
                    </a:lnTo>
                    <a:lnTo>
                      <a:pt x="324" y="404"/>
                    </a:lnTo>
                    <a:lnTo>
                      <a:pt x="322" y="404"/>
                    </a:lnTo>
                    <a:lnTo>
                      <a:pt x="328" y="396"/>
                    </a:lnTo>
                    <a:lnTo>
                      <a:pt x="326" y="396"/>
                    </a:lnTo>
                    <a:lnTo>
                      <a:pt x="326" y="390"/>
                    </a:lnTo>
                    <a:lnTo>
                      <a:pt x="330" y="386"/>
                    </a:lnTo>
                    <a:lnTo>
                      <a:pt x="334" y="369"/>
                    </a:lnTo>
                    <a:lnTo>
                      <a:pt x="339" y="365"/>
                    </a:lnTo>
                    <a:lnTo>
                      <a:pt x="338" y="367"/>
                    </a:lnTo>
                    <a:lnTo>
                      <a:pt x="341" y="365"/>
                    </a:lnTo>
                    <a:lnTo>
                      <a:pt x="341" y="363"/>
                    </a:lnTo>
                    <a:lnTo>
                      <a:pt x="341" y="359"/>
                    </a:lnTo>
                    <a:lnTo>
                      <a:pt x="339" y="355"/>
                    </a:lnTo>
                    <a:lnTo>
                      <a:pt x="347" y="347"/>
                    </a:lnTo>
                    <a:lnTo>
                      <a:pt x="351" y="349"/>
                    </a:lnTo>
                    <a:lnTo>
                      <a:pt x="353" y="357"/>
                    </a:lnTo>
                    <a:lnTo>
                      <a:pt x="355" y="355"/>
                    </a:lnTo>
                    <a:lnTo>
                      <a:pt x="359" y="355"/>
                    </a:lnTo>
                    <a:lnTo>
                      <a:pt x="361" y="357"/>
                    </a:lnTo>
                    <a:lnTo>
                      <a:pt x="363" y="361"/>
                    </a:lnTo>
                    <a:lnTo>
                      <a:pt x="363" y="367"/>
                    </a:lnTo>
                    <a:close/>
                    <a:moveTo>
                      <a:pt x="562" y="31"/>
                    </a:moveTo>
                    <a:lnTo>
                      <a:pt x="562" y="25"/>
                    </a:lnTo>
                    <a:lnTo>
                      <a:pt x="562" y="19"/>
                    </a:lnTo>
                    <a:lnTo>
                      <a:pt x="564" y="14"/>
                    </a:lnTo>
                    <a:lnTo>
                      <a:pt x="564" y="17"/>
                    </a:lnTo>
                    <a:lnTo>
                      <a:pt x="564" y="19"/>
                    </a:lnTo>
                    <a:lnTo>
                      <a:pt x="566" y="21"/>
                    </a:lnTo>
                    <a:lnTo>
                      <a:pt x="566" y="23"/>
                    </a:lnTo>
                    <a:lnTo>
                      <a:pt x="568" y="29"/>
                    </a:lnTo>
                    <a:lnTo>
                      <a:pt x="570" y="31"/>
                    </a:lnTo>
                    <a:lnTo>
                      <a:pt x="570" y="33"/>
                    </a:lnTo>
                    <a:lnTo>
                      <a:pt x="568" y="39"/>
                    </a:lnTo>
                    <a:lnTo>
                      <a:pt x="568" y="39"/>
                    </a:lnTo>
                    <a:lnTo>
                      <a:pt x="568" y="41"/>
                    </a:lnTo>
                    <a:lnTo>
                      <a:pt x="568" y="43"/>
                    </a:lnTo>
                    <a:lnTo>
                      <a:pt x="568" y="45"/>
                    </a:lnTo>
                    <a:lnTo>
                      <a:pt x="568" y="47"/>
                    </a:lnTo>
                    <a:lnTo>
                      <a:pt x="570" y="47"/>
                    </a:lnTo>
                    <a:lnTo>
                      <a:pt x="572" y="49"/>
                    </a:lnTo>
                    <a:lnTo>
                      <a:pt x="574" y="49"/>
                    </a:lnTo>
                    <a:lnTo>
                      <a:pt x="578" y="47"/>
                    </a:lnTo>
                    <a:lnTo>
                      <a:pt x="578" y="47"/>
                    </a:lnTo>
                    <a:lnTo>
                      <a:pt x="580" y="49"/>
                    </a:lnTo>
                    <a:lnTo>
                      <a:pt x="582" y="51"/>
                    </a:lnTo>
                    <a:lnTo>
                      <a:pt x="584" y="51"/>
                    </a:lnTo>
                    <a:lnTo>
                      <a:pt x="586" y="47"/>
                    </a:lnTo>
                    <a:lnTo>
                      <a:pt x="586" y="47"/>
                    </a:lnTo>
                    <a:lnTo>
                      <a:pt x="590" y="45"/>
                    </a:lnTo>
                    <a:lnTo>
                      <a:pt x="590" y="43"/>
                    </a:lnTo>
                    <a:lnTo>
                      <a:pt x="590" y="39"/>
                    </a:lnTo>
                    <a:lnTo>
                      <a:pt x="588" y="35"/>
                    </a:lnTo>
                    <a:lnTo>
                      <a:pt x="590" y="35"/>
                    </a:lnTo>
                    <a:lnTo>
                      <a:pt x="593" y="37"/>
                    </a:lnTo>
                    <a:lnTo>
                      <a:pt x="595" y="39"/>
                    </a:lnTo>
                    <a:lnTo>
                      <a:pt x="597" y="43"/>
                    </a:lnTo>
                    <a:lnTo>
                      <a:pt x="595" y="45"/>
                    </a:lnTo>
                    <a:lnTo>
                      <a:pt x="595" y="47"/>
                    </a:lnTo>
                    <a:lnTo>
                      <a:pt x="597" y="51"/>
                    </a:lnTo>
                    <a:lnTo>
                      <a:pt x="599" y="53"/>
                    </a:lnTo>
                    <a:lnTo>
                      <a:pt x="601" y="53"/>
                    </a:lnTo>
                    <a:lnTo>
                      <a:pt x="603" y="53"/>
                    </a:lnTo>
                    <a:lnTo>
                      <a:pt x="605" y="51"/>
                    </a:lnTo>
                    <a:lnTo>
                      <a:pt x="605" y="51"/>
                    </a:lnTo>
                    <a:lnTo>
                      <a:pt x="607" y="51"/>
                    </a:lnTo>
                    <a:lnTo>
                      <a:pt x="609" y="55"/>
                    </a:lnTo>
                    <a:lnTo>
                      <a:pt x="611" y="55"/>
                    </a:lnTo>
                    <a:lnTo>
                      <a:pt x="613" y="55"/>
                    </a:lnTo>
                    <a:lnTo>
                      <a:pt x="615" y="53"/>
                    </a:lnTo>
                    <a:lnTo>
                      <a:pt x="617" y="53"/>
                    </a:lnTo>
                    <a:lnTo>
                      <a:pt x="619" y="57"/>
                    </a:lnTo>
                    <a:lnTo>
                      <a:pt x="621" y="58"/>
                    </a:lnTo>
                    <a:lnTo>
                      <a:pt x="621" y="64"/>
                    </a:lnTo>
                    <a:lnTo>
                      <a:pt x="621" y="68"/>
                    </a:lnTo>
                    <a:lnTo>
                      <a:pt x="619" y="72"/>
                    </a:lnTo>
                    <a:lnTo>
                      <a:pt x="621" y="74"/>
                    </a:lnTo>
                    <a:lnTo>
                      <a:pt x="621" y="74"/>
                    </a:lnTo>
                    <a:lnTo>
                      <a:pt x="621" y="76"/>
                    </a:lnTo>
                    <a:lnTo>
                      <a:pt x="619" y="74"/>
                    </a:lnTo>
                    <a:lnTo>
                      <a:pt x="619" y="70"/>
                    </a:lnTo>
                    <a:lnTo>
                      <a:pt x="617" y="66"/>
                    </a:lnTo>
                    <a:lnTo>
                      <a:pt x="617" y="64"/>
                    </a:lnTo>
                    <a:lnTo>
                      <a:pt x="615" y="62"/>
                    </a:lnTo>
                    <a:lnTo>
                      <a:pt x="611" y="60"/>
                    </a:lnTo>
                    <a:lnTo>
                      <a:pt x="609" y="57"/>
                    </a:lnTo>
                    <a:lnTo>
                      <a:pt x="607" y="62"/>
                    </a:lnTo>
                    <a:lnTo>
                      <a:pt x="609" y="66"/>
                    </a:lnTo>
                    <a:lnTo>
                      <a:pt x="611" y="68"/>
                    </a:lnTo>
                    <a:lnTo>
                      <a:pt x="613" y="72"/>
                    </a:lnTo>
                    <a:lnTo>
                      <a:pt x="613" y="74"/>
                    </a:lnTo>
                    <a:lnTo>
                      <a:pt x="615" y="78"/>
                    </a:lnTo>
                    <a:lnTo>
                      <a:pt x="617" y="82"/>
                    </a:lnTo>
                    <a:lnTo>
                      <a:pt x="619" y="82"/>
                    </a:lnTo>
                    <a:lnTo>
                      <a:pt x="617" y="86"/>
                    </a:lnTo>
                    <a:lnTo>
                      <a:pt x="617" y="90"/>
                    </a:lnTo>
                    <a:lnTo>
                      <a:pt x="617" y="92"/>
                    </a:lnTo>
                    <a:lnTo>
                      <a:pt x="619" y="96"/>
                    </a:lnTo>
                    <a:lnTo>
                      <a:pt x="615" y="96"/>
                    </a:lnTo>
                    <a:lnTo>
                      <a:pt x="613" y="94"/>
                    </a:lnTo>
                    <a:lnTo>
                      <a:pt x="603" y="68"/>
                    </a:lnTo>
                    <a:lnTo>
                      <a:pt x="601" y="64"/>
                    </a:lnTo>
                    <a:lnTo>
                      <a:pt x="599" y="62"/>
                    </a:lnTo>
                    <a:lnTo>
                      <a:pt x="599" y="60"/>
                    </a:lnTo>
                    <a:lnTo>
                      <a:pt x="597" y="60"/>
                    </a:lnTo>
                    <a:lnTo>
                      <a:pt x="595" y="62"/>
                    </a:lnTo>
                    <a:lnTo>
                      <a:pt x="595" y="64"/>
                    </a:lnTo>
                    <a:lnTo>
                      <a:pt x="593" y="68"/>
                    </a:lnTo>
                    <a:lnTo>
                      <a:pt x="591" y="74"/>
                    </a:lnTo>
                    <a:lnTo>
                      <a:pt x="591" y="78"/>
                    </a:lnTo>
                    <a:lnTo>
                      <a:pt x="591" y="82"/>
                    </a:lnTo>
                    <a:lnTo>
                      <a:pt x="593" y="88"/>
                    </a:lnTo>
                    <a:lnTo>
                      <a:pt x="590" y="86"/>
                    </a:lnTo>
                    <a:lnTo>
                      <a:pt x="588" y="84"/>
                    </a:lnTo>
                    <a:lnTo>
                      <a:pt x="584" y="80"/>
                    </a:lnTo>
                    <a:lnTo>
                      <a:pt x="584" y="76"/>
                    </a:lnTo>
                    <a:lnTo>
                      <a:pt x="582" y="70"/>
                    </a:lnTo>
                    <a:lnTo>
                      <a:pt x="576" y="66"/>
                    </a:lnTo>
                    <a:lnTo>
                      <a:pt x="570" y="62"/>
                    </a:lnTo>
                    <a:lnTo>
                      <a:pt x="568" y="53"/>
                    </a:lnTo>
                    <a:lnTo>
                      <a:pt x="562" y="45"/>
                    </a:lnTo>
                    <a:lnTo>
                      <a:pt x="560" y="39"/>
                    </a:lnTo>
                    <a:lnTo>
                      <a:pt x="566" y="37"/>
                    </a:lnTo>
                    <a:lnTo>
                      <a:pt x="562" y="31"/>
                    </a:lnTo>
                    <a:close/>
                    <a:moveTo>
                      <a:pt x="492" y="443"/>
                    </a:moveTo>
                    <a:lnTo>
                      <a:pt x="492" y="443"/>
                    </a:lnTo>
                    <a:lnTo>
                      <a:pt x="494" y="445"/>
                    </a:lnTo>
                    <a:lnTo>
                      <a:pt x="494" y="447"/>
                    </a:lnTo>
                    <a:lnTo>
                      <a:pt x="494" y="447"/>
                    </a:lnTo>
                    <a:lnTo>
                      <a:pt x="496" y="459"/>
                    </a:lnTo>
                    <a:lnTo>
                      <a:pt x="498" y="470"/>
                    </a:lnTo>
                    <a:lnTo>
                      <a:pt x="500" y="470"/>
                    </a:lnTo>
                    <a:lnTo>
                      <a:pt x="502" y="478"/>
                    </a:lnTo>
                    <a:lnTo>
                      <a:pt x="502" y="480"/>
                    </a:lnTo>
                    <a:lnTo>
                      <a:pt x="504" y="480"/>
                    </a:lnTo>
                    <a:lnTo>
                      <a:pt x="506" y="478"/>
                    </a:lnTo>
                    <a:lnTo>
                      <a:pt x="506" y="476"/>
                    </a:lnTo>
                    <a:lnTo>
                      <a:pt x="504" y="472"/>
                    </a:lnTo>
                    <a:lnTo>
                      <a:pt x="507" y="470"/>
                    </a:lnTo>
                    <a:lnTo>
                      <a:pt x="507" y="470"/>
                    </a:lnTo>
                    <a:lnTo>
                      <a:pt x="509" y="470"/>
                    </a:lnTo>
                    <a:lnTo>
                      <a:pt x="509" y="463"/>
                    </a:lnTo>
                    <a:lnTo>
                      <a:pt x="509" y="459"/>
                    </a:lnTo>
                    <a:lnTo>
                      <a:pt x="509" y="453"/>
                    </a:lnTo>
                    <a:lnTo>
                      <a:pt x="513" y="459"/>
                    </a:lnTo>
                    <a:lnTo>
                      <a:pt x="519" y="470"/>
                    </a:lnTo>
                    <a:lnTo>
                      <a:pt x="523" y="474"/>
                    </a:lnTo>
                    <a:lnTo>
                      <a:pt x="527" y="474"/>
                    </a:lnTo>
                    <a:lnTo>
                      <a:pt x="529" y="474"/>
                    </a:lnTo>
                    <a:lnTo>
                      <a:pt x="531" y="476"/>
                    </a:lnTo>
                    <a:lnTo>
                      <a:pt x="533" y="480"/>
                    </a:lnTo>
                    <a:lnTo>
                      <a:pt x="535" y="486"/>
                    </a:lnTo>
                    <a:lnTo>
                      <a:pt x="537" y="490"/>
                    </a:lnTo>
                    <a:lnTo>
                      <a:pt x="535" y="494"/>
                    </a:lnTo>
                    <a:lnTo>
                      <a:pt x="533" y="496"/>
                    </a:lnTo>
                    <a:lnTo>
                      <a:pt x="533" y="496"/>
                    </a:lnTo>
                    <a:lnTo>
                      <a:pt x="529" y="494"/>
                    </a:lnTo>
                    <a:lnTo>
                      <a:pt x="529" y="492"/>
                    </a:lnTo>
                    <a:lnTo>
                      <a:pt x="527" y="492"/>
                    </a:lnTo>
                    <a:lnTo>
                      <a:pt x="527" y="492"/>
                    </a:lnTo>
                    <a:lnTo>
                      <a:pt x="525" y="494"/>
                    </a:lnTo>
                    <a:lnTo>
                      <a:pt x="523" y="496"/>
                    </a:lnTo>
                    <a:lnTo>
                      <a:pt x="523" y="494"/>
                    </a:lnTo>
                    <a:lnTo>
                      <a:pt x="523" y="492"/>
                    </a:lnTo>
                    <a:lnTo>
                      <a:pt x="521" y="492"/>
                    </a:lnTo>
                    <a:lnTo>
                      <a:pt x="517" y="494"/>
                    </a:lnTo>
                    <a:lnTo>
                      <a:pt x="519" y="500"/>
                    </a:lnTo>
                    <a:lnTo>
                      <a:pt x="523" y="506"/>
                    </a:lnTo>
                    <a:lnTo>
                      <a:pt x="525" y="511"/>
                    </a:lnTo>
                    <a:lnTo>
                      <a:pt x="521" y="509"/>
                    </a:lnTo>
                    <a:lnTo>
                      <a:pt x="519" y="509"/>
                    </a:lnTo>
                    <a:lnTo>
                      <a:pt x="519" y="506"/>
                    </a:lnTo>
                    <a:lnTo>
                      <a:pt x="519" y="504"/>
                    </a:lnTo>
                    <a:lnTo>
                      <a:pt x="517" y="502"/>
                    </a:lnTo>
                    <a:lnTo>
                      <a:pt x="515" y="500"/>
                    </a:lnTo>
                    <a:lnTo>
                      <a:pt x="511" y="506"/>
                    </a:lnTo>
                    <a:lnTo>
                      <a:pt x="509" y="508"/>
                    </a:lnTo>
                    <a:lnTo>
                      <a:pt x="507" y="509"/>
                    </a:lnTo>
                    <a:lnTo>
                      <a:pt x="506" y="502"/>
                    </a:lnTo>
                    <a:lnTo>
                      <a:pt x="506" y="496"/>
                    </a:lnTo>
                    <a:lnTo>
                      <a:pt x="504" y="496"/>
                    </a:lnTo>
                    <a:lnTo>
                      <a:pt x="502" y="496"/>
                    </a:lnTo>
                    <a:lnTo>
                      <a:pt x="500" y="496"/>
                    </a:lnTo>
                    <a:lnTo>
                      <a:pt x="498" y="492"/>
                    </a:lnTo>
                    <a:lnTo>
                      <a:pt x="498" y="488"/>
                    </a:lnTo>
                    <a:lnTo>
                      <a:pt x="496" y="484"/>
                    </a:lnTo>
                    <a:lnTo>
                      <a:pt x="496" y="480"/>
                    </a:lnTo>
                    <a:lnTo>
                      <a:pt x="494" y="470"/>
                    </a:lnTo>
                    <a:lnTo>
                      <a:pt x="492" y="461"/>
                    </a:lnTo>
                    <a:lnTo>
                      <a:pt x="490" y="453"/>
                    </a:lnTo>
                    <a:lnTo>
                      <a:pt x="492" y="44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41" name="Freeform 1259">
                <a:extLst>
                  <a:ext uri="{FF2B5EF4-FFF2-40B4-BE49-F238E27FC236}">
                    <a16:creationId xmlns:a16="http://schemas.microsoft.com/office/drawing/2014/main" id="{6FA38700-C023-41D6-A73C-C6CB241B2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" y="702"/>
                <a:ext cx="29" cy="19"/>
              </a:xfrm>
              <a:custGeom>
                <a:avLst/>
                <a:gdLst>
                  <a:gd name="T0" fmla="*/ 2 w 29"/>
                  <a:gd name="T1" fmla="*/ 2 h 19"/>
                  <a:gd name="T2" fmla="*/ 11 w 29"/>
                  <a:gd name="T3" fmla="*/ 14 h 19"/>
                  <a:gd name="T4" fmla="*/ 21 w 29"/>
                  <a:gd name="T5" fmla="*/ 19 h 19"/>
                  <a:gd name="T6" fmla="*/ 25 w 29"/>
                  <a:gd name="T7" fmla="*/ 10 h 19"/>
                  <a:gd name="T8" fmla="*/ 25 w 29"/>
                  <a:gd name="T9" fmla="*/ 8 h 19"/>
                  <a:gd name="T10" fmla="*/ 23 w 29"/>
                  <a:gd name="T11" fmla="*/ 6 h 19"/>
                  <a:gd name="T12" fmla="*/ 23 w 29"/>
                  <a:gd name="T13" fmla="*/ 4 h 19"/>
                  <a:gd name="T14" fmla="*/ 23 w 29"/>
                  <a:gd name="T15" fmla="*/ 4 h 19"/>
                  <a:gd name="T16" fmla="*/ 25 w 29"/>
                  <a:gd name="T17" fmla="*/ 4 h 19"/>
                  <a:gd name="T18" fmla="*/ 27 w 29"/>
                  <a:gd name="T19" fmla="*/ 4 h 19"/>
                  <a:gd name="T20" fmla="*/ 27 w 29"/>
                  <a:gd name="T21" fmla="*/ 4 h 19"/>
                  <a:gd name="T22" fmla="*/ 29 w 29"/>
                  <a:gd name="T23" fmla="*/ 0 h 19"/>
                  <a:gd name="T24" fmla="*/ 0 w 29"/>
                  <a:gd name="T25" fmla="*/ 0 h 19"/>
                  <a:gd name="T26" fmla="*/ 2 w 29"/>
                  <a:gd name="T27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19">
                    <a:moveTo>
                      <a:pt x="2" y="2"/>
                    </a:moveTo>
                    <a:lnTo>
                      <a:pt x="11" y="14"/>
                    </a:lnTo>
                    <a:lnTo>
                      <a:pt x="21" y="19"/>
                    </a:lnTo>
                    <a:lnTo>
                      <a:pt x="25" y="10"/>
                    </a:lnTo>
                    <a:lnTo>
                      <a:pt x="25" y="8"/>
                    </a:lnTo>
                    <a:lnTo>
                      <a:pt x="23" y="6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5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9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42" name="Freeform 1260">
                <a:extLst>
                  <a:ext uri="{FF2B5EF4-FFF2-40B4-BE49-F238E27FC236}">
                    <a16:creationId xmlns:a16="http://schemas.microsoft.com/office/drawing/2014/main" id="{5C7D63D2-CDDE-4531-83F6-32FC353867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" y="702"/>
                <a:ext cx="41" cy="27"/>
              </a:xfrm>
              <a:custGeom>
                <a:avLst/>
                <a:gdLst>
                  <a:gd name="T0" fmla="*/ 6 w 41"/>
                  <a:gd name="T1" fmla="*/ 4 h 27"/>
                  <a:gd name="T2" fmla="*/ 10 w 41"/>
                  <a:gd name="T3" fmla="*/ 10 h 27"/>
                  <a:gd name="T4" fmla="*/ 8 w 41"/>
                  <a:gd name="T5" fmla="*/ 12 h 27"/>
                  <a:gd name="T6" fmla="*/ 4 w 41"/>
                  <a:gd name="T7" fmla="*/ 14 h 27"/>
                  <a:gd name="T8" fmla="*/ 0 w 41"/>
                  <a:gd name="T9" fmla="*/ 16 h 27"/>
                  <a:gd name="T10" fmla="*/ 2 w 41"/>
                  <a:gd name="T11" fmla="*/ 19 h 27"/>
                  <a:gd name="T12" fmla="*/ 4 w 41"/>
                  <a:gd name="T13" fmla="*/ 23 h 27"/>
                  <a:gd name="T14" fmla="*/ 4 w 41"/>
                  <a:gd name="T15" fmla="*/ 25 h 27"/>
                  <a:gd name="T16" fmla="*/ 6 w 41"/>
                  <a:gd name="T17" fmla="*/ 25 h 27"/>
                  <a:gd name="T18" fmla="*/ 12 w 41"/>
                  <a:gd name="T19" fmla="*/ 25 h 27"/>
                  <a:gd name="T20" fmla="*/ 14 w 41"/>
                  <a:gd name="T21" fmla="*/ 27 h 27"/>
                  <a:gd name="T22" fmla="*/ 16 w 41"/>
                  <a:gd name="T23" fmla="*/ 27 h 27"/>
                  <a:gd name="T24" fmla="*/ 18 w 41"/>
                  <a:gd name="T25" fmla="*/ 23 h 27"/>
                  <a:gd name="T26" fmla="*/ 21 w 41"/>
                  <a:gd name="T27" fmla="*/ 16 h 27"/>
                  <a:gd name="T28" fmla="*/ 25 w 41"/>
                  <a:gd name="T29" fmla="*/ 14 h 27"/>
                  <a:gd name="T30" fmla="*/ 27 w 41"/>
                  <a:gd name="T31" fmla="*/ 17 h 27"/>
                  <a:gd name="T32" fmla="*/ 29 w 41"/>
                  <a:gd name="T33" fmla="*/ 21 h 27"/>
                  <a:gd name="T34" fmla="*/ 33 w 41"/>
                  <a:gd name="T35" fmla="*/ 17 h 27"/>
                  <a:gd name="T36" fmla="*/ 33 w 41"/>
                  <a:gd name="T37" fmla="*/ 16 h 27"/>
                  <a:gd name="T38" fmla="*/ 33 w 41"/>
                  <a:gd name="T39" fmla="*/ 12 h 27"/>
                  <a:gd name="T40" fmla="*/ 33 w 41"/>
                  <a:gd name="T41" fmla="*/ 12 h 27"/>
                  <a:gd name="T42" fmla="*/ 33 w 41"/>
                  <a:gd name="T43" fmla="*/ 10 h 27"/>
                  <a:gd name="T44" fmla="*/ 37 w 41"/>
                  <a:gd name="T45" fmla="*/ 6 h 27"/>
                  <a:gd name="T46" fmla="*/ 39 w 41"/>
                  <a:gd name="T47" fmla="*/ 4 h 27"/>
                  <a:gd name="T48" fmla="*/ 41 w 41"/>
                  <a:gd name="T49" fmla="*/ 0 h 27"/>
                  <a:gd name="T50" fmla="*/ 4 w 41"/>
                  <a:gd name="T51" fmla="*/ 0 h 27"/>
                  <a:gd name="T52" fmla="*/ 6 w 41"/>
                  <a:gd name="T53" fmla="*/ 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1" h="27">
                    <a:moveTo>
                      <a:pt x="6" y="4"/>
                    </a:moveTo>
                    <a:lnTo>
                      <a:pt x="10" y="10"/>
                    </a:lnTo>
                    <a:lnTo>
                      <a:pt x="8" y="12"/>
                    </a:lnTo>
                    <a:lnTo>
                      <a:pt x="4" y="14"/>
                    </a:lnTo>
                    <a:lnTo>
                      <a:pt x="0" y="16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4" y="25"/>
                    </a:lnTo>
                    <a:lnTo>
                      <a:pt x="6" y="25"/>
                    </a:lnTo>
                    <a:lnTo>
                      <a:pt x="12" y="25"/>
                    </a:lnTo>
                    <a:lnTo>
                      <a:pt x="14" y="27"/>
                    </a:lnTo>
                    <a:lnTo>
                      <a:pt x="16" y="27"/>
                    </a:lnTo>
                    <a:lnTo>
                      <a:pt x="18" y="23"/>
                    </a:lnTo>
                    <a:lnTo>
                      <a:pt x="21" y="16"/>
                    </a:lnTo>
                    <a:lnTo>
                      <a:pt x="25" y="14"/>
                    </a:lnTo>
                    <a:lnTo>
                      <a:pt x="27" y="17"/>
                    </a:lnTo>
                    <a:lnTo>
                      <a:pt x="29" y="21"/>
                    </a:lnTo>
                    <a:lnTo>
                      <a:pt x="33" y="17"/>
                    </a:lnTo>
                    <a:lnTo>
                      <a:pt x="33" y="16"/>
                    </a:lnTo>
                    <a:lnTo>
                      <a:pt x="33" y="12"/>
                    </a:lnTo>
                    <a:lnTo>
                      <a:pt x="33" y="12"/>
                    </a:lnTo>
                    <a:lnTo>
                      <a:pt x="33" y="10"/>
                    </a:lnTo>
                    <a:lnTo>
                      <a:pt x="37" y="6"/>
                    </a:lnTo>
                    <a:lnTo>
                      <a:pt x="39" y="4"/>
                    </a:lnTo>
                    <a:lnTo>
                      <a:pt x="41" y="0"/>
                    </a:lnTo>
                    <a:lnTo>
                      <a:pt x="4" y="0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43" name="Freeform 1261">
                <a:extLst>
                  <a:ext uri="{FF2B5EF4-FFF2-40B4-BE49-F238E27FC236}">
                    <a16:creationId xmlns:a16="http://schemas.microsoft.com/office/drawing/2014/main" id="{6CA4CFC1-A1B2-40C5-AE10-402EA04F3A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" y="702"/>
                <a:ext cx="250" cy="62"/>
              </a:xfrm>
              <a:custGeom>
                <a:avLst/>
                <a:gdLst>
                  <a:gd name="T0" fmla="*/ 19 w 250"/>
                  <a:gd name="T1" fmla="*/ 4 h 62"/>
                  <a:gd name="T2" fmla="*/ 8 w 250"/>
                  <a:gd name="T3" fmla="*/ 14 h 62"/>
                  <a:gd name="T4" fmla="*/ 0 w 250"/>
                  <a:gd name="T5" fmla="*/ 23 h 62"/>
                  <a:gd name="T6" fmla="*/ 14 w 250"/>
                  <a:gd name="T7" fmla="*/ 39 h 62"/>
                  <a:gd name="T8" fmla="*/ 37 w 250"/>
                  <a:gd name="T9" fmla="*/ 43 h 62"/>
                  <a:gd name="T10" fmla="*/ 43 w 250"/>
                  <a:gd name="T11" fmla="*/ 39 h 62"/>
                  <a:gd name="T12" fmla="*/ 33 w 250"/>
                  <a:gd name="T13" fmla="*/ 31 h 62"/>
                  <a:gd name="T14" fmla="*/ 29 w 250"/>
                  <a:gd name="T15" fmla="*/ 23 h 62"/>
                  <a:gd name="T16" fmla="*/ 27 w 250"/>
                  <a:gd name="T17" fmla="*/ 17 h 62"/>
                  <a:gd name="T18" fmla="*/ 33 w 250"/>
                  <a:gd name="T19" fmla="*/ 10 h 62"/>
                  <a:gd name="T20" fmla="*/ 33 w 250"/>
                  <a:gd name="T21" fmla="*/ 23 h 62"/>
                  <a:gd name="T22" fmla="*/ 47 w 250"/>
                  <a:gd name="T23" fmla="*/ 19 h 62"/>
                  <a:gd name="T24" fmla="*/ 53 w 250"/>
                  <a:gd name="T25" fmla="*/ 14 h 62"/>
                  <a:gd name="T26" fmla="*/ 72 w 250"/>
                  <a:gd name="T27" fmla="*/ 16 h 62"/>
                  <a:gd name="T28" fmla="*/ 70 w 250"/>
                  <a:gd name="T29" fmla="*/ 21 h 62"/>
                  <a:gd name="T30" fmla="*/ 45 w 250"/>
                  <a:gd name="T31" fmla="*/ 29 h 62"/>
                  <a:gd name="T32" fmla="*/ 53 w 250"/>
                  <a:gd name="T33" fmla="*/ 35 h 62"/>
                  <a:gd name="T34" fmla="*/ 60 w 250"/>
                  <a:gd name="T35" fmla="*/ 29 h 62"/>
                  <a:gd name="T36" fmla="*/ 64 w 250"/>
                  <a:gd name="T37" fmla="*/ 37 h 62"/>
                  <a:gd name="T38" fmla="*/ 66 w 250"/>
                  <a:gd name="T39" fmla="*/ 39 h 62"/>
                  <a:gd name="T40" fmla="*/ 74 w 250"/>
                  <a:gd name="T41" fmla="*/ 33 h 62"/>
                  <a:gd name="T42" fmla="*/ 72 w 250"/>
                  <a:gd name="T43" fmla="*/ 47 h 62"/>
                  <a:gd name="T44" fmla="*/ 90 w 250"/>
                  <a:gd name="T45" fmla="*/ 35 h 62"/>
                  <a:gd name="T46" fmla="*/ 103 w 250"/>
                  <a:gd name="T47" fmla="*/ 31 h 62"/>
                  <a:gd name="T48" fmla="*/ 98 w 250"/>
                  <a:gd name="T49" fmla="*/ 43 h 62"/>
                  <a:gd name="T50" fmla="*/ 94 w 250"/>
                  <a:gd name="T51" fmla="*/ 39 h 62"/>
                  <a:gd name="T52" fmla="*/ 82 w 250"/>
                  <a:gd name="T53" fmla="*/ 47 h 62"/>
                  <a:gd name="T54" fmla="*/ 78 w 250"/>
                  <a:gd name="T55" fmla="*/ 60 h 62"/>
                  <a:gd name="T56" fmla="*/ 88 w 250"/>
                  <a:gd name="T57" fmla="*/ 58 h 62"/>
                  <a:gd name="T58" fmla="*/ 92 w 250"/>
                  <a:gd name="T59" fmla="*/ 57 h 62"/>
                  <a:gd name="T60" fmla="*/ 92 w 250"/>
                  <a:gd name="T61" fmla="*/ 51 h 62"/>
                  <a:gd name="T62" fmla="*/ 103 w 250"/>
                  <a:gd name="T63" fmla="*/ 45 h 62"/>
                  <a:gd name="T64" fmla="*/ 109 w 250"/>
                  <a:gd name="T65" fmla="*/ 47 h 62"/>
                  <a:gd name="T66" fmla="*/ 123 w 250"/>
                  <a:gd name="T67" fmla="*/ 49 h 62"/>
                  <a:gd name="T68" fmla="*/ 174 w 250"/>
                  <a:gd name="T69" fmla="*/ 53 h 62"/>
                  <a:gd name="T70" fmla="*/ 178 w 250"/>
                  <a:gd name="T71" fmla="*/ 53 h 62"/>
                  <a:gd name="T72" fmla="*/ 184 w 250"/>
                  <a:gd name="T73" fmla="*/ 45 h 62"/>
                  <a:gd name="T74" fmla="*/ 189 w 250"/>
                  <a:gd name="T75" fmla="*/ 47 h 62"/>
                  <a:gd name="T76" fmla="*/ 195 w 250"/>
                  <a:gd name="T77" fmla="*/ 43 h 62"/>
                  <a:gd name="T78" fmla="*/ 232 w 250"/>
                  <a:gd name="T79" fmla="*/ 35 h 62"/>
                  <a:gd name="T80" fmla="*/ 238 w 250"/>
                  <a:gd name="T81" fmla="*/ 21 h 62"/>
                  <a:gd name="T82" fmla="*/ 250 w 250"/>
                  <a:gd name="T83" fmla="*/ 2 h 62"/>
                  <a:gd name="T84" fmla="*/ 19 w 250"/>
                  <a:gd name="T8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0" h="62">
                    <a:moveTo>
                      <a:pt x="21" y="2"/>
                    </a:moveTo>
                    <a:lnTo>
                      <a:pt x="23" y="4"/>
                    </a:lnTo>
                    <a:lnTo>
                      <a:pt x="19" y="4"/>
                    </a:lnTo>
                    <a:lnTo>
                      <a:pt x="12" y="4"/>
                    </a:lnTo>
                    <a:lnTo>
                      <a:pt x="10" y="8"/>
                    </a:lnTo>
                    <a:lnTo>
                      <a:pt x="8" y="14"/>
                    </a:lnTo>
                    <a:lnTo>
                      <a:pt x="6" y="19"/>
                    </a:lnTo>
                    <a:lnTo>
                      <a:pt x="4" y="21"/>
                    </a:lnTo>
                    <a:lnTo>
                      <a:pt x="0" y="23"/>
                    </a:lnTo>
                    <a:lnTo>
                      <a:pt x="2" y="27"/>
                    </a:lnTo>
                    <a:lnTo>
                      <a:pt x="12" y="37"/>
                    </a:lnTo>
                    <a:lnTo>
                      <a:pt x="14" y="39"/>
                    </a:lnTo>
                    <a:lnTo>
                      <a:pt x="31" y="39"/>
                    </a:lnTo>
                    <a:lnTo>
                      <a:pt x="33" y="41"/>
                    </a:lnTo>
                    <a:lnTo>
                      <a:pt x="37" y="43"/>
                    </a:lnTo>
                    <a:lnTo>
                      <a:pt x="39" y="43"/>
                    </a:lnTo>
                    <a:lnTo>
                      <a:pt x="43" y="39"/>
                    </a:lnTo>
                    <a:lnTo>
                      <a:pt x="43" y="39"/>
                    </a:lnTo>
                    <a:lnTo>
                      <a:pt x="41" y="37"/>
                    </a:lnTo>
                    <a:lnTo>
                      <a:pt x="37" y="33"/>
                    </a:lnTo>
                    <a:lnTo>
                      <a:pt x="33" y="31"/>
                    </a:lnTo>
                    <a:lnTo>
                      <a:pt x="31" y="29"/>
                    </a:lnTo>
                    <a:lnTo>
                      <a:pt x="31" y="27"/>
                    </a:lnTo>
                    <a:lnTo>
                      <a:pt x="29" y="23"/>
                    </a:lnTo>
                    <a:lnTo>
                      <a:pt x="29" y="23"/>
                    </a:lnTo>
                    <a:lnTo>
                      <a:pt x="25" y="23"/>
                    </a:lnTo>
                    <a:lnTo>
                      <a:pt x="27" y="17"/>
                    </a:lnTo>
                    <a:lnTo>
                      <a:pt x="31" y="0"/>
                    </a:lnTo>
                    <a:lnTo>
                      <a:pt x="31" y="6"/>
                    </a:lnTo>
                    <a:lnTo>
                      <a:pt x="33" y="10"/>
                    </a:lnTo>
                    <a:lnTo>
                      <a:pt x="33" y="14"/>
                    </a:lnTo>
                    <a:lnTo>
                      <a:pt x="31" y="17"/>
                    </a:lnTo>
                    <a:lnTo>
                      <a:pt x="33" y="23"/>
                    </a:lnTo>
                    <a:lnTo>
                      <a:pt x="37" y="23"/>
                    </a:lnTo>
                    <a:lnTo>
                      <a:pt x="47" y="23"/>
                    </a:lnTo>
                    <a:lnTo>
                      <a:pt x="47" y="19"/>
                    </a:lnTo>
                    <a:lnTo>
                      <a:pt x="41" y="4"/>
                    </a:lnTo>
                    <a:lnTo>
                      <a:pt x="45" y="4"/>
                    </a:lnTo>
                    <a:lnTo>
                      <a:pt x="53" y="14"/>
                    </a:lnTo>
                    <a:lnTo>
                      <a:pt x="57" y="17"/>
                    </a:lnTo>
                    <a:lnTo>
                      <a:pt x="62" y="19"/>
                    </a:lnTo>
                    <a:lnTo>
                      <a:pt x="72" y="16"/>
                    </a:lnTo>
                    <a:lnTo>
                      <a:pt x="76" y="16"/>
                    </a:lnTo>
                    <a:lnTo>
                      <a:pt x="74" y="19"/>
                    </a:lnTo>
                    <a:lnTo>
                      <a:pt x="70" y="21"/>
                    </a:lnTo>
                    <a:lnTo>
                      <a:pt x="57" y="23"/>
                    </a:lnTo>
                    <a:lnTo>
                      <a:pt x="53" y="23"/>
                    </a:lnTo>
                    <a:lnTo>
                      <a:pt x="45" y="29"/>
                    </a:lnTo>
                    <a:lnTo>
                      <a:pt x="47" y="31"/>
                    </a:lnTo>
                    <a:lnTo>
                      <a:pt x="51" y="33"/>
                    </a:lnTo>
                    <a:lnTo>
                      <a:pt x="53" y="35"/>
                    </a:lnTo>
                    <a:lnTo>
                      <a:pt x="57" y="35"/>
                    </a:lnTo>
                    <a:lnTo>
                      <a:pt x="59" y="33"/>
                    </a:lnTo>
                    <a:lnTo>
                      <a:pt x="60" y="29"/>
                    </a:lnTo>
                    <a:lnTo>
                      <a:pt x="62" y="29"/>
                    </a:lnTo>
                    <a:lnTo>
                      <a:pt x="64" y="33"/>
                    </a:lnTo>
                    <a:lnTo>
                      <a:pt x="64" y="37"/>
                    </a:lnTo>
                    <a:lnTo>
                      <a:pt x="62" y="41"/>
                    </a:lnTo>
                    <a:lnTo>
                      <a:pt x="62" y="45"/>
                    </a:lnTo>
                    <a:lnTo>
                      <a:pt x="66" y="39"/>
                    </a:lnTo>
                    <a:lnTo>
                      <a:pt x="74" y="27"/>
                    </a:lnTo>
                    <a:lnTo>
                      <a:pt x="78" y="29"/>
                    </a:lnTo>
                    <a:lnTo>
                      <a:pt x="74" y="33"/>
                    </a:lnTo>
                    <a:lnTo>
                      <a:pt x="70" y="43"/>
                    </a:lnTo>
                    <a:lnTo>
                      <a:pt x="68" y="47"/>
                    </a:lnTo>
                    <a:lnTo>
                      <a:pt x="72" y="47"/>
                    </a:lnTo>
                    <a:lnTo>
                      <a:pt x="84" y="41"/>
                    </a:lnTo>
                    <a:lnTo>
                      <a:pt x="88" y="39"/>
                    </a:lnTo>
                    <a:lnTo>
                      <a:pt x="90" y="35"/>
                    </a:lnTo>
                    <a:lnTo>
                      <a:pt x="100" y="29"/>
                    </a:lnTo>
                    <a:lnTo>
                      <a:pt x="103" y="29"/>
                    </a:lnTo>
                    <a:lnTo>
                      <a:pt x="103" y="31"/>
                    </a:lnTo>
                    <a:lnTo>
                      <a:pt x="102" y="33"/>
                    </a:lnTo>
                    <a:lnTo>
                      <a:pt x="100" y="41"/>
                    </a:lnTo>
                    <a:lnTo>
                      <a:pt x="98" y="43"/>
                    </a:lnTo>
                    <a:lnTo>
                      <a:pt x="96" y="41"/>
                    </a:lnTo>
                    <a:lnTo>
                      <a:pt x="94" y="39"/>
                    </a:lnTo>
                    <a:lnTo>
                      <a:pt x="94" y="39"/>
                    </a:lnTo>
                    <a:lnTo>
                      <a:pt x="92" y="41"/>
                    </a:lnTo>
                    <a:lnTo>
                      <a:pt x="88" y="43"/>
                    </a:lnTo>
                    <a:lnTo>
                      <a:pt x="82" y="47"/>
                    </a:lnTo>
                    <a:lnTo>
                      <a:pt x="78" y="51"/>
                    </a:lnTo>
                    <a:lnTo>
                      <a:pt x="78" y="57"/>
                    </a:lnTo>
                    <a:lnTo>
                      <a:pt x="78" y="60"/>
                    </a:lnTo>
                    <a:lnTo>
                      <a:pt x="80" y="62"/>
                    </a:lnTo>
                    <a:lnTo>
                      <a:pt x="82" y="62"/>
                    </a:lnTo>
                    <a:lnTo>
                      <a:pt x="88" y="58"/>
                    </a:lnTo>
                    <a:lnTo>
                      <a:pt x="90" y="58"/>
                    </a:lnTo>
                    <a:lnTo>
                      <a:pt x="92" y="58"/>
                    </a:lnTo>
                    <a:lnTo>
                      <a:pt x="92" y="57"/>
                    </a:lnTo>
                    <a:lnTo>
                      <a:pt x="92" y="55"/>
                    </a:lnTo>
                    <a:lnTo>
                      <a:pt x="92" y="53"/>
                    </a:lnTo>
                    <a:lnTo>
                      <a:pt x="92" y="51"/>
                    </a:lnTo>
                    <a:lnTo>
                      <a:pt x="92" y="51"/>
                    </a:lnTo>
                    <a:lnTo>
                      <a:pt x="92" y="49"/>
                    </a:lnTo>
                    <a:lnTo>
                      <a:pt x="103" y="45"/>
                    </a:lnTo>
                    <a:lnTo>
                      <a:pt x="105" y="47"/>
                    </a:lnTo>
                    <a:lnTo>
                      <a:pt x="107" y="51"/>
                    </a:lnTo>
                    <a:lnTo>
                      <a:pt x="109" y="47"/>
                    </a:lnTo>
                    <a:lnTo>
                      <a:pt x="121" y="43"/>
                    </a:lnTo>
                    <a:lnTo>
                      <a:pt x="121" y="47"/>
                    </a:lnTo>
                    <a:lnTo>
                      <a:pt x="123" y="49"/>
                    </a:lnTo>
                    <a:lnTo>
                      <a:pt x="144" y="55"/>
                    </a:lnTo>
                    <a:lnTo>
                      <a:pt x="176" y="55"/>
                    </a:lnTo>
                    <a:lnTo>
                      <a:pt x="174" y="53"/>
                    </a:lnTo>
                    <a:lnTo>
                      <a:pt x="174" y="51"/>
                    </a:lnTo>
                    <a:lnTo>
                      <a:pt x="176" y="47"/>
                    </a:lnTo>
                    <a:lnTo>
                      <a:pt x="178" y="53"/>
                    </a:lnTo>
                    <a:lnTo>
                      <a:pt x="182" y="53"/>
                    </a:lnTo>
                    <a:lnTo>
                      <a:pt x="184" y="51"/>
                    </a:lnTo>
                    <a:lnTo>
                      <a:pt x="184" y="45"/>
                    </a:lnTo>
                    <a:lnTo>
                      <a:pt x="184" y="45"/>
                    </a:lnTo>
                    <a:lnTo>
                      <a:pt x="186" y="47"/>
                    </a:lnTo>
                    <a:lnTo>
                      <a:pt x="189" y="47"/>
                    </a:lnTo>
                    <a:lnTo>
                      <a:pt x="187" y="41"/>
                    </a:lnTo>
                    <a:lnTo>
                      <a:pt x="189" y="39"/>
                    </a:lnTo>
                    <a:lnTo>
                      <a:pt x="195" y="43"/>
                    </a:lnTo>
                    <a:lnTo>
                      <a:pt x="197" y="41"/>
                    </a:lnTo>
                    <a:lnTo>
                      <a:pt x="205" y="39"/>
                    </a:lnTo>
                    <a:lnTo>
                      <a:pt x="232" y="35"/>
                    </a:lnTo>
                    <a:lnTo>
                      <a:pt x="238" y="31"/>
                    </a:lnTo>
                    <a:lnTo>
                      <a:pt x="234" y="25"/>
                    </a:lnTo>
                    <a:lnTo>
                      <a:pt x="238" y="21"/>
                    </a:lnTo>
                    <a:lnTo>
                      <a:pt x="246" y="16"/>
                    </a:lnTo>
                    <a:lnTo>
                      <a:pt x="250" y="8"/>
                    </a:lnTo>
                    <a:lnTo>
                      <a:pt x="250" y="2"/>
                    </a:lnTo>
                    <a:lnTo>
                      <a:pt x="250" y="0"/>
                    </a:lnTo>
                    <a:lnTo>
                      <a:pt x="21" y="0"/>
                    </a:lnTo>
                    <a:lnTo>
                      <a:pt x="19" y="0"/>
                    </a:lnTo>
                    <a:lnTo>
                      <a:pt x="21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44" name="Freeform 1262">
                <a:extLst>
                  <a:ext uri="{FF2B5EF4-FFF2-40B4-BE49-F238E27FC236}">
                    <a16:creationId xmlns:a16="http://schemas.microsoft.com/office/drawing/2014/main" id="{E119AC52-BA02-46FE-A7DB-45A0A162DC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8" y="714"/>
                <a:ext cx="13" cy="17"/>
              </a:xfrm>
              <a:custGeom>
                <a:avLst/>
                <a:gdLst>
                  <a:gd name="T0" fmla="*/ 6 w 13"/>
                  <a:gd name="T1" fmla="*/ 17 h 17"/>
                  <a:gd name="T2" fmla="*/ 9 w 13"/>
                  <a:gd name="T3" fmla="*/ 13 h 17"/>
                  <a:gd name="T4" fmla="*/ 13 w 13"/>
                  <a:gd name="T5" fmla="*/ 7 h 17"/>
                  <a:gd name="T6" fmla="*/ 11 w 13"/>
                  <a:gd name="T7" fmla="*/ 0 h 17"/>
                  <a:gd name="T8" fmla="*/ 7 w 13"/>
                  <a:gd name="T9" fmla="*/ 0 h 17"/>
                  <a:gd name="T10" fmla="*/ 2 w 13"/>
                  <a:gd name="T11" fmla="*/ 0 h 17"/>
                  <a:gd name="T12" fmla="*/ 0 w 13"/>
                  <a:gd name="T13" fmla="*/ 5 h 17"/>
                  <a:gd name="T14" fmla="*/ 0 w 13"/>
                  <a:gd name="T15" fmla="*/ 13 h 17"/>
                  <a:gd name="T16" fmla="*/ 6 w 13"/>
                  <a:gd name="T1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7">
                    <a:moveTo>
                      <a:pt x="6" y="17"/>
                    </a:moveTo>
                    <a:lnTo>
                      <a:pt x="9" y="13"/>
                    </a:lnTo>
                    <a:lnTo>
                      <a:pt x="13" y="7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13"/>
                    </a:lnTo>
                    <a:lnTo>
                      <a:pt x="6" y="1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45" name="Freeform 1263">
                <a:extLst>
                  <a:ext uri="{FF2B5EF4-FFF2-40B4-BE49-F238E27FC236}">
                    <a16:creationId xmlns:a16="http://schemas.microsoft.com/office/drawing/2014/main" id="{D9E34444-588B-4114-A1CC-D5125EBA6E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8" y="702"/>
                <a:ext cx="54" cy="88"/>
              </a:xfrm>
              <a:custGeom>
                <a:avLst/>
                <a:gdLst>
                  <a:gd name="T0" fmla="*/ 17 w 54"/>
                  <a:gd name="T1" fmla="*/ 6 h 88"/>
                  <a:gd name="T2" fmla="*/ 29 w 54"/>
                  <a:gd name="T3" fmla="*/ 8 h 88"/>
                  <a:gd name="T4" fmla="*/ 35 w 54"/>
                  <a:gd name="T5" fmla="*/ 10 h 88"/>
                  <a:gd name="T6" fmla="*/ 39 w 54"/>
                  <a:gd name="T7" fmla="*/ 14 h 88"/>
                  <a:gd name="T8" fmla="*/ 33 w 54"/>
                  <a:gd name="T9" fmla="*/ 23 h 88"/>
                  <a:gd name="T10" fmla="*/ 31 w 54"/>
                  <a:gd name="T11" fmla="*/ 27 h 88"/>
                  <a:gd name="T12" fmla="*/ 31 w 54"/>
                  <a:gd name="T13" fmla="*/ 33 h 88"/>
                  <a:gd name="T14" fmla="*/ 31 w 54"/>
                  <a:gd name="T15" fmla="*/ 35 h 88"/>
                  <a:gd name="T16" fmla="*/ 27 w 54"/>
                  <a:gd name="T17" fmla="*/ 37 h 88"/>
                  <a:gd name="T18" fmla="*/ 25 w 54"/>
                  <a:gd name="T19" fmla="*/ 35 h 88"/>
                  <a:gd name="T20" fmla="*/ 23 w 54"/>
                  <a:gd name="T21" fmla="*/ 33 h 88"/>
                  <a:gd name="T22" fmla="*/ 21 w 54"/>
                  <a:gd name="T23" fmla="*/ 33 h 88"/>
                  <a:gd name="T24" fmla="*/ 19 w 54"/>
                  <a:gd name="T25" fmla="*/ 35 h 88"/>
                  <a:gd name="T26" fmla="*/ 17 w 54"/>
                  <a:gd name="T27" fmla="*/ 37 h 88"/>
                  <a:gd name="T28" fmla="*/ 15 w 54"/>
                  <a:gd name="T29" fmla="*/ 45 h 88"/>
                  <a:gd name="T30" fmla="*/ 9 w 54"/>
                  <a:gd name="T31" fmla="*/ 55 h 88"/>
                  <a:gd name="T32" fmla="*/ 7 w 54"/>
                  <a:gd name="T33" fmla="*/ 57 h 88"/>
                  <a:gd name="T34" fmla="*/ 5 w 54"/>
                  <a:gd name="T35" fmla="*/ 62 h 88"/>
                  <a:gd name="T36" fmla="*/ 5 w 54"/>
                  <a:gd name="T37" fmla="*/ 66 h 88"/>
                  <a:gd name="T38" fmla="*/ 3 w 54"/>
                  <a:gd name="T39" fmla="*/ 66 h 88"/>
                  <a:gd name="T40" fmla="*/ 0 w 54"/>
                  <a:gd name="T41" fmla="*/ 66 h 88"/>
                  <a:gd name="T42" fmla="*/ 0 w 54"/>
                  <a:gd name="T43" fmla="*/ 66 h 88"/>
                  <a:gd name="T44" fmla="*/ 0 w 54"/>
                  <a:gd name="T45" fmla="*/ 68 h 88"/>
                  <a:gd name="T46" fmla="*/ 0 w 54"/>
                  <a:gd name="T47" fmla="*/ 70 h 88"/>
                  <a:gd name="T48" fmla="*/ 0 w 54"/>
                  <a:gd name="T49" fmla="*/ 70 h 88"/>
                  <a:gd name="T50" fmla="*/ 1 w 54"/>
                  <a:gd name="T51" fmla="*/ 70 h 88"/>
                  <a:gd name="T52" fmla="*/ 3 w 54"/>
                  <a:gd name="T53" fmla="*/ 74 h 88"/>
                  <a:gd name="T54" fmla="*/ 3 w 54"/>
                  <a:gd name="T55" fmla="*/ 76 h 88"/>
                  <a:gd name="T56" fmla="*/ 3 w 54"/>
                  <a:gd name="T57" fmla="*/ 80 h 88"/>
                  <a:gd name="T58" fmla="*/ 7 w 54"/>
                  <a:gd name="T59" fmla="*/ 88 h 88"/>
                  <a:gd name="T60" fmla="*/ 13 w 54"/>
                  <a:gd name="T61" fmla="*/ 88 h 88"/>
                  <a:gd name="T62" fmla="*/ 37 w 54"/>
                  <a:gd name="T63" fmla="*/ 66 h 88"/>
                  <a:gd name="T64" fmla="*/ 39 w 54"/>
                  <a:gd name="T65" fmla="*/ 62 h 88"/>
                  <a:gd name="T66" fmla="*/ 39 w 54"/>
                  <a:gd name="T67" fmla="*/ 55 h 88"/>
                  <a:gd name="T68" fmla="*/ 39 w 54"/>
                  <a:gd name="T69" fmla="*/ 53 h 88"/>
                  <a:gd name="T70" fmla="*/ 41 w 54"/>
                  <a:gd name="T71" fmla="*/ 49 h 88"/>
                  <a:gd name="T72" fmla="*/ 42 w 54"/>
                  <a:gd name="T73" fmla="*/ 47 h 88"/>
                  <a:gd name="T74" fmla="*/ 44 w 54"/>
                  <a:gd name="T75" fmla="*/ 45 h 88"/>
                  <a:gd name="T76" fmla="*/ 48 w 54"/>
                  <a:gd name="T77" fmla="*/ 31 h 88"/>
                  <a:gd name="T78" fmla="*/ 50 w 54"/>
                  <a:gd name="T79" fmla="*/ 23 h 88"/>
                  <a:gd name="T80" fmla="*/ 50 w 54"/>
                  <a:gd name="T81" fmla="*/ 17 h 88"/>
                  <a:gd name="T82" fmla="*/ 50 w 54"/>
                  <a:gd name="T83" fmla="*/ 6 h 88"/>
                  <a:gd name="T84" fmla="*/ 50 w 54"/>
                  <a:gd name="T85" fmla="*/ 4 h 88"/>
                  <a:gd name="T86" fmla="*/ 52 w 54"/>
                  <a:gd name="T87" fmla="*/ 2 h 88"/>
                  <a:gd name="T88" fmla="*/ 54 w 54"/>
                  <a:gd name="T89" fmla="*/ 0 h 88"/>
                  <a:gd name="T90" fmla="*/ 13 w 54"/>
                  <a:gd name="T91" fmla="*/ 0 h 88"/>
                  <a:gd name="T92" fmla="*/ 13 w 54"/>
                  <a:gd name="T93" fmla="*/ 2 h 88"/>
                  <a:gd name="T94" fmla="*/ 17 w 54"/>
                  <a:gd name="T95" fmla="*/ 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4" h="88">
                    <a:moveTo>
                      <a:pt x="17" y="6"/>
                    </a:moveTo>
                    <a:lnTo>
                      <a:pt x="29" y="8"/>
                    </a:lnTo>
                    <a:lnTo>
                      <a:pt x="35" y="10"/>
                    </a:lnTo>
                    <a:lnTo>
                      <a:pt x="39" y="14"/>
                    </a:lnTo>
                    <a:lnTo>
                      <a:pt x="33" y="23"/>
                    </a:lnTo>
                    <a:lnTo>
                      <a:pt x="31" y="27"/>
                    </a:lnTo>
                    <a:lnTo>
                      <a:pt x="31" y="33"/>
                    </a:lnTo>
                    <a:lnTo>
                      <a:pt x="31" y="35"/>
                    </a:lnTo>
                    <a:lnTo>
                      <a:pt x="27" y="37"/>
                    </a:lnTo>
                    <a:lnTo>
                      <a:pt x="25" y="35"/>
                    </a:lnTo>
                    <a:lnTo>
                      <a:pt x="23" y="33"/>
                    </a:lnTo>
                    <a:lnTo>
                      <a:pt x="21" y="33"/>
                    </a:lnTo>
                    <a:lnTo>
                      <a:pt x="19" y="35"/>
                    </a:lnTo>
                    <a:lnTo>
                      <a:pt x="17" y="37"/>
                    </a:lnTo>
                    <a:lnTo>
                      <a:pt x="15" y="45"/>
                    </a:lnTo>
                    <a:lnTo>
                      <a:pt x="9" y="55"/>
                    </a:lnTo>
                    <a:lnTo>
                      <a:pt x="7" y="57"/>
                    </a:lnTo>
                    <a:lnTo>
                      <a:pt x="5" y="62"/>
                    </a:lnTo>
                    <a:lnTo>
                      <a:pt x="5" y="66"/>
                    </a:lnTo>
                    <a:lnTo>
                      <a:pt x="3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8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1" y="70"/>
                    </a:lnTo>
                    <a:lnTo>
                      <a:pt x="3" y="74"/>
                    </a:lnTo>
                    <a:lnTo>
                      <a:pt x="3" y="76"/>
                    </a:lnTo>
                    <a:lnTo>
                      <a:pt x="3" y="80"/>
                    </a:lnTo>
                    <a:lnTo>
                      <a:pt x="7" y="88"/>
                    </a:lnTo>
                    <a:lnTo>
                      <a:pt x="13" y="88"/>
                    </a:lnTo>
                    <a:lnTo>
                      <a:pt x="37" y="66"/>
                    </a:lnTo>
                    <a:lnTo>
                      <a:pt x="39" y="62"/>
                    </a:lnTo>
                    <a:lnTo>
                      <a:pt x="39" y="55"/>
                    </a:lnTo>
                    <a:lnTo>
                      <a:pt x="39" y="53"/>
                    </a:lnTo>
                    <a:lnTo>
                      <a:pt x="41" y="49"/>
                    </a:lnTo>
                    <a:lnTo>
                      <a:pt x="42" y="47"/>
                    </a:lnTo>
                    <a:lnTo>
                      <a:pt x="44" y="45"/>
                    </a:lnTo>
                    <a:lnTo>
                      <a:pt x="48" y="31"/>
                    </a:lnTo>
                    <a:lnTo>
                      <a:pt x="50" y="23"/>
                    </a:lnTo>
                    <a:lnTo>
                      <a:pt x="50" y="17"/>
                    </a:lnTo>
                    <a:lnTo>
                      <a:pt x="50" y="6"/>
                    </a:lnTo>
                    <a:lnTo>
                      <a:pt x="50" y="4"/>
                    </a:lnTo>
                    <a:lnTo>
                      <a:pt x="52" y="2"/>
                    </a:lnTo>
                    <a:lnTo>
                      <a:pt x="54" y="0"/>
                    </a:lnTo>
                    <a:lnTo>
                      <a:pt x="13" y="0"/>
                    </a:lnTo>
                    <a:lnTo>
                      <a:pt x="13" y="2"/>
                    </a:lnTo>
                    <a:lnTo>
                      <a:pt x="17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46" name="Freeform 1264">
                <a:extLst>
                  <a:ext uri="{FF2B5EF4-FFF2-40B4-BE49-F238E27FC236}">
                    <a16:creationId xmlns:a16="http://schemas.microsoft.com/office/drawing/2014/main" id="{D041773D-277F-419C-8425-EE6652EED1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7" y="817"/>
                <a:ext cx="9" cy="14"/>
              </a:xfrm>
              <a:custGeom>
                <a:avLst/>
                <a:gdLst>
                  <a:gd name="T0" fmla="*/ 5 w 9"/>
                  <a:gd name="T1" fmla="*/ 14 h 14"/>
                  <a:gd name="T2" fmla="*/ 9 w 9"/>
                  <a:gd name="T3" fmla="*/ 12 h 14"/>
                  <a:gd name="T4" fmla="*/ 9 w 9"/>
                  <a:gd name="T5" fmla="*/ 8 h 14"/>
                  <a:gd name="T6" fmla="*/ 9 w 9"/>
                  <a:gd name="T7" fmla="*/ 6 h 14"/>
                  <a:gd name="T8" fmla="*/ 7 w 9"/>
                  <a:gd name="T9" fmla="*/ 4 h 14"/>
                  <a:gd name="T10" fmla="*/ 3 w 9"/>
                  <a:gd name="T11" fmla="*/ 2 h 14"/>
                  <a:gd name="T12" fmla="*/ 2 w 9"/>
                  <a:gd name="T13" fmla="*/ 0 h 14"/>
                  <a:gd name="T14" fmla="*/ 0 w 9"/>
                  <a:gd name="T15" fmla="*/ 2 h 14"/>
                  <a:gd name="T16" fmla="*/ 0 w 9"/>
                  <a:gd name="T17" fmla="*/ 6 h 14"/>
                  <a:gd name="T18" fmla="*/ 0 w 9"/>
                  <a:gd name="T19" fmla="*/ 8 h 14"/>
                  <a:gd name="T20" fmla="*/ 2 w 9"/>
                  <a:gd name="T21" fmla="*/ 10 h 14"/>
                  <a:gd name="T22" fmla="*/ 5 w 9"/>
                  <a:gd name="T2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4">
                    <a:moveTo>
                      <a:pt x="5" y="14"/>
                    </a:moveTo>
                    <a:lnTo>
                      <a:pt x="9" y="12"/>
                    </a:lnTo>
                    <a:lnTo>
                      <a:pt x="9" y="8"/>
                    </a:lnTo>
                    <a:lnTo>
                      <a:pt x="9" y="6"/>
                    </a:lnTo>
                    <a:lnTo>
                      <a:pt x="7" y="4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5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47" name="Freeform 1265">
                <a:extLst>
                  <a:ext uri="{FF2B5EF4-FFF2-40B4-BE49-F238E27FC236}">
                    <a16:creationId xmlns:a16="http://schemas.microsoft.com/office/drawing/2014/main" id="{11E02093-24C3-426F-8795-7136A8D2E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8" y="702"/>
                <a:ext cx="586" cy="213"/>
              </a:xfrm>
              <a:custGeom>
                <a:avLst/>
                <a:gdLst>
                  <a:gd name="T0" fmla="*/ 28 w 586"/>
                  <a:gd name="T1" fmla="*/ 23 h 213"/>
                  <a:gd name="T2" fmla="*/ 6 w 586"/>
                  <a:gd name="T3" fmla="*/ 86 h 213"/>
                  <a:gd name="T4" fmla="*/ 0 w 586"/>
                  <a:gd name="T5" fmla="*/ 101 h 213"/>
                  <a:gd name="T6" fmla="*/ 14 w 586"/>
                  <a:gd name="T7" fmla="*/ 105 h 213"/>
                  <a:gd name="T8" fmla="*/ 24 w 586"/>
                  <a:gd name="T9" fmla="*/ 90 h 213"/>
                  <a:gd name="T10" fmla="*/ 43 w 586"/>
                  <a:gd name="T11" fmla="*/ 76 h 213"/>
                  <a:gd name="T12" fmla="*/ 65 w 586"/>
                  <a:gd name="T13" fmla="*/ 76 h 213"/>
                  <a:gd name="T14" fmla="*/ 73 w 586"/>
                  <a:gd name="T15" fmla="*/ 62 h 213"/>
                  <a:gd name="T16" fmla="*/ 86 w 586"/>
                  <a:gd name="T17" fmla="*/ 68 h 213"/>
                  <a:gd name="T18" fmla="*/ 92 w 586"/>
                  <a:gd name="T19" fmla="*/ 62 h 213"/>
                  <a:gd name="T20" fmla="*/ 108 w 586"/>
                  <a:gd name="T21" fmla="*/ 58 h 213"/>
                  <a:gd name="T22" fmla="*/ 129 w 586"/>
                  <a:gd name="T23" fmla="*/ 41 h 213"/>
                  <a:gd name="T24" fmla="*/ 145 w 586"/>
                  <a:gd name="T25" fmla="*/ 41 h 213"/>
                  <a:gd name="T26" fmla="*/ 151 w 586"/>
                  <a:gd name="T27" fmla="*/ 62 h 213"/>
                  <a:gd name="T28" fmla="*/ 160 w 586"/>
                  <a:gd name="T29" fmla="*/ 62 h 213"/>
                  <a:gd name="T30" fmla="*/ 158 w 586"/>
                  <a:gd name="T31" fmla="*/ 45 h 213"/>
                  <a:gd name="T32" fmla="*/ 166 w 586"/>
                  <a:gd name="T33" fmla="*/ 39 h 213"/>
                  <a:gd name="T34" fmla="*/ 170 w 586"/>
                  <a:gd name="T35" fmla="*/ 47 h 213"/>
                  <a:gd name="T36" fmla="*/ 174 w 586"/>
                  <a:gd name="T37" fmla="*/ 51 h 213"/>
                  <a:gd name="T38" fmla="*/ 184 w 586"/>
                  <a:gd name="T39" fmla="*/ 53 h 213"/>
                  <a:gd name="T40" fmla="*/ 207 w 586"/>
                  <a:gd name="T41" fmla="*/ 72 h 213"/>
                  <a:gd name="T42" fmla="*/ 209 w 586"/>
                  <a:gd name="T43" fmla="*/ 76 h 213"/>
                  <a:gd name="T44" fmla="*/ 215 w 586"/>
                  <a:gd name="T45" fmla="*/ 86 h 213"/>
                  <a:gd name="T46" fmla="*/ 235 w 586"/>
                  <a:gd name="T47" fmla="*/ 86 h 213"/>
                  <a:gd name="T48" fmla="*/ 239 w 586"/>
                  <a:gd name="T49" fmla="*/ 84 h 213"/>
                  <a:gd name="T50" fmla="*/ 246 w 586"/>
                  <a:gd name="T51" fmla="*/ 101 h 213"/>
                  <a:gd name="T52" fmla="*/ 285 w 586"/>
                  <a:gd name="T53" fmla="*/ 109 h 213"/>
                  <a:gd name="T54" fmla="*/ 287 w 586"/>
                  <a:gd name="T55" fmla="*/ 117 h 213"/>
                  <a:gd name="T56" fmla="*/ 289 w 586"/>
                  <a:gd name="T57" fmla="*/ 131 h 213"/>
                  <a:gd name="T58" fmla="*/ 334 w 586"/>
                  <a:gd name="T59" fmla="*/ 185 h 213"/>
                  <a:gd name="T60" fmla="*/ 356 w 586"/>
                  <a:gd name="T61" fmla="*/ 197 h 213"/>
                  <a:gd name="T62" fmla="*/ 371 w 586"/>
                  <a:gd name="T63" fmla="*/ 211 h 213"/>
                  <a:gd name="T64" fmla="*/ 379 w 586"/>
                  <a:gd name="T65" fmla="*/ 211 h 213"/>
                  <a:gd name="T66" fmla="*/ 383 w 586"/>
                  <a:gd name="T67" fmla="*/ 209 h 213"/>
                  <a:gd name="T68" fmla="*/ 391 w 586"/>
                  <a:gd name="T69" fmla="*/ 199 h 213"/>
                  <a:gd name="T70" fmla="*/ 401 w 586"/>
                  <a:gd name="T71" fmla="*/ 195 h 213"/>
                  <a:gd name="T72" fmla="*/ 418 w 586"/>
                  <a:gd name="T73" fmla="*/ 195 h 213"/>
                  <a:gd name="T74" fmla="*/ 426 w 586"/>
                  <a:gd name="T75" fmla="*/ 181 h 213"/>
                  <a:gd name="T76" fmla="*/ 432 w 586"/>
                  <a:gd name="T77" fmla="*/ 180 h 213"/>
                  <a:gd name="T78" fmla="*/ 440 w 586"/>
                  <a:gd name="T79" fmla="*/ 181 h 213"/>
                  <a:gd name="T80" fmla="*/ 448 w 586"/>
                  <a:gd name="T81" fmla="*/ 183 h 213"/>
                  <a:gd name="T82" fmla="*/ 459 w 586"/>
                  <a:gd name="T83" fmla="*/ 195 h 213"/>
                  <a:gd name="T84" fmla="*/ 506 w 586"/>
                  <a:gd name="T85" fmla="*/ 213 h 213"/>
                  <a:gd name="T86" fmla="*/ 508 w 586"/>
                  <a:gd name="T87" fmla="*/ 199 h 213"/>
                  <a:gd name="T88" fmla="*/ 512 w 586"/>
                  <a:gd name="T89" fmla="*/ 187 h 213"/>
                  <a:gd name="T90" fmla="*/ 516 w 586"/>
                  <a:gd name="T91" fmla="*/ 176 h 213"/>
                  <a:gd name="T92" fmla="*/ 516 w 586"/>
                  <a:gd name="T93" fmla="*/ 166 h 213"/>
                  <a:gd name="T94" fmla="*/ 537 w 586"/>
                  <a:gd name="T95" fmla="*/ 150 h 213"/>
                  <a:gd name="T96" fmla="*/ 539 w 586"/>
                  <a:gd name="T97" fmla="*/ 127 h 213"/>
                  <a:gd name="T98" fmla="*/ 545 w 586"/>
                  <a:gd name="T99" fmla="*/ 119 h 213"/>
                  <a:gd name="T100" fmla="*/ 584 w 586"/>
                  <a:gd name="T101" fmla="*/ 98 h 213"/>
                  <a:gd name="T102" fmla="*/ 563 w 586"/>
                  <a:gd name="T103" fmla="*/ 78 h 213"/>
                  <a:gd name="T104" fmla="*/ 559 w 586"/>
                  <a:gd name="T105" fmla="*/ 60 h 213"/>
                  <a:gd name="T106" fmla="*/ 551 w 586"/>
                  <a:gd name="T107" fmla="*/ 58 h 213"/>
                  <a:gd name="T108" fmla="*/ 545 w 586"/>
                  <a:gd name="T109" fmla="*/ 29 h 213"/>
                  <a:gd name="T110" fmla="*/ 297 w 586"/>
                  <a:gd name="T111" fmla="*/ 2 h 213"/>
                  <a:gd name="T112" fmla="*/ 299 w 586"/>
                  <a:gd name="T113" fmla="*/ 25 h 213"/>
                  <a:gd name="T114" fmla="*/ 291 w 586"/>
                  <a:gd name="T115" fmla="*/ 4 h 213"/>
                  <a:gd name="T116" fmla="*/ 28 w 586"/>
                  <a:gd name="T117" fmla="*/ 6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86" h="213">
                    <a:moveTo>
                      <a:pt x="28" y="6"/>
                    </a:moveTo>
                    <a:lnTo>
                      <a:pt x="28" y="8"/>
                    </a:lnTo>
                    <a:lnTo>
                      <a:pt x="30" y="12"/>
                    </a:lnTo>
                    <a:lnTo>
                      <a:pt x="30" y="16"/>
                    </a:lnTo>
                    <a:lnTo>
                      <a:pt x="28" y="23"/>
                    </a:lnTo>
                    <a:lnTo>
                      <a:pt x="28" y="37"/>
                    </a:lnTo>
                    <a:lnTo>
                      <a:pt x="24" y="43"/>
                    </a:lnTo>
                    <a:lnTo>
                      <a:pt x="16" y="53"/>
                    </a:lnTo>
                    <a:lnTo>
                      <a:pt x="14" y="66"/>
                    </a:lnTo>
                    <a:lnTo>
                      <a:pt x="6" y="86"/>
                    </a:lnTo>
                    <a:lnTo>
                      <a:pt x="4" y="88"/>
                    </a:lnTo>
                    <a:lnTo>
                      <a:pt x="4" y="92"/>
                    </a:lnTo>
                    <a:lnTo>
                      <a:pt x="4" y="96"/>
                    </a:lnTo>
                    <a:lnTo>
                      <a:pt x="2" y="99"/>
                    </a:lnTo>
                    <a:lnTo>
                      <a:pt x="0" y="101"/>
                    </a:lnTo>
                    <a:lnTo>
                      <a:pt x="0" y="101"/>
                    </a:lnTo>
                    <a:lnTo>
                      <a:pt x="0" y="101"/>
                    </a:lnTo>
                    <a:lnTo>
                      <a:pt x="8" y="105"/>
                    </a:lnTo>
                    <a:lnTo>
                      <a:pt x="10" y="105"/>
                    </a:lnTo>
                    <a:lnTo>
                      <a:pt x="14" y="105"/>
                    </a:lnTo>
                    <a:lnTo>
                      <a:pt x="18" y="101"/>
                    </a:lnTo>
                    <a:lnTo>
                      <a:pt x="18" y="99"/>
                    </a:lnTo>
                    <a:lnTo>
                      <a:pt x="20" y="96"/>
                    </a:lnTo>
                    <a:lnTo>
                      <a:pt x="22" y="92"/>
                    </a:lnTo>
                    <a:lnTo>
                      <a:pt x="24" y="90"/>
                    </a:lnTo>
                    <a:lnTo>
                      <a:pt x="30" y="86"/>
                    </a:lnTo>
                    <a:lnTo>
                      <a:pt x="31" y="86"/>
                    </a:lnTo>
                    <a:lnTo>
                      <a:pt x="39" y="78"/>
                    </a:lnTo>
                    <a:lnTo>
                      <a:pt x="43" y="76"/>
                    </a:lnTo>
                    <a:lnTo>
                      <a:pt x="43" y="76"/>
                    </a:lnTo>
                    <a:lnTo>
                      <a:pt x="43" y="76"/>
                    </a:lnTo>
                    <a:lnTo>
                      <a:pt x="47" y="78"/>
                    </a:lnTo>
                    <a:lnTo>
                      <a:pt x="55" y="78"/>
                    </a:lnTo>
                    <a:lnTo>
                      <a:pt x="59" y="78"/>
                    </a:lnTo>
                    <a:lnTo>
                      <a:pt x="65" y="76"/>
                    </a:lnTo>
                    <a:lnTo>
                      <a:pt x="67" y="74"/>
                    </a:lnTo>
                    <a:lnTo>
                      <a:pt x="69" y="68"/>
                    </a:lnTo>
                    <a:lnTo>
                      <a:pt x="71" y="66"/>
                    </a:lnTo>
                    <a:lnTo>
                      <a:pt x="71" y="64"/>
                    </a:lnTo>
                    <a:lnTo>
                      <a:pt x="73" y="62"/>
                    </a:lnTo>
                    <a:lnTo>
                      <a:pt x="74" y="62"/>
                    </a:lnTo>
                    <a:lnTo>
                      <a:pt x="78" y="64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6" y="66"/>
                    </a:lnTo>
                    <a:lnTo>
                      <a:pt x="88" y="66"/>
                    </a:lnTo>
                    <a:lnTo>
                      <a:pt x="92" y="62"/>
                    </a:lnTo>
                    <a:lnTo>
                      <a:pt x="92" y="62"/>
                    </a:lnTo>
                    <a:lnTo>
                      <a:pt x="92" y="62"/>
                    </a:lnTo>
                    <a:lnTo>
                      <a:pt x="92" y="62"/>
                    </a:lnTo>
                    <a:lnTo>
                      <a:pt x="96" y="60"/>
                    </a:lnTo>
                    <a:lnTo>
                      <a:pt x="104" y="58"/>
                    </a:lnTo>
                    <a:lnTo>
                      <a:pt x="108" y="58"/>
                    </a:lnTo>
                    <a:lnTo>
                      <a:pt x="114" y="55"/>
                    </a:lnTo>
                    <a:lnTo>
                      <a:pt x="123" y="45"/>
                    </a:lnTo>
                    <a:lnTo>
                      <a:pt x="123" y="43"/>
                    </a:lnTo>
                    <a:lnTo>
                      <a:pt x="125" y="43"/>
                    </a:lnTo>
                    <a:lnTo>
                      <a:pt x="129" y="41"/>
                    </a:lnTo>
                    <a:lnTo>
                      <a:pt x="129" y="41"/>
                    </a:lnTo>
                    <a:lnTo>
                      <a:pt x="129" y="41"/>
                    </a:lnTo>
                    <a:lnTo>
                      <a:pt x="133" y="39"/>
                    </a:lnTo>
                    <a:lnTo>
                      <a:pt x="141" y="39"/>
                    </a:lnTo>
                    <a:lnTo>
                      <a:pt x="145" y="41"/>
                    </a:lnTo>
                    <a:lnTo>
                      <a:pt x="147" y="49"/>
                    </a:lnTo>
                    <a:lnTo>
                      <a:pt x="149" y="51"/>
                    </a:lnTo>
                    <a:lnTo>
                      <a:pt x="149" y="57"/>
                    </a:lnTo>
                    <a:lnTo>
                      <a:pt x="151" y="60"/>
                    </a:lnTo>
                    <a:lnTo>
                      <a:pt x="151" y="62"/>
                    </a:lnTo>
                    <a:lnTo>
                      <a:pt x="153" y="64"/>
                    </a:lnTo>
                    <a:lnTo>
                      <a:pt x="153" y="64"/>
                    </a:lnTo>
                    <a:lnTo>
                      <a:pt x="157" y="64"/>
                    </a:lnTo>
                    <a:lnTo>
                      <a:pt x="160" y="62"/>
                    </a:lnTo>
                    <a:lnTo>
                      <a:pt x="160" y="62"/>
                    </a:lnTo>
                    <a:lnTo>
                      <a:pt x="164" y="58"/>
                    </a:lnTo>
                    <a:lnTo>
                      <a:pt x="164" y="55"/>
                    </a:lnTo>
                    <a:lnTo>
                      <a:pt x="164" y="53"/>
                    </a:lnTo>
                    <a:lnTo>
                      <a:pt x="162" y="53"/>
                    </a:lnTo>
                    <a:lnTo>
                      <a:pt x="158" y="45"/>
                    </a:lnTo>
                    <a:lnTo>
                      <a:pt x="158" y="39"/>
                    </a:lnTo>
                    <a:lnTo>
                      <a:pt x="160" y="37"/>
                    </a:lnTo>
                    <a:lnTo>
                      <a:pt x="160" y="37"/>
                    </a:lnTo>
                    <a:lnTo>
                      <a:pt x="164" y="37"/>
                    </a:lnTo>
                    <a:lnTo>
                      <a:pt x="166" y="39"/>
                    </a:lnTo>
                    <a:lnTo>
                      <a:pt x="166" y="39"/>
                    </a:lnTo>
                    <a:lnTo>
                      <a:pt x="166" y="39"/>
                    </a:lnTo>
                    <a:lnTo>
                      <a:pt x="168" y="41"/>
                    </a:lnTo>
                    <a:lnTo>
                      <a:pt x="168" y="41"/>
                    </a:lnTo>
                    <a:lnTo>
                      <a:pt x="170" y="47"/>
                    </a:lnTo>
                    <a:lnTo>
                      <a:pt x="172" y="49"/>
                    </a:lnTo>
                    <a:lnTo>
                      <a:pt x="172" y="51"/>
                    </a:lnTo>
                    <a:lnTo>
                      <a:pt x="172" y="51"/>
                    </a:lnTo>
                    <a:lnTo>
                      <a:pt x="174" y="51"/>
                    </a:lnTo>
                    <a:lnTo>
                      <a:pt x="174" y="51"/>
                    </a:lnTo>
                    <a:lnTo>
                      <a:pt x="174" y="51"/>
                    </a:lnTo>
                    <a:lnTo>
                      <a:pt x="174" y="49"/>
                    </a:lnTo>
                    <a:lnTo>
                      <a:pt x="176" y="49"/>
                    </a:lnTo>
                    <a:lnTo>
                      <a:pt x="176" y="49"/>
                    </a:lnTo>
                    <a:lnTo>
                      <a:pt x="184" y="53"/>
                    </a:lnTo>
                    <a:lnTo>
                      <a:pt x="194" y="66"/>
                    </a:lnTo>
                    <a:lnTo>
                      <a:pt x="194" y="66"/>
                    </a:lnTo>
                    <a:lnTo>
                      <a:pt x="199" y="70"/>
                    </a:lnTo>
                    <a:lnTo>
                      <a:pt x="205" y="70"/>
                    </a:lnTo>
                    <a:lnTo>
                      <a:pt x="207" y="72"/>
                    </a:lnTo>
                    <a:lnTo>
                      <a:pt x="207" y="72"/>
                    </a:lnTo>
                    <a:lnTo>
                      <a:pt x="209" y="74"/>
                    </a:lnTo>
                    <a:lnTo>
                      <a:pt x="209" y="76"/>
                    </a:lnTo>
                    <a:lnTo>
                      <a:pt x="209" y="76"/>
                    </a:lnTo>
                    <a:lnTo>
                      <a:pt x="209" y="76"/>
                    </a:lnTo>
                    <a:lnTo>
                      <a:pt x="209" y="78"/>
                    </a:lnTo>
                    <a:lnTo>
                      <a:pt x="209" y="78"/>
                    </a:lnTo>
                    <a:lnTo>
                      <a:pt x="211" y="82"/>
                    </a:lnTo>
                    <a:lnTo>
                      <a:pt x="213" y="86"/>
                    </a:lnTo>
                    <a:lnTo>
                      <a:pt x="215" y="86"/>
                    </a:lnTo>
                    <a:lnTo>
                      <a:pt x="217" y="88"/>
                    </a:lnTo>
                    <a:lnTo>
                      <a:pt x="221" y="88"/>
                    </a:lnTo>
                    <a:lnTo>
                      <a:pt x="221" y="88"/>
                    </a:lnTo>
                    <a:lnTo>
                      <a:pt x="225" y="88"/>
                    </a:lnTo>
                    <a:lnTo>
                      <a:pt x="235" y="86"/>
                    </a:lnTo>
                    <a:lnTo>
                      <a:pt x="237" y="84"/>
                    </a:lnTo>
                    <a:lnTo>
                      <a:pt x="239" y="84"/>
                    </a:lnTo>
                    <a:lnTo>
                      <a:pt x="239" y="84"/>
                    </a:lnTo>
                    <a:lnTo>
                      <a:pt x="239" y="84"/>
                    </a:lnTo>
                    <a:lnTo>
                      <a:pt x="239" y="84"/>
                    </a:lnTo>
                    <a:lnTo>
                      <a:pt x="241" y="86"/>
                    </a:lnTo>
                    <a:lnTo>
                      <a:pt x="242" y="90"/>
                    </a:lnTo>
                    <a:lnTo>
                      <a:pt x="242" y="96"/>
                    </a:lnTo>
                    <a:lnTo>
                      <a:pt x="244" y="99"/>
                    </a:lnTo>
                    <a:lnTo>
                      <a:pt x="246" y="101"/>
                    </a:lnTo>
                    <a:lnTo>
                      <a:pt x="246" y="103"/>
                    </a:lnTo>
                    <a:lnTo>
                      <a:pt x="250" y="105"/>
                    </a:lnTo>
                    <a:lnTo>
                      <a:pt x="280" y="107"/>
                    </a:lnTo>
                    <a:lnTo>
                      <a:pt x="285" y="109"/>
                    </a:lnTo>
                    <a:lnTo>
                      <a:pt x="285" y="109"/>
                    </a:lnTo>
                    <a:lnTo>
                      <a:pt x="287" y="109"/>
                    </a:lnTo>
                    <a:lnTo>
                      <a:pt x="287" y="111"/>
                    </a:lnTo>
                    <a:lnTo>
                      <a:pt x="287" y="111"/>
                    </a:lnTo>
                    <a:lnTo>
                      <a:pt x="289" y="115"/>
                    </a:lnTo>
                    <a:lnTo>
                      <a:pt x="287" y="117"/>
                    </a:lnTo>
                    <a:lnTo>
                      <a:pt x="287" y="119"/>
                    </a:lnTo>
                    <a:lnTo>
                      <a:pt x="287" y="121"/>
                    </a:lnTo>
                    <a:lnTo>
                      <a:pt x="287" y="127"/>
                    </a:lnTo>
                    <a:lnTo>
                      <a:pt x="287" y="129"/>
                    </a:lnTo>
                    <a:lnTo>
                      <a:pt x="289" y="131"/>
                    </a:lnTo>
                    <a:lnTo>
                      <a:pt x="307" y="146"/>
                    </a:lnTo>
                    <a:lnTo>
                      <a:pt x="311" y="152"/>
                    </a:lnTo>
                    <a:lnTo>
                      <a:pt x="313" y="154"/>
                    </a:lnTo>
                    <a:lnTo>
                      <a:pt x="328" y="180"/>
                    </a:lnTo>
                    <a:lnTo>
                      <a:pt x="334" y="185"/>
                    </a:lnTo>
                    <a:lnTo>
                      <a:pt x="334" y="185"/>
                    </a:lnTo>
                    <a:lnTo>
                      <a:pt x="340" y="191"/>
                    </a:lnTo>
                    <a:lnTo>
                      <a:pt x="344" y="191"/>
                    </a:lnTo>
                    <a:lnTo>
                      <a:pt x="350" y="195"/>
                    </a:lnTo>
                    <a:lnTo>
                      <a:pt x="356" y="197"/>
                    </a:lnTo>
                    <a:lnTo>
                      <a:pt x="358" y="199"/>
                    </a:lnTo>
                    <a:lnTo>
                      <a:pt x="360" y="201"/>
                    </a:lnTo>
                    <a:lnTo>
                      <a:pt x="366" y="209"/>
                    </a:lnTo>
                    <a:lnTo>
                      <a:pt x="367" y="213"/>
                    </a:lnTo>
                    <a:lnTo>
                      <a:pt x="371" y="211"/>
                    </a:lnTo>
                    <a:lnTo>
                      <a:pt x="371" y="211"/>
                    </a:lnTo>
                    <a:lnTo>
                      <a:pt x="373" y="209"/>
                    </a:lnTo>
                    <a:lnTo>
                      <a:pt x="375" y="209"/>
                    </a:lnTo>
                    <a:lnTo>
                      <a:pt x="377" y="209"/>
                    </a:lnTo>
                    <a:lnTo>
                      <a:pt x="379" y="211"/>
                    </a:lnTo>
                    <a:lnTo>
                      <a:pt x="379" y="211"/>
                    </a:lnTo>
                    <a:lnTo>
                      <a:pt x="381" y="211"/>
                    </a:lnTo>
                    <a:lnTo>
                      <a:pt x="383" y="211"/>
                    </a:lnTo>
                    <a:lnTo>
                      <a:pt x="383" y="211"/>
                    </a:lnTo>
                    <a:lnTo>
                      <a:pt x="383" y="209"/>
                    </a:lnTo>
                    <a:lnTo>
                      <a:pt x="385" y="207"/>
                    </a:lnTo>
                    <a:lnTo>
                      <a:pt x="385" y="205"/>
                    </a:lnTo>
                    <a:lnTo>
                      <a:pt x="391" y="199"/>
                    </a:lnTo>
                    <a:lnTo>
                      <a:pt x="391" y="199"/>
                    </a:lnTo>
                    <a:lnTo>
                      <a:pt x="391" y="199"/>
                    </a:lnTo>
                    <a:lnTo>
                      <a:pt x="391" y="199"/>
                    </a:lnTo>
                    <a:lnTo>
                      <a:pt x="397" y="197"/>
                    </a:lnTo>
                    <a:lnTo>
                      <a:pt x="401" y="195"/>
                    </a:lnTo>
                    <a:lnTo>
                      <a:pt x="401" y="195"/>
                    </a:lnTo>
                    <a:lnTo>
                      <a:pt x="401" y="195"/>
                    </a:lnTo>
                    <a:lnTo>
                      <a:pt x="401" y="195"/>
                    </a:lnTo>
                    <a:lnTo>
                      <a:pt x="403" y="195"/>
                    </a:lnTo>
                    <a:lnTo>
                      <a:pt x="414" y="195"/>
                    </a:lnTo>
                    <a:lnTo>
                      <a:pt x="416" y="195"/>
                    </a:lnTo>
                    <a:lnTo>
                      <a:pt x="418" y="195"/>
                    </a:lnTo>
                    <a:lnTo>
                      <a:pt x="420" y="191"/>
                    </a:lnTo>
                    <a:lnTo>
                      <a:pt x="422" y="187"/>
                    </a:lnTo>
                    <a:lnTo>
                      <a:pt x="424" y="185"/>
                    </a:lnTo>
                    <a:lnTo>
                      <a:pt x="424" y="183"/>
                    </a:lnTo>
                    <a:lnTo>
                      <a:pt x="426" y="181"/>
                    </a:lnTo>
                    <a:lnTo>
                      <a:pt x="428" y="180"/>
                    </a:lnTo>
                    <a:lnTo>
                      <a:pt x="430" y="178"/>
                    </a:lnTo>
                    <a:lnTo>
                      <a:pt x="430" y="178"/>
                    </a:lnTo>
                    <a:lnTo>
                      <a:pt x="432" y="180"/>
                    </a:lnTo>
                    <a:lnTo>
                      <a:pt x="432" y="180"/>
                    </a:lnTo>
                    <a:lnTo>
                      <a:pt x="434" y="181"/>
                    </a:lnTo>
                    <a:lnTo>
                      <a:pt x="438" y="181"/>
                    </a:lnTo>
                    <a:lnTo>
                      <a:pt x="440" y="181"/>
                    </a:lnTo>
                    <a:lnTo>
                      <a:pt x="440" y="181"/>
                    </a:lnTo>
                    <a:lnTo>
                      <a:pt x="440" y="181"/>
                    </a:lnTo>
                    <a:lnTo>
                      <a:pt x="440" y="181"/>
                    </a:lnTo>
                    <a:lnTo>
                      <a:pt x="440" y="181"/>
                    </a:lnTo>
                    <a:lnTo>
                      <a:pt x="444" y="181"/>
                    </a:lnTo>
                    <a:lnTo>
                      <a:pt x="446" y="181"/>
                    </a:lnTo>
                    <a:lnTo>
                      <a:pt x="448" y="183"/>
                    </a:lnTo>
                    <a:lnTo>
                      <a:pt x="452" y="185"/>
                    </a:lnTo>
                    <a:lnTo>
                      <a:pt x="453" y="185"/>
                    </a:lnTo>
                    <a:lnTo>
                      <a:pt x="453" y="185"/>
                    </a:lnTo>
                    <a:lnTo>
                      <a:pt x="453" y="185"/>
                    </a:lnTo>
                    <a:lnTo>
                      <a:pt x="459" y="195"/>
                    </a:lnTo>
                    <a:lnTo>
                      <a:pt x="461" y="197"/>
                    </a:lnTo>
                    <a:lnTo>
                      <a:pt x="461" y="199"/>
                    </a:lnTo>
                    <a:lnTo>
                      <a:pt x="465" y="201"/>
                    </a:lnTo>
                    <a:lnTo>
                      <a:pt x="479" y="203"/>
                    </a:lnTo>
                    <a:lnTo>
                      <a:pt x="506" y="213"/>
                    </a:lnTo>
                    <a:lnTo>
                      <a:pt x="506" y="211"/>
                    </a:lnTo>
                    <a:lnTo>
                      <a:pt x="510" y="209"/>
                    </a:lnTo>
                    <a:lnTo>
                      <a:pt x="510" y="209"/>
                    </a:lnTo>
                    <a:lnTo>
                      <a:pt x="510" y="205"/>
                    </a:lnTo>
                    <a:lnTo>
                      <a:pt x="508" y="199"/>
                    </a:lnTo>
                    <a:lnTo>
                      <a:pt x="506" y="195"/>
                    </a:lnTo>
                    <a:lnTo>
                      <a:pt x="506" y="191"/>
                    </a:lnTo>
                    <a:lnTo>
                      <a:pt x="508" y="187"/>
                    </a:lnTo>
                    <a:lnTo>
                      <a:pt x="510" y="187"/>
                    </a:lnTo>
                    <a:lnTo>
                      <a:pt x="512" y="187"/>
                    </a:lnTo>
                    <a:lnTo>
                      <a:pt x="514" y="185"/>
                    </a:lnTo>
                    <a:lnTo>
                      <a:pt x="516" y="185"/>
                    </a:lnTo>
                    <a:lnTo>
                      <a:pt x="516" y="183"/>
                    </a:lnTo>
                    <a:lnTo>
                      <a:pt x="516" y="178"/>
                    </a:lnTo>
                    <a:lnTo>
                      <a:pt x="516" y="176"/>
                    </a:lnTo>
                    <a:lnTo>
                      <a:pt x="516" y="176"/>
                    </a:lnTo>
                    <a:lnTo>
                      <a:pt x="516" y="172"/>
                    </a:lnTo>
                    <a:lnTo>
                      <a:pt x="514" y="170"/>
                    </a:lnTo>
                    <a:lnTo>
                      <a:pt x="514" y="168"/>
                    </a:lnTo>
                    <a:lnTo>
                      <a:pt x="516" y="166"/>
                    </a:lnTo>
                    <a:lnTo>
                      <a:pt x="516" y="162"/>
                    </a:lnTo>
                    <a:lnTo>
                      <a:pt x="518" y="160"/>
                    </a:lnTo>
                    <a:lnTo>
                      <a:pt x="520" y="158"/>
                    </a:lnTo>
                    <a:lnTo>
                      <a:pt x="534" y="152"/>
                    </a:lnTo>
                    <a:lnTo>
                      <a:pt x="537" y="150"/>
                    </a:lnTo>
                    <a:lnTo>
                      <a:pt x="537" y="146"/>
                    </a:lnTo>
                    <a:lnTo>
                      <a:pt x="536" y="137"/>
                    </a:lnTo>
                    <a:lnTo>
                      <a:pt x="536" y="133"/>
                    </a:lnTo>
                    <a:lnTo>
                      <a:pt x="537" y="129"/>
                    </a:lnTo>
                    <a:lnTo>
                      <a:pt x="539" y="127"/>
                    </a:lnTo>
                    <a:lnTo>
                      <a:pt x="545" y="125"/>
                    </a:lnTo>
                    <a:lnTo>
                      <a:pt x="541" y="121"/>
                    </a:lnTo>
                    <a:lnTo>
                      <a:pt x="539" y="121"/>
                    </a:lnTo>
                    <a:lnTo>
                      <a:pt x="541" y="119"/>
                    </a:lnTo>
                    <a:lnTo>
                      <a:pt x="545" y="119"/>
                    </a:lnTo>
                    <a:lnTo>
                      <a:pt x="569" y="115"/>
                    </a:lnTo>
                    <a:lnTo>
                      <a:pt x="578" y="111"/>
                    </a:lnTo>
                    <a:lnTo>
                      <a:pt x="584" y="109"/>
                    </a:lnTo>
                    <a:lnTo>
                      <a:pt x="586" y="103"/>
                    </a:lnTo>
                    <a:lnTo>
                      <a:pt x="584" y="98"/>
                    </a:lnTo>
                    <a:lnTo>
                      <a:pt x="580" y="96"/>
                    </a:lnTo>
                    <a:lnTo>
                      <a:pt x="565" y="88"/>
                    </a:lnTo>
                    <a:lnTo>
                      <a:pt x="563" y="86"/>
                    </a:lnTo>
                    <a:lnTo>
                      <a:pt x="563" y="82"/>
                    </a:lnTo>
                    <a:lnTo>
                      <a:pt x="563" y="78"/>
                    </a:lnTo>
                    <a:lnTo>
                      <a:pt x="565" y="74"/>
                    </a:lnTo>
                    <a:lnTo>
                      <a:pt x="565" y="70"/>
                    </a:lnTo>
                    <a:lnTo>
                      <a:pt x="563" y="62"/>
                    </a:lnTo>
                    <a:lnTo>
                      <a:pt x="561" y="60"/>
                    </a:lnTo>
                    <a:lnTo>
                      <a:pt x="559" y="60"/>
                    </a:lnTo>
                    <a:lnTo>
                      <a:pt x="559" y="60"/>
                    </a:lnTo>
                    <a:lnTo>
                      <a:pt x="557" y="62"/>
                    </a:lnTo>
                    <a:lnTo>
                      <a:pt x="555" y="72"/>
                    </a:lnTo>
                    <a:lnTo>
                      <a:pt x="553" y="64"/>
                    </a:lnTo>
                    <a:lnTo>
                      <a:pt x="551" y="58"/>
                    </a:lnTo>
                    <a:lnTo>
                      <a:pt x="551" y="51"/>
                    </a:lnTo>
                    <a:lnTo>
                      <a:pt x="551" y="43"/>
                    </a:lnTo>
                    <a:lnTo>
                      <a:pt x="551" y="35"/>
                    </a:lnTo>
                    <a:lnTo>
                      <a:pt x="551" y="33"/>
                    </a:lnTo>
                    <a:lnTo>
                      <a:pt x="545" y="29"/>
                    </a:lnTo>
                    <a:lnTo>
                      <a:pt x="543" y="27"/>
                    </a:lnTo>
                    <a:lnTo>
                      <a:pt x="541" y="17"/>
                    </a:lnTo>
                    <a:lnTo>
                      <a:pt x="532" y="0"/>
                    </a:lnTo>
                    <a:lnTo>
                      <a:pt x="299" y="0"/>
                    </a:lnTo>
                    <a:lnTo>
                      <a:pt x="297" y="2"/>
                    </a:lnTo>
                    <a:lnTo>
                      <a:pt x="297" y="8"/>
                    </a:lnTo>
                    <a:lnTo>
                      <a:pt x="297" y="14"/>
                    </a:lnTo>
                    <a:lnTo>
                      <a:pt x="299" y="17"/>
                    </a:lnTo>
                    <a:lnTo>
                      <a:pt x="299" y="21"/>
                    </a:lnTo>
                    <a:lnTo>
                      <a:pt x="299" y="25"/>
                    </a:lnTo>
                    <a:lnTo>
                      <a:pt x="297" y="27"/>
                    </a:lnTo>
                    <a:lnTo>
                      <a:pt x="295" y="25"/>
                    </a:lnTo>
                    <a:lnTo>
                      <a:pt x="295" y="21"/>
                    </a:lnTo>
                    <a:lnTo>
                      <a:pt x="291" y="14"/>
                    </a:lnTo>
                    <a:lnTo>
                      <a:pt x="291" y="4"/>
                    </a:lnTo>
                    <a:lnTo>
                      <a:pt x="289" y="0"/>
                    </a:lnTo>
                    <a:lnTo>
                      <a:pt x="289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8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48" name="Rectangle 1266">
                <a:extLst>
                  <a:ext uri="{FF2B5EF4-FFF2-40B4-BE49-F238E27FC236}">
                    <a16:creationId xmlns:a16="http://schemas.microsoft.com/office/drawing/2014/main" id="{B2F082F6-87A0-47C9-9C60-F9F156FCF2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78" y="76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49" name="Rectangle 1267">
                <a:extLst>
                  <a:ext uri="{FF2B5EF4-FFF2-40B4-BE49-F238E27FC236}">
                    <a16:creationId xmlns:a16="http://schemas.microsoft.com/office/drawing/2014/main" id="{F55D68F0-EC3A-423A-9FB6-4AF3795AD1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92" y="75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50" name="Freeform 1268">
                <a:extLst>
                  <a:ext uri="{FF2B5EF4-FFF2-40B4-BE49-F238E27FC236}">
                    <a16:creationId xmlns:a16="http://schemas.microsoft.com/office/drawing/2014/main" id="{8F8DBCDC-5B6B-4E45-BE7C-355013AD0B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8" y="739"/>
                <a:ext cx="6" cy="2"/>
              </a:xfrm>
              <a:custGeom>
                <a:avLst/>
                <a:gdLst>
                  <a:gd name="T0" fmla="*/ 4 w 6"/>
                  <a:gd name="T1" fmla="*/ 0 h 2"/>
                  <a:gd name="T2" fmla="*/ 6 w 6"/>
                  <a:gd name="T3" fmla="*/ 2 h 2"/>
                  <a:gd name="T4" fmla="*/ 6 w 6"/>
                  <a:gd name="T5" fmla="*/ 2 h 2"/>
                  <a:gd name="T6" fmla="*/ 4 w 6"/>
                  <a:gd name="T7" fmla="*/ 0 h 2"/>
                  <a:gd name="T8" fmla="*/ 0 w 6"/>
                  <a:gd name="T9" fmla="*/ 0 h 2"/>
                  <a:gd name="T10" fmla="*/ 0 w 6"/>
                  <a:gd name="T11" fmla="*/ 0 h 2"/>
                  <a:gd name="T12" fmla="*/ 0 w 6"/>
                  <a:gd name="T13" fmla="*/ 0 h 2"/>
                  <a:gd name="T14" fmla="*/ 4 w 6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2">
                    <a:moveTo>
                      <a:pt x="4" y="0"/>
                    </a:move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51" name="Freeform 1269">
                <a:extLst>
                  <a:ext uri="{FF2B5EF4-FFF2-40B4-BE49-F238E27FC236}">
                    <a16:creationId xmlns:a16="http://schemas.microsoft.com/office/drawing/2014/main" id="{F8BE4BA9-A8F8-470E-878F-2035CB2F74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0" y="75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52" name="Freeform 1270">
                <a:extLst>
                  <a:ext uri="{FF2B5EF4-FFF2-40B4-BE49-F238E27FC236}">
                    <a16:creationId xmlns:a16="http://schemas.microsoft.com/office/drawing/2014/main" id="{993E20DD-8DD2-4D97-9788-0B52BD4359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7" y="741"/>
                <a:ext cx="20" cy="12"/>
              </a:xfrm>
              <a:custGeom>
                <a:avLst/>
                <a:gdLst>
                  <a:gd name="T0" fmla="*/ 12 w 20"/>
                  <a:gd name="T1" fmla="*/ 0 h 12"/>
                  <a:gd name="T2" fmla="*/ 16 w 20"/>
                  <a:gd name="T3" fmla="*/ 2 h 12"/>
                  <a:gd name="T4" fmla="*/ 18 w 20"/>
                  <a:gd name="T5" fmla="*/ 10 h 12"/>
                  <a:gd name="T6" fmla="*/ 20 w 20"/>
                  <a:gd name="T7" fmla="*/ 12 h 12"/>
                  <a:gd name="T8" fmla="*/ 18 w 20"/>
                  <a:gd name="T9" fmla="*/ 10 h 12"/>
                  <a:gd name="T10" fmla="*/ 16 w 20"/>
                  <a:gd name="T11" fmla="*/ 2 h 12"/>
                  <a:gd name="T12" fmla="*/ 12 w 20"/>
                  <a:gd name="T13" fmla="*/ 0 h 12"/>
                  <a:gd name="T14" fmla="*/ 4 w 20"/>
                  <a:gd name="T15" fmla="*/ 0 h 12"/>
                  <a:gd name="T16" fmla="*/ 0 w 20"/>
                  <a:gd name="T17" fmla="*/ 2 h 12"/>
                  <a:gd name="T18" fmla="*/ 4 w 20"/>
                  <a:gd name="T19" fmla="*/ 0 h 12"/>
                  <a:gd name="T20" fmla="*/ 12 w 20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12">
                    <a:moveTo>
                      <a:pt x="12" y="0"/>
                    </a:moveTo>
                    <a:lnTo>
                      <a:pt x="16" y="2"/>
                    </a:lnTo>
                    <a:lnTo>
                      <a:pt x="18" y="10"/>
                    </a:lnTo>
                    <a:lnTo>
                      <a:pt x="20" y="12"/>
                    </a:lnTo>
                    <a:lnTo>
                      <a:pt x="18" y="10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53" name="Freeform 1271">
                <a:extLst>
                  <a:ext uri="{FF2B5EF4-FFF2-40B4-BE49-F238E27FC236}">
                    <a16:creationId xmlns:a16="http://schemas.microsoft.com/office/drawing/2014/main" id="{DBADD7A2-D79F-4F59-BCC9-7A3F883325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" y="768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0 w 4"/>
                  <a:gd name="T3" fmla="*/ 0 h 2"/>
                  <a:gd name="T4" fmla="*/ 0 w 4"/>
                  <a:gd name="T5" fmla="*/ 0 h 2"/>
                  <a:gd name="T6" fmla="*/ 4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54" name="Freeform 1272">
                <a:extLst>
                  <a:ext uri="{FF2B5EF4-FFF2-40B4-BE49-F238E27FC236}">
                    <a16:creationId xmlns:a16="http://schemas.microsoft.com/office/drawing/2014/main" id="{3B47BE17-2EAB-46E0-819A-AE430996AA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1" y="887"/>
                <a:ext cx="8" cy="12"/>
              </a:xfrm>
              <a:custGeom>
                <a:avLst/>
                <a:gdLst>
                  <a:gd name="T0" fmla="*/ 8 w 8"/>
                  <a:gd name="T1" fmla="*/ 12 h 12"/>
                  <a:gd name="T2" fmla="*/ 6 w 8"/>
                  <a:gd name="T3" fmla="*/ 10 h 12"/>
                  <a:gd name="T4" fmla="*/ 0 w 8"/>
                  <a:gd name="T5" fmla="*/ 0 h 12"/>
                  <a:gd name="T6" fmla="*/ 0 w 8"/>
                  <a:gd name="T7" fmla="*/ 0 h 12"/>
                  <a:gd name="T8" fmla="*/ 6 w 8"/>
                  <a:gd name="T9" fmla="*/ 10 h 12"/>
                  <a:gd name="T10" fmla="*/ 8 w 8"/>
                  <a:gd name="T1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2">
                    <a:moveTo>
                      <a:pt x="8" y="12"/>
                    </a:moveTo>
                    <a:lnTo>
                      <a:pt x="6" y="1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10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55" name="Freeform 1273">
                <a:extLst>
                  <a:ext uri="{FF2B5EF4-FFF2-40B4-BE49-F238E27FC236}">
                    <a16:creationId xmlns:a16="http://schemas.microsoft.com/office/drawing/2014/main" id="{99894494-5FE1-4F13-92D6-DE543EC9FB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" y="764"/>
                <a:ext cx="8" cy="4"/>
              </a:xfrm>
              <a:custGeom>
                <a:avLst/>
                <a:gdLst>
                  <a:gd name="T0" fmla="*/ 8 w 8"/>
                  <a:gd name="T1" fmla="*/ 4 h 4"/>
                  <a:gd name="T2" fmla="*/ 4 w 8"/>
                  <a:gd name="T3" fmla="*/ 2 h 4"/>
                  <a:gd name="T4" fmla="*/ 0 w 8"/>
                  <a:gd name="T5" fmla="*/ 0 h 4"/>
                  <a:gd name="T6" fmla="*/ 4 w 8"/>
                  <a:gd name="T7" fmla="*/ 2 h 4"/>
                  <a:gd name="T8" fmla="*/ 8 w 8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4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56" name="Freeform 1274">
                <a:extLst>
                  <a:ext uri="{FF2B5EF4-FFF2-40B4-BE49-F238E27FC236}">
                    <a16:creationId xmlns:a16="http://schemas.microsoft.com/office/drawing/2014/main" id="{B415E170-9435-474A-89E0-10A919220E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0" y="760"/>
                <a:ext cx="12" cy="4"/>
              </a:xfrm>
              <a:custGeom>
                <a:avLst/>
                <a:gdLst>
                  <a:gd name="T0" fmla="*/ 12 w 12"/>
                  <a:gd name="T1" fmla="*/ 0 h 4"/>
                  <a:gd name="T2" fmla="*/ 4 w 12"/>
                  <a:gd name="T3" fmla="*/ 2 h 4"/>
                  <a:gd name="T4" fmla="*/ 0 w 12"/>
                  <a:gd name="T5" fmla="*/ 4 h 4"/>
                  <a:gd name="T6" fmla="*/ 0 w 12"/>
                  <a:gd name="T7" fmla="*/ 4 h 4"/>
                  <a:gd name="T8" fmla="*/ 4 w 12"/>
                  <a:gd name="T9" fmla="*/ 2 h 4"/>
                  <a:gd name="T10" fmla="*/ 12 w 1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4">
                    <a:moveTo>
                      <a:pt x="12" y="0"/>
                    </a:moveTo>
                    <a:lnTo>
                      <a:pt x="4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57" name="Freeform 1275">
                <a:extLst>
                  <a:ext uri="{FF2B5EF4-FFF2-40B4-BE49-F238E27FC236}">
                    <a16:creationId xmlns:a16="http://schemas.microsoft.com/office/drawing/2014/main" id="{966BD105-7948-4647-A28E-6A9F95219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9" y="762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58" name="Freeform 1276">
                <a:extLst>
                  <a:ext uri="{FF2B5EF4-FFF2-40B4-BE49-F238E27FC236}">
                    <a16:creationId xmlns:a16="http://schemas.microsoft.com/office/drawing/2014/main" id="{F10DA917-34F2-4636-945E-14A6CE163C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4" y="751"/>
                <a:ext cx="18" cy="17"/>
              </a:xfrm>
              <a:custGeom>
                <a:avLst/>
                <a:gdLst>
                  <a:gd name="T0" fmla="*/ 8 w 18"/>
                  <a:gd name="T1" fmla="*/ 4 h 17"/>
                  <a:gd name="T2" fmla="*/ 18 w 18"/>
                  <a:gd name="T3" fmla="*/ 17 h 17"/>
                  <a:gd name="T4" fmla="*/ 18 w 18"/>
                  <a:gd name="T5" fmla="*/ 17 h 17"/>
                  <a:gd name="T6" fmla="*/ 18 w 18"/>
                  <a:gd name="T7" fmla="*/ 17 h 17"/>
                  <a:gd name="T8" fmla="*/ 8 w 18"/>
                  <a:gd name="T9" fmla="*/ 4 h 17"/>
                  <a:gd name="T10" fmla="*/ 0 w 18"/>
                  <a:gd name="T11" fmla="*/ 0 h 17"/>
                  <a:gd name="T12" fmla="*/ 0 w 18"/>
                  <a:gd name="T13" fmla="*/ 0 h 17"/>
                  <a:gd name="T14" fmla="*/ 0 w 18"/>
                  <a:gd name="T15" fmla="*/ 0 h 17"/>
                  <a:gd name="T16" fmla="*/ 8 w 18"/>
                  <a:gd name="T17" fmla="*/ 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7">
                    <a:moveTo>
                      <a:pt x="8" y="4"/>
                    </a:moveTo>
                    <a:lnTo>
                      <a:pt x="18" y="17"/>
                    </a:lnTo>
                    <a:lnTo>
                      <a:pt x="18" y="17"/>
                    </a:lnTo>
                    <a:lnTo>
                      <a:pt x="18" y="17"/>
                    </a:lnTo>
                    <a:lnTo>
                      <a:pt x="8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59" name="Freeform 1277">
                <a:extLst>
                  <a:ext uri="{FF2B5EF4-FFF2-40B4-BE49-F238E27FC236}">
                    <a16:creationId xmlns:a16="http://schemas.microsoft.com/office/drawing/2014/main" id="{1812868F-DE2A-42C0-8E5E-25C31E7F66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" y="743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2 w 6"/>
                  <a:gd name="T3" fmla="*/ 2 h 2"/>
                  <a:gd name="T4" fmla="*/ 0 w 6"/>
                  <a:gd name="T5" fmla="*/ 2 h 2"/>
                  <a:gd name="T6" fmla="*/ 2 w 6"/>
                  <a:gd name="T7" fmla="*/ 2 h 2"/>
                  <a:gd name="T8" fmla="*/ 6 w 6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60" name="Rectangle 1278">
                <a:extLst>
                  <a:ext uri="{FF2B5EF4-FFF2-40B4-BE49-F238E27FC236}">
                    <a16:creationId xmlns:a16="http://schemas.microsoft.com/office/drawing/2014/main" id="{692ADC76-7208-46DF-9D3F-97339BAB12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58" y="88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61" name="Freeform 1279">
                <a:extLst>
                  <a:ext uri="{FF2B5EF4-FFF2-40B4-BE49-F238E27FC236}">
                    <a16:creationId xmlns:a16="http://schemas.microsoft.com/office/drawing/2014/main" id="{9CCE59F4-BA54-43AF-A1E6-26619A60EF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4" y="764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2 w 6"/>
                  <a:gd name="T3" fmla="*/ 4 h 4"/>
                  <a:gd name="T4" fmla="*/ 0 w 6"/>
                  <a:gd name="T5" fmla="*/ 4 h 4"/>
                  <a:gd name="T6" fmla="*/ 2 w 6"/>
                  <a:gd name="T7" fmla="*/ 4 h 4"/>
                  <a:gd name="T8" fmla="*/ 6 w 6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2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62" name="Freeform 1280">
                <a:extLst>
                  <a:ext uri="{FF2B5EF4-FFF2-40B4-BE49-F238E27FC236}">
                    <a16:creationId xmlns:a16="http://schemas.microsoft.com/office/drawing/2014/main" id="{6B601813-2635-4874-BE20-9B2CBCFBE8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" y="913"/>
                <a:ext cx="4" cy="0"/>
              </a:xfrm>
              <a:custGeom>
                <a:avLst/>
                <a:gdLst>
                  <a:gd name="T0" fmla="*/ 2 w 4"/>
                  <a:gd name="T1" fmla="*/ 4 w 4"/>
                  <a:gd name="T2" fmla="*/ 4 w 4"/>
                  <a:gd name="T3" fmla="*/ 4 w 4"/>
                  <a:gd name="T4" fmla="*/ 2 w 4"/>
                  <a:gd name="T5" fmla="*/ 0 w 4"/>
                  <a:gd name="T6" fmla="*/ 0 w 4"/>
                  <a:gd name="T7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63" name="Freeform 1281">
                <a:extLst>
                  <a:ext uri="{FF2B5EF4-FFF2-40B4-BE49-F238E27FC236}">
                    <a16:creationId xmlns:a16="http://schemas.microsoft.com/office/drawing/2014/main" id="{BA3B3CD7-7303-4CDE-B6D6-42137263AB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1" y="897"/>
                <a:ext cx="13" cy="0"/>
              </a:xfrm>
              <a:custGeom>
                <a:avLst/>
                <a:gdLst>
                  <a:gd name="T0" fmla="*/ 13 w 13"/>
                  <a:gd name="T1" fmla="*/ 11 w 13"/>
                  <a:gd name="T2" fmla="*/ 0 w 13"/>
                  <a:gd name="T3" fmla="*/ 11 w 13"/>
                  <a:gd name="T4" fmla="*/ 13 w 1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3">
                    <a:moveTo>
                      <a:pt x="13" y="0"/>
                    </a:moveTo>
                    <a:lnTo>
                      <a:pt x="11" y="0"/>
                    </a:lnTo>
                    <a:lnTo>
                      <a:pt x="0" y="0"/>
                    </a:lnTo>
                    <a:lnTo>
                      <a:pt x="11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64" name="Freeform 1282">
                <a:extLst>
                  <a:ext uri="{FF2B5EF4-FFF2-40B4-BE49-F238E27FC236}">
                    <a16:creationId xmlns:a16="http://schemas.microsoft.com/office/drawing/2014/main" id="{144C4EA0-EEA3-4451-B362-7EBF02BD48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5" y="774"/>
                <a:ext cx="2" cy="4"/>
              </a:xfrm>
              <a:custGeom>
                <a:avLst/>
                <a:gdLst>
                  <a:gd name="T0" fmla="*/ 2 w 2"/>
                  <a:gd name="T1" fmla="*/ 2 h 4"/>
                  <a:gd name="T2" fmla="*/ 2 w 2"/>
                  <a:gd name="T3" fmla="*/ 4 h 4"/>
                  <a:gd name="T4" fmla="*/ 2 w 2"/>
                  <a:gd name="T5" fmla="*/ 2 h 4"/>
                  <a:gd name="T6" fmla="*/ 0 w 2"/>
                  <a:gd name="T7" fmla="*/ 0 h 4"/>
                  <a:gd name="T8" fmla="*/ 0 w 2"/>
                  <a:gd name="T9" fmla="*/ 0 h 4"/>
                  <a:gd name="T10" fmla="*/ 0 w 2"/>
                  <a:gd name="T11" fmla="*/ 0 h 4"/>
                  <a:gd name="T12" fmla="*/ 2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2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65" name="Freeform 1283">
                <a:extLst>
                  <a:ext uri="{FF2B5EF4-FFF2-40B4-BE49-F238E27FC236}">
                    <a16:creationId xmlns:a16="http://schemas.microsoft.com/office/drawing/2014/main" id="{4B6C01DF-0598-4110-898C-209606A1C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6" y="901"/>
                <a:ext cx="9" cy="14"/>
              </a:xfrm>
              <a:custGeom>
                <a:avLst/>
                <a:gdLst>
                  <a:gd name="T0" fmla="*/ 8 w 9"/>
                  <a:gd name="T1" fmla="*/ 10 h 14"/>
                  <a:gd name="T2" fmla="*/ 9 w 9"/>
                  <a:gd name="T3" fmla="*/ 14 h 14"/>
                  <a:gd name="T4" fmla="*/ 9 w 9"/>
                  <a:gd name="T5" fmla="*/ 14 h 14"/>
                  <a:gd name="T6" fmla="*/ 8 w 9"/>
                  <a:gd name="T7" fmla="*/ 10 h 14"/>
                  <a:gd name="T8" fmla="*/ 2 w 9"/>
                  <a:gd name="T9" fmla="*/ 2 h 14"/>
                  <a:gd name="T10" fmla="*/ 0 w 9"/>
                  <a:gd name="T11" fmla="*/ 0 h 14"/>
                  <a:gd name="T12" fmla="*/ 2 w 9"/>
                  <a:gd name="T13" fmla="*/ 2 h 14"/>
                  <a:gd name="T14" fmla="*/ 8 w 9"/>
                  <a:gd name="T15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4">
                    <a:moveTo>
                      <a:pt x="8" y="10"/>
                    </a:moveTo>
                    <a:lnTo>
                      <a:pt x="9" y="14"/>
                    </a:lnTo>
                    <a:lnTo>
                      <a:pt x="9" y="14"/>
                    </a:lnTo>
                    <a:lnTo>
                      <a:pt x="8" y="10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66" name="Freeform 1284">
                <a:extLst>
                  <a:ext uri="{FF2B5EF4-FFF2-40B4-BE49-F238E27FC236}">
                    <a16:creationId xmlns:a16="http://schemas.microsoft.com/office/drawing/2014/main" id="{45C62AA9-9CD0-46AD-A295-BEC19484B2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2" y="887"/>
                <a:ext cx="16" cy="10"/>
              </a:xfrm>
              <a:custGeom>
                <a:avLst/>
                <a:gdLst>
                  <a:gd name="T0" fmla="*/ 6 w 16"/>
                  <a:gd name="T1" fmla="*/ 6 h 10"/>
                  <a:gd name="T2" fmla="*/ 10 w 16"/>
                  <a:gd name="T3" fmla="*/ 6 h 10"/>
                  <a:gd name="T4" fmla="*/ 16 w 16"/>
                  <a:gd name="T5" fmla="*/ 10 h 10"/>
                  <a:gd name="T6" fmla="*/ 10 w 16"/>
                  <a:gd name="T7" fmla="*/ 6 h 10"/>
                  <a:gd name="T8" fmla="*/ 6 w 16"/>
                  <a:gd name="T9" fmla="*/ 6 h 10"/>
                  <a:gd name="T10" fmla="*/ 0 w 16"/>
                  <a:gd name="T11" fmla="*/ 0 h 10"/>
                  <a:gd name="T12" fmla="*/ 0 w 16"/>
                  <a:gd name="T13" fmla="*/ 0 h 10"/>
                  <a:gd name="T14" fmla="*/ 6 w 16"/>
                  <a:gd name="T1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0">
                    <a:moveTo>
                      <a:pt x="6" y="6"/>
                    </a:moveTo>
                    <a:lnTo>
                      <a:pt x="10" y="6"/>
                    </a:lnTo>
                    <a:lnTo>
                      <a:pt x="16" y="10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67" name="Freeform 1285">
                <a:extLst>
                  <a:ext uri="{FF2B5EF4-FFF2-40B4-BE49-F238E27FC236}">
                    <a16:creationId xmlns:a16="http://schemas.microsoft.com/office/drawing/2014/main" id="{F515BED3-8B53-48BE-8DEC-275B6839B2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4" y="883"/>
                <a:ext cx="6" cy="4"/>
              </a:xfrm>
              <a:custGeom>
                <a:avLst/>
                <a:gdLst>
                  <a:gd name="T0" fmla="*/ 6 w 6"/>
                  <a:gd name="T1" fmla="*/ 4 h 4"/>
                  <a:gd name="T2" fmla="*/ 2 w 6"/>
                  <a:gd name="T3" fmla="*/ 2 h 4"/>
                  <a:gd name="T4" fmla="*/ 0 w 6"/>
                  <a:gd name="T5" fmla="*/ 0 h 4"/>
                  <a:gd name="T6" fmla="*/ 2 w 6"/>
                  <a:gd name="T7" fmla="*/ 2 h 4"/>
                  <a:gd name="T8" fmla="*/ 6 w 6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6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68" name="Freeform 1286">
                <a:extLst>
                  <a:ext uri="{FF2B5EF4-FFF2-40B4-BE49-F238E27FC236}">
                    <a16:creationId xmlns:a16="http://schemas.microsoft.com/office/drawing/2014/main" id="{213AE630-C32A-439C-95F6-9C30F050A1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2" y="883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2 h 4"/>
                  <a:gd name="T4" fmla="*/ 0 w 2"/>
                  <a:gd name="T5" fmla="*/ 4 h 4"/>
                  <a:gd name="T6" fmla="*/ 0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69" name="Freeform 1287">
                <a:extLst>
                  <a:ext uri="{FF2B5EF4-FFF2-40B4-BE49-F238E27FC236}">
                    <a16:creationId xmlns:a16="http://schemas.microsoft.com/office/drawing/2014/main" id="{B88F7668-F78C-43E0-8E0F-5D41DBCB42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2" y="883"/>
                <a:ext cx="6" cy="0"/>
              </a:xfrm>
              <a:custGeom>
                <a:avLst/>
                <a:gdLst>
                  <a:gd name="T0" fmla="*/ 4 w 6"/>
                  <a:gd name="T1" fmla="*/ 6 w 6"/>
                  <a:gd name="T2" fmla="*/ 4 w 6"/>
                  <a:gd name="T3" fmla="*/ 0 w 6"/>
                  <a:gd name="T4" fmla="*/ 0 w 6"/>
                  <a:gd name="T5" fmla="*/ 4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4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70" name="Freeform 1288">
                <a:extLst>
                  <a:ext uri="{FF2B5EF4-FFF2-40B4-BE49-F238E27FC236}">
                    <a16:creationId xmlns:a16="http://schemas.microsoft.com/office/drawing/2014/main" id="{6233E094-B4D4-4345-899A-1CA0F85E70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8" y="880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71" name="Freeform 1289">
                <a:extLst>
                  <a:ext uri="{FF2B5EF4-FFF2-40B4-BE49-F238E27FC236}">
                    <a16:creationId xmlns:a16="http://schemas.microsoft.com/office/drawing/2014/main" id="{97CC3C83-3FE4-4BC9-A5FD-DBB0D4B197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9" y="911"/>
                <a:ext cx="8" cy="2"/>
              </a:xfrm>
              <a:custGeom>
                <a:avLst/>
                <a:gdLst>
                  <a:gd name="T0" fmla="*/ 4 w 8"/>
                  <a:gd name="T1" fmla="*/ 0 h 2"/>
                  <a:gd name="T2" fmla="*/ 6 w 8"/>
                  <a:gd name="T3" fmla="*/ 0 h 2"/>
                  <a:gd name="T4" fmla="*/ 8 w 8"/>
                  <a:gd name="T5" fmla="*/ 2 h 2"/>
                  <a:gd name="T6" fmla="*/ 6 w 8"/>
                  <a:gd name="T7" fmla="*/ 0 h 2"/>
                  <a:gd name="T8" fmla="*/ 4 w 8"/>
                  <a:gd name="T9" fmla="*/ 0 h 2"/>
                  <a:gd name="T10" fmla="*/ 2 w 8"/>
                  <a:gd name="T11" fmla="*/ 0 h 2"/>
                  <a:gd name="T12" fmla="*/ 0 w 8"/>
                  <a:gd name="T13" fmla="*/ 2 h 2"/>
                  <a:gd name="T14" fmla="*/ 2 w 8"/>
                  <a:gd name="T15" fmla="*/ 0 h 2"/>
                  <a:gd name="T16" fmla="*/ 4 w 8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2">
                    <a:moveTo>
                      <a:pt x="4" y="0"/>
                    </a:moveTo>
                    <a:lnTo>
                      <a:pt x="6" y="0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72" name="Freeform 1290">
                <a:extLst>
                  <a:ext uri="{FF2B5EF4-FFF2-40B4-BE49-F238E27FC236}">
                    <a16:creationId xmlns:a16="http://schemas.microsoft.com/office/drawing/2014/main" id="{960394D7-22ED-4FF2-91DE-504B209DBB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4" y="911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0 h 2"/>
                  <a:gd name="T4" fmla="*/ 0 w 4"/>
                  <a:gd name="T5" fmla="*/ 2 h 2"/>
                  <a:gd name="T6" fmla="*/ 4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73" name="Freeform 1291">
                <a:extLst>
                  <a:ext uri="{FF2B5EF4-FFF2-40B4-BE49-F238E27FC236}">
                    <a16:creationId xmlns:a16="http://schemas.microsoft.com/office/drawing/2014/main" id="{2378FB90-2279-4D17-A5A9-6AC90B3825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9" y="786"/>
                <a:ext cx="18" cy="4"/>
              </a:xfrm>
              <a:custGeom>
                <a:avLst/>
                <a:gdLst>
                  <a:gd name="T0" fmla="*/ 4 w 18"/>
                  <a:gd name="T1" fmla="*/ 4 h 4"/>
                  <a:gd name="T2" fmla="*/ 14 w 18"/>
                  <a:gd name="T3" fmla="*/ 2 h 4"/>
                  <a:gd name="T4" fmla="*/ 16 w 18"/>
                  <a:gd name="T5" fmla="*/ 0 h 4"/>
                  <a:gd name="T6" fmla="*/ 18 w 18"/>
                  <a:gd name="T7" fmla="*/ 0 h 4"/>
                  <a:gd name="T8" fmla="*/ 16 w 18"/>
                  <a:gd name="T9" fmla="*/ 0 h 4"/>
                  <a:gd name="T10" fmla="*/ 14 w 18"/>
                  <a:gd name="T11" fmla="*/ 2 h 4"/>
                  <a:gd name="T12" fmla="*/ 4 w 18"/>
                  <a:gd name="T13" fmla="*/ 4 h 4"/>
                  <a:gd name="T14" fmla="*/ 0 w 18"/>
                  <a:gd name="T15" fmla="*/ 4 h 4"/>
                  <a:gd name="T16" fmla="*/ 0 w 18"/>
                  <a:gd name="T17" fmla="*/ 4 h 4"/>
                  <a:gd name="T18" fmla="*/ 0 w 18"/>
                  <a:gd name="T19" fmla="*/ 4 h 4"/>
                  <a:gd name="T20" fmla="*/ 4 w 18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" h="4">
                    <a:moveTo>
                      <a:pt x="4" y="4"/>
                    </a:moveTo>
                    <a:lnTo>
                      <a:pt x="14" y="2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2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74" name="Freeform 1292">
                <a:extLst>
                  <a:ext uri="{FF2B5EF4-FFF2-40B4-BE49-F238E27FC236}">
                    <a16:creationId xmlns:a16="http://schemas.microsoft.com/office/drawing/2014/main" id="{45FDCA31-BD5C-43AB-946A-B71DC06E22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7" y="780"/>
                <a:ext cx="6" cy="8"/>
              </a:xfrm>
              <a:custGeom>
                <a:avLst/>
                <a:gdLst>
                  <a:gd name="T0" fmla="*/ 2 w 6"/>
                  <a:gd name="T1" fmla="*/ 4 h 8"/>
                  <a:gd name="T2" fmla="*/ 4 w 6"/>
                  <a:gd name="T3" fmla="*/ 8 h 8"/>
                  <a:gd name="T4" fmla="*/ 6 w 6"/>
                  <a:gd name="T5" fmla="*/ 8 h 8"/>
                  <a:gd name="T6" fmla="*/ 4 w 6"/>
                  <a:gd name="T7" fmla="*/ 8 h 8"/>
                  <a:gd name="T8" fmla="*/ 2 w 6"/>
                  <a:gd name="T9" fmla="*/ 4 h 8"/>
                  <a:gd name="T10" fmla="*/ 0 w 6"/>
                  <a:gd name="T11" fmla="*/ 0 h 8"/>
                  <a:gd name="T12" fmla="*/ 0 w 6"/>
                  <a:gd name="T13" fmla="*/ 0 h 8"/>
                  <a:gd name="T14" fmla="*/ 0 w 6"/>
                  <a:gd name="T15" fmla="*/ 0 h 8"/>
                  <a:gd name="T16" fmla="*/ 2 w 6"/>
                  <a:gd name="T1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8">
                    <a:moveTo>
                      <a:pt x="2" y="4"/>
                    </a:moveTo>
                    <a:lnTo>
                      <a:pt x="4" y="8"/>
                    </a:lnTo>
                    <a:lnTo>
                      <a:pt x="6" y="8"/>
                    </a:lnTo>
                    <a:lnTo>
                      <a:pt x="4" y="8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75" name="Freeform 1293">
                <a:extLst>
                  <a:ext uri="{FF2B5EF4-FFF2-40B4-BE49-F238E27FC236}">
                    <a16:creationId xmlns:a16="http://schemas.microsoft.com/office/drawing/2014/main" id="{4E943303-17E2-4D34-9C01-50BA4DDC84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7" y="766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76" name="Freeform 1294">
                <a:extLst>
                  <a:ext uri="{FF2B5EF4-FFF2-40B4-BE49-F238E27FC236}">
                    <a16:creationId xmlns:a16="http://schemas.microsoft.com/office/drawing/2014/main" id="{5FDBBFD7-CC39-4DB4-9228-D79AF6AD98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" y="901"/>
                <a:ext cx="45" cy="14"/>
              </a:xfrm>
              <a:custGeom>
                <a:avLst/>
                <a:gdLst>
                  <a:gd name="T0" fmla="*/ 4 w 45"/>
                  <a:gd name="T1" fmla="*/ 2 h 14"/>
                  <a:gd name="T2" fmla="*/ 18 w 45"/>
                  <a:gd name="T3" fmla="*/ 4 h 14"/>
                  <a:gd name="T4" fmla="*/ 45 w 45"/>
                  <a:gd name="T5" fmla="*/ 14 h 14"/>
                  <a:gd name="T6" fmla="*/ 45 w 45"/>
                  <a:gd name="T7" fmla="*/ 14 h 14"/>
                  <a:gd name="T8" fmla="*/ 18 w 45"/>
                  <a:gd name="T9" fmla="*/ 4 h 14"/>
                  <a:gd name="T10" fmla="*/ 4 w 45"/>
                  <a:gd name="T11" fmla="*/ 2 h 14"/>
                  <a:gd name="T12" fmla="*/ 0 w 45"/>
                  <a:gd name="T13" fmla="*/ 0 h 14"/>
                  <a:gd name="T14" fmla="*/ 0 w 45"/>
                  <a:gd name="T15" fmla="*/ 0 h 14"/>
                  <a:gd name="T16" fmla="*/ 4 w 45"/>
                  <a:gd name="T17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14">
                    <a:moveTo>
                      <a:pt x="4" y="2"/>
                    </a:moveTo>
                    <a:lnTo>
                      <a:pt x="18" y="4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18" y="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77" name="Freeform 1295">
                <a:extLst>
                  <a:ext uri="{FF2B5EF4-FFF2-40B4-BE49-F238E27FC236}">
                    <a16:creationId xmlns:a16="http://schemas.microsoft.com/office/drawing/2014/main" id="{34CAD8B6-377C-48E5-85CC-D04679EA7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5" y="813"/>
                <a:ext cx="2" cy="18"/>
              </a:xfrm>
              <a:custGeom>
                <a:avLst/>
                <a:gdLst>
                  <a:gd name="T0" fmla="*/ 0 w 2"/>
                  <a:gd name="T1" fmla="*/ 6 h 18"/>
                  <a:gd name="T2" fmla="*/ 0 w 2"/>
                  <a:gd name="T3" fmla="*/ 8 h 18"/>
                  <a:gd name="T4" fmla="*/ 0 w 2"/>
                  <a:gd name="T5" fmla="*/ 10 h 18"/>
                  <a:gd name="T6" fmla="*/ 0 w 2"/>
                  <a:gd name="T7" fmla="*/ 16 h 18"/>
                  <a:gd name="T8" fmla="*/ 0 w 2"/>
                  <a:gd name="T9" fmla="*/ 18 h 18"/>
                  <a:gd name="T10" fmla="*/ 0 w 2"/>
                  <a:gd name="T11" fmla="*/ 16 h 18"/>
                  <a:gd name="T12" fmla="*/ 0 w 2"/>
                  <a:gd name="T13" fmla="*/ 10 h 18"/>
                  <a:gd name="T14" fmla="*/ 0 w 2"/>
                  <a:gd name="T15" fmla="*/ 8 h 18"/>
                  <a:gd name="T16" fmla="*/ 0 w 2"/>
                  <a:gd name="T17" fmla="*/ 6 h 18"/>
                  <a:gd name="T18" fmla="*/ 2 w 2"/>
                  <a:gd name="T19" fmla="*/ 4 h 18"/>
                  <a:gd name="T20" fmla="*/ 0 w 2"/>
                  <a:gd name="T21" fmla="*/ 0 h 18"/>
                  <a:gd name="T22" fmla="*/ 2 w 2"/>
                  <a:gd name="T23" fmla="*/ 4 h 18"/>
                  <a:gd name="T24" fmla="*/ 0 w 2"/>
                  <a:gd name="T25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18">
                    <a:moveTo>
                      <a:pt x="0" y="6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78" name="Freeform 1296">
                <a:extLst>
                  <a:ext uri="{FF2B5EF4-FFF2-40B4-BE49-F238E27FC236}">
                    <a16:creationId xmlns:a16="http://schemas.microsoft.com/office/drawing/2014/main" id="{45C9B13B-AF5C-409A-B065-4B37BA194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8" y="809"/>
                <a:ext cx="5" cy="2"/>
              </a:xfrm>
              <a:custGeom>
                <a:avLst/>
                <a:gdLst>
                  <a:gd name="T0" fmla="*/ 5 w 5"/>
                  <a:gd name="T1" fmla="*/ 2 h 2"/>
                  <a:gd name="T2" fmla="*/ 5 w 5"/>
                  <a:gd name="T3" fmla="*/ 2 h 2"/>
                  <a:gd name="T4" fmla="*/ 0 w 5"/>
                  <a:gd name="T5" fmla="*/ 0 h 2"/>
                  <a:gd name="T6" fmla="*/ 5 w 5"/>
                  <a:gd name="T7" fmla="*/ 2 h 2"/>
                  <a:gd name="T8" fmla="*/ 5 w 5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">
                    <a:moveTo>
                      <a:pt x="5" y="2"/>
                    </a:moveTo>
                    <a:lnTo>
                      <a:pt x="5" y="2"/>
                    </a:lnTo>
                    <a:lnTo>
                      <a:pt x="0" y="0"/>
                    </a:lnTo>
                    <a:lnTo>
                      <a:pt x="5" y="2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79" name="Freeform 1297">
                <a:extLst>
                  <a:ext uri="{FF2B5EF4-FFF2-40B4-BE49-F238E27FC236}">
                    <a16:creationId xmlns:a16="http://schemas.microsoft.com/office/drawing/2014/main" id="{849C1CE2-AB67-47E5-B96B-B1801F6FE1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2" y="801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2 h 4"/>
                  <a:gd name="T4" fmla="*/ 0 w 2"/>
                  <a:gd name="T5" fmla="*/ 0 h 4"/>
                  <a:gd name="T6" fmla="*/ 2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80" name="Freeform 1298">
                <a:extLst>
                  <a:ext uri="{FF2B5EF4-FFF2-40B4-BE49-F238E27FC236}">
                    <a16:creationId xmlns:a16="http://schemas.microsoft.com/office/drawing/2014/main" id="{6941369C-20D8-473C-BC66-CE4E720635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9" y="854"/>
                <a:ext cx="23" cy="33"/>
              </a:xfrm>
              <a:custGeom>
                <a:avLst/>
                <a:gdLst>
                  <a:gd name="T0" fmla="*/ 17 w 23"/>
                  <a:gd name="T1" fmla="*/ 28 h 33"/>
                  <a:gd name="T2" fmla="*/ 23 w 23"/>
                  <a:gd name="T3" fmla="*/ 33 h 33"/>
                  <a:gd name="T4" fmla="*/ 17 w 23"/>
                  <a:gd name="T5" fmla="*/ 28 h 33"/>
                  <a:gd name="T6" fmla="*/ 2 w 23"/>
                  <a:gd name="T7" fmla="*/ 2 h 33"/>
                  <a:gd name="T8" fmla="*/ 0 w 23"/>
                  <a:gd name="T9" fmla="*/ 0 h 33"/>
                  <a:gd name="T10" fmla="*/ 2 w 23"/>
                  <a:gd name="T11" fmla="*/ 2 h 33"/>
                  <a:gd name="T12" fmla="*/ 17 w 23"/>
                  <a:gd name="T13" fmla="*/ 2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33">
                    <a:moveTo>
                      <a:pt x="17" y="28"/>
                    </a:moveTo>
                    <a:lnTo>
                      <a:pt x="23" y="33"/>
                    </a:lnTo>
                    <a:lnTo>
                      <a:pt x="17" y="28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17" y="2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81" name="Freeform 1299">
                <a:extLst>
                  <a:ext uri="{FF2B5EF4-FFF2-40B4-BE49-F238E27FC236}">
                    <a16:creationId xmlns:a16="http://schemas.microsoft.com/office/drawing/2014/main" id="{1B13C99E-74F8-45FE-9D96-A4C5AA7D9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6" y="743"/>
                <a:ext cx="4" cy="10"/>
              </a:xfrm>
              <a:custGeom>
                <a:avLst/>
                <a:gdLst>
                  <a:gd name="T0" fmla="*/ 2 w 4"/>
                  <a:gd name="T1" fmla="*/ 6 h 10"/>
                  <a:gd name="T2" fmla="*/ 4 w 4"/>
                  <a:gd name="T3" fmla="*/ 8 h 10"/>
                  <a:gd name="T4" fmla="*/ 4 w 4"/>
                  <a:gd name="T5" fmla="*/ 10 h 10"/>
                  <a:gd name="T6" fmla="*/ 4 w 4"/>
                  <a:gd name="T7" fmla="*/ 8 h 10"/>
                  <a:gd name="T8" fmla="*/ 2 w 4"/>
                  <a:gd name="T9" fmla="*/ 6 h 10"/>
                  <a:gd name="T10" fmla="*/ 0 w 4"/>
                  <a:gd name="T11" fmla="*/ 0 h 10"/>
                  <a:gd name="T12" fmla="*/ 0 w 4"/>
                  <a:gd name="T13" fmla="*/ 0 h 10"/>
                  <a:gd name="T14" fmla="*/ 0 w 4"/>
                  <a:gd name="T15" fmla="*/ 0 h 10"/>
                  <a:gd name="T16" fmla="*/ 2 w 4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0">
                    <a:moveTo>
                      <a:pt x="2" y="6"/>
                    </a:moveTo>
                    <a:lnTo>
                      <a:pt x="4" y="8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2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82" name="Freeform 1300">
                <a:extLst>
                  <a:ext uri="{FF2B5EF4-FFF2-40B4-BE49-F238E27FC236}">
                    <a16:creationId xmlns:a16="http://schemas.microsoft.com/office/drawing/2014/main" id="{CCDA00CF-DCBE-4D86-9B5E-4C1E7EE152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7" y="776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6 w 8"/>
                  <a:gd name="T5" fmla="*/ 2 h 4"/>
                  <a:gd name="T6" fmla="*/ 0 w 8"/>
                  <a:gd name="T7" fmla="*/ 4 h 4"/>
                  <a:gd name="T8" fmla="*/ 6 w 8"/>
                  <a:gd name="T9" fmla="*/ 2 h 4"/>
                  <a:gd name="T10" fmla="*/ 8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0" y="4"/>
                    </a:lnTo>
                    <a:lnTo>
                      <a:pt x="6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83" name="Rectangle 1301">
                <a:extLst>
                  <a:ext uri="{FF2B5EF4-FFF2-40B4-BE49-F238E27FC236}">
                    <a16:creationId xmlns:a16="http://schemas.microsoft.com/office/drawing/2014/main" id="{4D93F770-7CD9-46EC-AE15-C621D0E8CF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9" y="90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84" name="Rectangle 1302">
                <a:extLst>
                  <a:ext uri="{FF2B5EF4-FFF2-40B4-BE49-F238E27FC236}">
                    <a16:creationId xmlns:a16="http://schemas.microsoft.com/office/drawing/2014/main" id="{0774E211-3AB4-4B19-B13B-21AECB433B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9" y="89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85" name="Freeform 1303">
                <a:extLst>
                  <a:ext uri="{FF2B5EF4-FFF2-40B4-BE49-F238E27FC236}">
                    <a16:creationId xmlns:a16="http://schemas.microsoft.com/office/drawing/2014/main" id="{F54F3EA4-121F-4AA2-95F1-11676B8AF9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1" y="778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0 w 4"/>
                  <a:gd name="T3" fmla="*/ 0 h 2"/>
                  <a:gd name="T4" fmla="*/ 4 w 4"/>
                  <a:gd name="T5" fmla="*/ 2 h 2"/>
                  <a:gd name="T6" fmla="*/ 0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86" name="Freeform 1304">
                <a:extLst>
                  <a:ext uri="{FF2B5EF4-FFF2-40B4-BE49-F238E27FC236}">
                    <a16:creationId xmlns:a16="http://schemas.microsoft.com/office/drawing/2014/main" id="{4A760669-6006-45A3-B485-C326C2616E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7" y="786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87" name="Freeform 1305">
                <a:extLst>
                  <a:ext uri="{FF2B5EF4-FFF2-40B4-BE49-F238E27FC236}">
                    <a16:creationId xmlns:a16="http://schemas.microsoft.com/office/drawing/2014/main" id="{870F1FD5-2832-4442-8A61-4FEB6DE099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6" y="798"/>
                <a:ext cx="2" cy="5"/>
              </a:xfrm>
              <a:custGeom>
                <a:avLst/>
                <a:gdLst>
                  <a:gd name="T0" fmla="*/ 0 w 2"/>
                  <a:gd name="T1" fmla="*/ 3 h 5"/>
                  <a:gd name="T2" fmla="*/ 2 w 2"/>
                  <a:gd name="T3" fmla="*/ 0 h 5"/>
                  <a:gd name="T4" fmla="*/ 0 w 2"/>
                  <a:gd name="T5" fmla="*/ 3 h 5"/>
                  <a:gd name="T6" fmla="*/ 0 w 2"/>
                  <a:gd name="T7" fmla="*/ 5 h 5"/>
                  <a:gd name="T8" fmla="*/ 0 w 2"/>
                  <a:gd name="T9" fmla="*/ 5 h 5"/>
                  <a:gd name="T10" fmla="*/ 0 w 2"/>
                  <a:gd name="T1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5">
                    <a:moveTo>
                      <a:pt x="0" y="3"/>
                    </a:moveTo>
                    <a:lnTo>
                      <a:pt x="2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88" name="Freeform 1306">
                <a:extLst>
                  <a:ext uri="{FF2B5EF4-FFF2-40B4-BE49-F238E27FC236}">
                    <a16:creationId xmlns:a16="http://schemas.microsoft.com/office/drawing/2014/main" id="{47299A61-5EDA-4234-BD71-2D8DE400DE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8" y="803"/>
                <a:ext cx="10" cy="4"/>
              </a:xfrm>
              <a:custGeom>
                <a:avLst/>
                <a:gdLst>
                  <a:gd name="T0" fmla="*/ 10 w 10"/>
                  <a:gd name="T1" fmla="*/ 4 h 4"/>
                  <a:gd name="T2" fmla="*/ 8 w 10"/>
                  <a:gd name="T3" fmla="*/ 4 h 4"/>
                  <a:gd name="T4" fmla="*/ 0 w 10"/>
                  <a:gd name="T5" fmla="*/ 0 h 4"/>
                  <a:gd name="T6" fmla="*/ 0 w 10"/>
                  <a:gd name="T7" fmla="*/ 0 h 4"/>
                  <a:gd name="T8" fmla="*/ 8 w 10"/>
                  <a:gd name="T9" fmla="*/ 4 h 4"/>
                  <a:gd name="T10" fmla="*/ 10 w 10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4">
                    <a:moveTo>
                      <a:pt x="10" y="4"/>
                    </a:moveTo>
                    <a:lnTo>
                      <a:pt x="8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89" name="Rectangle 1307">
                <a:extLst>
                  <a:ext uri="{FF2B5EF4-FFF2-40B4-BE49-F238E27FC236}">
                    <a16:creationId xmlns:a16="http://schemas.microsoft.com/office/drawing/2014/main" id="{380D26BD-926D-4E02-9706-D814F29776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8" y="78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90" name="Freeform 1308">
                <a:extLst>
                  <a:ext uri="{FF2B5EF4-FFF2-40B4-BE49-F238E27FC236}">
                    <a16:creationId xmlns:a16="http://schemas.microsoft.com/office/drawing/2014/main" id="{CD465886-5DDE-46CC-A087-7463F686DE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5" y="1717"/>
                <a:ext cx="1676" cy="1584"/>
              </a:xfrm>
              <a:custGeom>
                <a:avLst/>
                <a:gdLst>
                  <a:gd name="T0" fmla="*/ 45 w 1676"/>
                  <a:gd name="T1" fmla="*/ 484 h 1584"/>
                  <a:gd name="T2" fmla="*/ 82 w 1676"/>
                  <a:gd name="T3" fmla="*/ 633 h 1584"/>
                  <a:gd name="T4" fmla="*/ 103 w 1676"/>
                  <a:gd name="T5" fmla="*/ 781 h 1584"/>
                  <a:gd name="T6" fmla="*/ 113 w 1676"/>
                  <a:gd name="T7" fmla="*/ 930 h 1584"/>
                  <a:gd name="T8" fmla="*/ 140 w 1676"/>
                  <a:gd name="T9" fmla="*/ 1037 h 1584"/>
                  <a:gd name="T10" fmla="*/ 144 w 1676"/>
                  <a:gd name="T11" fmla="*/ 1070 h 1584"/>
                  <a:gd name="T12" fmla="*/ 168 w 1676"/>
                  <a:gd name="T13" fmla="*/ 1068 h 1584"/>
                  <a:gd name="T14" fmla="*/ 203 w 1676"/>
                  <a:gd name="T15" fmla="*/ 1107 h 1584"/>
                  <a:gd name="T16" fmla="*/ 279 w 1676"/>
                  <a:gd name="T17" fmla="*/ 1131 h 1584"/>
                  <a:gd name="T18" fmla="*/ 312 w 1676"/>
                  <a:gd name="T19" fmla="*/ 1168 h 1584"/>
                  <a:gd name="T20" fmla="*/ 381 w 1676"/>
                  <a:gd name="T21" fmla="*/ 1183 h 1584"/>
                  <a:gd name="T22" fmla="*/ 351 w 1676"/>
                  <a:gd name="T23" fmla="*/ 1207 h 1584"/>
                  <a:gd name="T24" fmla="*/ 373 w 1676"/>
                  <a:gd name="T25" fmla="*/ 1234 h 1584"/>
                  <a:gd name="T26" fmla="*/ 437 w 1676"/>
                  <a:gd name="T27" fmla="*/ 1293 h 1584"/>
                  <a:gd name="T28" fmla="*/ 476 w 1676"/>
                  <a:gd name="T29" fmla="*/ 1265 h 1584"/>
                  <a:gd name="T30" fmla="*/ 459 w 1676"/>
                  <a:gd name="T31" fmla="*/ 1215 h 1584"/>
                  <a:gd name="T32" fmla="*/ 527 w 1676"/>
                  <a:gd name="T33" fmla="*/ 1242 h 1584"/>
                  <a:gd name="T34" fmla="*/ 553 w 1676"/>
                  <a:gd name="T35" fmla="*/ 1263 h 1584"/>
                  <a:gd name="T36" fmla="*/ 603 w 1676"/>
                  <a:gd name="T37" fmla="*/ 1250 h 1584"/>
                  <a:gd name="T38" fmla="*/ 588 w 1676"/>
                  <a:gd name="T39" fmla="*/ 1297 h 1584"/>
                  <a:gd name="T40" fmla="*/ 621 w 1676"/>
                  <a:gd name="T41" fmla="*/ 1332 h 1584"/>
                  <a:gd name="T42" fmla="*/ 664 w 1676"/>
                  <a:gd name="T43" fmla="*/ 1322 h 1584"/>
                  <a:gd name="T44" fmla="*/ 717 w 1676"/>
                  <a:gd name="T45" fmla="*/ 1345 h 1584"/>
                  <a:gd name="T46" fmla="*/ 766 w 1676"/>
                  <a:gd name="T47" fmla="*/ 1406 h 1584"/>
                  <a:gd name="T48" fmla="*/ 810 w 1676"/>
                  <a:gd name="T49" fmla="*/ 1482 h 1584"/>
                  <a:gd name="T50" fmla="*/ 851 w 1676"/>
                  <a:gd name="T51" fmla="*/ 1466 h 1584"/>
                  <a:gd name="T52" fmla="*/ 900 w 1676"/>
                  <a:gd name="T53" fmla="*/ 1437 h 1584"/>
                  <a:gd name="T54" fmla="*/ 947 w 1676"/>
                  <a:gd name="T55" fmla="*/ 1486 h 1584"/>
                  <a:gd name="T56" fmla="*/ 941 w 1676"/>
                  <a:gd name="T57" fmla="*/ 1525 h 1584"/>
                  <a:gd name="T58" fmla="*/ 1006 w 1676"/>
                  <a:gd name="T59" fmla="*/ 1504 h 1584"/>
                  <a:gd name="T60" fmla="*/ 1084 w 1676"/>
                  <a:gd name="T61" fmla="*/ 1480 h 1584"/>
                  <a:gd name="T62" fmla="*/ 1145 w 1676"/>
                  <a:gd name="T63" fmla="*/ 1504 h 1584"/>
                  <a:gd name="T64" fmla="*/ 1193 w 1676"/>
                  <a:gd name="T65" fmla="*/ 1468 h 1584"/>
                  <a:gd name="T66" fmla="*/ 1266 w 1676"/>
                  <a:gd name="T67" fmla="*/ 1478 h 1584"/>
                  <a:gd name="T68" fmla="*/ 1324 w 1676"/>
                  <a:gd name="T69" fmla="*/ 1531 h 1584"/>
                  <a:gd name="T70" fmla="*/ 1408 w 1676"/>
                  <a:gd name="T71" fmla="*/ 1564 h 1584"/>
                  <a:gd name="T72" fmla="*/ 1443 w 1676"/>
                  <a:gd name="T73" fmla="*/ 1545 h 1584"/>
                  <a:gd name="T74" fmla="*/ 1453 w 1676"/>
                  <a:gd name="T75" fmla="*/ 1406 h 1584"/>
                  <a:gd name="T76" fmla="*/ 1650 w 1676"/>
                  <a:gd name="T77" fmla="*/ 1220 h 1584"/>
                  <a:gd name="T78" fmla="*/ 1656 w 1676"/>
                  <a:gd name="T79" fmla="*/ 1105 h 1584"/>
                  <a:gd name="T80" fmla="*/ 1600 w 1676"/>
                  <a:gd name="T81" fmla="*/ 984 h 1584"/>
                  <a:gd name="T82" fmla="*/ 1580 w 1676"/>
                  <a:gd name="T83" fmla="*/ 914 h 1584"/>
                  <a:gd name="T84" fmla="*/ 1578 w 1676"/>
                  <a:gd name="T85" fmla="*/ 881 h 1584"/>
                  <a:gd name="T86" fmla="*/ 1590 w 1676"/>
                  <a:gd name="T87" fmla="*/ 828 h 1584"/>
                  <a:gd name="T88" fmla="*/ 1590 w 1676"/>
                  <a:gd name="T89" fmla="*/ 769 h 1584"/>
                  <a:gd name="T90" fmla="*/ 1561 w 1676"/>
                  <a:gd name="T91" fmla="*/ 746 h 1584"/>
                  <a:gd name="T92" fmla="*/ 1518 w 1676"/>
                  <a:gd name="T93" fmla="*/ 721 h 1584"/>
                  <a:gd name="T94" fmla="*/ 1637 w 1676"/>
                  <a:gd name="T95" fmla="*/ 545 h 1584"/>
                  <a:gd name="T96" fmla="*/ 1635 w 1676"/>
                  <a:gd name="T97" fmla="*/ 482 h 1584"/>
                  <a:gd name="T98" fmla="*/ 1568 w 1676"/>
                  <a:gd name="T99" fmla="*/ 274 h 1584"/>
                  <a:gd name="T100" fmla="*/ 1565 w 1676"/>
                  <a:gd name="T101" fmla="*/ 209 h 1584"/>
                  <a:gd name="T102" fmla="*/ 1490 w 1676"/>
                  <a:gd name="T103" fmla="*/ 149 h 1584"/>
                  <a:gd name="T104" fmla="*/ 1447 w 1676"/>
                  <a:gd name="T105" fmla="*/ 139 h 1584"/>
                  <a:gd name="T106" fmla="*/ 894 w 1676"/>
                  <a:gd name="T107" fmla="*/ 151 h 1584"/>
                  <a:gd name="T108" fmla="*/ 916 w 1676"/>
                  <a:gd name="T109" fmla="*/ 111 h 1584"/>
                  <a:gd name="T110" fmla="*/ 734 w 1676"/>
                  <a:gd name="T111" fmla="*/ 59 h 1584"/>
                  <a:gd name="T112" fmla="*/ 777 w 1676"/>
                  <a:gd name="T113" fmla="*/ 57 h 1584"/>
                  <a:gd name="T114" fmla="*/ 390 w 1676"/>
                  <a:gd name="T115" fmla="*/ 98 h 1584"/>
                  <a:gd name="T116" fmla="*/ 349 w 1676"/>
                  <a:gd name="T117" fmla="*/ 160 h 1584"/>
                  <a:gd name="T118" fmla="*/ 11 w 1676"/>
                  <a:gd name="T119" fmla="*/ 266 h 1584"/>
                  <a:gd name="T120" fmla="*/ 47 w 1676"/>
                  <a:gd name="T121" fmla="*/ 270 h 1584"/>
                  <a:gd name="T122" fmla="*/ 82 w 1676"/>
                  <a:gd name="T123" fmla="*/ 307 h 1584"/>
                  <a:gd name="T124" fmla="*/ 33 w 1676"/>
                  <a:gd name="T125" fmla="*/ 315 h 15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76" h="1584">
                    <a:moveTo>
                      <a:pt x="23" y="338"/>
                    </a:moveTo>
                    <a:lnTo>
                      <a:pt x="25" y="344"/>
                    </a:lnTo>
                    <a:lnTo>
                      <a:pt x="29" y="354"/>
                    </a:lnTo>
                    <a:lnTo>
                      <a:pt x="29" y="357"/>
                    </a:lnTo>
                    <a:lnTo>
                      <a:pt x="29" y="367"/>
                    </a:lnTo>
                    <a:lnTo>
                      <a:pt x="29" y="373"/>
                    </a:lnTo>
                    <a:lnTo>
                      <a:pt x="31" y="379"/>
                    </a:lnTo>
                    <a:lnTo>
                      <a:pt x="35" y="385"/>
                    </a:lnTo>
                    <a:lnTo>
                      <a:pt x="37" y="391"/>
                    </a:lnTo>
                    <a:lnTo>
                      <a:pt x="41" y="397"/>
                    </a:lnTo>
                    <a:lnTo>
                      <a:pt x="41" y="412"/>
                    </a:lnTo>
                    <a:lnTo>
                      <a:pt x="45" y="428"/>
                    </a:lnTo>
                    <a:lnTo>
                      <a:pt x="47" y="434"/>
                    </a:lnTo>
                    <a:lnTo>
                      <a:pt x="47" y="436"/>
                    </a:lnTo>
                    <a:lnTo>
                      <a:pt x="47" y="441"/>
                    </a:lnTo>
                    <a:lnTo>
                      <a:pt x="47" y="443"/>
                    </a:lnTo>
                    <a:lnTo>
                      <a:pt x="49" y="445"/>
                    </a:lnTo>
                    <a:lnTo>
                      <a:pt x="51" y="447"/>
                    </a:lnTo>
                    <a:lnTo>
                      <a:pt x="51" y="449"/>
                    </a:lnTo>
                    <a:lnTo>
                      <a:pt x="54" y="451"/>
                    </a:lnTo>
                    <a:lnTo>
                      <a:pt x="49" y="459"/>
                    </a:lnTo>
                    <a:lnTo>
                      <a:pt x="49" y="461"/>
                    </a:lnTo>
                    <a:lnTo>
                      <a:pt x="47" y="463"/>
                    </a:lnTo>
                    <a:lnTo>
                      <a:pt x="45" y="465"/>
                    </a:lnTo>
                    <a:lnTo>
                      <a:pt x="43" y="469"/>
                    </a:lnTo>
                    <a:lnTo>
                      <a:pt x="43" y="473"/>
                    </a:lnTo>
                    <a:lnTo>
                      <a:pt x="43" y="477"/>
                    </a:lnTo>
                    <a:lnTo>
                      <a:pt x="45" y="480"/>
                    </a:lnTo>
                    <a:lnTo>
                      <a:pt x="45" y="484"/>
                    </a:lnTo>
                    <a:lnTo>
                      <a:pt x="39" y="500"/>
                    </a:lnTo>
                    <a:lnTo>
                      <a:pt x="39" y="502"/>
                    </a:lnTo>
                    <a:lnTo>
                      <a:pt x="37" y="508"/>
                    </a:lnTo>
                    <a:lnTo>
                      <a:pt x="31" y="514"/>
                    </a:lnTo>
                    <a:lnTo>
                      <a:pt x="21" y="521"/>
                    </a:lnTo>
                    <a:lnTo>
                      <a:pt x="11" y="525"/>
                    </a:lnTo>
                    <a:lnTo>
                      <a:pt x="4" y="531"/>
                    </a:lnTo>
                    <a:lnTo>
                      <a:pt x="4" y="533"/>
                    </a:lnTo>
                    <a:lnTo>
                      <a:pt x="6" y="537"/>
                    </a:lnTo>
                    <a:lnTo>
                      <a:pt x="8" y="547"/>
                    </a:lnTo>
                    <a:lnTo>
                      <a:pt x="8" y="549"/>
                    </a:lnTo>
                    <a:lnTo>
                      <a:pt x="6" y="555"/>
                    </a:lnTo>
                    <a:lnTo>
                      <a:pt x="6" y="559"/>
                    </a:lnTo>
                    <a:lnTo>
                      <a:pt x="0" y="563"/>
                    </a:lnTo>
                    <a:lnTo>
                      <a:pt x="2" y="566"/>
                    </a:lnTo>
                    <a:lnTo>
                      <a:pt x="6" y="568"/>
                    </a:lnTo>
                    <a:lnTo>
                      <a:pt x="10" y="570"/>
                    </a:lnTo>
                    <a:lnTo>
                      <a:pt x="11" y="570"/>
                    </a:lnTo>
                    <a:lnTo>
                      <a:pt x="15" y="570"/>
                    </a:lnTo>
                    <a:lnTo>
                      <a:pt x="21" y="578"/>
                    </a:lnTo>
                    <a:lnTo>
                      <a:pt x="25" y="580"/>
                    </a:lnTo>
                    <a:lnTo>
                      <a:pt x="43" y="594"/>
                    </a:lnTo>
                    <a:lnTo>
                      <a:pt x="47" y="596"/>
                    </a:lnTo>
                    <a:lnTo>
                      <a:pt x="52" y="607"/>
                    </a:lnTo>
                    <a:lnTo>
                      <a:pt x="54" y="609"/>
                    </a:lnTo>
                    <a:lnTo>
                      <a:pt x="56" y="611"/>
                    </a:lnTo>
                    <a:lnTo>
                      <a:pt x="62" y="617"/>
                    </a:lnTo>
                    <a:lnTo>
                      <a:pt x="72" y="621"/>
                    </a:lnTo>
                    <a:lnTo>
                      <a:pt x="82" y="633"/>
                    </a:lnTo>
                    <a:lnTo>
                      <a:pt x="82" y="633"/>
                    </a:lnTo>
                    <a:lnTo>
                      <a:pt x="88" y="637"/>
                    </a:lnTo>
                    <a:lnTo>
                      <a:pt x="82" y="648"/>
                    </a:lnTo>
                    <a:lnTo>
                      <a:pt x="82" y="654"/>
                    </a:lnTo>
                    <a:lnTo>
                      <a:pt x="84" y="656"/>
                    </a:lnTo>
                    <a:lnTo>
                      <a:pt x="86" y="660"/>
                    </a:lnTo>
                    <a:lnTo>
                      <a:pt x="82" y="666"/>
                    </a:lnTo>
                    <a:lnTo>
                      <a:pt x="78" y="672"/>
                    </a:lnTo>
                    <a:lnTo>
                      <a:pt x="70" y="680"/>
                    </a:lnTo>
                    <a:lnTo>
                      <a:pt x="70" y="691"/>
                    </a:lnTo>
                    <a:lnTo>
                      <a:pt x="74" y="703"/>
                    </a:lnTo>
                    <a:lnTo>
                      <a:pt x="78" y="711"/>
                    </a:lnTo>
                    <a:lnTo>
                      <a:pt x="78" y="715"/>
                    </a:lnTo>
                    <a:lnTo>
                      <a:pt x="82" y="721"/>
                    </a:lnTo>
                    <a:lnTo>
                      <a:pt x="88" y="723"/>
                    </a:lnTo>
                    <a:lnTo>
                      <a:pt x="92" y="725"/>
                    </a:lnTo>
                    <a:lnTo>
                      <a:pt x="95" y="727"/>
                    </a:lnTo>
                    <a:lnTo>
                      <a:pt x="99" y="730"/>
                    </a:lnTo>
                    <a:lnTo>
                      <a:pt x="99" y="736"/>
                    </a:lnTo>
                    <a:lnTo>
                      <a:pt x="95" y="740"/>
                    </a:lnTo>
                    <a:lnTo>
                      <a:pt x="95" y="742"/>
                    </a:lnTo>
                    <a:lnTo>
                      <a:pt x="97" y="746"/>
                    </a:lnTo>
                    <a:lnTo>
                      <a:pt x="97" y="750"/>
                    </a:lnTo>
                    <a:lnTo>
                      <a:pt x="95" y="756"/>
                    </a:lnTo>
                    <a:lnTo>
                      <a:pt x="94" y="762"/>
                    </a:lnTo>
                    <a:lnTo>
                      <a:pt x="95" y="766"/>
                    </a:lnTo>
                    <a:lnTo>
                      <a:pt x="107" y="773"/>
                    </a:lnTo>
                    <a:lnTo>
                      <a:pt x="103" y="777"/>
                    </a:lnTo>
                    <a:lnTo>
                      <a:pt x="103" y="781"/>
                    </a:lnTo>
                    <a:lnTo>
                      <a:pt x="101" y="783"/>
                    </a:lnTo>
                    <a:lnTo>
                      <a:pt x="101" y="785"/>
                    </a:lnTo>
                    <a:lnTo>
                      <a:pt x="101" y="787"/>
                    </a:lnTo>
                    <a:lnTo>
                      <a:pt x="97" y="795"/>
                    </a:lnTo>
                    <a:lnTo>
                      <a:pt x="97" y="797"/>
                    </a:lnTo>
                    <a:lnTo>
                      <a:pt x="95" y="814"/>
                    </a:lnTo>
                    <a:lnTo>
                      <a:pt x="95" y="818"/>
                    </a:lnTo>
                    <a:lnTo>
                      <a:pt x="92" y="824"/>
                    </a:lnTo>
                    <a:lnTo>
                      <a:pt x="90" y="828"/>
                    </a:lnTo>
                    <a:lnTo>
                      <a:pt x="80" y="838"/>
                    </a:lnTo>
                    <a:lnTo>
                      <a:pt x="78" y="842"/>
                    </a:lnTo>
                    <a:lnTo>
                      <a:pt x="78" y="848"/>
                    </a:lnTo>
                    <a:lnTo>
                      <a:pt x="80" y="851"/>
                    </a:lnTo>
                    <a:lnTo>
                      <a:pt x="84" y="853"/>
                    </a:lnTo>
                    <a:lnTo>
                      <a:pt x="86" y="857"/>
                    </a:lnTo>
                    <a:lnTo>
                      <a:pt x="86" y="865"/>
                    </a:lnTo>
                    <a:lnTo>
                      <a:pt x="88" y="871"/>
                    </a:lnTo>
                    <a:lnTo>
                      <a:pt x="92" y="875"/>
                    </a:lnTo>
                    <a:lnTo>
                      <a:pt x="99" y="883"/>
                    </a:lnTo>
                    <a:lnTo>
                      <a:pt x="101" y="887"/>
                    </a:lnTo>
                    <a:lnTo>
                      <a:pt x="103" y="894"/>
                    </a:lnTo>
                    <a:lnTo>
                      <a:pt x="103" y="900"/>
                    </a:lnTo>
                    <a:lnTo>
                      <a:pt x="101" y="906"/>
                    </a:lnTo>
                    <a:lnTo>
                      <a:pt x="99" y="912"/>
                    </a:lnTo>
                    <a:lnTo>
                      <a:pt x="97" y="916"/>
                    </a:lnTo>
                    <a:lnTo>
                      <a:pt x="97" y="918"/>
                    </a:lnTo>
                    <a:lnTo>
                      <a:pt x="97" y="922"/>
                    </a:lnTo>
                    <a:lnTo>
                      <a:pt x="101" y="926"/>
                    </a:lnTo>
                    <a:lnTo>
                      <a:pt x="113" y="930"/>
                    </a:lnTo>
                    <a:lnTo>
                      <a:pt x="117" y="932"/>
                    </a:lnTo>
                    <a:lnTo>
                      <a:pt x="117" y="932"/>
                    </a:lnTo>
                    <a:lnTo>
                      <a:pt x="121" y="933"/>
                    </a:lnTo>
                    <a:lnTo>
                      <a:pt x="129" y="935"/>
                    </a:lnTo>
                    <a:lnTo>
                      <a:pt x="133" y="937"/>
                    </a:lnTo>
                    <a:lnTo>
                      <a:pt x="135" y="939"/>
                    </a:lnTo>
                    <a:lnTo>
                      <a:pt x="138" y="943"/>
                    </a:lnTo>
                    <a:lnTo>
                      <a:pt x="138" y="947"/>
                    </a:lnTo>
                    <a:lnTo>
                      <a:pt x="138" y="951"/>
                    </a:lnTo>
                    <a:lnTo>
                      <a:pt x="138" y="957"/>
                    </a:lnTo>
                    <a:lnTo>
                      <a:pt x="140" y="969"/>
                    </a:lnTo>
                    <a:lnTo>
                      <a:pt x="140" y="969"/>
                    </a:lnTo>
                    <a:lnTo>
                      <a:pt x="140" y="974"/>
                    </a:lnTo>
                    <a:lnTo>
                      <a:pt x="140" y="976"/>
                    </a:lnTo>
                    <a:lnTo>
                      <a:pt x="144" y="980"/>
                    </a:lnTo>
                    <a:lnTo>
                      <a:pt x="148" y="986"/>
                    </a:lnTo>
                    <a:lnTo>
                      <a:pt x="150" y="990"/>
                    </a:lnTo>
                    <a:lnTo>
                      <a:pt x="150" y="998"/>
                    </a:lnTo>
                    <a:lnTo>
                      <a:pt x="150" y="1000"/>
                    </a:lnTo>
                    <a:lnTo>
                      <a:pt x="150" y="1000"/>
                    </a:lnTo>
                    <a:lnTo>
                      <a:pt x="148" y="1006"/>
                    </a:lnTo>
                    <a:lnTo>
                      <a:pt x="146" y="1014"/>
                    </a:lnTo>
                    <a:lnTo>
                      <a:pt x="144" y="1019"/>
                    </a:lnTo>
                    <a:lnTo>
                      <a:pt x="144" y="1027"/>
                    </a:lnTo>
                    <a:lnTo>
                      <a:pt x="144" y="1031"/>
                    </a:lnTo>
                    <a:lnTo>
                      <a:pt x="142" y="1031"/>
                    </a:lnTo>
                    <a:lnTo>
                      <a:pt x="140" y="1033"/>
                    </a:lnTo>
                    <a:lnTo>
                      <a:pt x="140" y="1035"/>
                    </a:lnTo>
                    <a:lnTo>
                      <a:pt x="140" y="1037"/>
                    </a:lnTo>
                    <a:lnTo>
                      <a:pt x="140" y="1043"/>
                    </a:lnTo>
                    <a:lnTo>
                      <a:pt x="138" y="1047"/>
                    </a:lnTo>
                    <a:lnTo>
                      <a:pt x="133" y="1064"/>
                    </a:lnTo>
                    <a:lnTo>
                      <a:pt x="123" y="1086"/>
                    </a:lnTo>
                    <a:lnTo>
                      <a:pt x="117" y="1092"/>
                    </a:lnTo>
                    <a:lnTo>
                      <a:pt x="115" y="1096"/>
                    </a:lnTo>
                    <a:lnTo>
                      <a:pt x="115" y="1099"/>
                    </a:lnTo>
                    <a:lnTo>
                      <a:pt x="115" y="1099"/>
                    </a:lnTo>
                    <a:lnTo>
                      <a:pt x="119" y="1101"/>
                    </a:lnTo>
                    <a:lnTo>
                      <a:pt x="125" y="1099"/>
                    </a:lnTo>
                    <a:lnTo>
                      <a:pt x="129" y="1099"/>
                    </a:lnTo>
                    <a:lnTo>
                      <a:pt x="144" y="1099"/>
                    </a:lnTo>
                    <a:lnTo>
                      <a:pt x="144" y="1099"/>
                    </a:lnTo>
                    <a:lnTo>
                      <a:pt x="144" y="1097"/>
                    </a:lnTo>
                    <a:lnTo>
                      <a:pt x="144" y="1092"/>
                    </a:lnTo>
                    <a:lnTo>
                      <a:pt x="144" y="1088"/>
                    </a:lnTo>
                    <a:lnTo>
                      <a:pt x="144" y="1088"/>
                    </a:lnTo>
                    <a:lnTo>
                      <a:pt x="144" y="1088"/>
                    </a:lnTo>
                    <a:lnTo>
                      <a:pt x="144" y="1088"/>
                    </a:lnTo>
                    <a:lnTo>
                      <a:pt x="144" y="1088"/>
                    </a:lnTo>
                    <a:lnTo>
                      <a:pt x="144" y="1086"/>
                    </a:lnTo>
                    <a:lnTo>
                      <a:pt x="144" y="1086"/>
                    </a:lnTo>
                    <a:lnTo>
                      <a:pt x="144" y="1084"/>
                    </a:lnTo>
                    <a:lnTo>
                      <a:pt x="146" y="1082"/>
                    </a:lnTo>
                    <a:lnTo>
                      <a:pt x="146" y="1082"/>
                    </a:lnTo>
                    <a:lnTo>
                      <a:pt x="146" y="1078"/>
                    </a:lnTo>
                    <a:lnTo>
                      <a:pt x="146" y="1074"/>
                    </a:lnTo>
                    <a:lnTo>
                      <a:pt x="144" y="1072"/>
                    </a:lnTo>
                    <a:lnTo>
                      <a:pt x="144" y="1070"/>
                    </a:lnTo>
                    <a:lnTo>
                      <a:pt x="140" y="1068"/>
                    </a:lnTo>
                    <a:lnTo>
                      <a:pt x="140" y="1068"/>
                    </a:lnTo>
                    <a:lnTo>
                      <a:pt x="140" y="1068"/>
                    </a:lnTo>
                    <a:lnTo>
                      <a:pt x="140" y="1068"/>
                    </a:lnTo>
                    <a:lnTo>
                      <a:pt x="140" y="1064"/>
                    </a:lnTo>
                    <a:lnTo>
                      <a:pt x="140" y="1064"/>
                    </a:lnTo>
                    <a:lnTo>
                      <a:pt x="140" y="1064"/>
                    </a:lnTo>
                    <a:lnTo>
                      <a:pt x="142" y="1062"/>
                    </a:lnTo>
                    <a:lnTo>
                      <a:pt x="142" y="1062"/>
                    </a:lnTo>
                    <a:lnTo>
                      <a:pt x="144" y="1062"/>
                    </a:lnTo>
                    <a:lnTo>
                      <a:pt x="144" y="1062"/>
                    </a:lnTo>
                    <a:lnTo>
                      <a:pt x="146" y="1060"/>
                    </a:lnTo>
                    <a:lnTo>
                      <a:pt x="146" y="1060"/>
                    </a:lnTo>
                    <a:lnTo>
                      <a:pt x="146" y="1060"/>
                    </a:lnTo>
                    <a:lnTo>
                      <a:pt x="148" y="1058"/>
                    </a:lnTo>
                    <a:lnTo>
                      <a:pt x="148" y="1056"/>
                    </a:lnTo>
                    <a:lnTo>
                      <a:pt x="148" y="1056"/>
                    </a:lnTo>
                    <a:lnTo>
                      <a:pt x="148" y="1056"/>
                    </a:lnTo>
                    <a:lnTo>
                      <a:pt x="150" y="1060"/>
                    </a:lnTo>
                    <a:lnTo>
                      <a:pt x="154" y="1060"/>
                    </a:lnTo>
                    <a:lnTo>
                      <a:pt x="160" y="1062"/>
                    </a:lnTo>
                    <a:lnTo>
                      <a:pt x="160" y="1062"/>
                    </a:lnTo>
                    <a:lnTo>
                      <a:pt x="160" y="1064"/>
                    </a:lnTo>
                    <a:lnTo>
                      <a:pt x="162" y="1066"/>
                    </a:lnTo>
                    <a:lnTo>
                      <a:pt x="162" y="1066"/>
                    </a:lnTo>
                    <a:lnTo>
                      <a:pt x="164" y="1068"/>
                    </a:lnTo>
                    <a:lnTo>
                      <a:pt x="166" y="1068"/>
                    </a:lnTo>
                    <a:lnTo>
                      <a:pt x="166" y="1068"/>
                    </a:lnTo>
                    <a:lnTo>
                      <a:pt x="168" y="1068"/>
                    </a:lnTo>
                    <a:lnTo>
                      <a:pt x="168" y="1066"/>
                    </a:lnTo>
                    <a:lnTo>
                      <a:pt x="168" y="1064"/>
                    </a:lnTo>
                    <a:lnTo>
                      <a:pt x="170" y="1060"/>
                    </a:lnTo>
                    <a:lnTo>
                      <a:pt x="170" y="1060"/>
                    </a:lnTo>
                    <a:lnTo>
                      <a:pt x="172" y="1060"/>
                    </a:lnTo>
                    <a:lnTo>
                      <a:pt x="174" y="1060"/>
                    </a:lnTo>
                    <a:lnTo>
                      <a:pt x="174" y="1062"/>
                    </a:lnTo>
                    <a:lnTo>
                      <a:pt x="174" y="1064"/>
                    </a:lnTo>
                    <a:lnTo>
                      <a:pt x="176" y="1068"/>
                    </a:lnTo>
                    <a:lnTo>
                      <a:pt x="183" y="1068"/>
                    </a:lnTo>
                    <a:lnTo>
                      <a:pt x="185" y="1068"/>
                    </a:lnTo>
                    <a:lnTo>
                      <a:pt x="189" y="1070"/>
                    </a:lnTo>
                    <a:lnTo>
                      <a:pt x="191" y="1076"/>
                    </a:lnTo>
                    <a:lnTo>
                      <a:pt x="191" y="1076"/>
                    </a:lnTo>
                    <a:lnTo>
                      <a:pt x="191" y="1076"/>
                    </a:lnTo>
                    <a:lnTo>
                      <a:pt x="191" y="1076"/>
                    </a:lnTo>
                    <a:lnTo>
                      <a:pt x="191" y="1078"/>
                    </a:lnTo>
                    <a:lnTo>
                      <a:pt x="191" y="1080"/>
                    </a:lnTo>
                    <a:lnTo>
                      <a:pt x="191" y="1080"/>
                    </a:lnTo>
                    <a:lnTo>
                      <a:pt x="189" y="1086"/>
                    </a:lnTo>
                    <a:lnTo>
                      <a:pt x="189" y="1090"/>
                    </a:lnTo>
                    <a:lnTo>
                      <a:pt x="191" y="1092"/>
                    </a:lnTo>
                    <a:lnTo>
                      <a:pt x="191" y="1094"/>
                    </a:lnTo>
                    <a:lnTo>
                      <a:pt x="193" y="1097"/>
                    </a:lnTo>
                    <a:lnTo>
                      <a:pt x="195" y="1101"/>
                    </a:lnTo>
                    <a:lnTo>
                      <a:pt x="197" y="1103"/>
                    </a:lnTo>
                    <a:lnTo>
                      <a:pt x="199" y="1103"/>
                    </a:lnTo>
                    <a:lnTo>
                      <a:pt x="201" y="1105"/>
                    </a:lnTo>
                    <a:lnTo>
                      <a:pt x="203" y="1107"/>
                    </a:lnTo>
                    <a:lnTo>
                      <a:pt x="203" y="1107"/>
                    </a:lnTo>
                    <a:lnTo>
                      <a:pt x="203" y="1107"/>
                    </a:lnTo>
                    <a:lnTo>
                      <a:pt x="203" y="1107"/>
                    </a:lnTo>
                    <a:lnTo>
                      <a:pt x="205" y="1109"/>
                    </a:lnTo>
                    <a:lnTo>
                      <a:pt x="207" y="1113"/>
                    </a:lnTo>
                    <a:lnTo>
                      <a:pt x="207" y="1115"/>
                    </a:lnTo>
                    <a:lnTo>
                      <a:pt x="205" y="1117"/>
                    </a:lnTo>
                    <a:lnTo>
                      <a:pt x="205" y="1121"/>
                    </a:lnTo>
                    <a:lnTo>
                      <a:pt x="207" y="1123"/>
                    </a:lnTo>
                    <a:lnTo>
                      <a:pt x="209" y="1123"/>
                    </a:lnTo>
                    <a:lnTo>
                      <a:pt x="209" y="1123"/>
                    </a:lnTo>
                    <a:lnTo>
                      <a:pt x="209" y="1123"/>
                    </a:lnTo>
                    <a:lnTo>
                      <a:pt x="211" y="1121"/>
                    </a:lnTo>
                    <a:lnTo>
                      <a:pt x="211" y="1121"/>
                    </a:lnTo>
                    <a:lnTo>
                      <a:pt x="213" y="1119"/>
                    </a:lnTo>
                    <a:lnTo>
                      <a:pt x="215" y="1117"/>
                    </a:lnTo>
                    <a:lnTo>
                      <a:pt x="215" y="1117"/>
                    </a:lnTo>
                    <a:lnTo>
                      <a:pt x="215" y="1117"/>
                    </a:lnTo>
                    <a:lnTo>
                      <a:pt x="220" y="1115"/>
                    </a:lnTo>
                    <a:lnTo>
                      <a:pt x="254" y="1127"/>
                    </a:lnTo>
                    <a:lnTo>
                      <a:pt x="256" y="1129"/>
                    </a:lnTo>
                    <a:lnTo>
                      <a:pt x="256" y="1129"/>
                    </a:lnTo>
                    <a:lnTo>
                      <a:pt x="258" y="1133"/>
                    </a:lnTo>
                    <a:lnTo>
                      <a:pt x="258" y="1133"/>
                    </a:lnTo>
                    <a:lnTo>
                      <a:pt x="260" y="1133"/>
                    </a:lnTo>
                    <a:lnTo>
                      <a:pt x="260" y="1133"/>
                    </a:lnTo>
                    <a:lnTo>
                      <a:pt x="262" y="1135"/>
                    </a:lnTo>
                    <a:lnTo>
                      <a:pt x="275" y="1131"/>
                    </a:lnTo>
                    <a:lnTo>
                      <a:pt x="279" y="1131"/>
                    </a:lnTo>
                    <a:lnTo>
                      <a:pt x="279" y="1131"/>
                    </a:lnTo>
                    <a:lnTo>
                      <a:pt x="279" y="1131"/>
                    </a:lnTo>
                    <a:lnTo>
                      <a:pt x="279" y="1133"/>
                    </a:lnTo>
                    <a:lnTo>
                      <a:pt x="281" y="1135"/>
                    </a:lnTo>
                    <a:lnTo>
                      <a:pt x="281" y="1135"/>
                    </a:lnTo>
                    <a:lnTo>
                      <a:pt x="289" y="1148"/>
                    </a:lnTo>
                    <a:lnTo>
                      <a:pt x="289" y="1148"/>
                    </a:lnTo>
                    <a:lnTo>
                      <a:pt x="291" y="1148"/>
                    </a:lnTo>
                    <a:lnTo>
                      <a:pt x="291" y="1148"/>
                    </a:lnTo>
                    <a:lnTo>
                      <a:pt x="295" y="1148"/>
                    </a:lnTo>
                    <a:lnTo>
                      <a:pt x="304" y="1144"/>
                    </a:lnTo>
                    <a:lnTo>
                      <a:pt x="304" y="1144"/>
                    </a:lnTo>
                    <a:lnTo>
                      <a:pt x="306" y="1146"/>
                    </a:lnTo>
                    <a:lnTo>
                      <a:pt x="308" y="1146"/>
                    </a:lnTo>
                    <a:lnTo>
                      <a:pt x="308" y="1148"/>
                    </a:lnTo>
                    <a:lnTo>
                      <a:pt x="310" y="1150"/>
                    </a:lnTo>
                    <a:lnTo>
                      <a:pt x="312" y="1152"/>
                    </a:lnTo>
                    <a:lnTo>
                      <a:pt x="312" y="1156"/>
                    </a:lnTo>
                    <a:lnTo>
                      <a:pt x="314" y="1160"/>
                    </a:lnTo>
                    <a:lnTo>
                      <a:pt x="314" y="1162"/>
                    </a:lnTo>
                    <a:lnTo>
                      <a:pt x="314" y="1162"/>
                    </a:lnTo>
                    <a:lnTo>
                      <a:pt x="314" y="1162"/>
                    </a:lnTo>
                    <a:lnTo>
                      <a:pt x="314" y="1162"/>
                    </a:lnTo>
                    <a:lnTo>
                      <a:pt x="310" y="1164"/>
                    </a:lnTo>
                    <a:lnTo>
                      <a:pt x="310" y="1166"/>
                    </a:lnTo>
                    <a:lnTo>
                      <a:pt x="310" y="1166"/>
                    </a:lnTo>
                    <a:lnTo>
                      <a:pt x="310" y="1166"/>
                    </a:lnTo>
                    <a:lnTo>
                      <a:pt x="310" y="1168"/>
                    </a:lnTo>
                    <a:lnTo>
                      <a:pt x="312" y="1168"/>
                    </a:lnTo>
                    <a:lnTo>
                      <a:pt x="318" y="1166"/>
                    </a:lnTo>
                    <a:lnTo>
                      <a:pt x="328" y="1156"/>
                    </a:lnTo>
                    <a:lnTo>
                      <a:pt x="334" y="1156"/>
                    </a:lnTo>
                    <a:lnTo>
                      <a:pt x="336" y="1156"/>
                    </a:lnTo>
                    <a:lnTo>
                      <a:pt x="336" y="1156"/>
                    </a:lnTo>
                    <a:lnTo>
                      <a:pt x="336" y="1156"/>
                    </a:lnTo>
                    <a:lnTo>
                      <a:pt x="342" y="1160"/>
                    </a:lnTo>
                    <a:lnTo>
                      <a:pt x="344" y="1162"/>
                    </a:lnTo>
                    <a:lnTo>
                      <a:pt x="346" y="1162"/>
                    </a:lnTo>
                    <a:lnTo>
                      <a:pt x="346" y="1162"/>
                    </a:lnTo>
                    <a:lnTo>
                      <a:pt x="347" y="1158"/>
                    </a:lnTo>
                    <a:lnTo>
                      <a:pt x="349" y="1156"/>
                    </a:lnTo>
                    <a:lnTo>
                      <a:pt x="351" y="1152"/>
                    </a:lnTo>
                    <a:lnTo>
                      <a:pt x="353" y="1152"/>
                    </a:lnTo>
                    <a:lnTo>
                      <a:pt x="359" y="1152"/>
                    </a:lnTo>
                    <a:lnTo>
                      <a:pt x="363" y="1154"/>
                    </a:lnTo>
                    <a:lnTo>
                      <a:pt x="365" y="1154"/>
                    </a:lnTo>
                    <a:lnTo>
                      <a:pt x="369" y="1156"/>
                    </a:lnTo>
                    <a:lnTo>
                      <a:pt x="385" y="1172"/>
                    </a:lnTo>
                    <a:lnTo>
                      <a:pt x="385" y="1174"/>
                    </a:lnTo>
                    <a:lnTo>
                      <a:pt x="385" y="1178"/>
                    </a:lnTo>
                    <a:lnTo>
                      <a:pt x="385" y="1178"/>
                    </a:lnTo>
                    <a:lnTo>
                      <a:pt x="385" y="1178"/>
                    </a:lnTo>
                    <a:lnTo>
                      <a:pt x="383" y="1178"/>
                    </a:lnTo>
                    <a:lnTo>
                      <a:pt x="381" y="1179"/>
                    </a:lnTo>
                    <a:lnTo>
                      <a:pt x="381" y="1181"/>
                    </a:lnTo>
                    <a:lnTo>
                      <a:pt x="381" y="1181"/>
                    </a:lnTo>
                    <a:lnTo>
                      <a:pt x="381" y="1183"/>
                    </a:lnTo>
                    <a:lnTo>
                      <a:pt x="381" y="1183"/>
                    </a:lnTo>
                    <a:lnTo>
                      <a:pt x="379" y="1183"/>
                    </a:lnTo>
                    <a:lnTo>
                      <a:pt x="379" y="1185"/>
                    </a:lnTo>
                    <a:lnTo>
                      <a:pt x="379" y="1187"/>
                    </a:lnTo>
                    <a:lnTo>
                      <a:pt x="379" y="1189"/>
                    </a:lnTo>
                    <a:lnTo>
                      <a:pt x="379" y="1189"/>
                    </a:lnTo>
                    <a:lnTo>
                      <a:pt x="379" y="1191"/>
                    </a:lnTo>
                    <a:lnTo>
                      <a:pt x="379" y="1191"/>
                    </a:lnTo>
                    <a:lnTo>
                      <a:pt x="379" y="1191"/>
                    </a:lnTo>
                    <a:lnTo>
                      <a:pt x="375" y="1195"/>
                    </a:lnTo>
                    <a:lnTo>
                      <a:pt x="373" y="1197"/>
                    </a:lnTo>
                    <a:lnTo>
                      <a:pt x="373" y="1197"/>
                    </a:lnTo>
                    <a:lnTo>
                      <a:pt x="373" y="1197"/>
                    </a:lnTo>
                    <a:lnTo>
                      <a:pt x="373" y="1197"/>
                    </a:lnTo>
                    <a:lnTo>
                      <a:pt x="373" y="1197"/>
                    </a:lnTo>
                    <a:lnTo>
                      <a:pt x="371" y="1197"/>
                    </a:lnTo>
                    <a:lnTo>
                      <a:pt x="367" y="1197"/>
                    </a:lnTo>
                    <a:lnTo>
                      <a:pt x="365" y="1195"/>
                    </a:lnTo>
                    <a:lnTo>
                      <a:pt x="363" y="1197"/>
                    </a:lnTo>
                    <a:lnTo>
                      <a:pt x="361" y="1197"/>
                    </a:lnTo>
                    <a:lnTo>
                      <a:pt x="361" y="1199"/>
                    </a:lnTo>
                    <a:lnTo>
                      <a:pt x="361" y="1199"/>
                    </a:lnTo>
                    <a:lnTo>
                      <a:pt x="361" y="1199"/>
                    </a:lnTo>
                    <a:lnTo>
                      <a:pt x="359" y="1201"/>
                    </a:lnTo>
                    <a:lnTo>
                      <a:pt x="359" y="1203"/>
                    </a:lnTo>
                    <a:lnTo>
                      <a:pt x="355" y="1203"/>
                    </a:lnTo>
                    <a:lnTo>
                      <a:pt x="355" y="1205"/>
                    </a:lnTo>
                    <a:lnTo>
                      <a:pt x="353" y="1207"/>
                    </a:lnTo>
                    <a:lnTo>
                      <a:pt x="351" y="1207"/>
                    </a:lnTo>
                    <a:lnTo>
                      <a:pt x="351" y="1207"/>
                    </a:lnTo>
                    <a:lnTo>
                      <a:pt x="349" y="1207"/>
                    </a:lnTo>
                    <a:lnTo>
                      <a:pt x="349" y="1209"/>
                    </a:lnTo>
                    <a:lnTo>
                      <a:pt x="349" y="1211"/>
                    </a:lnTo>
                    <a:lnTo>
                      <a:pt x="351" y="1211"/>
                    </a:lnTo>
                    <a:lnTo>
                      <a:pt x="351" y="1211"/>
                    </a:lnTo>
                    <a:lnTo>
                      <a:pt x="351" y="1211"/>
                    </a:lnTo>
                    <a:lnTo>
                      <a:pt x="351" y="1211"/>
                    </a:lnTo>
                    <a:lnTo>
                      <a:pt x="349" y="1211"/>
                    </a:lnTo>
                    <a:lnTo>
                      <a:pt x="347" y="1211"/>
                    </a:lnTo>
                    <a:lnTo>
                      <a:pt x="346" y="1215"/>
                    </a:lnTo>
                    <a:lnTo>
                      <a:pt x="347" y="1217"/>
                    </a:lnTo>
                    <a:lnTo>
                      <a:pt x="347" y="1219"/>
                    </a:lnTo>
                    <a:lnTo>
                      <a:pt x="353" y="1220"/>
                    </a:lnTo>
                    <a:lnTo>
                      <a:pt x="355" y="1226"/>
                    </a:lnTo>
                    <a:lnTo>
                      <a:pt x="355" y="1228"/>
                    </a:lnTo>
                    <a:lnTo>
                      <a:pt x="355" y="1228"/>
                    </a:lnTo>
                    <a:lnTo>
                      <a:pt x="357" y="1230"/>
                    </a:lnTo>
                    <a:lnTo>
                      <a:pt x="359" y="1230"/>
                    </a:lnTo>
                    <a:lnTo>
                      <a:pt x="361" y="1228"/>
                    </a:lnTo>
                    <a:lnTo>
                      <a:pt x="361" y="1228"/>
                    </a:lnTo>
                    <a:lnTo>
                      <a:pt x="363" y="1228"/>
                    </a:lnTo>
                    <a:lnTo>
                      <a:pt x="371" y="1228"/>
                    </a:lnTo>
                    <a:lnTo>
                      <a:pt x="371" y="1228"/>
                    </a:lnTo>
                    <a:lnTo>
                      <a:pt x="371" y="1228"/>
                    </a:lnTo>
                    <a:lnTo>
                      <a:pt x="373" y="1230"/>
                    </a:lnTo>
                    <a:lnTo>
                      <a:pt x="373" y="1230"/>
                    </a:lnTo>
                    <a:lnTo>
                      <a:pt x="373" y="1230"/>
                    </a:lnTo>
                    <a:lnTo>
                      <a:pt x="373" y="1232"/>
                    </a:lnTo>
                    <a:lnTo>
                      <a:pt x="373" y="1234"/>
                    </a:lnTo>
                    <a:lnTo>
                      <a:pt x="373" y="1234"/>
                    </a:lnTo>
                    <a:lnTo>
                      <a:pt x="373" y="1236"/>
                    </a:lnTo>
                    <a:lnTo>
                      <a:pt x="373" y="1238"/>
                    </a:lnTo>
                    <a:lnTo>
                      <a:pt x="375" y="1240"/>
                    </a:lnTo>
                    <a:lnTo>
                      <a:pt x="377" y="1242"/>
                    </a:lnTo>
                    <a:lnTo>
                      <a:pt x="385" y="1246"/>
                    </a:lnTo>
                    <a:lnTo>
                      <a:pt x="387" y="1248"/>
                    </a:lnTo>
                    <a:lnTo>
                      <a:pt x="390" y="1252"/>
                    </a:lnTo>
                    <a:lnTo>
                      <a:pt x="392" y="1256"/>
                    </a:lnTo>
                    <a:lnTo>
                      <a:pt x="394" y="1260"/>
                    </a:lnTo>
                    <a:lnTo>
                      <a:pt x="396" y="1261"/>
                    </a:lnTo>
                    <a:lnTo>
                      <a:pt x="396" y="1261"/>
                    </a:lnTo>
                    <a:lnTo>
                      <a:pt x="398" y="1265"/>
                    </a:lnTo>
                    <a:lnTo>
                      <a:pt x="402" y="1271"/>
                    </a:lnTo>
                    <a:lnTo>
                      <a:pt x="404" y="1271"/>
                    </a:lnTo>
                    <a:lnTo>
                      <a:pt x="404" y="1273"/>
                    </a:lnTo>
                    <a:lnTo>
                      <a:pt x="406" y="1275"/>
                    </a:lnTo>
                    <a:lnTo>
                      <a:pt x="408" y="1285"/>
                    </a:lnTo>
                    <a:lnTo>
                      <a:pt x="408" y="1285"/>
                    </a:lnTo>
                    <a:lnTo>
                      <a:pt x="408" y="1289"/>
                    </a:lnTo>
                    <a:lnTo>
                      <a:pt x="410" y="1291"/>
                    </a:lnTo>
                    <a:lnTo>
                      <a:pt x="412" y="1293"/>
                    </a:lnTo>
                    <a:lnTo>
                      <a:pt x="414" y="1295"/>
                    </a:lnTo>
                    <a:lnTo>
                      <a:pt x="418" y="1297"/>
                    </a:lnTo>
                    <a:lnTo>
                      <a:pt x="424" y="1301"/>
                    </a:lnTo>
                    <a:lnTo>
                      <a:pt x="426" y="1301"/>
                    </a:lnTo>
                    <a:lnTo>
                      <a:pt x="431" y="1301"/>
                    </a:lnTo>
                    <a:lnTo>
                      <a:pt x="431" y="1301"/>
                    </a:lnTo>
                    <a:lnTo>
                      <a:pt x="437" y="1293"/>
                    </a:lnTo>
                    <a:lnTo>
                      <a:pt x="439" y="1293"/>
                    </a:lnTo>
                    <a:lnTo>
                      <a:pt x="441" y="1291"/>
                    </a:lnTo>
                    <a:lnTo>
                      <a:pt x="441" y="1289"/>
                    </a:lnTo>
                    <a:lnTo>
                      <a:pt x="443" y="1287"/>
                    </a:lnTo>
                    <a:lnTo>
                      <a:pt x="443" y="1287"/>
                    </a:lnTo>
                    <a:lnTo>
                      <a:pt x="445" y="1285"/>
                    </a:lnTo>
                    <a:lnTo>
                      <a:pt x="445" y="1283"/>
                    </a:lnTo>
                    <a:lnTo>
                      <a:pt x="447" y="1279"/>
                    </a:lnTo>
                    <a:lnTo>
                      <a:pt x="451" y="1277"/>
                    </a:lnTo>
                    <a:lnTo>
                      <a:pt x="451" y="1277"/>
                    </a:lnTo>
                    <a:lnTo>
                      <a:pt x="455" y="1275"/>
                    </a:lnTo>
                    <a:lnTo>
                      <a:pt x="457" y="1277"/>
                    </a:lnTo>
                    <a:lnTo>
                      <a:pt x="459" y="1275"/>
                    </a:lnTo>
                    <a:lnTo>
                      <a:pt x="459" y="1275"/>
                    </a:lnTo>
                    <a:lnTo>
                      <a:pt x="461" y="1275"/>
                    </a:lnTo>
                    <a:lnTo>
                      <a:pt x="463" y="1275"/>
                    </a:lnTo>
                    <a:lnTo>
                      <a:pt x="463" y="1273"/>
                    </a:lnTo>
                    <a:lnTo>
                      <a:pt x="467" y="1269"/>
                    </a:lnTo>
                    <a:lnTo>
                      <a:pt x="469" y="1269"/>
                    </a:lnTo>
                    <a:lnTo>
                      <a:pt x="469" y="1269"/>
                    </a:lnTo>
                    <a:lnTo>
                      <a:pt x="469" y="1269"/>
                    </a:lnTo>
                    <a:lnTo>
                      <a:pt x="472" y="1269"/>
                    </a:lnTo>
                    <a:lnTo>
                      <a:pt x="474" y="1269"/>
                    </a:lnTo>
                    <a:lnTo>
                      <a:pt x="474" y="1269"/>
                    </a:lnTo>
                    <a:lnTo>
                      <a:pt x="474" y="1269"/>
                    </a:lnTo>
                    <a:lnTo>
                      <a:pt x="474" y="1265"/>
                    </a:lnTo>
                    <a:lnTo>
                      <a:pt x="474" y="1265"/>
                    </a:lnTo>
                    <a:lnTo>
                      <a:pt x="474" y="1265"/>
                    </a:lnTo>
                    <a:lnTo>
                      <a:pt x="476" y="1265"/>
                    </a:lnTo>
                    <a:lnTo>
                      <a:pt x="478" y="1265"/>
                    </a:lnTo>
                    <a:lnTo>
                      <a:pt x="478" y="1267"/>
                    </a:lnTo>
                    <a:lnTo>
                      <a:pt x="480" y="1269"/>
                    </a:lnTo>
                    <a:lnTo>
                      <a:pt x="482" y="1269"/>
                    </a:lnTo>
                    <a:lnTo>
                      <a:pt x="482" y="1271"/>
                    </a:lnTo>
                    <a:lnTo>
                      <a:pt x="482" y="1271"/>
                    </a:lnTo>
                    <a:lnTo>
                      <a:pt x="484" y="1267"/>
                    </a:lnTo>
                    <a:lnTo>
                      <a:pt x="484" y="1265"/>
                    </a:lnTo>
                    <a:lnTo>
                      <a:pt x="484" y="1265"/>
                    </a:lnTo>
                    <a:lnTo>
                      <a:pt x="482" y="1261"/>
                    </a:lnTo>
                    <a:lnTo>
                      <a:pt x="482" y="1261"/>
                    </a:lnTo>
                    <a:lnTo>
                      <a:pt x="480" y="1256"/>
                    </a:lnTo>
                    <a:lnTo>
                      <a:pt x="480" y="1252"/>
                    </a:lnTo>
                    <a:lnTo>
                      <a:pt x="480" y="1252"/>
                    </a:lnTo>
                    <a:lnTo>
                      <a:pt x="476" y="1248"/>
                    </a:lnTo>
                    <a:lnTo>
                      <a:pt x="474" y="1246"/>
                    </a:lnTo>
                    <a:lnTo>
                      <a:pt x="472" y="1246"/>
                    </a:lnTo>
                    <a:lnTo>
                      <a:pt x="471" y="1242"/>
                    </a:lnTo>
                    <a:lnTo>
                      <a:pt x="469" y="1242"/>
                    </a:lnTo>
                    <a:lnTo>
                      <a:pt x="467" y="1236"/>
                    </a:lnTo>
                    <a:lnTo>
                      <a:pt x="467" y="1232"/>
                    </a:lnTo>
                    <a:lnTo>
                      <a:pt x="465" y="1226"/>
                    </a:lnTo>
                    <a:lnTo>
                      <a:pt x="461" y="1222"/>
                    </a:lnTo>
                    <a:lnTo>
                      <a:pt x="459" y="1219"/>
                    </a:lnTo>
                    <a:lnTo>
                      <a:pt x="459" y="1219"/>
                    </a:lnTo>
                    <a:lnTo>
                      <a:pt x="459" y="1219"/>
                    </a:lnTo>
                    <a:lnTo>
                      <a:pt x="459" y="1215"/>
                    </a:lnTo>
                    <a:lnTo>
                      <a:pt x="459" y="1215"/>
                    </a:lnTo>
                    <a:lnTo>
                      <a:pt x="459" y="1215"/>
                    </a:lnTo>
                    <a:lnTo>
                      <a:pt x="461" y="1215"/>
                    </a:lnTo>
                    <a:lnTo>
                      <a:pt x="463" y="1213"/>
                    </a:lnTo>
                    <a:lnTo>
                      <a:pt x="465" y="1213"/>
                    </a:lnTo>
                    <a:lnTo>
                      <a:pt x="467" y="1213"/>
                    </a:lnTo>
                    <a:lnTo>
                      <a:pt x="471" y="1215"/>
                    </a:lnTo>
                    <a:lnTo>
                      <a:pt x="472" y="1215"/>
                    </a:lnTo>
                    <a:lnTo>
                      <a:pt x="474" y="1217"/>
                    </a:lnTo>
                    <a:lnTo>
                      <a:pt x="474" y="1217"/>
                    </a:lnTo>
                    <a:lnTo>
                      <a:pt x="478" y="1217"/>
                    </a:lnTo>
                    <a:lnTo>
                      <a:pt x="484" y="1219"/>
                    </a:lnTo>
                    <a:lnTo>
                      <a:pt x="496" y="1220"/>
                    </a:lnTo>
                    <a:lnTo>
                      <a:pt x="498" y="1222"/>
                    </a:lnTo>
                    <a:lnTo>
                      <a:pt x="502" y="1226"/>
                    </a:lnTo>
                    <a:lnTo>
                      <a:pt x="502" y="1226"/>
                    </a:lnTo>
                    <a:lnTo>
                      <a:pt x="504" y="1226"/>
                    </a:lnTo>
                    <a:lnTo>
                      <a:pt x="506" y="1226"/>
                    </a:lnTo>
                    <a:lnTo>
                      <a:pt x="512" y="1226"/>
                    </a:lnTo>
                    <a:lnTo>
                      <a:pt x="512" y="1226"/>
                    </a:lnTo>
                    <a:lnTo>
                      <a:pt x="514" y="1226"/>
                    </a:lnTo>
                    <a:lnTo>
                      <a:pt x="514" y="1226"/>
                    </a:lnTo>
                    <a:lnTo>
                      <a:pt x="514" y="1228"/>
                    </a:lnTo>
                    <a:lnTo>
                      <a:pt x="514" y="1230"/>
                    </a:lnTo>
                    <a:lnTo>
                      <a:pt x="514" y="1232"/>
                    </a:lnTo>
                    <a:lnTo>
                      <a:pt x="514" y="1234"/>
                    </a:lnTo>
                    <a:lnTo>
                      <a:pt x="515" y="1236"/>
                    </a:lnTo>
                    <a:lnTo>
                      <a:pt x="517" y="1238"/>
                    </a:lnTo>
                    <a:lnTo>
                      <a:pt x="517" y="1238"/>
                    </a:lnTo>
                    <a:lnTo>
                      <a:pt x="523" y="1242"/>
                    </a:lnTo>
                    <a:lnTo>
                      <a:pt x="527" y="1242"/>
                    </a:lnTo>
                    <a:lnTo>
                      <a:pt x="535" y="1242"/>
                    </a:lnTo>
                    <a:lnTo>
                      <a:pt x="537" y="1244"/>
                    </a:lnTo>
                    <a:lnTo>
                      <a:pt x="539" y="1244"/>
                    </a:lnTo>
                    <a:lnTo>
                      <a:pt x="539" y="1244"/>
                    </a:lnTo>
                    <a:lnTo>
                      <a:pt x="539" y="1244"/>
                    </a:lnTo>
                    <a:lnTo>
                      <a:pt x="537" y="1244"/>
                    </a:lnTo>
                    <a:lnTo>
                      <a:pt x="535" y="1244"/>
                    </a:lnTo>
                    <a:lnTo>
                      <a:pt x="535" y="1246"/>
                    </a:lnTo>
                    <a:lnTo>
                      <a:pt x="535" y="1246"/>
                    </a:lnTo>
                    <a:lnTo>
                      <a:pt x="537" y="1248"/>
                    </a:lnTo>
                    <a:lnTo>
                      <a:pt x="537" y="1248"/>
                    </a:lnTo>
                    <a:lnTo>
                      <a:pt x="537" y="1248"/>
                    </a:lnTo>
                    <a:lnTo>
                      <a:pt x="537" y="1248"/>
                    </a:lnTo>
                    <a:lnTo>
                      <a:pt x="537" y="1248"/>
                    </a:lnTo>
                    <a:lnTo>
                      <a:pt x="537" y="1252"/>
                    </a:lnTo>
                    <a:lnTo>
                      <a:pt x="537" y="1256"/>
                    </a:lnTo>
                    <a:lnTo>
                      <a:pt x="537" y="1256"/>
                    </a:lnTo>
                    <a:lnTo>
                      <a:pt x="539" y="1258"/>
                    </a:lnTo>
                    <a:lnTo>
                      <a:pt x="541" y="1260"/>
                    </a:lnTo>
                    <a:lnTo>
                      <a:pt x="543" y="1254"/>
                    </a:lnTo>
                    <a:lnTo>
                      <a:pt x="545" y="1254"/>
                    </a:lnTo>
                    <a:lnTo>
                      <a:pt x="547" y="1254"/>
                    </a:lnTo>
                    <a:lnTo>
                      <a:pt x="547" y="1254"/>
                    </a:lnTo>
                    <a:lnTo>
                      <a:pt x="547" y="1254"/>
                    </a:lnTo>
                    <a:lnTo>
                      <a:pt x="551" y="1258"/>
                    </a:lnTo>
                    <a:lnTo>
                      <a:pt x="551" y="1258"/>
                    </a:lnTo>
                    <a:lnTo>
                      <a:pt x="553" y="1261"/>
                    </a:lnTo>
                    <a:lnTo>
                      <a:pt x="553" y="1261"/>
                    </a:lnTo>
                    <a:lnTo>
                      <a:pt x="553" y="1263"/>
                    </a:lnTo>
                    <a:lnTo>
                      <a:pt x="553" y="1263"/>
                    </a:lnTo>
                    <a:lnTo>
                      <a:pt x="555" y="1263"/>
                    </a:lnTo>
                    <a:lnTo>
                      <a:pt x="555" y="1263"/>
                    </a:lnTo>
                    <a:lnTo>
                      <a:pt x="555" y="1261"/>
                    </a:lnTo>
                    <a:lnTo>
                      <a:pt x="555" y="1261"/>
                    </a:lnTo>
                    <a:lnTo>
                      <a:pt x="560" y="1256"/>
                    </a:lnTo>
                    <a:lnTo>
                      <a:pt x="568" y="1256"/>
                    </a:lnTo>
                    <a:lnTo>
                      <a:pt x="584" y="1258"/>
                    </a:lnTo>
                    <a:lnTo>
                      <a:pt x="588" y="1258"/>
                    </a:lnTo>
                    <a:lnTo>
                      <a:pt x="588" y="1256"/>
                    </a:lnTo>
                    <a:lnTo>
                      <a:pt x="590" y="1254"/>
                    </a:lnTo>
                    <a:lnTo>
                      <a:pt x="592" y="1254"/>
                    </a:lnTo>
                    <a:lnTo>
                      <a:pt x="596" y="1248"/>
                    </a:lnTo>
                    <a:lnTo>
                      <a:pt x="596" y="1246"/>
                    </a:lnTo>
                    <a:lnTo>
                      <a:pt x="596" y="1246"/>
                    </a:lnTo>
                    <a:lnTo>
                      <a:pt x="596" y="1244"/>
                    </a:lnTo>
                    <a:lnTo>
                      <a:pt x="596" y="1244"/>
                    </a:lnTo>
                    <a:lnTo>
                      <a:pt x="598" y="1244"/>
                    </a:lnTo>
                    <a:lnTo>
                      <a:pt x="598" y="1244"/>
                    </a:lnTo>
                    <a:lnTo>
                      <a:pt x="598" y="1244"/>
                    </a:lnTo>
                    <a:lnTo>
                      <a:pt x="598" y="1244"/>
                    </a:lnTo>
                    <a:lnTo>
                      <a:pt x="599" y="1244"/>
                    </a:lnTo>
                    <a:lnTo>
                      <a:pt x="601" y="1246"/>
                    </a:lnTo>
                    <a:lnTo>
                      <a:pt x="601" y="1246"/>
                    </a:lnTo>
                    <a:lnTo>
                      <a:pt x="601" y="1246"/>
                    </a:lnTo>
                    <a:lnTo>
                      <a:pt x="601" y="1246"/>
                    </a:lnTo>
                    <a:lnTo>
                      <a:pt x="603" y="1248"/>
                    </a:lnTo>
                    <a:lnTo>
                      <a:pt x="603" y="1250"/>
                    </a:lnTo>
                    <a:lnTo>
                      <a:pt x="603" y="1250"/>
                    </a:lnTo>
                    <a:lnTo>
                      <a:pt x="605" y="1250"/>
                    </a:lnTo>
                    <a:lnTo>
                      <a:pt x="605" y="1250"/>
                    </a:lnTo>
                    <a:lnTo>
                      <a:pt x="605" y="1250"/>
                    </a:lnTo>
                    <a:lnTo>
                      <a:pt x="605" y="1250"/>
                    </a:lnTo>
                    <a:lnTo>
                      <a:pt x="605" y="1250"/>
                    </a:lnTo>
                    <a:lnTo>
                      <a:pt x="603" y="1252"/>
                    </a:lnTo>
                    <a:lnTo>
                      <a:pt x="603" y="1252"/>
                    </a:lnTo>
                    <a:lnTo>
                      <a:pt x="603" y="1252"/>
                    </a:lnTo>
                    <a:lnTo>
                      <a:pt x="601" y="1258"/>
                    </a:lnTo>
                    <a:lnTo>
                      <a:pt x="601" y="1258"/>
                    </a:lnTo>
                    <a:lnTo>
                      <a:pt x="601" y="1260"/>
                    </a:lnTo>
                    <a:lnTo>
                      <a:pt x="601" y="1261"/>
                    </a:lnTo>
                    <a:lnTo>
                      <a:pt x="601" y="1261"/>
                    </a:lnTo>
                    <a:lnTo>
                      <a:pt x="603" y="1263"/>
                    </a:lnTo>
                    <a:lnTo>
                      <a:pt x="603" y="1263"/>
                    </a:lnTo>
                    <a:lnTo>
                      <a:pt x="603" y="1263"/>
                    </a:lnTo>
                    <a:lnTo>
                      <a:pt x="607" y="1269"/>
                    </a:lnTo>
                    <a:lnTo>
                      <a:pt x="605" y="1273"/>
                    </a:lnTo>
                    <a:lnTo>
                      <a:pt x="601" y="1275"/>
                    </a:lnTo>
                    <a:lnTo>
                      <a:pt x="601" y="1275"/>
                    </a:lnTo>
                    <a:lnTo>
                      <a:pt x="599" y="1277"/>
                    </a:lnTo>
                    <a:lnTo>
                      <a:pt x="594" y="1279"/>
                    </a:lnTo>
                    <a:lnTo>
                      <a:pt x="590" y="1281"/>
                    </a:lnTo>
                    <a:lnTo>
                      <a:pt x="582" y="1281"/>
                    </a:lnTo>
                    <a:lnTo>
                      <a:pt x="580" y="1283"/>
                    </a:lnTo>
                    <a:lnTo>
                      <a:pt x="578" y="1285"/>
                    </a:lnTo>
                    <a:lnTo>
                      <a:pt x="580" y="1287"/>
                    </a:lnTo>
                    <a:lnTo>
                      <a:pt x="588" y="1297"/>
                    </a:lnTo>
                    <a:lnTo>
                      <a:pt x="588" y="1297"/>
                    </a:lnTo>
                    <a:lnTo>
                      <a:pt x="590" y="1299"/>
                    </a:lnTo>
                    <a:lnTo>
                      <a:pt x="592" y="1299"/>
                    </a:lnTo>
                    <a:lnTo>
                      <a:pt x="592" y="1299"/>
                    </a:lnTo>
                    <a:lnTo>
                      <a:pt x="594" y="1297"/>
                    </a:lnTo>
                    <a:lnTo>
                      <a:pt x="596" y="1297"/>
                    </a:lnTo>
                    <a:lnTo>
                      <a:pt x="598" y="1299"/>
                    </a:lnTo>
                    <a:lnTo>
                      <a:pt x="601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2"/>
                    </a:lnTo>
                    <a:lnTo>
                      <a:pt x="603" y="1302"/>
                    </a:lnTo>
                    <a:lnTo>
                      <a:pt x="601" y="1304"/>
                    </a:lnTo>
                    <a:lnTo>
                      <a:pt x="603" y="1306"/>
                    </a:lnTo>
                    <a:lnTo>
                      <a:pt x="603" y="1306"/>
                    </a:lnTo>
                    <a:lnTo>
                      <a:pt x="603" y="1306"/>
                    </a:lnTo>
                    <a:lnTo>
                      <a:pt x="605" y="1308"/>
                    </a:lnTo>
                    <a:lnTo>
                      <a:pt x="607" y="1312"/>
                    </a:lnTo>
                    <a:lnTo>
                      <a:pt x="607" y="1316"/>
                    </a:lnTo>
                    <a:lnTo>
                      <a:pt x="609" y="1316"/>
                    </a:lnTo>
                    <a:lnTo>
                      <a:pt x="609" y="1318"/>
                    </a:lnTo>
                    <a:lnTo>
                      <a:pt x="611" y="1320"/>
                    </a:lnTo>
                    <a:lnTo>
                      <a:pt x="611" y="1322"/>
                    </a:lnTo>
                    <a:lnTo>
                      <a:pt x="613" y="1324"/>
                    </a:lnTo>
                    <a:lnTo>
                      <a:pt x="621" y="1332"/>
                    </a:lnTo>
                    <a:lnTo>
                      <a:pt x="629" y="1334"/>
                    </a:lnTo>
                    <a:lnTo>
                      <a:pt x="633" y="1332"/>
                    </a:lnTo>
                    <a:lnTo>
                      <a:pt x="635" y="1332"/>
                    </a:lnTo>
                    <a:lnTo>
                      <a:pt x="639" y="1328"/>
                    </a:lnTo>
                    <a:lnTo>
                      <a:pt x="642" y="1326"/>
                    </a:lnTo>
                    <a:lnTo>
                      <a:pt x="648" y="1326"/>
                    </a:lnTo>
                    <a:lnTo>
                      <a:pt x="648" y="1326"/>
                    </a:lnTo>
                    <a:lnTo>
                      <a:pt x="654" y="1324"/>
                    </a:lnTo>
                    <a:lnTo>
                      <a:pt x="654" y="1324"/>
                    </a:lnTo>
                    <a:lnTo>
                      <a:pt x="654" y="1322"/>
                    </a:lnTo>
                    <a:lnTo>
                      <a:pt x="654" y="1320"/>
                    </a:lnTo>
                    <a:lnTo>
                      <a:pt x="654" y="1320"/>
                    </a:lnTo>
                    <a:lnTo>
                      <a:pt x="654" y="1318"/>
                    </a:lnTo>
                    <a:lnTo>
                      <a:pt x="652" y="1318"/>
                    </a:lnTo>
                    <a:lnTo>
                      <a:pt x="652" y="1318"/>
                    </a:lnTo>
                    <a:lnTo>
                      <a:pt x="650" y="1320"/>
                    </a:lnTo>
                    <a:lnTo>
                      <a:pt x="650" y="1318"/>
                    </a:lnTo>
                    <a:lnTo>
                      <a:pt x="650" y="1318"/>
                    </a:lnTo>
                    <a:lnTo>
                      <a:pt x="650" y="1318"/>
                    </a:lnTo>
                    <a:lnTo>
                      <a:pt x="650" y="1318"/>
                    </a:lnTo>
                    <a:lnTo>
                      <a:pt x="650" y="1318"/>
                    </a:lnTo>
                    <a:lnTo>
                      <a:pt x="648" y="1312"/>
                    </a:lnTo>
                    <a:lnTo>
                      <a:pt x="650" y="1312"/>
                    </a:lnTo>
                    <a:lnTo>
                      <a:pt x="652" y="1314"/>
                    </a:lnTo>
                    <a:lnTo>
                      <a:pt x="652" y="1314"/>
                    </a:lnTo>
                    <a:lnTo>
                      <a:pt x="654" y="1314"/>
                    </a:lnTo>
                    <a:lnTo>
                      <a:pt x="664" y="1320"/>
                    </a:lnTo>
                    <a:lnTo>
                      <a:pt x="664" y="1320"/>
                    </a:lnTo>
                    <a:lnTo>
                      <a:pt x="664" y="1322"/>
                    </a:lnTo>
                    <a:lnTo>
                      <a:pt x="664" y="1326"/>
                    </a:lnTo>
                    <a:lnTo>
                      <a:pt x="666" y="1328"/>
                    </a:lnTo>
                    <a:lnTo>
                      <a:pt x="676" y="1330"/>
                    </a:lnTo>
                    <a:lnTo>
                      <a:pt x="678" y="1332"/>
                    </a:lnTo>
                    <a:lnTo>
                      <a:pt x="680" y="1334"/>
                    </a:lnTo>
                    <a:lnTo>
                      <a:pt x="683" y="1336"/>
                    </a:lnTo>
                    <a:lnTo>
                      <a:pt x="685" y="1338"/>
                    </a:lnTo>
                    <a:lnTo>
                      <a:pt x="687" y="1338"/>
                    </a:lnTo>
                    <a:lnTo>
                      <a:pt x="689" y="1338"/>
                    </a:lnTo>
                    <a:lnTo>
                      <a:pt x="691" y="1340"/>
                    </a:lnTo>
                    <a:lnTo>
                      <a:pt x="693" y="1340"/>
                    </a:lnTo>
                    <a:lnTo>
                      <a:pt x="693" y="1343"/>
                    </a:lnTo>
                    <a:lnTo>
                      <a:pt x="693" y="1345"/>
                    </a:lnTo>
                    <a:lnTo>
                      <a:pt x="695" y="1345"/>
                    </a:lnTo>
                    <a:lnTo>
                      <a:pt x="697" y="1349"/>
                    </a:lnTo>
                    <a:lnTo>
                      <a:pt x="701" y="1349"/>
                    </a:lnTo>
                    <a:lnTo>
                      <a:pt x="703" y="1345"/>
                    </a:lnTo>
                    <a:lnTo>
                      <a:pt x="705" y="1343"/>
                    </a:lnTo>
                    <a:lnTo>
                      <a:pt x="705" y="1343"/>
                    </a:lnTo>
                    <a:lnTo>
                      <a:pt x="705" y="1343"/>
                    </a:lnTo>
                    <a:lnTo>
                      <a:pt x="705" y="1343"/>
                    </a:lnTo>
                    <a:lnTo>
                      <a:pt x="705" y="1343"/>
                    </a:lnTo>
                    <a:lnTo>
                      <a:pt x="705" y="1343"/>
                    </a:lnTo>
                    <a:lnTo>
                      <a:pt x="703" y="1343"/>
                    </a:lnTo>
                    <a:lnTo>
                      <a:pt x="703" y="1343"/>
                    </a:lnTo>
                    <a:lnTo>
                      <a:pt x="703" y="1343"/>
                    </a:lnTo>
                    <a:lnTo>
                      <a:pt x="709" y="1343"/>
                    </a:lnTo>
                    <a:lnTo>
                      <a:pt x="711" y="1343"/>
                    </a:lnTo>
                    <a:lnTo>
                      <a:pt x="717" y="1345"/>
                    </a:lnTo>
                    <a:lnTo>
                      <a:pt x="723" y="1347"/>
                    </a:lnTo>
                    <a:lnTo>
                      <a:pt x="730" y="1351"/>
                    </a:lnTo>
                    <a:lnTo>
                      <a:pt x="734" y="1351"/>
                    </a:lnTo>
                    <a:lnTo>
                      <a:pt x="734" y="1351"/>
                    </a:lnTo>
                    <a:lnTo>
                      <a:pt x="740" y="1347"/>
                    </a:lnTo>
                    <a:lnTo>
                      <a:pt x="742" y="1349"/>
                    </a:lnTo>
                    <a:lnTo>
                      <a:pt x="742" y="1349"/>
                    </a:lnTo>
                    <a:lnTo>
                      <a:pt x="742" y="1349"/>
                    </a:lnTo>
                    <a:lnTo>
                      <a:pt x="744" y="1353"/>
                    </a:lnTo>
                    <a:lnTo>
                      <a:pt x="744" y="1355"/>
                    </a:lnTo>
                    <a:lnTo>
                      <a:pt x="742" y="1357"/>
                    </a:lnTo>
                    <a:lnTo>
                      <a:pt x="744" y="1361"/>
                    </a:lnTo>
                    <a:lnTo>
                      <a:pt x="744" y="1361"/>
                    </a:lnTo>
                    <a:lnTo>
                      <a:pt x="748" y="1363"/>
                    </a:lnTo>
                    <a:lnTo>
                      <a:pt x="748" y="1363"/>
                    </a:lnTo>
                    <a:lnTo>
                      <a:pt x="748" y="1363"/>
                    </a:lnTo>
                    <a:lnTo>
                      <a:pt x="744" y="1369"/>
                    </a:lnTo>
                    <a:lnTo>
                      <a:pt x="744" y="1371"/>
                    </a:lnTo>
                    <a:lnTo>
                      <a:pt x="744" y="1375"/>
                    </a:lnTo>
                    <a:lnTo>
                      <a:pt x="746" y="1383"/>
                    </a:lnTo>
                    <a:lnTo>
                      <a:pt x="750" y="1392"/>
                    </a:lnTo>
                    <a:lnTo>
                      <a:pt x="752" y="1398"/>
                    </a:lnTo>
                    <a:lnTo>
                      <a:pt x="754" y="1400"/>
                    </a:lnTo>
                    <a:lnTo>
                      <a:pt x="756" y="1402"/>
                    </a:lnTo>
                    <a:lnTo>
                      <a:pt x="760" y="1402"/>
                    </a:lnTo>
                    <a:lnTo>
                      <a:pt x="762" y="1404"/>
                    </a:lnTo>
                    <a:lnTo>
                      <a:pt x="764" y="1404"/>
                    </a:lnTo>
                    <a:lnTo>
                      <a:pt x="766" y="1406"/>
                    </a:lnTo>
                    <a:lnTo>
                      <a:pt x="766" y="1406"/>
                    </a:lnTo>
                    <a:lnTo>
                      <a:pt x="769" y="1410"/>
                    </a:lnTo>
                    <a:lnTo>
                      <a:pt x="771" y="1410"/>
                    </a:lnTo>
                    <a:lnTo>
                      <a:pt x="773" y="1410"/>
                    </a:lnTo>
                    <a:lnTo>
                      <a:pt x="775" y="1410"/>
                    </a:lnTo>
                    <a:lnTo>
                      <a:pt x="779" y="1408"/>
                    </a:lnTo>
                    <a:lnTo>
                      <a:pt x="779" y="1410"/>
                    </a:lnTo>
                    <a:lnTo>
                      <a:pt x="781" y="1410"/>
                    </a:lnTo>
                    <a:lnTo>
                      <a:pt x="781" y="1412"/>
                    </a:lnTo>
                    <a:lnTo>
                      <a:pt x="781" y="1412"/>
                    </a:lnTo>
                    <a:lnTo>
                      <a:pt x="781" y="1418"/>
                    </a:lnTo>
                    <a:lnTo>
                      <a:pt x="783" y="1422"/>
                    </a:lnTo>
                    <a:lnTo>
                      <a:pt x="783" y="1424"/>
                    </a:lnTo>
                    <a:lnTo>
                      <a:pt x="785" y="1429"/>
                    </a:lnTo>
                    <a:lnTo>
                      <a:pt x="787" y="1431"/>
                    </a:lnTo>
                    <a:lnTo>
                      <a:pt x="789" y="1441"/>
                    </a:lnTo>
                    <a:lnTo>
                      <a:pt x="789" y="1447"/>
                    </a:lnTo>
                    <a:lnTo>
                      <a:pt x="789" y="1451"/>
                    </a:lnTo>
                    <a:lnTo>
                      <a:pt x="793" y="1453"/>
                    </a:lnTo>
                    <a:lnTo>
                      <a:pt x="805" y="1453"/>
                    </a:lnTo>
                    <a:lnTo>
                      <a:pt x="805" y="1453"/>
                    </a:lnTo>
                    <a:lnTo>
                      <a:pt x="810" y="1457"/>
                    </a:lnTo>
                    <a:lnTo>
                      <a:pt x="809" y="1461"/>
                    </a:lnTo>
                    <a:lnTo>
                      <a:pt x="809" y="1463"/>
                    </a:lnTo>
                    <a:lnTo>
                      <a:pt x="809" y="1465"/>
                    </a:lnTo>
                    <a:lnTo>
                      <a:pt x="809" y="1466"/>
                    </a:lnTo>
                    <a:lnTo>
                      <a:pt x="810" y="1470"/>
                    </a:lnTo>
                    <a:lnTo>
                      <a:pt x="809" y="1478"/>
                    </a:lnTo>
                    <a:lnTo>
                      <a:pt x="809" y="1480"/>
                    </a:lnTo>
                    <a:lnTo>
                      <a:pt x="810" y="1482"/>
                    </a:lnTo>
                    <a:lnTo>
                      <a:pt x="810" y="1482"/>
                    </a:lnTo>
                    <a:lnTo>
                      <a:pt x="812" y="1484"/>
                    </a:lnTo>
                    <a:lnTo>
                      <a:pt x="818" y="1482"/>
                    </a:lnTo>
                    <a:lnTo>
                      <a:pt x="824" y="1478"/>
                    </a:lnTo>
                    <a:lnTo>
                      <a:pt x="828" y="1478"/>
                    </a:lnTo>
                    <a:lnTo>
                      <a:pt x="828" y="1478"/>
                    </a:lnTo>
                    <a:lnTo>
                      <a:pt x="828" y="1478"/>
                    </a:lnTo>
                    <a:lnTo>
                      <a:pt x="828" y="1478"/>
                    </a:lnTo>
                    <a:lnTo>
                      <a:pt x="830" y="1478"/>
                    </a:lnTo>
                    <a:lnTo>
                      <a:pt x="832" y="1480"/>
                    </a:lnTo>
                    <a:lnTo>
                      <a:pt x="832" y="1480"/>
                    </a:lnTo>
                    <a:lnTo>
                      <a:pt x="834" y="1482"/>
                    </a:lnTo>
                    <a:lnTo>
                      <a:pt x="836" y="1482"/>
                    </a:lnTo>
                    <a:lnTo>
                      <a:pt x="838" y="1482"/>
                    </a:lnTo>
                    <a:lnTo>
                      <a:pt x="840" y="1482"/>
                    </a:lnTo>
                    <a:lnTo>
                      <a:pt x="846" y="1478"/>
                    </a:lnTo>
                    <a:lnTo>
                      <a:pt x="846" y="1478"/>
                    </a:lnTo>
                    <a:lnTo>
                      <a:pt x="846" y="1476"/>
                    </a:lnTo>
                    <a:lnTo>
                      <a:pt x="848" y="1474"/>
                    </a:lnTo>
                    <a:lnTo>
                      <a:pt x="848" y="1468"/>
                    </a:lnTo>
                    <a:lnTo>
                      <a:pt x="848" y="1468"/>
                    </a:lnTo>
                    <a:lnTo>
                      <a:pt x="848" y="1468"/>
                    </a:lnTo>
                    <a:lnTo>
                      <a:pt x="848" y="1468"/>
                    </a:lnTo>
                    <a:lnTo>
                      <a:pt x="850" y="1468"/>
                    </a:lnTo>
                    <a:lnTo>
                      <a:pt x="850" y="1468"/>
                    </a:lnTo>
                    <a:lnTo>
                      <a:pt x="851" y="1468"/>
                    </a:lnTo>
                    <a:lnTo>
                      <a:pt x="851" y="1468"/>
                    </a:lnTo>
                    <a:lnTo>
                      <a:pt x="851" y="1468"/>
                    </a:lnTo>
                    <a:lnTo>
                      <a:pt x="851" y="1466"/>
                    </a:lnTo>
                    <a:lnTo>
                      <a:pt x="851" y="1465"/>
                    </a:lnTo>
                    <a:lnTo>
                      <a:pt x="851" y="1465"/>
                    </a:lnTo>
                    <a:lnTo>
                      <a:pt x="850" y="1465"/>
                    </a:lnTo>
                    <a:lnTo>
                      <a:pt x="851" y="1461"/>
                    </a:lnTo>
                    <a:lnTo>
                      <a:pt x="853" y="1457"/>
                    </a:lnTo>
                    <a:lnTo>
                      <a:pt x="855" y="1453"/>
                    </a:lnTo>
                    <a:lnTo>
                      <a:pt x="857" y="1451"/>
                    </a:lnTo>
                    <a:lnTo>
                      <a:pt x="859" y="1449"/>
                    </a:lnTo>
                    <a:lnTo>
                      <a:pt x="861" y="1449"/>
                    </a:lnTo>
                    <a:lnTo>
                      <a:pt x="863" y="1447"/>
                    </a:lnTo>
                    <a:lnTo>
                      <a:pt x="869" y="1449"/>
                    </a:lnTo>
                    <a:lnTo>
                      <a:pt x="869" y="1447"/>
                    </a:lnTo>
                    <a:lnTo>
                      <a:pt x="871" y="1447"/>
                    </a:lnTo>
                    <a:lnTo>
                      <a:pt x="873" y="1447"/>
                    </a:lnTo>
                    <a:lnTo>
                      <a:pt x="873" y="1447"/>
                    </a:lnTo>
                    <a:lnTo>
                      <a:pt x="875" y="1445"/>
                    </a:lnTo>
                    <a:lnTo>
                      <a:pt x="889" y="1429"/>
                    </a:lnTo>
                    <a:lnTo>
                      <a:pt x="889" y="1429"/>
                    </a:lnTo>
                    <a:lnTo>
                      <a:pt x="889" y="1427"/>
                    </a:lnTo>
                    <a:lnTo>
                      <a:pt x="891" y="1427"/>
                    </a:lnTo>
                    <a:lnTo>
                      <a:pt x="891" y="1427"/>
                    </a:lnTo>
                    <a:lnTo>
                      <a:pt x="891" y="1427"/>
                    </a:lnTo>
                    <a:lnTo>
                      <a:pt x="893" y="1429"/>
                    </a:lnTo>
                    <a:lnTo>
                      <a:pt x="894" y="1431"/>
                    </a:lnTo>
                    <a:lnTo>
                      <a:pt x="896" y="1433"/>
                    </a:lnTo>
                    <a:lnTo>
                      <a:pt x="896" y="1435"/>
                    </a:lnTo>
                    <a:lnTo>
                      <a:pt x="896" y="1435"/>
                    </a:lnTo>
                    <a:lnTo>
                      <a:pt x="898" y="1437"/>
                    </a:lnTo>
                    <a:lnTo>
                      <a:pt x="900" y="1437"/>
                    </a:lnTo>
                    <a:lnTo>
                      <a:pt x="900" y="1437"/>
                    </a:lnTo>
                    <a:lnTo>
                      <a:pt x="900" y="1437"/>
                    </a:lnTo>
                    <a:lnTo>
                      <a:pt x="900" y="1439"/>
                    </a:lnTo>
                    <a:lnTo>
                      <a:pt x="902" y="1443"/>
                    </a:lnTo>
                    <a:lnTo>
                      <a:pt x="904" y="1451"/>
                    </a:lnTo>
                    <a:lnTo>
                      <a:pt x="906" y="1457"/>
                    </a:lnTo>
                    <a:lnTo>
                      <a:pt x="908" y="1465"/>
                    </a:lnTo>
                    <a:lnTo>
                      <a:pt x="908" y="1465"/>
                    </a:lnTo>
                    <a:lnTo>
                      <a:pt x="910" y="1466"/>
                    </a:lnTo>
                    <a:lnTo>
                      <a:pt x="912" y="1468"/>
                    </a:lnTo>
                    <a:lnTo>
                      <a:pt x="916" y="1468"/>
                    </a:lnTo>
                    <a:lnTo>
                      <a:pt x="918" y="1468"/>
                    </a:lnTo>
                    <a:lnTo>
                      <a:pt x="922" y="1468"/>
                    </a:lnTo>
                    <a:lnTo>
                      <a:pt x="922" y="1468"/>
                    </a:lnTo>
                    <a:lnTo>
                      <a:pt x="922" y="1468"/>
                    </a:lnTo>
                    <a:lnTo>
                      <a:pt x="922" y="1470"/>
                    </a:lnTo>
                    <a:lnTo>
                      <a:pt x="922" y="1472"/>
                    </a:lnTo>
                    <a:lnTo>
                      <a:pt x="922" y="1476"/>
                    </a:lnTo>
                    <a:lnTo>
                      <a:pt x="922" y="1478"/>
                    </a:lnTo>
                    <a:lnTo>
                      <a:pt x="922" y="1478"/>
                    </a:lnTo>
                    <a:lnTo>
                      <a:pt x="922" y="1480"/>
                    </a:lnTo>
                    <a:lnTo>
                      <a:pt x="922" y="1480"/>
                    </a:lnTo>
                    <a:lnTo>
                      <a:pt x="932" y="1482"/>
                    </a:lnTo>
                    <a:lnTo>
                      <a:pt x="934" y="1482"/>
                    </a:lnTo>
                    <a:lnTo>
                      <a:pt x="935" y="1482"/>
                    </a:lnTo>
                    <a:lnTo>
                      <a:pt x="937" y="1482"/>
                    </a:lnTo>
                    <a:lnTo>
                      <a:pt x="943" y="1480"/>
                    </a:lnTo>
                    <a:lnTo>
                      <a:pt x="945" y="1482"/>
                    </a:lnTo>
                    <a:lnTo>
                      <a:pt x="947" y="1486"/>
                    </a:lnTo>
                    <a:lnTo>
                      <a:pt x="947" y="1490"/>
                    </a:lnTo>
                    <a:lnTo>
                      <a:pt x="949" y="1504"/>
                    </a:lnTo>
                    <a:lnTo>
                      <a:pt x="947" y="1504"/>
                    </a:lnTo>
                    <a:lnTo>
                      <a:pt x="947" y="1506"/>
                    </a:lnTo>
                    <a:lnTo>
                      <a:pt x="947" y="1506"/>
                    </a:lnTo>
                    <a:lnTo>
                      <a:pt x="947" y="1507"/>
                    </a:lnTo>
                    <a:lnTo>
                      <a:pt x="947" y="1507"/>
                    </a:lnTo>
                    <a:lnTo>
                      <a:pt x="947" y="1507"/>
                    </a:lnTo>
                    <a:lnTo>
                      <a:pt x="947" y="1507"/>
                    </a:lnTo>
                    <a:lnTo>
                      <a:pt x="949" y="1509"/>
                    </a:lnTo>
                    <a:lnTo>
                      <a:pt x="949" y="1509"/>
                    </a:lnTo>
                    <a:lnTo>
                      <a:pt x="949" y="1509"/>
                    </a:lnTo>
                    <a:lnTo>
                      <a:pt x="951" y="1511"/>
                    </a:lnTo>
                    <a:lnTo>
                      <a:pt x="951" y="1511"/>
                    </a:lnTo>
                    <a:lnTo>
                      <a:pt x="951" y="1511"/>
                    </a:lnTo>
                    <a:lnTo>
                      <a:pt x="951" y="1513"/>
                    </a:lnTo>
                    <a:lnTo>
                      <a:pt x="951" y="1513"/>
                    </a:lnTo>
                    <a:lnTo>
                      <a:pt x="951" y="1513"/>
                    </a:lnTo>
                    <a:lnTo>
                      <a:pt x="951" y="1513"/>
                    </a:lnTo>
                    <a:lnTo>
                      <a:pt x="951" y="1513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5" y="1521"/>
                    </a:lnTo>
                    <a:lnTo>
                      <a:pt x="941" y="1525"/>
                    </a:lnTo>
                    <a:lnTo>
                      <a:pt x="941" y="1527"/>
                    </a:lnTo>
                    <a:lnTo>
                      <a:pt x="941" y="1529"/>
                    </a:lnTo>
                    <a:lnTo>
                      <a:pt x="941" y="1531"/>
                    </a:lnTo>
                    <a:lnTo>
                      <a:pt x="943" y="1533"/>
                    </a:lnTo>
                    <a:lnTo>
                      <a:pt x="947" y="1535"/>
                    </a:lnTo>
                    <a:lnTo>
                      <a:pt x="955" y="1535"/>
                    </a:lnTo>
                    <a:lnTo>
                      <a:pt x="959" y="1533"/>
                    </a:lnTo>
                    <a:lnTo>
                      <a:pt x="961" y="1531"/>
                    </a:lnTo>
                    <a:lnTo>
                      <a:pt x="963" y="1529"/>
                    </a:lnTo>
                    <a:lnTo>
                      <a:pt x="965" y="1527"/>
                    </a:lnTo>
                    <a:lnTo>
                      <a:pt x="967" y="1525"/>
                    </a:lnTo>
                    <a:lnTo>
                      <a:pt x="967" y="1525"/>
                    </a:lnTo>
                    <a:lnTo>
                      <a:pt x="973" y="1525"/>
                    </a:lnTo>
                    <a:lnTo>
                      <a:pt x="978" y="1527"/>
                    </a:lnTo>
                    <a:lnTo>
                      <a:pt x="986" y="1535"/>
                    </a:lnTo>
                    <a:lnTo>
                      <a:pt x="992" y="1537"/>
                    </a:lnTo>
                    <a:lnTo>
                      <a:pt x="996" y="1535"/>
                    </a:lnTo>
                    <a:lnTo>
                      <a:pt x="996" y="1529"/>
                    </a:lnTo>
                    <a:lnTo>
                      <a:pt x="996" y="1529"/>
                    </a:lnTo>
                    <a:lnTo>
                      <a:pt x="998" y="1519"/>
                    </a:lnTo>
                    <a:lnTo>
                      <a:pt x="1000" y="1517"/>
                    </a:lnTo>
                    <a:lnTo>
                      <a:pt x="1002" y="1515"/>
                    </a:lnTo>
                    <a:lnTo>
                      <a:pt x="1002" y="1511"/>
                    </a:lnTo>
                    <a:lnTo>
                      <a:pt x="1004" y="1507"/>
                    </a:lnTo>
                    <a:lnTo>
                      <a:pt x="1006" y="1504"/>
                    </a:lnTo>
                    <a:lnTo>
                      <a:pt x="1006" y="1504"/>
                    </a:lnTo>
                    <a:lnTo>
                      <a:pt x="1006" y="1504"/>
                    </a:lnTo>
                    <a:lnTo>
                      <a:pt x="1006" y="1504"/>
                    </a:lnTo>
                    <a:lnTo>
                      <a:pt x="1006" y="1504"/>
                    </a:lnTo>
                    <a:lnTo>
                      <a:pt x="1010" y="1504"/>
                    </a:lnTo>
                    <a:lnTo>
                      <a:pt x="1012" y="1502"/>
                    </a:lnTo>
                    <a:lnTo>
                      <a:pt x="1016" y="1498"/>
                    </a:lnTo>
                    <a:lnTo>
                      <a:pt x="1018" y="1496"/>
                    </a:lnTo>
                    <a:lnTo>
                      <a:pt x="1027" y="1496"/>
                    </a:lnTo>
                    <a:lnTo>
                      <a:pt x="1031" y="1496"/>
                    </a:lnTo>
                    <a:lnTo>
                      <a:pt x="1031" y="1494"/>
                    </a:lnTo>
                    <a:lnTo>
                      <a:pt x="1033" y="1490"/>
                    </a:lnTo>
                    <a:lnTo>
                      <a:pt x="1033" y="1490"/>
                    </a:lnTo>
                    <a:lnTo>
                      <a:pt x="1033" y="1488"/>
                    </a:lnTo>
                    <a:lnTo>
                      <a:pt x="1033" y="1486"/>
                    </a:lnTo>
                    <a:lnTo>
                      <a:pt x="1035" y="1484"/>
                    </a:lnTo>
                    <a:lnTo>
                      <a:pt x="1035" y="1484"/>
                    </a:lnTo>
                    <a:lnTo>
                      <a:pt x="1035" y="1484"/>
                    </a:lnTo>
                    <a:lnTo>
                      <a:pt x="1037" y="1482"/>
                    </a:lnTo>
                    <a:lnTo>
                      <a:pt x="1039" y="1482"/>
                    </a:lnTo>
                    <a:lnTo>
                      <a:pt x="1045" y="1484"/>
                    </a:lnTo>
                    <a:lnTo>
                      <a:pt x="1055" y="1484"/>
                    </a:lnTo>
                    <a:lnTo>
                      <a:pt x="1055" y="1480"/>
                    </a:lnTo>
                    <a:lnTo>
                      <a:pt x="1055" y="1480"/>
                    </a:lnTo>
                    <a:lnTo>
                      <a:pt x="1057" y="1478"/>
                    </a:lnTo>
                    <a:lnTo>
                      <a:pt x="1062" y="1482"/>
                    </a:lnTo>
                    <a:lnTo>
                      <a:pt x="1070" y="1486"/>
                    </a:lnTo>
                    <a:lnTo>
                      <a:pt x="1074" y="1488"/>
                    </a:lnTo>
                    <a:lnTo>
                      <a:pt x="1078" y="1486"/>
                    </a:lnTo>
                    <a:lnTo>
                      <a:pt x="1078" y="1486"/>
                    </a:lnTo>
                    <a:lnTo>
                      <a:pt x="1080" y="1484"/>
                    </a:lnTo>
                    <a:lnTo>
                      <a:pt x="1084" y="1480"/>
                    </a:lnTo>
                    <a:lnTo>
                      <a:pt x="1084" y="1480"/>
                    </a:lnTo>
                    <a:lnTo>
                      <a:pt x="1084" y="1480"/>
                    </a:lnTo>
                    <a:lnTo>
                      <a:pt x="1084" y="1480"/>
                    </a:lnTo>
                    <a:lnTo>
                      <a:pt x="1086" y="1480"/>
                    </a:lnTo>
                    <a:lnTo>
                      <a:pt x="1088" y="1480"/>
                    </a:lnTo>
                    <a:lnTo>
                      <a:pt x="1090" y="1480"/>
                    </a:lnTo>
                    <a:lnTo>
                      <a:pt x="1096" y="1478"/>
                    </a:lnTo>
                    <a:lnTo>
                      <a:pt x="1098" y="1480"/>
                    </a:lnTo>
                    <a:lnTo>
                      <a:pt x="1100" y="1480"/>
                    </a:lnTo>
                    <a:lnTo>
                      <a:pt x="1100" y="1480"/>
                    </a:lnTo>
                    <a:lnTo>
                      <a:pt x="1100" y="1480"/>
                    </a:lnTo>
                    <a:lnTo>
                      <a:pt x="1102" y="1482"/>
                    </a:lnTo>
                    <a:lnTo>
                      <a:pt x="1113" y="1498"/>
                    </a:lnTo>
                    <a:lnTo>
                      <a:pt x="1117" y="1500"/>
                    </a:lnTo>
                    <a:lnTo>
                      <a:pt x="1119" y="1500"/>
                    </a:lnTo>
                    <a:lnTo>
                      <a:pt x="1121" y="1500"/>
                    </a:lnTo>
                    <a:lnTo>
                      <a:pt x="1123" y="1500"/>
                    </a:lnTo>
                    <a:lnTo>
                      <a:pt x="1125" y="1500"/>
                    </a:lnTo>
                    <a:lnTo>
                      <a:pt x="1125" y="1500"/>
                    </a:lnTo>
                    <a:lnTo>
                      <a:pt x="1129" y="1502"/>
                    </a:lnTo>
                    <a:lnTo>
                      <a:pt x="1129" y="1502"/>
                    </a:lnTo>
                    <a:lnTo>
                      <a:pt x="1129" y="1502"/>
                    </a:lnTo>
                    <a:lnTo>
                      <a:pt x="1129" y="1502"/>
                    </a:lnTo>
                    <a:lnTo>
                      <a:pt x="1131" y="1506"/>
                    </a:lnTo>
                    <a:lnTo>
                      <a:pt x="1133" y="1507"/>
                    </a:lnTo>
                    <a:lnTo>
                      <a:pt x="1135" y="1507"/>
                    </a:lnTo>
                    <a:lnTo>
                      <a:pt x="1137" y="1507"/>
                    </a:lnTo>
                    <a:lnTo>
                      <a:pt x="1137" y="1507"/>
                    </a:lnTo>
                    <a:lnTo>
                      <a:pt x="1141" y="1506"/>
                    </a:lnTo>
                    <a:lnTo>
                      <a:pt x="1145" y="1504"/>
                    </a:lnTo>
                    <a:lnTo>
                      <a:pt x="1146" y="1502"/>
                    </a:lnTo>
                    <a:lnTo>
                      <a:pt x="1150" y="1496"/>
                    </a:lnTo>
                    <a:lnTo>
                      <a:pt x="1154" y="1492"/>
                    </a:lnTo>
                    <a:lnTo>
                      <a:pt x="1156" y="1492"/>
                    </a:lnTo>
                    <a:lnTo>
                      <a:pt x="1156" y="1492"/>
                    </a:lnTo>
                    <a:lnTo>
                      <a:pt x="1160" y="1492"/>
                    </a:lnTo>
                    <a:lnTo>
                      <a:pt x="1162" y="1490"/>
                    </a:lnTo>
                    <a:lnTo>
                      <a:pt x="1164" y="1488"/>
                    </a:lnTo>
                    <a:lnTo>
                      <a:pt x="1162" y="1484"/>
                    </a:lnTo>
                    <a:lnTo>
                      <a:pt x="1160" y="1484"/>
                    </a:lnTo>
                    <a:lnTo>
                      <a:pt x="1158" y="1482"/>
                    </a:lnTo>
                    <a:lnTo>
                      <a:pt x="1156" y="1480"/>
                    </a:lnTo>
                    <a:lnTo>
                      <a:pt x="1158" y="1476"/>
                    </a:lnTo>
                    <a:lnTo>
                      <a:pt x="1160" y="1476"/>
                    </a:lnTo>
                    <a:lnTo>
                      <a:pt x="1160" y="1476"/>
                    </a:lnTo>
                    <a:lnTo>
                      <a:pt x="1162" y="1474"/>
                    </a:lnTo>
                    <a:lnTo>
                      <a:pt x="1170" y="1474"/>
                    </a:lnTo>
                    <a:lnTo>
                      <a:pt x="1172" y="1474"/>
                    </a:lnTo>
                    <a:lnTo>
                      <a:pt x="1172" y="1474"/>
                    </a:lnTo>
                    <a:lnTo>
                      <a:pt x="1174" y="1476"/>
                    </a:lnTo>
                    <a:lnTo>
                      <a:pt x="1176" y="1478"/>
                    </a:lnTo>
                    <a:lnTo>
                      <a:pt x="1178" y="1478"/>
                    </a:lnTo>
                    <a:lnTo>
                      <a:pt x="1180" y="1480"/>
                    </a:lnTo>
                    <a:lnTo>
                      <a:pt x="1180" y="1480"/>
                    </a:lnTo>
                    <a:lnTo>
                      <a:pt x="1184" y="1480"/>
                    </a:lnTo>
                    <a:lnTo>
                      <a:pt x="1186" y="1476"/>
                    </a:lnTo>
                    <a:lnTo>
                      <a:pt x="1187" y="1476"/>
                    </a:lnTo>
                    <a:lnTo>
                      <a:pt x="1191" y="1468"/>
                    </a:lnTo>
                    <a:lnTo>
                      <a:pt x="1193" y="1468"/>
                    </a:lnTo>
                    <a:lnTo>
                      <a:pt x="1195" y="1466"/>
                    </a:lnTo>
                    <a:lnTo>
                      <a:pt x="1195" y="1466"/>
                    </a:lnTo>
                    <a:lnTo>
                      <a:pt x="1195" y="1466"/>
                    </a:lnTo>
                    <a:lnTo>
                      <a:pt x="1195" y="1466"/>
                    </a:lnTo>
                    <a:lnTo>
                      <a:pt x="1197" y="1468"/>
                    </a:lnTo>
                    <a:lnTo>
                      <a:pt x="1197" y="1468"/>
                    </a:lnTo>
                    <a:lnTo>
                      <a:pt x="1197" y="1468"/>
                    </a:lnTo>
                    <a:lnTo>
                      <a:pt x="1197" y="1468"/>
                    </a:lnTo>
                    <a:lnTo>
                      <a:pt x="1205" y="1472"/>
                    </a:lnTo>
                    <a:lnTo>
                      <a:pt x="1217" y="1476"/>
                    </a:lnTo>
                    <a:lnTo>
                      <a:pt x="1223" y="1476"/>
                    </a:lnTo>
                    <a:lnTo>
                      <a:pt x="1225" y="1476"/>
                    </a:lnTo>
                    <a:lnTo>
                      <a:pt x="1230" y="1476"/>
                    </a:lnTo>
                    <a:lnTo>
                      <a:pt x="1234" y="1476"/>
                    </a:lnTo>
                    <a:lnTo>
                      <a:pt x="1234" y="1476"/>
                    </a:lnTo>
                    <a:lnTo>
                      <a:pt x="1236" y="1476"/>
                    </a:lnTo>
                    <a:lnTo>
                      <a:pt x="1238" y="1474"/>
                    </a:lnTo>
                    <a:lnTo>
                      <a:pt x="1240" y="1474"/>
                    </a:lnTo>
                    <a:lnTo>
                      <a:pt x="1252" y="1472"/>
                    </a:lnTo>
                    <a:lnTo>
                      <a:pt x="1254" y="1474"/>
                    </a:lnTo>
                    <a:lnTo>
                      <a:pt x="1254" y="1474"/>
                    </a:lnTo>
                    <a:lnTo>
                      <a:pt x="1256" y="1474"/>
                    </a:lnTo>
                    <a:lnTo>
                      <a:pt x="1260" y="1478"/>
                    </a:lnTo>
                    <a:lnTo>
                      <a:pt x="1260" y="1478"/>
                    </a:lnTo>
                    <a:lnTo>
                      <a:pt x="1260" y="1478"/>
                    </a:lnTo>
                    <a:lnTo>
                      <a:pt x="1262" y="1478"/>
                    </a:lnTo>
                    <a:lnTo>
                      <a:pt x="1262" y="1480"/>
                    </a:lnTo>
                    <a:lnTo>
                      <a:pt x="1262" y="1480"/>
                    </a:lnTo>
                    <a:lnTo>
                      <a:pt x="1266" y="1478"/>
                    </a:lnTo>
                    <a:lnTo>
                      <a:pt x="1266" y="1478"/>
                    </a:lnTo>
                    <a:lnTo>
                      <a:pt x="1268" y="1482"/>
                    </a:lnTo>
                    <a:lnTo>
                      <a:pt x="1270" y="1482"/>
                    </a:lnTo>
                    <a:lnTo>
                      <a:pt x="1271" y="1486"/>
                    </a:lnTo>
                    <a:lnTo>
                      <a:pt x="1275" y="1490"/>
                    </a:lnTo>
                    <a:lnTo>
                      <a:pt x="1277" y="1492"/>
                    </a:lnTo>
                    <a:lnTo>
                      <a:pt x="1277" y="1492"/>
                    </a:lnTo>
                    <a:lnTo>
                      <a:pt x="1279" y="1492"/>
                    </a:lnTo>
                    <a:lnTo>
                      <a:pt x="1281" y="1490"/>
                    </a:lnTo>
                    <a:lnTo>
                      <a:pt x="1281" y="1488"/>
                    </a:lnTo>
                    <a:lnTo>
                      <a:pt x="1285" y="1486"/>
                    </a:lnTo>
                    <a:lnTo>
                      <a:pt x="1287" y="1486"/>
                    </a:lnTo>
                    <a:lnTo>
                      <a:pt x="1287" y="1486"/>
                    </a:lnTo>
                    <a:lnTo>
                      <a:pt x="1287" y="1486"/>
                    </a:lnTo>
                    <a:lnTo>
                      <a:pt x="1287" y="1486"/>
                    </a:lnTo>
                    <a:lnTo>
                      <a:pt x="1291" y="1488"/>
                    </a:lnTo>
                    <a:lnTo>
                      <a:pt x="1297" y="1494"/>
                    </a:lnTo>
                    <a:lnTo>
                      <a:pt x="1305" y="1498"/>
                    </a:lnTo>
                    <a:lnTo>
                      <a:pt x="1307" y="1498"/>
                    </a:lnTo>
                    <a:lnTo>
                      <a:pt x="1313" y="1504"/>
                    </a:lnTo>
                    <a:lnTo>
                      <a:pt x="1313" y="1504"/>
                    </a:lnTo>
                    <a:lnTo>
                      <a:pt x="1313" y="1504"/>
                    </a:lnTo>
                    <a:lnTo>
                      <a:pt x="1316" y="1511"/>
                    </a:lnTo>
                    <a:lnTo>
                      <a:pt x="1316" y="1511"/>
                    </a:lnTo>
                    <a:lnTo>
                      <a:pt x="1316" y="1511"/>
                    </a:lnTo>
                    <a:lnTo>
                      <a:pt x="1316" y="1511"/>
                    </a:lnTo>
                    <a:lnTo>
                      <a:pt x="1318" y="1519"/>
                    </a:lnTo>
                    <a:lnTo>
                      <a:pt x="1320" y="1529"/>
                    </a:lnTo>
                    <a:lnTo>
                      <a:pt x="1324" y="1531"/>
                    </a:lnTo>
                    <a:lnTo>
                      <a:pt x="1336" y="1533"/>
                    </a:lnTo>
                    <a:lnTo>
                      <a:pt x="1340" y="1535"/>
                    </a:lnTo>
                    <a:lnTo>
                      <a:pt x="1342" y="1537"/>
                    </a:lnTo>
                    <a:lnTo>
                      <a:pt x="1344" y="1539"/>
                    </a:lnTo>
                    <a:lnTo>
                      <a:pt x="1346" y="1539"/>
                    </a:lnTo>
                    <a:lnTo>
                      <a:pt x="1346" y="1539"/>
                    </a:lnTo>
                    <a:lnTo>
                      <a:pt x="1350" y="1539"/>
                    </a:lnTo>
                    <a:lnTo>
                      <a:pt x="1352" y="1539"/>
                    </a:lnTo>
                    <a:lnTo>
                      <a:pt x="1354" y="1539"/>
                    </a:lnTo>
                    <a:lnTo>
                      <a:pt x="1354" y="1541"/>
                    </a:lnTo>
                    <a:lnTo>
                      <a:pt x="1354" y="1543"/>
                    </a:lnTo>
                    <a:lnTo>
                      <a:pt x="1354" y="1543"/>
                    </a:lnTo>
                    <a:lnTo>
                      <a:pt x="1354" y="1545"/>
                    </a:lnTo>
                    <a:lnTo>
                      <a:pt x="1354" y="1545"/>
                    </a:lnTo>
                    <a:lnTo>
                      <a:pt x="1354" y="1547"/>
                    </a:lnTo>
                    <a:lnTo>
                      <a:pt x="1357" y="1547"/>
                    </a:lnTo>
                    <a:lnTo>
                      <a:pt x="1361" y="1548"/>
                    </a:lnTo>
                    <a:lnTo>
                      <a:pt x="1365" y="1548"/>
                    </a:lnTo>
                    <a:lnTo>
                      <a:pt x="1371" y="1548"/>
                    </a:lnTo>
                    <a:lnTo>
                      <a:pt x="1373" y="1548"/>
                    </a:lnTo>
                    <a:lnTo>
                      <a:pt x="1375" y="1550"/>
                    </a:lnTo>
                    <a:lnTo>
                      <a:pt x="1377" y="1550"/>
                    </a:lnTo>
                    <a:lnTo>
                      <a:pt x="1383" y="1558"/>
                    </a:lnTo>
                    <a:lnTo>
                      <a:pt x="1389" y="1560"/>
                    </a:lnTo>
                    <a:lnTo>
                      <a:pt x="1389" y="1560"/>
                    </a:lnTo>
                    <a:lnTo>
                      <a:pt x="1395" y="1560"/>
                    </a:lnTo>
                    <a:lnTo>
                      <a:pt x="1402" y="1560"/>
                    </a:lnTo>
                    <a:lnTo>
                      <a:pt x="1406" y="1562"/>
                    </a:lnTo>
                    <a:lnTo>
                      <a:pt x="1408" y="1564"/>
                    </a:lnTo>
                    <a:lnTo>
                      <a:pt x="1408" y="1564"/>
                    </a:lnTo>
                    <a:lnTo>
                      <a:pt x="1408" y="1564"/>
                    </a:lnTo>
                    <a:lnTo>
                      <a:pt x="1412" y="1560"/>
                    </a:lnTo>
                    <a:lnTo>
                      <a:pt x="1416" y="1560"/>
                    </a:lnTo>
                    <a:lnTo>
                      <a:pt x="1422" y="1568"/>
                    </a:lnTo>
                    <a:lnTo>
                      <a:pt x="1426" y="1570"/>
                    </a:lnTo>
                    <a:lnTo>
                      <a:pt x="1430" y="1572"/>
                    </a:lnTo>
                    <a:lnTo>
                      <a:pt x="1434" y="1570"/>
                    </a:lnTo>
                    <a:lnTo>
                      <a:pt x="1440" y="1572"/>
                    </a:lnTo>
                    <a:lnTo>
                      <a:pt x="1443" y="1570"/>
                    </a:lnTo>
                    <a:lnTo>
                      <a:pt x="1445" y="1570"/>
                    </a:lnTo>
                    <a:lnTo>
                      <a:pt x="1445" y="1572"/>
                    </a:lnTo>
                    <a:lnTo>
                      <a:pt x="1449" y="1576"/>
                    </a:lnTo>
                    <a:lnTo>
                      <a:pt x="1451" y="1578"/>
                    </a:lnTo>
                    <a:lnTo>
                      <a:pt x="1455" y="1578"/>
                    </a:lnTo>
                    <a:lnTo>
                      <a:pt x="1457" y="1582"/>
                    </a:lnTo>
                    <a:lnTo>
                      <a:pt x="1461" y="1584"/>
                    </a:lnTo>
                    <a:lnTo>
                      <a:pt x="1463" y="1580"/>
                    </a:lnTo>
                    <a:lnTo>
                      <a:pt x="1463" y="1578"/>
                    </a:lnTo>
                    <a:lnTo>
                      <a:pt x="1463" y="1578"/>
                    </a:lnTo>
                    <a:lnTo>
                      <a:pt x="1459" y="1574"/>
                    </a:lnTo>
                    <a:lnTo>
                      <a:pt x="1459" y="1570"/>
                    </a:lnTo>
                    <a:lnTo>
                      <a:pt x="1459" y="1568"/>
                    </a:lnTo>
                    <a:lnTo>
                      <a:pt x="1461" y="1562"/>
                    </a:lnTo>
                    <a:lnTo>
                      <a:pt x="1461" y="1560"/>
                    </a:lnTo>
                    <a:lnTo>
                      <a:pt x="1459" y="1558"/>
                    </a:lnTo>
                    <a:lnTo>
                      <a:pt x="1451" y="1554"/>
                    </a:lnTo>
                    <a:lnTo>
                      <a:pt x="1449" y="1550"/>
                    </a:lnTo>
                    <a:lnTo>
                      <a:pt x="1443" y="1545"/>
                    </a:lnTo>
                    <a:lnTo>
                      <a:pt x="1438" y="1541"/>
                    </a:lnTo>
                    <a:lnTo>
                      <a:pt x="1440" y="1541"/>
                    </a:lnTo>
                    <a:lnTo>
                      <a:pt x="1440" y="1541"/>
                    </a:lnTo>
                    <a:lnTo>
                      <a:pt x="1436" y="1539"/>
                    </a:lnTo>
                    <a:lnTo>
                      <a:pt x="1434" y="1541"/>
                    </a:lnTo>
                    <a:lnTo>
                      <a:pt x="1434" y="1543"/>
                    </a:lnTo>
                    <a:lnTo>
                      <a:pt x="1432" y="1541"/>
                    </a:lnTo>
                    <a:lnTo>
                      <a:pt x="1434" y="1537"/>
                    </a:lnTo>
                    <a:lnTo>
                      <a:pt x="1436" y="1533"/>
                    </a:lnTo>
                    <a:lnTo>
                      <a:pt x="1438" y="1523"/>
                    </a:lnTo>
                    <a:lnTo>
                      <a:pt x="1441" y="1515"/>
                    </a:lnTo>
                    <a:lnTo>
                      <a:pt x="1441" y="1511"/>
                    </a:lnTo>
                    <a:lnTo>
                      <a:pt x="1440" y="1488"/>
                    </a:lnTo>
                    <a:lnTo>
                      <a:pt x="1438" y="1484"/>
                    </a:lnTo>
                    <a:lnTo>
                      <a:pt x="1438" y="1482"/>
                    </a:lnTo>
                    <a:lnTo>
                      <a:pt x="1434" y="1478"/>
                    </a:lnTo>
                    <a:lnTo>
                      <a:pt x="1432" y="1474"/>
                    </a:lnTo>
                    <a:lnTo>
                      <a:pt x="1432" y="1474"/>
                    </a:lnTo>
                    <a:lnTo>
                      <a:pt x="1432" y="1470"/>
                    </a:lnTo>
                    <a:lnTo>
                      <a:pt x="1430" y="1459"/>
                    </a:lnTo>
                    <a:lnTo>
                      <a:pt x="1428" y="1457"/>
                    </a:lnTo>
                    <a:lnTo>
                      <a:pt x="1426" y="1447"/>
                    </a:lnTo>
                    <a:lnTo>
                      <a:pt x="1430" y="1437"/>
                    </a:lnTo>
                    <a:lnTo>
                      <a:pt x="1441" y="1420"/>
                    </a:lnTo>
                    <a:lnTo>
                      <a:pt x="1445" y="1412"/>
                    </a:lnTo>
                    <a:lnTo>
                      <a:pt x="1445" y="1410"/>
                    </a:lnTo>
                    <a:lnTo>
                      <a:pt x="1447" y="1408"/>
                    </a:lnTo>
                    <a:lnTo>
                      <a:pt x="1451" y="1406"/>
                    </a:lnTo>
                    <a:lnTo>
                      <a:pt x="1453" y="1406"/>
                    </a:lnTo>
                    <a:lnTo>
                      <a:pt x="1457" y="1404"/>
                    </a:lnTo>
                    <a:lnTo>
                      <a:pt x="1467" y="1384"/>
                    </a:lnTo>
                    <a:lnTo>
                      <a:pt x="1469" y="1383"/>
                    </a:lnTo>
                    <a:lnTo>
                      <a:pt x="1471" y="1383"/>
                    </a:lnTo>
                    <a:lnTo>
                      <a:pt x="1473" y="1381"/>
                    </a:lnTo>
                    <a:lnTo>
                      <a:pt x="1475" y="1379"/>
                    </a:lnTo>
                    <a:lnTo>
                      <a:pt x="1475" y="1377"/>
                    </a:lnTo>
                    <a:lnTo>
                      <a:pt x="1477" y="1373"/>
                    </a:lnTo>
                    <a:lnTo>
                      <a:pt x="1477" y="1371"/>
                    </a:lnTo>
                    <a:lnTo>
                      <a:pt x="1484" y="1363"/>
                    </a:lnTo>
                    <a:lnTo>
                      <a:pt x="1502" y="1336"/>
                    </a:lnTo>
                    <a:lnTo>
                      <a:pt x="1510" y="1328"/>
                    </a:lnTo>
                    <a:lnTo>
                      <a:pt x="1516" y="1324"/>
                    </a:lnTo>
                    <a:lnTo>
                      <a:pt x="1520" y="1316"/>
                    </a:lnTo>
                    <a:lnTo>
                      <a:pt x="1559" y="1275"/>
                    </a:lnTo>
                    <a:lnTo>
                      <a:pt x="1566" y="1269"/>
                    </a:lnTo>
                    <a:lnTo>
                      <a:pt x="1574" y="1261"/>
                    </a:lnTo>
                    <a:lnTo>
                      <a:pt x="1574" y="1261"/>
                    </a:lnTo>
                    <a:lnTo>
                      <a:pt x="1580" y="1258"/>
                    </a:lnTo>
                    <a:lnTo>
                      <a:pt x="1594" y="1244"/>
                    </a:lnTo>
                    <a:lnTo>
                      <a:pt x="1596" y="1240"/>
                    </a:lnTo>
                    <a:lnTo>
                      <a:pt x="1596" y="1240"/>
                    </a:lnTo>
                    <a:lnTo>
                      <a:pt x="1598" y="1232"/>
                    </a:lnTo>
                    <a:lnTo>
                      <a:pt x="1600" y="1228"/>
                    </a:lnTo>
                    <a:lnTo>
                      <a:pt x="1602" y="1226"/>
                    </a:lnTo>
                    <a:lnTo>
                      <a:pt x="1606" y="1226"/>
                    </a:lnTo>
                    <a:lnTo>
                      <a:pt x="1611" y="1224"/>
                    </a:lnTo>
                    <a:lnTo>
                      <a:pt x="1641" y="1222"/>
                    </a:lnTo>
                    <a:lnTo>
                      <a:pt x="1650" y="1220"/>
                    </a:lnTo>
                    <a:lnTo>
                      <a:pt x="1652" y="1211"/>
                    </a:lnTo>
                    <a:lnTo>
                      <a:pt x="1654" y="1209"/>
                    </a:lnTo>
                    <a:lnTo>
                      <a:pt x="1654" y="1205"/>
                    </a:lnTo>
                    <a:lnTo>
                      <a:pt x="1654" y="1199"/>
                    </a:lnTo>
                    <a:lnTo>
                      <a:pt x="1654" y="1197"/>
                    </a:lnTo>
                    <a:lnTo>
                      <a:pt x="1666" y="1191"/>
                    </a:lnTo>
                    <a:lnTo>
                      <a:pt x="1668" y="1187"/>
                    </a:lnTo>
                    <a:lnTo>
                      <a:pt x="1670" y="1185"/>
                    </a:lnTo>
                    <a:lnTo>
                      <a:pt x="1670" y="1183"/>
                    </a:lnTo>
                    <a:lnTo>
                      <a:pt x="1670" y="1183"/>
                    </a:lnTo>
                    <a:lnTo>
                      <a:pt x="1668" y="1179"/>
                    </a:lnTo>
                    <a:lnTo>
                      <a:pt x="1666" y="1168"/>
                    </a:lnTo>
                    <a:lnTo>
                      <a:pt x="1670" y="1160"/>
                    </a:lnTo>
                    <a:lnTo>
                      <a:pt x="1670" y="1160"/>
                    </a:lnTo>
                    <a:lnTo>
                      <a:pt x="1666" y="1150"/>
                    </a:lnTo>
                    <a:lnTo>
                      <a:pt x="1666" y="1144"/>
                    </a:lnTo>
                    <a:lnTo>
                      <a:pt x="1666" y="1138"/>
                    </a:lnTo>
                    <a:lnTo>
                      <a:pt x="1662" y="1138"/>
                    </a:lnTo>
                    <a:lnTo>
                      <a:pt x="1656" y="1135"/>
                    </a:lnTo>
                    <a:lnTo>
                      <a:pt x="1654" y="1131"/>
                    </a:lnTo>
                    <a:lnTo>
                      <a:pt x="1656" y="1127"/>
                    </a:lnTo>
                    <a:lnTo>
                      <a:pt x="1656" y="1125"/>
                    </a:lnTo>
                    <a:lnTo>
                      <a:pt x="1652" y="1125"/>
                    </a:lnTo>
                    <a:lnTo>
                      <a:pt x="1649" y="1123"/>
                    </a:lnTo>
                    <a:lnTo>
                      <a:pt x="1647" y="1119"/>
                    </a:lnTo>
                    <a:lnTo>
                      <a:pt x="1647" y="1113"/>
                    </a:lnTo>
                    <a:lnTo>
                      <a:pt x="1649" y="1109"/>
                    </a:lnTo>
                    <a:lnTo>
                      <a:pt x="1652" y="1105"/>
                    </a:lnTo>
                    <a:lnTo>
                      <a:pt x="1656" y="1105"/>
                    </a:lnTo>
                    <a:lnTo>
                      <a:pt x="1660" y="1107"/>
                    </a:lnTo>
                    <a:lnTo>
                      <a:pt x="1664" y="1107"/>
                    </a:lnTo>
                    <a:lnTo>
                      <a:pt x="1670" y="1107"/>
                    </a:lnTo>
                    <a:lnTo>
                      <a:pt x="1674" y="1105"/>
                    </a:lnTo>
                    <a:lnTo>
                      <a:pt x="1676" y="1101"/>
                    </a:lnTo>
                    <a:lnTo>
                      <a:pt x="1674" y="1097"/>
                    </a:lnTo>
                    <a:lnTo>
                      <a:pt x="1660" y="1090"/>
                    </a:lnTo>
                    <a:lnTo>
                      <a:pt x="1649" y="1080"/>
                    </a:lnTo>
                    <a:lnTo>
                      <a:pt x="1647" y="1076"/>
                    </a:lnTo>
                    <a:lnTo>
                      <a:pt x="1647" y="1072"/>
                    </a:lnTo>
                    <a:lnTo>
                      <a:pt x="1647" y="1070"/>
                    </a:lnTo>
                    <a:lnTo>
                      <a:pt x="1645" y="1068"/>
                    </a:lnTo>
                    <a:lnTo>
                      <a:pt x="1643" y="1064"/>
                    </a:lnTo>
                    <a:lnTo>
                      <a:pt x="1641" y="1062"/>
                    </a:lnTo>
                    <a:lnTo>
                      <a:pt x="1639" y="1062"/>
                    </a:lnTo>
                    <a:lnTo>
                      <a:pt x="1639" y="1060"/>
                    </a:lnTo>
                    <a:lnTo>
                      <a:pt x="1639" y="1058"/>
                    </a:lnTo>
                    <a:lnTo>
                      <a:pt x="1639" y="1056"/>
                    </a:lnTo>
                    <a:lnTo>
                      <a:pt x="1637" y="1047"/>
                    </a:lnTo>
                    <a:lnTo>
                      <a:pt x="1635" y="1043"/>
                    </a:lnTo>
                    <a:lnTo>
                      <a:pt x="1631" y="1035"/>
                    </a:lnTo>
                    <a:lnTo>
                      <a:pt x="1629" y="1031"/>
                    </a:lnTo>
                    <a:lnTo>
                      <a:pt x="1629" y="1027"/>
                    </a:lnTo>
                    <a:lnTo>
                      <a:pt x="1631" y="1027"/>
                    </a:lnTo>
                    <a:lnTo>
                      <a:pt x="1629" y="1023"/>
                    </a:lnTo>
                    <a:lnTo>
                      <a:pt x="1621" y="1015"/>
                    </a:lnTo>
                    <a:lnTo>
                      <a:pt x="1613" y="1010"/>
                    </a:lnTo>
                    <a:lnTo>
                      <a:pt x="1609" y="1006"/>
                    </a:lnTo>
                    <a:lnTo>
                      <a:pt x="1600" y="984"/>
                    </a:lnTo>
                    <a:lnTo>
                      <a:pt x="1598" y="984"/>
                    </a:lnTo>
                    <a:lnTo>
                      <a:pt x="1594" y="982"/>
                    </a:lnTo>
                    <a:lnTo>
                      <a:pt x="1592" y="982"/>
                    </a:lnTo>
                    <a:lnTo>
                      <a:pt x="1590" y="976"/>
                    </a:lnTo>
                    <a:lnTo>
                      <a:pt x="1592" y="973"/>
                    </a:lnTo>
                    <a:lnTo>
                      <a:pt x="1594" y="969"/>
                    </a:lnTo>
                    <a:lnTo>
                      <a:pt x="1598" y="965"/>
                    </a:lnTo>
                    <a:lnTo>
                      <a:pt x="1600" y="965"/>
                    </a:lnTo>
                    <a:lnTo>
                      <a:pt x="1600" y="961"/>
                    </a:lnTo>
                    <a:lnTo>
                      <a:pt x="1600" y="959"/>
                    </a:lnTo>
                    <a:lnTo>
                      <a:pt x="1600" y="957"/>
                    </a:lnTo>
                    <a:lnTo>
                      <a:pt x="1602" y="955"/>
                    </a:lnTo>
                    <a:lnTo>
                      <a:pt x="1602" y="951"/>
                    </a:lnTo>
                    <a:lnTo>
                      <a:pt x="1594" y="941"/>
                    </a:lnTo>
                    <a:lnTo>
                      <a:pt x="1594" y="939"/>
                    </a:lnTo>
                    <a:lnTo>
                      <a:pt x="1596" y="935"/>
                    </a:lnTo>
                    <a:lnTo>
                      <a:pt x="1594" y="933"/>
                    </a:lnTo>
                    <a:lnTo>
                      <a:pt x="1590" y="932"/>
                    </a:lnTo>
                    <a:lnTo>
                      <a:pt x="1588" y="930"/>
                    </a:lnTo>
                    <a:lnTo>
                      <a:pt x="1588" y="926"/>
                    </a:lnTo>
                    <a:lnTo>
                      <a:pt x="1586" y="926"/>
                    </a:lnTo>
                    <a:lnTo>
                      <a:pt x="1586" y="922"/>
                    </a:lnTo>
                    <a:lnTo>
                      <a:pt x="1584" y="920"/>
                    </a:lnTo>
                    <a:lnTo>
                      <a:pt x="1582" y="920"/>
                    </a:lnTo>
                    <a:lnTo>
                      <a:pt x="1582" y="920"/>
                    </a:lnTo>
                    <a:lnTo>
                      <a:pt x="1582" y="920"/>
                    </a:lnTo>
                    <a:lnTo>
                      <a:pt x="1582" y="920"/>
                    </a:lnTo>
                    <a:lnTo>
                      <a:pt x="1580" y="914"/>
                    </a:lnTo>
                    <a:lnTo>
                      <a:pt x="1580" y="914"/>
                    </a:lnTo>
                    <a:lnTo>
                      <a:pt x="1580" y="914"/>
                    </a:lnTo>
                    <a:lnTo>
                      <a:pt x="1580" y="914"/>
                    </a:lnTo>
                    <a:lnTo>
                      <a:pt x="1580" y="914"/>
                    </a:lnTo>
                    <a:lnTo>
                      <a:pt x="1580" y="914"/>
                    </a:lnTo>
                    <a:lnTo>
                      <a:pt x="1582" y="914"/>
                    </a:lnTo>
                    <a:lnTo>
                      <a:pt x="1578" y="908"/>
                    </a:lnTo>
                    <a:lnTo>
                      <a:pt x="1578" y="908"/>
                    </a:lnTo>
                    <a:lnTo>
                      <a:pt x="1576" y="904"/>
                    </a:lnTo>
                    <a:lnTo>
                      <a:pt x="1576" y="900"/>
                    </a:lnTo>
                    <a:lnTo>
                      <a:pt x="1576" y="900"/>
                    </a:lnTo>
                    <a:lnTo>
                      <a:pt x="1576" y="900"/>
                    </a:lnTo>
                    <a:lnTo>
                      <a:pt x="1576" y="900"/>
                    </a:lnTo>
                    <a:lnTo>
                      <a:pt x="1576" y="894"/>
                    </a:lnTo>
                    <a:lnTo>
                      <a:pt x="1576" y="892"/>
                    </a:lnTo>
                    <a:lnTo>
                      <a:pt x="1576" y="891"/>
                    </a:lnTo>
                    <a:lnTo>
                      <a:pt x="1576" y="891"/>
                    </a:lnTo>
                    <a:lnTo>
                      <a:pt x="1574" y="889"/>
                    </a:lnTo>
                    <a:lnTo>
                      <a:pt x="1574" y="889"/>
                    </a:lnTo>
                    <a:lnTo>
                      <a:pt x="1574" y="889"/>
                    </a:lnTo>
                    <a:lnTo>
                      <a:pt x="1574" y="887"/>
                    </a:lnTo>
                    <a:lnTo>
                      <a:pt x="1574" y="887"/>
                    </a:lnTo>
                    <a:lnTo>
                      <a:pt x="1574" y="887"/>
                    </a:lnTo>
                    <a:lnTo>
                      <a:pt x="1576" y="887"/>
                    </a:lnTo>
                    <a:lnTo>
                      <a:pt x="1576" y="887"/>
                    </a:lnTo>
                    <a:lnTo>
                      <a:pt x="1576" y="887"/>
                    </a:lnTo>
                    <a:lnTo>
                      <a:pt x="1578" y="885"/>
                    </a:lnTo>
                    <a:lnTo>
                      <a:pt x="1580" y="883"/>
                    </a:lnTo>
                    <a:lnTo>
                      <a:pt x="1578" y="883"/>
                    </a:lnTo>
                    <a:lnTo>
                      <a:pt x="1578" y="881"/>
                    </a:lnTo>
                    <a:lnTo>
                      <a:pt x="1578" y="881"/>
                    </a:lnTo>
                    <a:lnTo>
                      <a:pt x="1576" y="879"/>
                    </a:lnTo>
                    <a:lnTo>
                      <a:pt x="1578" y="879"/>
                    </a:lnTo>
                    <a:lnTo>
                      <a:pt x="1578" y="877"/>
                    </a:lnTo>
                    <a:lnTo>
                      <a:pt x="1578" y="877"/>
                    </a:lnTo>
                    <a:lnTo>
                      <a:pt x="1578" y="875"/>
                    </a:lnTo>
                    <a:lnTo>
                      <a:pt x="1578" y="873"/>
                    </a:lnTo>
                    <a:lnTo>
                      <a:pt x="1576" y="873"/>
                    </a:lnTo>
                    <a:lnTo>
                      <a:pt x="1578" y="867"/>
                    </a:lnTo>
                    <a:lnTo>
                      <a:pt x="1578" y="865"/>
                    </a:lnTo>
                    <a:lnTo>
                      <a:pt x="1578" y="863"/>
                    </a:lnTo>
                    <a:lnTo>
                      <a:pt x="1580" y="861"/>
                    </a:lnTo>
                    <a:lnTo>
                      <a:pt x="1582" y="857"/>
                    </a:lnTo>
                    <a:lnTo>
                      <a:pt x="1584" y="855"/>
                    </a:lnTo>
                    <a:lnTo>
                      <a:pt x="1586" y="855"/>
                    </a:lnTo>
                    <a:lnTo>
                      <a:pt x="1586" y="855"/>
                    </a:lnTo>
                    <a:lnTo>
                      <a:pt x="1588" y="853"/>
                    </a:lnTo>
                    <a:lnTo>
                      <a:pt x="1590" y="848"/>
                    </a:lnTo>
                    <a:lnTo>
                      <a:pt x="1590" y="846"/>
                    </a:lnTo>
                    <a:lnTo>
                      <a:pt x="1590" y="844"/>
                    </a:lnTo>
                    <a:lnTo>
                      <a:pt x="1588" y="842"/>
                    </a:lnTo>
                    <a:lnTo>
                      <a:pt x="1586" y="842"/>
                    </a:lnTo>
                    <a:lnTo>
                      <a:pt x="1584" y="838"/>
                    </a:lnTo>
                    <a:lnTo>
                      <a:pt x="1584" y="838"/>
                    </a:lnTo>
                    <a:lnTo>
                      <a:pt x="1584" y="838"/>
                    </a:lnTo>
                    <a:lnTo>
                      <a:pt x="1586" y="836"/>
                    </a:lnTo>
                    <a:lnTo>
                      <a:pt x="1586" y="836"/>
                    </a:lnTo>
                    <a:lnTo>
                      <a:pt x="1588" y="830"/>
                    </a:lnTo>
                    <a:lnTo>
                      <a:pt x="1590" y="828"/>
                    </a:lnTo>
                    <a:lnTo>
                      <a:pt x="1590" y="828"/>
                    </a:lnTo>
                    <a:lnTo>
                      <a:pt x="1590" y="826"/>
                    </a:lnTo>
                    <a:lnTo>
                      <a:pt x="1590" y="826"/>
                    </a:lnTo>
                    <a:lnTo>
                      <a:pt x="1590" y="826"/>
                    </a:lnTo>
                    <a:lnTo>
                      <a:pt x="1588" y="826"/>
                    </a:lnTo>
                    <a:lnTo>
                      <a:pt x="1588" y="826"/>
                    </a:lnTo>
                    <a:lnTo>
                      <a:pt x="1588" y="826"/>
                    </a:lnTo>
                    <a:lnTo>
                      <a:pt x="1590" y="822"/>
                    </a:lnTo>
                    <a:lnTo>
                      <a:pt x="1590" y="814"/>
                    </a:lnTo>
                    <a:lnTo>
                      <a:pt x="1590" y="809"/>
                    </a:lnTo>
                    <a:lnTo>
                      <a:pt x="1590" y="809"/>
                    </a:lnTo>
                    <a:lnTo>
                      <a:pt x="1590" y="809"/>
                    </a:lnTo>
                    <a:lnTo>
                      <a:pt x="1592" y="807"/>
                    </a:lnTo>
                    <a:lnTo>
                      <a:pt x="1594" y="803"/>
                    </a:lnTo>
                    <a:lnTo>
                      <a:pt x="1594" y="803"/>
                    </a:lnTo>
                    <a:lnTo>
                      <a:pt x="1596" y="799"/>
                    </a:lnTo>
                    <a:lnTo>
                      <a:pt x="1598" y="797"/>
                    </a:lnTo>
                    <a:lnTo>
                      <a:pt x="1598" y="795"/>
                    </a:lnTo>
                    <a:lnTo>
                      <a:pt x="1596" y="791"/>
                    </a:lnTo>
                    <a:lnTo>
                      <a:pt x="1596" y="791"/>
                    </a:lnTo>
                    <a:lnTo>
                      <a:pt x="1596" y="791"/>
                    </a:lnTo>
                    <a:lnTo>
                      <a:pt x="1594" y="781"/>
                    </a:lnTo>
                    <a:lnTo>
                      <a:pt x="1594" y="779"/>
                    </a:lnTo>
                    <a:lnTo>
                      <a:pt x="1594" y="777"/>
                    </a:lnTo>
                    <a:lnTo>
                      <a:pt x="1592" y="775"/>
                    </a:lnTo>
                    <a:lnTo>
                      <a:pt x="1592" y="771"/>
                    </a:lnTo>
                    <a:lnTo>
                      <a:pt x="1592" y="771"/>
                    </a:lnTo>
                    <a:lnTo>
                      <a:pt x="1590" y="771"/>
                    </a:lnTo>
                    <a:lnTo>
                      <a:pt x="1590" y="769"/>
                    </a:lnTo>
                    <a:lnTo>
                      <a:pt x="1588" y="769"/>
                    </a:lnTo>
                    <a:lnTo>
                      <a:pt x="1588" y="769"/>
                    </a:lnTo>
                    <a:lnTo>
                      <a:pt x="1588" y="769"/>
                    </a:lnTo>
                    <a:lnTo>
                      <a:pt x="1588" y="768"/>
                    </a:lnTo>
                    <a:lnTo>
                      <a:pt x="1586" y="766"/>
                    </a:lnTo>
                    <a:lnTo>
                      <a:pt x="1586" y="764"/>
                    </a:lnTo>
                    <a:lnTo>
                      <a:pt x="1584" y="764"/>
                    </a:lnTo>
                    <a:lnTo>
                      <a:pt x="1582" y="762"/>
                    </a:lnTo>
                    <a:lnTo>
                      <a:pt x="1576" y="762"/>
                    </a:lnTo>
                    <a:lnTo>
                      <a:pt x="1574" y="762"/>
                    </a:lnTo>
                    <a:lnTo>
                      <a:pt x="1572" y="762"/>
                    </a:lnTo>
                    <a:lnTo>
                      <a:pt x="1570" y="762"/>
                    </a:lnTo>
                    <a:lnTo>
                      <a:pt x="1570" y="762"/>
                    </a:lnTo>
                    <a:lnTo>
                      <a:pt x="1570" y="762"/>
                    </a:lnTo>
                    <a:lnTo>
                      <a:pt x="1566" y="752"/>
                    </a:lnTo>
                    <a:lnTo>
                      <a:pt x="1566" y="752"/>
                    </a:lnTo>
                    <a:lnTo>
                      <a:pt x="1566" y="752"/>
                    </a:lnTo>
                    <a:lnTo>
                      <a:pt x="1566" y="752"/>
                    </a:lnTo>
                    <a:lnTo>
                      <a:pt x="1566" y="750"/>
                    </a:lnTo>
                    <a:lnTo>
                      <a:pt x="1568" y="748"/>
                    </a:lnTo>
                    <a:lnTo>
                      <a:pt x="1566" y="746"/>
                    </a:lnTo>
                    <a:lnTo>
                      <a:pt x="1566" y="746"/>
                    </a:lnTo>
                    <a:lnTo>
                      <a:pt x="1565" y="748"/>
                    </a:lnTo>
                    <a:lnTo>
                      <a:pt x="1565" y="748"/>
                    </a:lnTo>
                    <a:lnTo>
                      <a:pt x="1565" y="748"/>
                    </a:lnTo>
                    <a:lnTo>
                      <a:pt x="1563" y="748"/>
                    </a:lnTo>
                    <a:lnTo>
                      <a:pt x="1563" y="746"/>
                    </a:lnTo>
                    <a:lnTo>
                      <a:pt x="1561" y="746"/>
                    </a:lnTo>
                    <a:lnTo>
                      <a:pt x="1561" y="746"/>
                    </a:lnTo>
                    <a:lnTo>
                      <a:pt x="1561" y="744"/>
                    </a:lnTo>
                    <a:lnTo>
                      <a:pt x="1561" y="746"/>
                    </a:lnTo>
                    <a:lnTo>
                      <a:pt x="1559" y="748"/>
                    </a:lnTo>
                    <a:lnTo>
                      <a:pt x="1557" y="748"/>
                    </a:lnTo>
                    <a:lnTo>
                      <a:pt x="1557" y="746"/>
                    </a:lnTo>
                    <a:lnTo>
                      <a:pt x="1555" y="746"/>
                    </a:lnTo>
                    <a:lnTo>
                      <a:pt x="1555" y="744"/>
                    </a:lnTo>
                    <a:lnTo>
                      <a:pt x="1553" y="744"/>
                    </a:lnTo>
                    <a:lnTo>
                      <a:pt x="1553" y="744"/>
                    </a:lnTo>
                    <a:lnTo>
                      <a:pt x="1551" y="746"/>
                    </a:lnTo>
                    <a:lnTo>
                      <a:pt x="1551" y="744"/>
                    </a:lnTo>
                    <a:lnTo>
                      <a:pt x="1551" y="744"/>
                    </a:lnTo>
                    <a:lnTo>
                      <a:pt x="1551" y="744"/>
                    </a:lnTo>
                    <a:lnTo>
                      <a:pt x="1551" y="744"/>
                    </a:lnTo>
                    <a:lnTo>
                      <a:pt x="1551" y="742"/>
                    </a:lnTo>
                    <a:lnTo>
                      <a:pt x="1551" y="740"/>
                    </a:lnTo>
                    <a:lnTo>
                      <a:pt x="1549" y="740"/>
                    </a:lnTo>
                    <a:lnTo>
                      <a:pt x="1549" y="740"/>
                    </a:lnTo>
                    <a:lnTo>
                      <a:pt x="1545" y="738"/>
                    </a:lnTo>
                    <a:lnTo>
                      <a:pt x="1537" y="736"/>
                    </a:lnTo>
                    <a:lnTo>
                      <a:pt x="1537" y="736"/>
                    </a:lnTo>
                    <a:lnTo>
                      <a:pt x="1535" y="734"/>
                    </a:lnTo>
                    <a:lnTo>
                      <a:pt x="1535" y="734"/>
                    </a:lnTo>
                    <a:lnTo>
                      <a:pt x="1533" y="734"/>
                    </a:lnTo>
                    <a:lnTo>
                      <a:pt x="1531" y="734"/>
                    </a:lnTo>
                    <a:lnTo>
                      <a:pt x="1522" y="732"/>
                    </a:lnTo>
                    <a:lnTo>
                      <a:pt x="1518" y="730"/>
                    </a:lnTo>
                    <a:lnTo>
                      <a:pt x="1518" y="725"/>
                    </a:lnTo>
                    <a:lnTo>
                      <a:pt x="1518" y="721"/>
                    </a:lnTo>
                    <a:lnTo>
                      <a:pt x="1516" y="719"/>
                    </a:lnTo>
                    <a:lnTo>
                      <a:pt x="1516" y="717"/>
                    </a:lnTo>
                    <a:lnTo>
                      <a:pt x="1514" y="717"/>
                    </a:lnTo>
                    <a:lnTo>
                      <a:pt x="1514" y="717"/>
                    </a:lnTo>
                    <a:lnTo>
                      <a:pt x="1514" y="717"/>
                    </a:lnTo>
                    <a:lnTo>
                      <a:pt x="1514" y="717"/>
                    </a:lnTo>
                    <a:lnTo>
                      <a:pt x="1514" y="717"/>
                    </a:lnTo>
                    <a:lnTo>
                      <a:pt x="1514" y="717"/>
                    </a:lnTo>
                    <a:lnTo>
                      <a:pt x="1522" y="701"/>
                    </a:lnTo>
                    <a:lnTo>
                      <a:pt x="1522" y="699"/>
                    </a:lnTo>
                    <a:lnTo>
                      <a:pt x="1524" y="695"/>
                    </a:lnTo>
                    <a:lnTo>
                      <a:pt x="1531" y="687"/>
                    </a:lnTo>
                    <a:lnTo>
                      <a:pt x="1551" y="656"/>
                    </a:lnTo>
                    <a:lnTo>
                      <a:pt x="1555" y="652"/>
                    </a:lnTo>
                    <a:lnTo>
                      <a:pt x="1566" y="645"/>
                    </a:lnTo>
                    <a:lnTo>
                      <a:pt x="1580" y="637"/>
                    </a:lnTo>
                    <a:lnTo>
                      <a:pt x="1580" y="635"/>
                    </a:lnTo>
                    <a:lnTo>
                      <a:pt x="1609" y="627"/>
                    </a:lnTo>
                    <a:lnTo>
                      <a:pt x="1619" y="619"/>
                    </a:lnTo>
                    <a:lnTo>
                      <a:pt x="1631" y="611"/>
                    </a:lnTo>
                    <a:lnTo>
                      <a:pt x="1635" y="607"/>
                    </a:lnTo>
                    <a:lnTo>
                      <a:pt x="1637" y="604"/>
                    </a:lnTo>
                    <a:lnTo>
                      <a:pt x="1641" y="592"/>
                    </a:lnTo>
                    <a:lnTo>
                      <a:pt x="1639" y="584"/>
                    </a:lnTo>
                    <a:lnTo>
                      <a:pt x="1639" y="551"/>
                    </a:lnTo>
                    <a:lnTo>
                      <a:pt x="1637" y="549"/>
                    </a:lnTo>
                    <a:lnTo>
                      <a:pt x="1637" y="547"/>
                    </a:lnTo>
                    <a:lnTo>
                      <a:pt x="1637" y="547"/>
                    </a:lnTo>
                    <a:lnTo>
                      <a:pt x="1637" y="545"/>
                    </a:lnTo>
                    <a:lnTo>
                      <a:pt x="1637" y="543"/>
                    </a:lnTo>
                    <a:lnTo>
                      <a:pt x="1637" y="541"/>
                    </a:lnTo>
                    <a:lnTo>
                      <a:pt x="1637" y="539"/>
                    </a:lnTo>
                    <a:lnTo>
                      <a:pt x="1639" y="537"/>
                    </a:lnTo>
                    <a:lnTo>
                      <a:pt x="1639" y="535"/>
                    </a:lnTo>
                    <a:lnTo>
                      <a:pt x="1639" y="535"/>
                    </a:lnTo>
                    <a:lnTo>
                      <a:pt x="1639" y="533"/>
                    </a:lnTo>
                    <a:lnTo>
                      <a:pt x="1639" y="533"/>
                    </a:lnTo>
                    <a:lnTo>
                      <a:pt x="1639" y="529"/>
                    </a:lnTo>
                    <a:lnTo>
                      <a:pt x="1637" y="525"/>
                    </a:lnTo>
                    <a:lnTo>
                      <a:pt x="1637" y="523"/>
                    </a:lnTo>
                    <a:lnTo>
                      <a:pt x="1639" y="520"/>
                    </a:lnTo>
                    <a:lnTo>
                      <a:pt x="1639" y="520"/>
                    </a:lnTo>
                    <a:lnTo>
                      <a:pt x="1637" y="518"/>
                    </a:lnTo>
                    <a:lnTo>
                      <a:pt x="1637" y="514"/>
                    </a:lnTo>
                    <a:lnTo>
                      <a:pt x="1635" y="514"/>
                    </a:lnTo>
                    <a:lnTo>
                      <a:pt x="1635" y="512"/>
                    </a:lnTo>
                    <a:lnTo>
                      <a:pt x="1631" y="506"/>
                    </a:lnTo>
                    <a:lnTo>
                      <a:pt x="1629" y="504"/>
                    </a:lnTo>
                    <a:lnTo>
                      <a:pt x="1629" y="502"/>
                    </a:lnTo>
                    <a:lnTo>
                      <a:pt x="1629" y="500"/>
                    </a:lnTo>
                    <a:lnTo>
                      <a:pt x="1629" y="496"/>
                    </a:lnTo>
                    <a:lnTo>
                      <a:pt x="1631" y="494"/>
                    </a:lnTo>
                    <a:lnTo>
                      <a:pt x="1631" y="492"/>
                    </a:lnTo>
                    <a:lnTo>
                      <a:pt x="1631" y="492"/>
                    </a:lnTo>
                    <a:lnTo>
                      <a:pt x="1633" y="490"/>
                    </a:lnTo>
                    <a:lnTo>
                      <a:pt x="1635" y="486"/>
                    </a:lnTo>
                    <a:lnTo>
                      <a:pt x="1635" y="486"/>
                    </a:lnTo>
                    <a:lnTo>
                      <a:pt x="1635" y="482"/>
                    </a:lnTo>
                    <a:lnTo>
                      <a:pt x="1635" y="479"/>
                    </a:lnTo>
                    <a:lnTo>
                      <a:pt x="1633" y="475"/>
                    </a:lnTo>
                    <a:lnTo>
                      <a:pt x="1631" y="473"/>
                    </a:lnTo>
                    <a:lnTo>
                      <a:pt x="1629" y="473"/>
                    </a:lnTo>
                    <a:lnTo>
                      <a:pt x="1627" y="471"/>
                    </a:lnTo>
                    <a:lnTo>
                      <a:pt x="1625" y="465"/>
                    </a:lnTo>
                    <a:lnTo>
                      <a:pt x="1625" y="463"/>
                    </a:lnTo>
                    <a:lnTo>
                      <a:pt x="1623" y="461"/>
                    </a:lnTo>
                    <a:lnTo>
                      <a:pt x="1623" y="459"/>
                    </a:lnTo>
                    <a:lnTo>
                      <a:pt x="1623" y="457"/>
                    </a:lnTo>
                    <a:lnTo>
                      <a:pt x="1619" y="453"/>
                    </a:lnTo>
                    <a:lnTo>
                      <a:pt x="1617" y="445"/>
                    </a:lnTo>
                    <a:lnTo>
                      <a:pt x="1613" y="434"/>
                    </a:lnTo>
                    <a:lnTo>
                      <a:pt x="1609" y="420"/>
                    </a:lnTo>
                    <a:lnTo>
                      <a:pt x="1608" y="414"/>
                    </a:lnTo>
                    <a:lnTo>
                      <a:pt x="1606" y="410"/>
                    </a:lnTo>
                    <a:lnTo>
                      <a:pt x="1598" y="395"/>
                    </a:lnTo>
                    <a:lnTo>
                      <a:pt x="1584" y="350"/>
                    </a:lnTo>
                    <a:lnTo>
                      <a:pt x="1580" y="330"/>
                    </a:lnTo>
                    <a:lnTo>
                      <a:pt x="1580" y="313"/>
                    </a:lnTo>
                    <a:lnTo>
                      <a:pt x="1576" y="307"/>
                    </a:lnTo>
                    <a:lnTo>
                      <a:pt x="1576" y="307"/>
                    </a:lnTo>
                    <a:lnTo>
                      <a:pt x="1574" y="301"/>
                    </a:lnTo>
                    <a:lnTo>
                      <a:pt x="1574" y="293"/>
                    </a:lnTo>
                    <a:lnTo>
                      <a:pt x="1572" y="287"/>
                    </a:lnTo>
                    <a:lnTo>
                      <a:pt x="1570" y="279"/>
                    </a:lnTo>
                    <a:lnTo>
                      <a:pt x="1570" y="279"/>
                    </a:lnTo>
                    <a:lnTo>
                      <a:pt x="1568" y="274"/>
                    </a:lnTo>
                    <a:lnTo>
                      <a:pt x="1568" y="274"/>
                    </a:lnTo>
                    <a:lnTo>
                      <a:pt x="1568" y="274"/>
                    </a:lnTo>
                    <a:lnTo>
                      <a:pt x="1568" y="274"/>
                    </a:lnTo>
                    <a:lnTo>
                      <a:pt x="1566" y="266"/>
                    </a:lnTo>
                    <a:lnTo>
                      <a:pt x="1566" y="258"/>
                    </a:lnTo>
                    <a:lnTo>
                      <a:pt x="1566" y="258"/>
                    </a:lnTo>
                    <a:lnTo>
                      <a:pt x="1566" y="256"/>
                    </a:lnTo>
                    <a:lnTo>
                      <a:pt x="1568" y="254"/>
                    </a:lnTo>
                    <a:lnTo>
                      <a:pt x="1568" y="254"/>
                    </a:lnTo>
                    <a:lnTo>
                      <a:pt x="1566" y="254"/>
                    </a:lnTo>
                    <a:lnTo>
                      <a:pt x="1566" y="252"/>
                    </a:lnTo>
                    <a:lnTo>
                      <a:pt x="1566" y="252"/>
                    </a:lnTo>
                    <a:lnTo>
                      <a:pt x="1566" y="252"/>
                    </a:lnTo>
                    <a:lnTo>
                      <a:pt x="1565" y="250"/>
                    </a:lnTo>
                    <a:lnTo>
                      <a:pt x="1563" y="248"/>
                    </a:lnTo>
                    <a:lnTo>
                      <a:pt x="1563" y="248"/>
                    </a:lnTo>
                    <a:lnTo>
                      <a:pt x="1563" y="246"/>
                    </a:lnTo>
                    <a:lnTo>
                      <a:pt x="1563" y="246"/>
                    </a:lnTo>
                    <a:lnTo>
                      <a:pt x="1563" y="244"/>
                    </a:lnTo>
                    <a:lnTo>
                      <a:pt x="1563" y="242"/>
                    </a:lnTo>
                    <a:lnTo>
                      <a:pt x="1563" y="242"/>
                    </a:lnTo>
                    <a:lnTo>
                      <a:pt x="1563" y="240"/>
                    </a:lnTo>
                    <a:lnTo>
                      <a:pt x="1565" y="240"/>
                    </a:lnTo>
                    <a:lnTo>
                      <a:pt x="1565" y="240"/>
                    </a:lnTo>
                    <a:lnTo>
                      <a:pt x="1566" y="238"/>
                    </a:lnTo>
                    <a:lnTo>
                      <a:pt x="1566" y="238"/>
                    </a:lnTo>
                    <a:lnTo>
                      <a:pt x="1568" y="234"/>
                    </a:lnTo>
                    <a:lnTo>
                      <a:pt x="1568" y="229"/>
                    </a:lnTo>
                    <a:lnTo>
                      <a:pt x="1566" y="215"/>
                    </a:lnTo>
                    <a:lnTo>
                      <a:pt x="1565" y="209"/>
                    </a:lnTo>
                    <a:lnTo>
                      <a:pt x="1565" y="205"/>
                    </a:lnTo>
                    <a:lnTo>
                      <a:pt x="1563" y="201"/>
                    </a:lnTo>
                    <a:lnTo>
                      <a:pt x="1561" y="197"/>
                    </a:lnTo>
                    <a:lnTo>
                      <a:pt x="1561" y="195"/>
                    </a:lnTo>
                    <a:lnTo>
                      <a:pt x="1559" y="192"/>
                    </a:lnTo>
                    <a:lnTo>
                      <a:pt x="1557" y="192"/>
                    </a:lnTo>
                    <a:lnTo>
                      <a:pt x="1553" y="190"/>
                    </a:lnTo>
                    <a:lnTo>
                      <a:pt x="1551" y="190"/>
                    </a:lnTo>
                    <a:lnTo>
                      <a:pt x="1551" y="190"/>
                    </a:lnTo>
                    <a:lnTo>
                      <a:pt x="1549" y="188"/>
                    </a:lnTo>
                    <a:lnTo>
                      <a:pt x="1547" y="182"/>
                    </a:lnTo>
                    <a:lnTo>
                      <a:pt x="1545" y="180"/>
                    </a:lnTo>
                    <a:lnTo>
                      <a:pt x="1545" y="178"/>
                    </a:lnTo>
                    <a:lnTo>
                      <a:pt x="1543" y="178"/>
                    </a:lnTo>
                    <a:lnTo>
                      <a:pt x="1541" y="176"/>
                    </a:lnTo>
                    <a:lnTo>
                      <a:pt x="1539" y="174"/>
                    </a:lnTo>
                    <a:lnTo>
                      <a:pt x="1531" y="170"/>
                    </a:lnTo>
                    <a:lnTo>
                      <a:pt x="1525" y="168"/>
                    </a:lnTo>
                    <a:lnTo>
                      <a:pt x="1518" y="164"/>
                    </a:lnTo>
                    <a:lnTo>
                      <a:pt x="1508" y="156"/>
                    </a:lnTo>
                    <a:lnTo>
                      <a:pt x="1506" y="154"/>
                    </a:lnTo>
                    <a:lnTo>
                      <a:pt x="1504" y="154"/>
                    </a:lnTo>
                    <a:lnTo>
                      <a:pt x="1502" y="154"/>
                    </a:lnTo>
                    <a:lnTo>
                      <a:pt x="1498" y="156"/>
                    </a:lnTo>
                    <a:lnTo>
                      <a:pt x="1498" y="156"/>
                    </a:lnTo>
                    <a:lnTo>
                      <a:pt x="1494" y="156"/>
                    </a:lnTo>
                    <a:lnTo>
                      <a:pt x="1490" y="152"/>
                    </a:lnTo>
                    <a:lnTo>
                      <a:pt x="1490" y="152"/>
                    </a:lnTo>
                    <a:lnTo>
                      <a:pt x="1490" y="149"/>
                    </a:lnTo>
                    <a:lnTo>
                      <a:pt x="1490" y="149"/>
                    </a:lnTo>
                    <a:lnTo>
                      <a:pt x="1492" y="147"/>
                    </a:lnTo>
                    <a:lnTo>
                      <a:pt x="1492" y="143"/>
                    </a:lnTo>
                    <a:lnTo>
                      <a:pt x="1492" y="143"/>
                    </a:lnTo>
                    <a:lnTo>
                      <a:pt x="1492" y="141"/>
                    </a:lnTo>
                    <a:lnTo>
                      <a:pt x="1490" y="141"/>
                    </a:lnTo>
                    <a:lnTo>
                      <a:pt x="1486" y="141"/>
                    </a:lnTo>
                    <a:lnTo>
                      <a:pt x="1484" y="141"/>
                    </a:lnTo>
                    <a:lnTo>
                      <a:pt x="1484" y="139"/>
                    </a:lnTo>
                    <a:lnTo>
                      <a:pt x="1482" y="139"/>
                    </a:lnTo>
                    <a:lnTo>
                      <a:pt x="1482" y="137"/>
                    </a:lnTo>
                    <a:lnTo>
                      <a:pt x="1482" y="135"/>
                    </a:lnTo>
                    <a:lnTo>
                      <a:pt x="1481" y="133"/>
                    </a:lnTo>
                    <a:lnTo>
                      <a:pt x="1481" y="133"/>
                    </a:lnTo>
                    <a:lnTo>
                      <a:pt x="1479" y="131"/>
                    </a:lnTo>
                    <a:lnTo>
                      <a:pt x="1477" y="131"/>
                    </a:lnTo>
                    <a:lnTo>
                      <a:pt x="1475" y="131"/>
                    </a:lnTo>
                    <a:lnTo>
                      <a:pt x="1473" y="131"/>
                    </a:lnTo>
                    <a:lnTo>
                      <a:pt x="1473" y="131"/>
                    </a:lnTo>
                    <a:lnTo>
                      <a:pt x="1473" y="131"/>
                    </a:lnTo>
                    <a:lnTo>
                      <a:pt x="1461" y="127"/>
                    </a:lnTo>
                    <a:lnTo>
                      <a:pt x="1461" y="127"/>
                    </a:lnTo>
                    <a:lnTo>
                      <a:pt x="1459" y="125"/>
                    </a:lnTo>
                    <a:lnTo>
                      <a:pt x="1453" y="127"/>
                    </a:lnTo>
                    <a:lnTo>
                      <a:pt x="1453" y="127"/>
                    </a:lnTo>
                    <a:lnTo>
                      <a:pt x="1453" y="129"/>
                    </a:lnTo>
                    <a:lnTo>
                      <a:pt x="1449" y="137"/>
                    </a:lnTo>
                    <a:lnTo>
                      <a:pt x="1447" y="139"/>
                    </a:lnTo>
                    <a:lnTo>
                      <a:pt x="1447" y="139"/>
                    </a:lnTo>
                    <a:lnTo>
                      <a:pt x="1447" y="139"/>
                    </a:lnTo>
                    <a:lnTo>
                      <a:pt x="1436" y="143"/>
                    </a:lnTo>
                    <a:lnTo>
                      <a:pt x="1404" y="141"/>
                    </a:lnTo>
                    <a:lnTo>
                      <a:pt x="1365" y="139"/>
                    </a:lnTo>
                    <a:lnTo>
                      <a:pt x="1318" y="137"/>
                    </a:lnTo>
                    <a:lnTo>
                      <a:pt x="1271" y="135"/>
                    </a:lnTo>
                    <a:lnTo>
                      <a:pt x="1199" y="131"/>
                    </a:lnTo>
                    <a:lnTo>
                      <a:pt x="1139" y="127"/>
                    </a:lnTo>
                    <a:lnTo>
                      <a:pt x="1090" y="125"/>
                    </a:lnTo>
                    <a:lnTo>
                      <a:pt x="1043" y="121"/>
                    </a:lnTo>
                    <a:lnTo>
                      <a:pt x="978" y="119"/>
                    </a:lnTo>
                    <a:lnTo>
                      <a:pt x="943" y="117"/>
                    </a:lnTo>
                    <a:lnTo>
                      <a:pt x="943" y="117"/>
                    </a:lnTo>
                    <a:lnTo>
                      <a:pt x="943" y="117"/>
                    </a:lnTo>
                    <a:lnTo>
                      <a:pt x="941" y="117"/>
                    </a:lnTo>
                    <a:lnTo>
                      <a:pt x="941" y="117"/>
                    </a:lnTo>
                    <a:lnTo>
                      <a:pt x="941" y="121"/>
                    </a:lnTo>
                    <a:lnTo>
                      <a:pt x="941" y="123"/>
                    </a:lnTo>
                    <a:lnTo>
                      <a:pt x="939" y="123"/>
                    </a:lnTo>
                    <a:lnTo>
                      <a:pt x="937" y="125"/>
                    </a:lnTo>
                    <a:lnTo>
                      <a:pt x="937" y="129"/>
                    </a:lnTo>
                    <a:lnTo>
                      <a:pt x="935" y="131"/>
                    </a:lnTo>
                    <a:lnTo>
                      <a:pt x="934" y="131"/>
                    </a:lnTo>
                    <a:lnTo>
                      <a:pt x="932" y="131"/>
                    </a:lnTo>
                    <a:lnTo>
                      <a:pt x="920" y="139"/>
                    </a:lnTo>
                    <a:lnTo>
                      <a:pt x="914" y="141"/>
                    </a:lnTo>
                    <a:lnTo>
                      <a:pt x="910" y="141"/>
                    </a:lnTo>
                    <a:lnTo>
                      <a:pt x="896" y="151"/>
                    </a:lnTo>
                    <a:lnTo>
                      <a:pt x="894" y="151"/>
                    </a:lnTo>
                    <a:lnTo>
                      <a:pt x="893" y="152"/>
                    </a:lnTo>
                    <a:lnTo>
                      <a:pt x="889" y="156"/>
                    </a:lnTo>
                    <a:lnTo>
                      <a:pt x="885" y="162"/>
                    </a:lnTo>
                    <a:lnTo>
                      <a:pt x="883" y="164"/>
                    </a:lnTo>
                    <a:lnTo>
                      <a:pt x="883" y="166"/>
                    </a:lnTo>
                    <a:lnTo>
                      <a:pt x="879" y="174"/>
                    </a:lnTo>
                    <a:lnTo>
                      <a:pt x="877" y="176"/>
                    </a:lnTo>
                    <a:lnTo>
                      <a:pt x="877" y="172"/>
                    </a:lnTo>
                    <a:lnTo>
                      <a:pt x="879" y="168"/>
                    </a:lnTo>
                    <a:lnTo>
                      <a:pt x="879" y="164"/>
                    </a:lnTo>
                    <a:lnTo>
                      <a:pt x="881" y="164"/>
                    </a:lnTo>
                    <a:lnTo>
                      <a:pt x="881" y="162"/>
                    </a:lnTo>
                    <a:lnTo>
                      <a:pt x="877" y="162"/>
                    </a:lnTo>
                    <a:lnTo>
                      <a:pt x="861" y="160"/>
                    </a:lnTo>
                    <a:lnTo>
                      <a:pt x="857" y="158"/>
                    </a:lnTo>
                    <a:lnTo>
                      <a:pt x="857" y="154"/>
                    </a:lnTo>
                    <a:lnTo>
                      <a:pt x="857" y="154"/>
                    </a:lnTo>
                    <a:lnTo>
                      <a:pt x="859" y="152"/>
                    </a:lnTo>
                    <a:lnTo>
                      <a:pt x="859" y="152"/>
                    </a:lnTo>
                    <a:lnTo>
                      <a:pt x="859" y="151"/>
                    </a:lnTo>
                    <a:lnTo>
                      <a:pt x="855" y="147"/>
                    </a:lnTo>
                    <a:lnTo>
                      <a:pt x="855" y="145"/>
                    </a:lnTo>
                    <a:lnTo>
                      <a:pt x="861" y="141"/>
                    </a:lnTo>
                    <a:lnTo>
                      <a:pt x="875" y="141"/>
                    </a:lnTo>
                    <a:lnTo>
                      <a:pt x="883" y="139"/>
                    </a:lnTo>
                    <a:lnTo>
                      <a:pt x="891" y="135"/>
                    </a:lnTo>
                    <a:lnTo>
                      <a:pt x="920" y="111"/>
                    </a:lnTo>
                    <a:lnTo>
                      <a:pt x="918" y="110"/>
                    </a:lnTo>
                    <a:lnTo>
                      <a:pt x="916" y="111"/>
                    </a:lnTo>
                    <a:lnTo>
                      <a:pt x="904" y="121"/>
                    </a:lnTo>
                    <a:lnTo>
                      <a:pt x="900" y="125"/>
                    </a:lnTo>
                    <a:lnTo>
                      <a:pt x="893" y="125"/>
                    </a:lnTo>
                    <a:lnTo>
                      <a:pt x="879" y="133"/>
                    </a:lnTo>
                    <a:lnTo>
                      <a:pt x="816" y="143"/>
                    </a:lnTo>
                    <a:lnTo>
                      <a:pt x="812" y="141"/>
                    </a:lnTo>
                    <a:lnTo>
                      <a:pt x="810" y="139"/>
                    </a:lnTo>
                    <a:lnTo>
                      <a:pt x="809" y="139"/>
                    </a:lnTo>
                    <a:lnTo>
                      <a:pt x="803" y="141"/>
                    </a:lnTo>
                    <a:lnTo>
                      <a:pt x="797" y="141"/>
                    </a:lnTo>
                    <a:lnTo>
                      <a:pt x="769" y="131"/>
                    </a:lnTo>
                    <a:lnTo>
                      <a:pt x="766" y="127"/>
                    </a:lnTo>
                    <a:lnTo>
                      <a:pt x="766" y="125"/>
                    </a:lnTo>
                    <a:lnTo>
                      <a:pt x="762" y="123"/>
                    </a:lnTo>
                    <a:lnTo>
                      <a:pt x="760" y="123"/>
                    </a:lnTo>
                    <a:lnTo>
                      <a:pt x="758" y="123"/>
                    </a:lnTo>
                    <a:lnTo>
                      <a:pt x="756" y="121"/>
                    </a:lnTo>
                    <a:lnTo>
                      <a:pt x="750" y="117"/>
                    </a:lnTo>
                    <a:lnTo>
                      <a:pt x="748" y="117"/>
                    </a:lnTo>
                    <a:lnTo>
                      <a:pt x="744" y="111"/>
                    </a:lnTo>
                    <a:lnTo>
                      <a:pt x="744" y="102"/>
                    </a:lnTo>
                    <a:lnTo>
                      <a:pt x="744" y="90"/>
                    </a:lnTo>
                    <a:lnTo>
                      <a:pt x="744" y="82"/>
                    </a:lnTo>
                    <a:lnTo>
                      <a:pt x="742" y="80"/>
                    </a:lnTo>
                    <a:lnTo>
                      <a:pt x="738" y="67"/>
                    </a:lnTo>
                    <a:lnTo>
                      <a:pt x="736" y="65"/>
                    </a:lnTo>
                    <a:lnTo>
                      <a:pt x="736" y="61"/>
                    </a:lnTo>
                    <a:lnTo>
                      <a:pt x="736" y="55"/>
                    </a:lnTo>
                    <a:lnTo>
                      <a:pt x="734" y="59"/>
                    </a:lnTo>
                    <a:lnTo>
                      <a:pt x="730" y="59"/>
                    </a:lnTo>
                    <a:lnTo>
                      <a:pt x="728" y="57"/>
                    </a:lnTo>
                    <a:lnTo>
                      <a:pt x="730" y="51"/>
                    </a:lnTo>
                    <a:lnTo>
                      <a:pt x="728" y="49"/>
                    </a:lnTo>
                    <a:lnTo>
                      <a:pt x="728" y="47"/>
                    </a:lnTo>
                    <a:lnTo>
                      <a:pt x="728" y="45"/>
                    </a:lnTo>
                    <a:lnTo>
                      <a:pt x="728" y="43"/>
                    </a:lnTo>
                    <a:lnTo>
                      <a:pt x="726" y="39"/>
                    </a:lnTo>
                    <a:lnTo>
                      <a:pt x="725" y="35"/>
                    </a:lnTo>
                    <a:lnTo>
                      <a:pt x="723" y="33"/>
                    </a:lnTo>
                    <a:lnTo>
                      <a:pt x="719" y="31"/>
                    </a:lnTo>
                    <a:lnTo>
                      <a:pt x="719" y="31"/>
                    </a:lnTo>
                    <a:lnTo>
                      <a:pt x="719" y="26"/>
                    </a:lnTo>
                    <a:lnTo>
                      <a:pt x="719" y="26"/>
                    </a:lnTo>
                    <a:lnTo>
                      <a:pt x="721" y="16"/>
                    </a:lnTo>
                    <a:lnTo>
                      <a:pt x="723" y="16"/>
                    </a:lnTo>
                    <a:lnTo>
                      <a:pt x="725" y="14"/>
                    </a:lnTo>
                    <a:lnTo>
                      <a:pt x="725" y="14"/>
                    </a:lnTo>
                    <a:lnTo>
                      <a:pt x="730" y="20"/>
                    </a:lnTo>
                    <a:lnTo>
                      <a:pt x="732" y="22"/>
                    </a:lnTo>
                    <a:lnTo>
                      <a:pt x="742" y="26"/>
                    </a:lnTo>
                    <a:lnTo>
                      <a:pt x="752" y="33"/>
                    </a:lnTo>
                    <a:lnTo>
                      <a:pt x="758" y="33"/>
                    </a:lnTo>
                    <a:lnTo>
                      <a:pt x="758" y="37"/>
                    </a:lnTo>
                    <a:lnTo>
                      <a:pt x="760" y="37"/>
                    </a:lnTo>
                    <a:lnTo>
                      <a:pt x="766" y="39"/>
                    </a:lnTo>
                    <a:lnTo>
                      <a:pt x="767" y="39"/>
                    </a:lnTo>
                    <a:lnTo>
                      <a:pt x="775" y="53"/>
                    </a:lnTo>
                    <a:lnTo>
                      <a:pt x="777" y="57"/>
                    </a:lnTo>
                    <a:lnTo>
                      <a:pt x="779" y="63"/>
                    </a:lnTo>
                    <a:lnTo>
                      <a:pt x="783" y="65"/>
                    </a:lnTo>
                    <a:lnTo>
                      <a:pt x="783" y="67"/>
                    </a:lnTo>
                    <a:lnTo>
                      <a:pt x="785" y="69"/>
                    </a:lnTo>
                    <a:lnTo>
                      <a:pt x="785" y="69"/>
                    </a:lnTo>
                    <a:lnTo>
                      <a:pt x="789" y="69"/>
                    </a:lnTo>
                    <a:lnTo>
                      <a:pt x="789" y="65"/>
                    </a:lnTo>
                    <a:lnTo>
                      <a:pt x="787" y="59"/>
                    </a:lnTo>
                    <a:lnTo>
                      <a:pt x="785" y="57"/>
                    </a:lnTo>
                    <a:lnTo>
                      <a:pt x="775" y="43"/>
                    </a:lnTo>
                    <a:lnTo>
                      <a:pt x="717" y="8"/>
                    </a:lnTo>
                    <a:lnTo>
                      <a:pt x="715" y="8"/>
                    </a:lnTo>
                    <a:lnTo>
                      <a:pt x="711" y="6"/>
                    </a:lnTo>
                    <a:lnTo>
                      <a:pt x="705" y="2"/>
                    </a:lnTo>
                    <a:lnTo>
                      <a:pt x="701" y="0"/>
                    </a:lnTo>
                    <a:lnTo>
                      <a:pt x="674" y="0"/>
                    </a:lnTo>
                    <a:lnTo>
                      <a:pt x="629" y="4"/>
                    </a:lnTo>
                    <a:lnTo>
                      <a:pt x="601" y="14"/>
                    </a:lnTo>
                    <a:lnTo>
                      <a:pt x="539" y="26"/>
                    </a:lnTo>
                    <a:lnTo>
                      <a:pt x="488" y="49"/>
                    </a:lnTo>
                    <a:lnTo>
                      <a:pt x="472" y="67"/>
                    </a:lnTo>
                    <a:lnTo>
                      <a:pt x="465" y="69"/>
                    </a:lnTo>
                    <a:lnTo>
                      <a:pt x="459" y="70"/>
                    </a:lnTo>
                    <a:lnTo>
                      <a:pt x="445" y="76"/>
                    </a:lnTo>
                    <a:lnTo>
                      <a:pt x="410" y="80"/>
                    </a:lnTo>
                    <a:lnTo>
                      <a:pt x="398" y="88"/>
                    </a:lnTo>
                    <a:lnTo>
                      <a:pt x="392" y="94"/>
                    </a:lnTo>
                    <a:lnTo>
                      <a:pt x="388" y="102"/>
                    </a:lnTo>
                    <a:lnTo>
                      <a:pt x="390" y="98"/>
                    </a:lnTo>
                    <a:lnTo>
                      <a:pt x="394" y="98"/>
                    </a:lnTo>
                    <a:lnTo>
                      <a:pt x="394" y="100"/>
                    </a:lnTo>
                    <a:lnTo>
                      <a:pt x="394" y="104"/>
                    </a:lnTo>
                    <a:lnTo>
                      <a:pt x="390" y="106"/>
                    </a:lnTo>
                    <a:lnTo>
                      <a:pt x="388" y="106"/>
                    </a:lnTo>
                    <a:lnTo>
                      <a:pt x="387" y="106"/>
                    </a:lnTo>
                    <a:lnTo>
                      <a:pt x="388" y="104"/>
                    </a:lnTo>
                    <a:lnTo>
                      <a:pt x="388" y="102"/>
                    </a:lnTo>
                    <a:lnTo>
                      <a:pt x="369" y="125"/>
                    </a:lnTo>
                    <a:lnTo>
                      <a:pt x="361" y="139"/>
                    </a:lnTo>
                    <a:lnTo>
                      <a:pt x="363" y="135"/>
                    </a:lnTo>
                    <a:lnTo>
                      <a:pt x="365" y="133"/>
                    </a:lnTo>
                    <a:lnTo>
                      <a:pt x="369" y="135"/>
                    </a:lnTo>
                    <a:lnTo>
                      <a:pt x="371" y="139"/>
                    </a:lnTo>
                    <a:lnTo>
                      <a:pt x="369" y="141"/>
                    </a:lnTo>
                    <a:lnTo>
                      <a:pt x="363" y="143"/>
                    </a:lnTo>
                    <a:lnTo>
                      <a:pt x="359" y="147"/>
                    </a:lnTo>
                    <a:lnTo>
                      <a:pt x="357" y="147"/>
                    </a:lnTo>
                    <a:lnTo>
                      <a:pt x="355" y="149"/>
                    </a:lnTo>
                    <a:lnTo>
                      <a:pt x="353" y="149"/>
                    </a:lnTo>
                    <a:lnTo>
                      <a:pt x="355" y="147"/>
                    </a:lnTo>
                    <a:lnTo>
                      <a:pt x="359" y="143"/>
                    </a:lnTo>
                    <a:lnTo>
                      <a:pt x="361" y="139"/>
                    </a:lnTo>
                    <a:lnTo>
                      <a:pt x="349" y="151"/>
                    </a:lnTo>
                    <a:lnTo>
                      <a:pt x="344" y="154"/>
                    </a:lnTo>
                    <a:lnTo>
                      <a:pt x="338" y="158"/>
                    </a:lnTo>
                    <a:lnTo>
                      <a:pt x="346" y="154"/>
                    </a:lnTo>
                    <a:lnTo>
                      <a:pt x="349" y="154"/>
                    </a:lnTo>
                    <a:lnTo>
                      <a:pt x="349" y="160"/>
                    </a:lnTo>
                    <a:lnTo>
                      <a:pt x="351" y="160"/>
                    </a:lnTo>
                    <a:lnTo>
                      <a:pt x="351" y="160"/>
                    </a:lnTo>
                    <a:lnTo>
                      <a:pt x="351" y="160"/>
                    </a:lnTo>
                    <a:lnTo>
                      <a:pt x="351" y="162"/>
                    </a:lnTo>
                    <a:lnTo>
                      <a:pt x="344" y="162"/>
                    </a:lnTo>
                    <a:lnTo>
                      <a:pt x="344" y="164"/>
                    </a:lnTo>
                    <a:lnTo>
                      <a:pt x="344" y="164"/>
                    </a:lnTo>
                    <a:lnTo>
                      <a:pt x="344" y="166"/>
                    </a:lnTo>
                    <a:lnTo>
                      <a:pt x="330" y="168"/>
                    </a:lnTo>
                    <a:lnTo>
                      <a:pt x="326" y="166"/>
                    </a:lnTo>
                    <a:lnTo>
                      <a:pt x="334" y="162"/>
                    </a:lnTo>
                    <a:lnTo>
                      <a:pt x="336" y="160"/>
                    </a:lnTo>
                    <a:lnTo>
                      <a:pt x="318" y="166"/>
                    </a:lnTo>
                    <a:lnTo>
                      <a:pt x="291" y="170"/>
                    </a:lnTo>
                    <a:lnTo>
                      <a:pt x="258" y="184"/>
                    </a:lnTo>
                    <a:lnTo>
                      <a:pt x="224" y="193"/>
                    </a:lnTo>
                    <a:lnTo>
                      <a:pt x="195" y="201"/>
                    </a:lnTo>
                    <a:lnTo>
                      <a:pt x="148" y="221"/>
                    </a:lnTo>
                    <a:lnTo>
                      <a:pt x="111" y="231"/>
                    </a:lnTo>
                    <a:lnTo>
                      <a:pt x="66" y="250"/>
                    </a:lnTo>
                    <a:lnTo>
                      <a:pt x="54" y="260"/>
                    </a:lnTo>
                    <a:lnTo>
                      <a:pt x="47" y="262"/>
                    </a:lnTo>
                    <a:lnTo>
                      <a:pt x="41" y="264"/>
                    </a:lnTo>
                    <a:lnTo>
                      <a:pt x="25" y="262"/>
                    </a:lnTo>
                    <a:lnTo>
                      <a:pt x="19" y="260"/>
                    </a:lnTo>
                    <a:lnTo>
                      <a:pt x="17" y="260"/>
                    </a:lnTo>
                    <a:lnTo>
                      <a:pt x="15" y="258"/>
                    </a:lnTo>
                    <a:lnTo>
                      <a:pt x="11" y="266"/>
                    </a:lnTo>
                    <a:lnTo>
                      <a:pt x="11" y="266"/>
                    </a:lnTo>
                    <a:lnTo>
                      <a:pt x="10" y="268"/>
                    </a:lnTo>
                    <a:lnTo>
                      <a:pt x="11" y="270"/>
                    </a:lnTo>
                    <a:lnTo>
                      <a:pt x="13" y="275"/>
                    </a:lnTo>
                    <a:lnTo>
                      <a:pt x="13" y="275"/>
                    </a:lnTo>
                    <a:lnTo>
                      <a:pt x="17" y="277"/>
                    </a:lnTo>
                    <a:lnTo>
                      <a:pt x="25" y="289"/>
                    </a:lnTo>
                    <a:lnTo>
                      <a:pt x="29" y="291"/>
                    </a:lnTo>
                    <a:lnTo>
                      <a:pt x="31" y="291"/>
                    </a:lnTo>
                    <a:lnTo>
                      <a:pt x="33" y="291"/>
                    </a:lnTo>
                    <a:lnTo>
                      <a:pt x="35" y="293"/>
                    </a:lnTo>
                    <a:lnTo>
                      <a:pt x="37" y="291"/>
                    </a:lnTo>
                    <a:lnTo>
                      <a:pt x="37" y="291"/>
                    </a:lnTo>
                    <a:lnTo>
                      <a:pt x="35" y="291"/>
                    </a:lnTo>
                    <a:lnTo>
                      <a:pt x="35" y="289"/>
                    </a:lnTo>
                    <a:lnTo>
                      <a:pt x="37" y="287"/>
                    </a:lnTo>
                    <a:lnTo>
                      <a:pt x="39" y="287"/>
                    </a:lnTo>
                    <a:lnTo>
                      <a:pt x="43" y="285"/>
                    </a:lnTo>
                    <a:lnTo>
                      <a:pt x="45" y="285"/>
                    </a:lnTo>
                    <a:lnTo>
                      <a:pt x="47" y="285"/>
                    </a:lnTo>
                    <a:lnTo>
                      <a:pt x="49" y="281"/>
                    </a:lnTo>
                    <a:lnTo>
                      <a:pt x="49" y="279"/>
                    </a:lnTo>
                    <a:lnTo>
                      <a:pt x="49" y="277"/>
                    </a:lnTo>
                    <a:lnTo>
                      <a:pt x="45" y="275"/>
                    </a:lnTo>
                    <a:lnTo>
                      <a:pt x="41" y="275"/>
                    </a:lnTo>
                    <a:lnTo>
                      <a:pt x="43" y="274"/>
                    </a:lnTo>
                    <a:lnTo>
                      <a:pt x="43" y="272"/>
                    </a:lnTo>
                    <a:lnTo>
                      <a:pt x="45" y="270"/>
                    </a:lnTo>
                    <a:lnTo>
                      <a:pt x="45" y="270"/>
                    </a:lnTo>
                    <a:lnTo>
                      <a:pt x="47" y="270"/>
                    </a:lnTo>
                    <a:lnTo>
                      <a:pt x="49" y="270"/>
                    </a:lnTo>
                    <a:lnTo>
                      <a:pt x="51" y="270"/>
                    </a:lnTo>
                    <a:lnTo>
                      <a:pt x="52" y="268"/>
                    </a:lnTo>
                    <a:lnTo>
                      <a:pt x="52" y="268"/>
                    </a:lnTo>
                    <a:lnTo>
                      <a:pt x="52" y="268"/>
                    </a:lnTo>
                    <a:lnTo>
                      <a:pt x="52" y="268"/>
                    </a:lnTo>
                    <a:lnTo>
                      <a:pt x="52" y="270"/>
                    </a:lnTo>
                    <a:lnTo>
                      <a:pt x="51" y="274"/>
                    </a:lnTo>
                    <a:lnTo>
                      <a:pt x="52" y="277"/>
                    </a:lnTo>
                    <a:lnTo>
                      <a:pt x="72" y="279"/>
                    </a:lnTo>
                    <a:lnTo>
                      <a:pt x="76" y="281"/>
                    </a:lnTo>
                    <a:lnTo>
                      <a:pt x="78" y="287"/>
                    </a:lnTo>
                    <a:lnTo>
                      <a:pt x="78" y="287"/>
                    </a:lnTo>
                    <a:lnTo>
                      <a:pt x="76" y="289"/>
                    </a:lnTo>
                    <a:lnTo>
                      <a:pt x="74" y="291"/>
                    </a:lnTo>
                    <a:lnTo>
                      <a:pt x="76" y="291"/>
                    </a:lnTo>
                    <a:lnTo>
                      <a:pt x="76" y="293"/>
                    </a:lnTo>
                    <a:lnTo>
                      <a:pt x="78" y="293"/>
                    </a:lnTo>
                    <a:lnTo>
                      <a:pt x="80" y="293"/>
                    </a:lnTo>
                    <a:lnTo>
                      <a:pt x="78" y="293"/>
                    </a:lnTo>
                    <a:lnTo>
                      <a:pt x="82" y="287"/>
                    </a:lnTo>
                    <a:lnTo>
                      <a:pt x="84" y="285"/>
                    </a:lnTo>
                    <a:lnTo>
                      <a:pt x="84" y="283"/>
                    </a:lnTo>
                    <a:lnTo>
                      <a:pt x="86" y="283"/>
                    </a:lnTo>
                    <a:lnTo>
                      <a:pt x="84" y="287"/>
                    </a:lnTo>
                    <a:lnTo>
                      <a:pt x="84" y="293"/>
                    </a:lnTo>
                    <a:lnTo>
                      <a:pt x="82" y="299"/>
                    </a:lnTo>
                    <a:lnTo>
                      <a:pt x="84" y="305"/>
                    </a:lnTo>
                    <a:lnTo>
                      <a:pt x="82" y="307"/>
                    </a:lnTo>
                    <a:lnTo>
                      <a:pt x="80" y="307"/>
                    </a:lnTo>
                    <a:lnTo>
                      <a:pt x="78" y="307"/>
                    </a:lnTo>
                    <a:lnTo>
                      <a:pt x="76" y="305"/>
                    </a:lnTo>
                    <a:lnTo>
                      <a:pt x="72" y="318"/>
                    </a:lnTo>
                    <a:lnTo>
                      <a:pt x="70" y="324"/>
                    </a:lnTo>
                    <a:lnTo>
                      <a:pt x="76" y="336"/>
                    </a:lnTo>
                    <a:lnTo>
                      <a:pt x="78" y="338"/>
                    </a:lnTo>
                    <a:lnTo>
                      <a:pt x="82" y="338"/>
                    </a:lnTo>
                    <a:lnTo>
                      <a:pt x="84" y="338"/>
                    </a:lnTo>
                    <a:lnTo>
                      <a:pt x="84" y="340"/>
                    </a:lnTo>
                    <a:lnTo>
                      <a:pt x="84" y="342"/>
                    </a:lnTo>
                    <a:lnTo>
                      <a:pt x="84" y="342"/>
                    </a:lnTo>
                    <a:lnTo>
                      <a:pt x="82" y="344"/>
                    </a:lnTo>
                    <a:lnTo>
                      <a:pt x="80" y="346"/>
                    </a:lnTo>
                    <a:lnTo>
                      <a:pt x="80" y="348"/>
                    </a:lnTo>
                    <a:lnTo>
                      <a:pt x="80" y="354"/>
                    </a:lnTo>
                    <a:lnTo>
                      <a:pt x="78" y="354"/>
                    </a:lnTo>
                    <a:lnTo>
                      <a:pt x="76" y="352"/>
                    </a:lnTo>
                    <a:lnTo>
                      <a:pt x="70" y="340"/>
                    </a:lnTo>
                    <a:lnTo>
                      <a:pt x="68" y="338"/>
                    </a:lnTo>
                    <a:lnTo>
                      <a:pt x="66" y="334"/>
                    </a:lnTo>
                    <a:lnTo>
                      <a:pt x="56" y="332"/>
                    </a:lnTo>
                    <a:lnTo>
                      <a:pt x="49" y="330"/>
                    </a:lnTo>
                    <a:lnTo>
                      <a:pt x="47" y="328"/>
                    </a:lnTo>
                    <a:lnTo>
                      <a:pt x="43" y="324"/>
                    </a:lnTo>
                    <a:lnTo>
                      <a:pt x="39" y="322"/>
                    </a:lnTo>
                    <a:lnTo>
                      <a:pt x="37" y="320"/>
                    </a:lnTo>
                    <a:lnTo>
                      <a:pt x="35" y="316"/>
                    </a:lnTo>
                    <a:lnTo>
                      <a:pt x="33" y="315"/>
                    </a:lnTo>
                    <a:lnTo>
                      <a:pt x="31" y="313"/>
                    </a:lnTo>
                    <a:lnTo>
                      <a:pt x="29" y="311"/>
                    </a:lnTo>
                    <a:lnTo>
                      <a:pt x="27" y="313"/>
                    </a:lnTo>
                    <a:lnTo>
                      <a:pt x="29" y="315"/>
                    </a:lnTo>
                    <a:lnTo>
                      <a:pt x="29" y="315"/>
                    </a:lnTo>
                    <a:lnTo>
                      <a:pt x="29" y="316"/>
                    </a:lnTo>
                    <a:lnTo>
                      <a:pt x="27" y="316"/>
                    </a:lnTo>
                    <a:lnTo>
                      <a:pt x="31" y="318"/>
                    </a:lnTo>
                    <a:lnTo>
                      <a:pt x="31" y="322"/>
                    </a:lnTo>
                    <a:lnTo>
                      <a:pt x="29" y="324"/>
                    </a:lnTo>
                    <a:lnTo>
                      <a:pt x="25" y="324"/>
                    </a:lnTo>
                    <a:lnTo>
                      <a:pt x="23" y="324"/>
                    </a:lnTo>
                    <a:lnTo>
                      <a:pt x="23" y="334"/>
                    </a:lnTo>
                    <a:lnTo>
                      <a:pt x="23" y="338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 dirty="0"/>
              </a:p>
            </p:txBody>
          </p:sp>
          <p:sp>
            <p:nvSpPr>
              <p:cNvPr id="791" name="Freeform 1309">
                <a:extLst>
                  <a:ext uri="{FF2B5EF4-FFF2-40B4-BE49-F238E27FC236}">
                    <a16:creationId xmlns:a16="http://schemas.microsoft.com/office/drawing/2014/main" id="{2763D20F-9D09-4CC6-AB13-B13DFEABE7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6" y="3144"/>
                <a:ext cx="3" cy="4"/>
              </a:xfrm>
              <a:custGeom>
                <a:avLst/>
                <a:gdLst>
                  <a:gd name="T0" fmla="*/ 2 w 3"/>
                  <a:gd name="T1" fmla="*/ 2 h 4"/>
                  <a:gd name="T2" fmla="*/ 3 w 3"/>
                  <a:gd name="T3" fmla="*/ 4 h 4"/>
                  <a:gd name="T4" fmla="*/ 2 w 3"/>
                  <a:gd name="T5" fmla="*/ 2 h 4"/>
                  <a:gd name="T6" fmla="*/ 0 w 3"/>
                  <a:gd name="T7" fmla="*/ 0 h 4"/>
                  <a:gd name="T8" fmla="*/ 0 w 3"/>
                  <a:gd name="T9" fmla="*/ 0 h 4"/>
                  <a:gd name="T10" fmla="*/ 0 w 3"/>
                  <a:gd name="T11" fmla="*/ 0 h 4"/>
                  <a:gd name="T12" fmla="*/ 2 w 3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2" y="2"/>
                    </a:moveTo>
                    <a:lnTo>
                      <a:pt x="3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92" name="Freeform 1310">
                <a:extLst>
                  <a:ext uri="{FF2B5EF4-FFF2-40B4-BE49-F238E27FC236}">
                    <a16:creationId xmlns:a16="http://schemas.microsoft.com/office/drawing/2014/main" id="{1136EE31-52F6-46AF-931D-2E238590B4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7" y="3191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2 w 4"/>
                  <a:gd name="T3" fmla="*/ 2 h 4"/>
                  <a:gd name="T4" fmla="*/ 0 w 4"/>
                  <a:gd name="T5" fmla="*/ 0 h 4"/>
                  <a:gd name="T6" fmla="*/ 2 w 4"/>
                  <a:gd name="T7" fmla="*/ 2 h 4"/>
                  <a:gd name="T8" fmla="*/ 4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93" name="Freeform 1311">
                <a:extLst>
                  <a:ext uri="{FF2B5EF4-FFF2-40B4-BE49-F238E27FC236}">
                    <a16:creationId xmlns:a16="http://schemas.microsoft.com/office/drawing/2014/main" id="{02062C9C-939B-42A3-945A-C992127644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3" y="3185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0 w 2"/>
                  <a:gd name="T5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94" name="Freeform 1312">
                <a:extLst>
                  <a:ext uri="{FF2B5EF4-FFF2-40B4-BE49-F238E27FC236}">
                    <a16:creationId xmlns:a16="http://schemas.microsoft.com/office/drawing/2014/main" id="{B6CE5560-9F40-4B9C-A3CC-A8D87AA9DE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3" y="3197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95" name="Rectangle 1313">
                <a:extLst>
                  <a:ext uri="{FF2B5EF4-FFF2-40B4-BE49-F238E27FC236}">
                    <a16:creationId xmlns:a16="http://schemas.microsoft.com/office/drawing/2014/main" id="{0FA26F48-1FA6-4170-8915-22BE50D123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4" y="323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96" name="Freeform 1314">
                <a:extLst>
                  <a:ext uri="{FF2B5EF4-FFF2-40B4-BE49-F238E27FC236}">
                    <a16:creationId xmlns:a16="http://schemas.microsoft.com/office/drawing/2014/main" id="{A9967E74-E09F-4B49-A404-49B2E30811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5" y="3193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6 w 6"/>
                  <a:gd name="T3" fmla="*/ 0 h 4"/>
                  <a:gd name="T4" fmla="*/ 4 w 6"/>
                  <a:gd name="T5" fmla="*/ 4 h 4"/>
                  <a:gd name="T6" fmla="*/ 0 w 6"/>
                  <a:gd name="T7" fmla="*/ 4 h 4"/>
                  <a:gd name="T8" fmla="*/ 4 w 6"/>
                  <a:gd name="T9" fmla="*/ 4 h 4"/>
                  <a:gd name="T10" fmla="*/ 6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6" y="0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97" name="Freeform 1315">
                <a:extLst>
                  <a:ext uri="{FF2B5EF4-FFF2-40B4-BE49-F238E27FC236}">
                    <a16:creationId xmlns:a16="http://schemas.microsoft.com/office/drawing/2014/main" id="{7B63E3F1-A913-42BF-8C07-F83B892C2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2" y="3193"/>
                <a:ext cx="17" cy="0"/>
              </a:xfrm>
              <a:custGeom>
                <a:avLst/>
                <a:gdLst>
                  <a:gd name="T0" fmla="*/ 8 w 17"/>
                  <a:gd name="T1" fmla="*/ 13 w 17"/>
                  <a:gd name="T2" fmla="*/ 17 w 17"/>
                  <a:gd name="T3" fmla="*/ 17 w 17"/>
                  <a:gd name="T4" fmla="*/ 17 w 17"/>
                  <a:gd name="T5" fmla="*/ 13 w 17"/>
                  <a:gd name="T6" fmla="*/ 8 w 17"/>
                  <a:gd name="T7" fmla="*/ 6 w 17"/>
                  <a:gd name="T8" fmla="*/ 0 w 17"/>
                  <a:gd name="T9" fmla="*/ 6 w 17"/>
                  <a:gd name="T10" fmla="*/ 8 w 1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</a:cxnLst>
                <a:rect l="0" t="0" r="r" b="b"/>
                <a:pathLst>
                  <a:path w="17">
                    <a:moveTo>
                      <a:pt x="8" y="0"/>
                    </a:moveTo>
                    <a:lnTo>
                      <a:pt x="13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98" name="Freeform 1316">
                <a:extLst>
                  <a:ext uri="{FF2B5EF4-FFF2-40B4-BE49-F238E27FC236}">
                    <a16:creationId xmlns:a16="http://schemas.microsoft.com/office/drawing/2014/main" id="{116CE2F0-0906-404D-B80B-46AD0C13C8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3" y="3185"/>
                <a:ext cx="4" cy="0"/>
              </a:xfrm>
              <a:custGeom>
                <a:avLst/>
                <a:gdLst>
                  <a:gd name="T0" fmla="*/ 4 w 4"/>
                  <a:gd name="T1" fmla="*/ 0 w 4"/>
                  <a:gd name="T2" fmla="*/ 4 w 4"/>
                  <a:gd name="T3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99" name="Rectangle 1317">
                <a:extLst>
                  <a:ext uri="{FF2B5EF4-FFF2-40B4-BE49-F238E27FC236}">
                    <a16:creationId xmlns:a16="http://schemas.microsoft.com/office/drawing/2014/main" id="{5A650A52-E3D0-440C-A5AE-D1D6B59586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5" y="319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00" name="Freeform 1318">
                <a:extLst>
                  <a:ext uri="{FF2B5EF4-FFF2-40B4-BE49-F238E27FC236}">
                    <a16:creationId xmlns:a16="http://schemas.microsoft.com/office/drawing/2014/main" id="{A3F359F9-9B72-4AD9-B130-055CF420E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2" y="3185"/>
                <a:ext cx="6" cy="8"/>
              </a:xfrm>
              <a:custGeom>
                <a:avLst/>
                <a:gdLst>
                  <a:gd name="T0" fmla="*/ 6 w 6"/>
                  <a:gd name="T1" fmla="*/ 0 h 8"/>
                  <a:gd name="T2" fmla="*/ 4 w 6"/>
                  <a:gd name="T3" fmla="*/ 0 h 8"/>
                  <a:gd name="T4" fmla="*/ 0 w 6"/>
                  <a:gd name="T5" fmla="*/ 8 h 8"/>
                  <a:gd name="T6" fmla="*/ 4 w 6"/>
                  <a:gd name="T7" fmla="*/ 0 h 8"/>
                  <a:gd name="T8" fmla="*/ 6 w 6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8">
                    <a:moveTo>
                      <a:pt x="6" y="0"/>
                    </a:moveTo>
                    <a:lnTo>
                      <a:pt x="4" y="0"/>
                    </a:lnTo>
                    <a:lnTo>
                      <a:pt x="0" y="8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01" name="Freeform 1319">
                <a:extLst>
                  <a:ext uri="{FF2B5EF4-FFF2-40B4-BE49-F238E27FC236}">
                    <a16:creationId xmlns:a16="http://schemas.microsoft.com/office/drawing/2014/main" id="{6BBCEF30-D5D7-4CA8-9C04-78CE754C88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9" y="3168"/>
                <a:ext cx="4" cy="14"/>
              </a:xfrm>
              <a:custGeom>
                <a:avLst/>
                <a:gdLst>
                  <a:gd name="T0" fmla="*/ 4 w 4"/>
                  <a:gd name="T1" fmla="*/ 14 h 14"/>
                  <a:gd name="T2" fmla="*/ 4 w 4"/>
                  <a:gd name="T3" fmla="*/ 14 h 14"/>
                  <a:gd name="T4" fmla="*/ 4 w 4"/>
                  <a:gd name="T5" fmla="*/ 14 h 14"/>
                  <a:gd name="T6" fmla="*/ 2 w 4"/>
                  <a:gd name="T7" fmla="*/ 6 h 14"/>
                  <a:gd name="T8" fmla="*/ 0 w 4"/>
                  <a:gd name="T9" fmla="*/ 0 h 14"/>
                  <a:gd name="T10" fmla="*/ 2 w 4"/>
                  <a:gd name="T11" fmla="*/ 6 h 14"/>
                  <a:gd name="T12" fmla="*/ 4 w 4"/>
                  <a:gd name="T1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4">
                    <a:moveTo>
                      <a:pt x="4" y="14"/>
                    </a:moveTo>
                    <a:lnTo>
                      <a:pt x="4" y="14"/>
                    </a:lnTo>
                    <a:lnTo>
                      <a:pt x="4" y="14"/>
                    </a:lnTo>
                    <a:lnTo>
                      <a:pt x="2" y="6"/>
                    </a:lnTo>
                    <a:lnTo>
                      <a:pt x="0" y="0"/>
                    </a:lnTo>
                    <a:lnTo>
                      <a:pt x="2" y="6"/>
                    </a:lnTo>
                    <a:lnTo>
                      <a:pt x="4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02" name="Freeform 1320">
                <a:extLst>
                  <a:ext uri="{FF2B5EF4-FFF2-40B4-BE49-F238E27FC236}">
                    <a16:creationId xmlns:a16="http://schemas.microsoft.com/office/drawing/2014/main" id="{42D90FAA-6CED-4B8F-BB3F-83A5890EC9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3" y="3195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0 h 2"/>
                  <a:gd name="T4" fmla="*/ 0 w 4"/>
                  <a:gd name="T5" fmla="*/ 0 h 2"/>
                  <a:gd name="T6" fmla="*/ 2 w 4"/>
                  <a:gd name="T7" fmla="*/ 0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03" name="Freeform 1321">
                <a:extLst>
                  <a:ext uri="{FF2B5EF4-FFF2-40B4-BE49-F238E27FC236}">
                    <a16:creationId xmlns:a16="http://schemas.microsoft.com/office/drawing/2014/main" id="{C08500A4-3232-4D90-B580-8CD12C4AE4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3" y="3189"/>
                <a:ext cx="16" cy="2"/>
              </a:xfrm>
              <a:custGeom>
                <a:avLst/>
                <a:gdLst>
                  <a:gd name="T0" fmla="*/ 14 w 16"/>
                  <a:gd name="T1" fmla="*/ 0 h 2"/>
                  <a:gd name="T2" fmla="*/ 16 w 16"/>
                  <a:gd name="T3" fmla="*/ 2 h 2"/>
                  <a:gd name="T4" fmla="*/ 16 w 16"/>
                  <a:gd name="T5" fmla="*/ 2 h 2"/>
                  <a:gd name="T6" fmla="*/ 16 w 16"/>
                  <a:gd name="T7" fmla="*/ 2 h 2"/>
                  <a:gd name="T8" fmla="*/ 14 w 16"/>
                  <a:gd name="T9" fmla="*/ 0 h 2"/>
                  <a:gd name="T10" fmla="*/ 2 w 16"/>
                  <a:gd name="T11" fmla="*/ 2 h 2"/>
                  <a:gd name="T12" fmla="*/ 0 w 16"/>
                  <a:gd name="T13" fmla="*/ 2 h 2"/>
                  <a:gd name="T14" fmla="*/ 2 w 16"/>
                  <a:gd name="T15" fmla="*/ 2 h 2"/>
                  <a:gd name="T16" fmla="*/ 14 w 16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2">
                    <a:moveTo>
                      <a:pt x="14" y="0"/>
                    </a:move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04" name="Freeform 1322">
                <a:extLst>
                  <a:ext uri="{FF2B5EF4-FFF2-40B4-BE49-F238E27FC236}">
                    <a16:creationId xmlns:a16="http://schemas.microsoft.com/office/drawing/2014/main" id="{80B2C764-B9AD-4FAD-8507-C57840D926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1" y="3152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05" name="Freeform 1323">
                <a:extLst>
                  <a:ext uri="{FF2B5EF4-FFF2-40B4-BE49-F238E27FC236}">
                    <a16:creationId xmlns:a16="http://schemas.microsoft.com/office/drawing/2014/main" id="{34DAE477-863F-458C-8B95-B40B979B09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7" y="3195"/>
                <a:ext cx="6" cy="4"/>
              </a:xfrm>
              <a:custGeom>
                <a:avLst/>
                <a:gdLst>
                  <a:gd name="T0" fmla="*/ 4 w 6"/>
                  <a:gd name="T1" fmla="*/ 0 h 4"/>
                  <a:gd name="T2" fmla="*/ 6 w 6"/>
                  <a:gd name="T3" fmla="*/ 4 h 4"/>
                  <a:gd name="T4" fmla="*/ 4 w 6"/>
                  <a:gd name="T5" fmla="*/ 0 h 4"/>
                  <a:gd name="T6" fmla="*/ 4 w 6"/>
                  <a:gd name="T7" fmla="*/ 0 h 4"/>
                  <a:gd name="T8" fmla="*/ 0 w 6"/>
                  <a:gd name="T9" fmla="*/ 2 h 4"/>
                  <a:gd name="T10" fmla="*/ 4 w 6"/>
                  <a:gd name="T11" fmla="*/ 0 h 4"/>
                  <a:gd name="T12" fmla="*/ 4 w 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6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06" name="Freeform 1324">
                <a:extLst>
                  <a:ext uri="{FF2B5EF4-FFF2-40B4-BE49-F238E27FC236}">
                    <a16:creationId xmlns:a16="http://schemas.microsoft.com/office/drawing/2014/main" id="{BD5F4866-F4B3-4706-894F-0DAA46A875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6" y="3183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07" name="Freeform 1325">
                <a:extLst>
                  <a:ext uri="{FF2B5EF4-FFF2-40B4-BE49-F238E27FC236}">
                    <a16:creationId xmlns:a16="http://schemas.microsoft.com/office/drawing/2014/main" id="{07BF8108-B973-4F4B-83FB-EA07B97564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2" y="3264"/>
                <a:ext cx="8" cy="1"/>
              </a:xfrm>
              <a:custGeom>
                <a:avLst/>
                <a:gdLst>
                  <a:gd name="T0" fmla="*/ 8 w 8"/>
                  <a:gd name="T1" fmla="*/ 1 h 1"/>
                  <a:gd name="T2" fmla="*/ 4 w 8"/>
                  <a:gd name="T3" fmla="*/ 1 h 1"/>
                  <a:gd name="T4" fmla="*/ 0 w 8"/>
                  <a:gd name="T5" fmla="*/ 0 h 1"/>
                  <a:gd name="T6" fmla="*/ 4 w 8"/>
                  <a:gd name="T7" fmla="*/ 1 h 1"/>
                  <a:gd name="T8" fmla="*/ 8 w 8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">
                    <a:moveTo>
                      <a:pt x="8" y="1"/>
                    </a:moveTo>
                    <a:lnTo>
                      <a:pt x="4" y="1"/>
                    </a:lnTo>
                    <a:lnTo>
                      <a:pt x="0" y="0"/>
                    </a:lnTo>
                    <a:lnTo>
                      <a:pt x="4" y="1"/>
                    </a:lnTo>
                    <a:lnTo>
                      <a:pt x="8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08" name="Freeform 1326">
                <a:extLst>
                  <a:ext uri="{FF2B5EF4-FFF2-40B4-BE49-F238E27FC236}">
                    <a16:creationId xmlns:a16="http://schemas.microsoft.com/office/drawing/2014/main" id="{3E3E36E5-803F-4CC2-AD12-E2D6D0984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5" y="3195"/>
                <a:ext cx="18" cy="6"/>
              </a:xfrm>
              <a:custGeom>
                <a:avLst/>
                <a:gdLst>
                  <a:gd name="T0" fmla="*/ 8 w 18"/>
                  <a:gd name="T1" fmla="*/ 4 h 6"/>
                  <a:gd name="T2" fmla="*/ 14 w 18"/>
                  <a:gd name="T3" fmla="*/ 0 h 6"/>
                  <a:gd name="T4" fmla="*/ 18 w 18"/>
                  <a:gd name="T5" fmla="*/ 0 h 6"/>
                  <a:gd name="T6" fmla="*/ 18 w 18"/>
                  <a:gd name="T7" fmla="*/ 0 h 6"/>
                  <a:gd name="T8" fmla="*/ 14 w 18"/>
                  <a:gd name="T9" fmla="*/ 0 h 6"/>
                  <a:gd name="T10" fmla="*/ 8 w 18"/>
                  <a:gd name="T11" fmla="*/ 4 h 6"/>
                  <a:gd name="T12" fmla="*/ 2 w 18"/>
                  <a:gd name="T13" fmla="*/ 6 h 6"/>
                  <a:gd name="T14" fmla="*/ 0 w 18"/>
                  <a:gd name="T15" fmla="*/ 4 h 6"/>
                  <a:gd name="T16" fmla="*/ 2 w 18"/>
                  <a:gd name="T17" fmla="*/ 6 h 6"/>
                  <a:gd name="T18" fmla="*/ 8 w 18"/>
                  <a:gd name="T1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6">
                    <a:moveTo>
                      <a:pt x="8" y="4"/>
                    </a:move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09" name="Freeform 1327">
                <a:extLst>
                  <a:ext uri="{FF2B5EF4-FFF2-40B4-BE49-F238E27FC236}">
                    <a16:creationId xmlns:a16="http://schemas.microsoft.com/office/drawing/2014/main" id="{94DB750D-AF68-4399-AC3E-A81A636647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1" y="3256"/>
                <a:ext cx="8" cy="0"/>
              </a:xfrm>
              <a:custGeom>
                <a:avLst/>
                <a:gdLst>
                  <a:gd name="T0" fmla="*/ 4 w 8"/>
                  <a:gd name="T1" fmla="*/ 6 w 8"/>
                  <a:gd name="T2" fmla="*/ 8 w 8"/>
                  <a:gd name="T3" fmla="*/ 6 w 8"/>
                  <a:gd name="T4" fmla="*/ 4 w 8"/>
                  <a:gd name="T5" fmla="*/ 0 w 8"/>
                  <a:gd name="T6" fmla="*/ 0 w 8"/>
                  <a:gd name="T7" fmla="*/ 0 w 8"/>
                  <a:gd name="T8" fmla="*/ 4 w 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</a:cxnLst>
                <a:rect l="0" t="0" r="r" b="b"/>
                <a:pathLst>
                  <a:path w="8">
                    <a:moveTo>
                      <a:pt x="4" y="0"/>
                    </a:moveTo>
                    <a:lnTo>
                      <a:pt x="6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10" name="Freeform 1328">
                <a:extLst>
                  <a:ext uri="{FF2B5EF4-FFF2-40B4-BE49-F238E27FC236}">
                    <a16:creationId xmlns:a16="http://schemas.microsoft.com/office/drawing/2014/main" id="{8E4C012A-55DE-4B2A-8E91-13B098FD2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3" y="3195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8 w 8"/>
                  <a:gd name="T5" fmla="*/ 0 h 4"/>
                  <a:gd name="T6" fmla="*/ 2 w 8"/>
                  <a:gd name="T7" fmla="*/ 4 h 4"/>
                  <a:gd name="T8" fmla="*/ 0 w 8"/>
                  <a:gd name="T9" fmla="*/ 4 h 4"/>
                  <a:gd name="T10" fmla="*/ 2 w 8"/>
                  <a:gd name="T11" fmla="*/ 4 h 4"/>
                  <a:gd name="T12" fmla="*/ 8 w 8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11" name="Freeform 1329">
                <a:extLst>
                  <a:ext uri="{FF2B5EF4-FFF2-40B4-BE49-F238E27FC236}">
                    <a16:creationId xmlns:a16="http://schemas.microsoft.com/office/drawing/2014/main" id="{ACEEC6E9-AF42-4395-93D5-9F2D847DBE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1" y="3279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12" name="Freeform 1330">
                <a:extLst>
                  <a:ext uri="{FF2B5EF4-FFF2-40B4-BE49-F238E27FC236}">
                    <a16:creationId xmlns:a16="http://schemas.microsoft.com/office/drawing/2014/main" id="{B8DCCE33-C78F-49F2-8A92-8FB565503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4" y="3195"/>
                <a:ext cx="1" cy="4"/>
              </a:xfrm>
              <a:custGeom>
                <a:avLst/>
                <a:gdLst>
                  <a:gd name="T0" fmla="*/ 1 w 1"/>
                  <a:gd name="T1" fmla="*/ 4 h 4"/>
                  <a:gd name="T2" fmla="*/ 1 w 1"/>
                  <a:gd name="T3" fmla="*/ 4 h 4"/>
                  <a:gd name="T4" fmla="*/ 0 w 1"/>
                  <a:gd name="T5" fmla="*/ 2 h 4"/>
                  <a:gd name="T6" fmla="*/ 0 w 1"/>
                  <a:gd name="T7" fmla="*/ 0 h 4"/>
                  <a:gd name="T8" fmla="*/ 0 w 1"/>
                  <a:gd name="T9" fmla="*/ 2 h 4"/>
                  <a:gd name="T10" fmla="*/ 1 w 1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4">
                    <a:moveTo>
                      <a:pt x="1" y="4"/>
                    </a:moveTo>
                    <a:lnTo>
                      <a:pt x="1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13" name="Freeform 1331">
                <a:extLst>
                  <a:ext uri="{FF2B5EF4-FFF2-40B4-BE49-F238E27FC236}">
                    <a16:creationId xmlns:a16="http://schemas.microsoft.com/office/drawing/2014/main" id="{57985CCA-C5BE-4243-89A6-67E66BA0AB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8" y="3265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2 h 2"/>
                  <a:gd name="T4" fmla="*/ 0 w 4"/>
                  <a:gd name="T5" fmla="*/ 0 h 2"/>
                  <a:gd name="T6" fmla="*/ 2 w 4"/>
                  <a:gd name="T7" fmla="*/ 2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14" name="Freeform 1332">
                <a:extLst>
                  <a:ext uri="{FF2B5EF4-FFF2-40B4-BE49-F238E27FC236}">
                    <a16:creationId xmlns:a16="http://schemas.microsoft.com/office/drawing/2014/main" id="{4762ADAD-353F-4AC1-B89E-79A44F5B58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4" y="3277"/>
                <a:ext cx="6" cy="0"/>
              </a:xfrm>
              <a:custGeom>
                <a:avLst/>
                <a:gdLst>
                  <a:gd name="T0" fmla="*/ 6 w 6"/>
                  <a:gd name="T1" fmla="*/ 0 w 6"/>
                  <a:gd name="T2" fmla="*/ 0 w 6"/>
                  <a:gd name="T3" fmla="*/ 0 w 6"/>
                  <a:gd name="T4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15" name="Freeform 1333">
                <a:extLst>
                  <a:ext uri="{FF2B5EF4-FFF2-40B4-BE49-F238E27FC236}">
                    <a16:creationId xmlns:a16="http://schemas.microsoft.com/office/drawing/2014/main" id="{AD1D5A25-815D-4DF4-B9E9-7B0BC44167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6" y="3166"/>
                <a:ext cx="8" cy="12"/>
              </a:xfrm>
              <a:custGeom>
                <a:avLst/>
                <a:gdLst>
                  <a:gd name="T0" fmla="*/ 4 w 8"/>
                  <a:gd name="T1" fmla="*/ 4 h 12"/>
                  <a:gd name="T2" fmla="*/ 6 w 8"/>
                  <a:gd name="T3" fmla="*/ 2 h 12"/>
                  <a:gd name="T4" fmla="*/ 8 w 8"/>
                  <a:gd name="T5" fmla="*/ 0 h 12"/>
                  <a:gd name="T6" fmla="*/ 6 w 8"/>
                  <a:gd name="T7" fmla="*/ 2 h 12"/>
                  <a:gd name="T8" fmla="*/ 4 w 8"/>
                  <a:gd name="T9" fmla="*/ 4 h 12"/>
                  <a:gd name="T10" fmla="*/ 2 w 8"/>
                  <a:gd name="T11" fmla="*/ 8 h 12"/>
                  <a:gd name="T12" fmla="*/ 0 w 8"/>
                  <a:gd name="T13" fmla="*/ 12 h 12"/>
                  <a:gd name="T14" fmla="*/ 2 w 8"/>
                  <a:gd name="T15" fmla="*/ 8 h 12"/>
                  <a:gd name="T16" fmla="*/ 4 w 8"/>
                  <a:gd name="T17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4" y="4"/>
                    </a:moveTo>
                    <a:lnTo>
                      <a:pt x="6" y="2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16" name="Freeform 1334">
                <a:extLst>
                  <a:ext uri="{FF2B5EF4-FFF2-40B4-BE49-F238E27FC236}">
                    <a16:creationId xmlns:a16="http://schemas.microsoft.com/office/drawing/2014/main" id="{CD0381A8-7783-4471-B173-371C7A8559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6" y="3203"/>
                <a:ext cx="6" cy="6"/>
              </a:xfrm>
              <a:custGeom>
                <a:avLst/>
                <a:gdLst>
                  <a:gd name="T0" fmla="*/ 6 w 6"/>
                  <a:gd name="T1" fmla="*/ 6 h 6"/>
                  <a:gd name="T2" fmla="*/ 4 w 6"/>
                  <a:gd name="T3" fmla="*/ 4 h 6"/>
                  <a:gd name="T4" fmla="*/ 0 w 6"/>
                  <a:gd name="T5" fmla="*/ 0 h 6"/>
                  <a:gd name="T6" fmla="*/ 4 w 6"/>
                  <a:gd name="T7" fmla="*/ 4 h 6"/>
                  <a:gd name="T8" fmla="*/ 6 w 6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4" y="4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17" name="Freeform 1335">
                <a:extLst>
                  <a:ext uri="{FF2B5EF4-FFF2-40B4-BE49-F238E27FC236}">
                    <a16:creationId xmlns:a16="http://schemas.microsoft.com/office/drawing/2014/main" id="{718C1506-70BC-478F-903A-E305FD552B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4" y="3164"/>
                <a:ext cx="4" cy="0"/>
              </a:xfrm>
              <a:custGeom>
                <a:avLst/>
                <a:gdLst>
                  <a:gd name="T0" fmla="*/ 4 w 4"/>
                  <a:gd name="T1" fmla="*/ 4 w 4"/>
                  <a:gd name="T2" fmla="*/ 2 w 4"/>
                  <a:gd name="T3" fmla="*/ 0 w 4"/>
                  <a:gd name="T4" fmla="*/ 2 w 4"/>
                  <a:gd name="T5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18" name="Freeform 1336">
                <a:extLst>
                  <a:ext uri="{FF2B5EF4-FFF2-40B4-BE49-F238E27FC236}">
                    <a16:creationId xmlns:a16="http://schemas.microsoft.com/office/drawing/2014/main" id="{28D48303-58D7-45DA-9A10-6F1CCB6448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8" y="3146"/>
                <a:ext cx="16" cy="18"/>
              </a:xfrm>
              <a:custGeom>
                <a:avLst/>
                <a:gdLst>
                  <a:gd name="T0" fmla="*/ 16 w 16"/>
                  <a:gd name="T1" fmla="*/ 0 h 18"/>
                  <a:gd name="T2" fmla="*/ 16 w 16"/>
                  <a:gd name="T3" fmla="*/ 0 h 18"/>
                  <a:gd name="T4" fmla="*/ 16 w 16"/>
                  <a:gd name="T5" fmla="*/ 0 h 18"/>
                  <a:gd name="T6" fmla="*/ 2 w 16"/>
                  <a:gd name="T7" fmla="*/ 16 h 18"/>
                  <a:gd name="T8" fmla="*/ 0 w 16"/>
                  <a:gd name="T9" fmla="*/ 18 h 18"/>
                  <a:gd name="T10" fmla="*/ 2 w 16"/>
                  <a:gd name="T11" fmla="*/ 16 h 18"/>
                  <a:gd name="T12" fmla="*/ 16 w 1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18">
                    <a:moveTo>
                      <a:pt x="16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2" y="16"/>
                    </a:lnTo>
                    <a:lnTo>
                      <a:pt x="0" y="18"/>
                    </a:lnTo>
                    <a:lnTo>
                      <a:pt x="2" y="16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19" name="Freeform 1337">
                <a:extLst>
                  <a:ext uri="{FF2B5EF4-FFF2-40B4-BE49-F238E27FC236}">
                    <a16:creationId xmlns:a16="http://schemas.microsoft.com/office/drawing/2014/main" id="{552EDB90-6FF1-4F5C-B07C-FA80AA73C3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6" y="3203"/>
                <a:ext cx="6" cy="4"/>
              </a:xfrm>
              <a:custGeom>
                <a:avLst/>
                <a:gdLst>
                  <a:gd name="T0" fmla="*/ 4 w 6"/>
                  <a:gd name="T1" fmla="*/ 0 h 4"/>
                  <a:gd name="T2" fmla="*/ 6 w 6"/>
                  <a:gd name="T3" fmla="*/ 0 h 4"/>
                  <a:gd name="T4" fmla="*/ 4 w 6"/>
                  <a:gd name="T5" fmla="*/ 0 h 4"/>
                  <a:gd name="T6" fmla="*/ 0 w 6"/>
                  <a:gd name="T7" fmla="*/ 2 h 4"/>
                  <a:gd name="T8" fmla="*/ 0 w 6"/>
                  <a:gd name="T9" fmla="*/ 4 h 4"/>
                  <a:gd name="T10" fmla="*/ 0 w 6"/>
                  <a:gd name="T11" fmla="*/ 2 h 4"/>
                  <a:gd name="T12" fmla="*/ 4 w 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20" name="Freeform 1338">
                <a:extLst>
                  <a:ext uri="{FF2B5EF4-FFF2-40B4-BE49-F238E27FC236}">
                    <a16:creationId xmlns:a16="http://schemas.microsoft.com/office/drawing/2014/main" id="{8B44557B-37BA-424D-B332-896CE872F8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3" y="3193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21" name="Freeform 1339">
                <a:extLst>
                  <a:ext uri="{FF2B5EF4-FFF2-40B4-BE49-F238E27FC236}">
                    <a16:creationId xmlns:a16="http://schemas.microsoft.com/office/drawing/2014/main" id="{9BD863FD-5375-4F5C-9A4A-2E9005716D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2" y="3203"/>
                <a:ext cx="18" cy="12"/>
              </a:xfrm>
              <a:custGeom>
                <a:avLst/>
                <a:gdLst>
                  <a:gd name="T0" fmla="*/ 10 w 18"/>
                  <a:gd name="T1" fmla="*/ 8 h 12"/>
                  <a:gd name="T2" fmla="*/ 18 w 18"/>
                  <a:gd name="T3" fmla="*/ 12 h 12"/>
                  <a:gd name="T4" fmla="*/ 10 w 18"/>
                  <a:gd name="T5" fmla="*/ 8 h 12"/>
                  <a:gd name="T6" fmla="*/ 4 w 18"/>
                  <a:gd name="T7" fmla="*/ 2 h 12"/>
                  <a:gd name="T8" fmla="*/ 0 w 18"/>
                  <a:gd name="T9" fmla="*/ 0 h 12"/>
                  <a:gd name="T10" fmla="*/ 0 w 18"/>
                  <a:gd name="T11" fmla="*/ 0 h 12"/>
                  <a:gd name="T12" fmla="*/ 4 w 18"/>
                  <a:gd name="T13" fmla="*/ 2 h 12"/>
                  <a:gd name="T14" fmla="*/ 10 w 18"/>
                  <a:gd name="T15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2">
                    <a:moveTo>
                      <a:pt x="10" y="8"/>
                    </a:moveTo>
                    <a:lnTo>
                      <a:pt x="18" y="12"/>
                    </a:lnTo>
                    <a:lnTo>
                      <a:pt x="10" y="8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22" name="Freeform 1340">
                <a:extLst>
                  <a:ext uri="{FF2B5EF4-FFF2-40B4-BE49-F238E27FC236}">
                    <a16:creationId xmlns:a16="http://schemas.microsoft.com/office/drawing/2014/main" id="{BA6008BE-2558-4E66-B925-F5AE0B8180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1" y="3228"/>
                <a:ext cx="24" cy="24"/>
              </a:xfrm>
              <a:custGeom>
                <a:avLst/>
                <a:gdLst>
                  <a:gd name="T0" fmla="*/ 4 w 24"/>
                  <a:gd name="T1" fmla="*/ 18 h 24"/>
                  <a:gd name="T2" fmla="*/ 8 w 24"/>
                  <a:gd name="T3" fmla="*/ 20 h 24"/>
                  <a:gd name="T4" fmla="*/ 20 w 24"/>
                  <a:gd name="T5" fmla="*/ 22 h 24"/>
                  <a:gd name="T6" fmla="*/ 24 w 24"/>
                  <a:gd name="T7" fmla="*/ 24 h 24"/>
                  <a:gd name="T8" fmla="*/ 20 w 24"/>
                  <a:gd name="T9" fmla="*/ 22 h 24"/>
                  <a:gd name="T10" fmla="*/ 8 w 24"/>
                  <a:gd name="T11" fmla="*/ 20 h 24"/>
                  <a:gd name="T12" fmla="*/ 4 w 24"/>
                  <a:gd name="T13" fmla="*/ 18 h 24"/>
                  <a:gd name="T14" fmla="*/ 2 w 24"/>
                  <a:gd name="T15" fmla="*/ 8 h 24"/>
                  <a:gd name="T16" fmla="*/ 0 w 24"/>
                  <a:gd name="T17" fmla="*/ 0 h 24"/>
                  <a:gd name="T18" fmla="*/ 2 w 24"/>
                  <a:gd name="T19" fmla="*/ 8 h 24"/>
                  <a:gd name="T20" fmla="*/ 4 w 24"/>
                  <a:gd name="T21" fmla="*/ 1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24">
                    <a:moveTo>
                      <a:pt x="4" y="18"/>
                    </a:moveTo>
                    <a:lnTo>
                      <a:pt x="8" y="20"/>
                    </a:lnTo>
                    <a:lnTo>
                      <a:pt x="20" y="22"/>
                    </a:lnTo>
                    <a:lnTo>
                      <a:pt x="24" y="24"/>
                    </a:lnTo>
                    <a:lnTo>
                      <a:pt x="20" y="22"/>
                    </a:lnTo>
                    <a:lnTo>
                      <a:pt x="8" y="20"/>
                    </a:lnTo>
                    <a:lnTo>
                      <a:pt x="4" y="18"/>
                    </a:lnTo>
                    <a:lnTo>
                      <a:pt x="2" y="8"/>
                    </a:lnTo>
                    <a:lnTo>
                      <a:pt x="0" y="0"/>
                    </a:lnTo>
                    <a:lnTo>
                      <a:pt x="2" y="8"/>
                    </a:lnTo>
                    <a:lnTo>
                      <a:pt x="4" y="1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23" name="Freeform 1341">
                <a:extLst>
                  <a:ext uri="{FF2B5EF4-FFF2-40B4-BE49-F238E27FC236}">
                    <a16:creationId xmlns:a16="http://schemas.microsoft.com/office/drawing/2014/main" id="{AF34D8B5-26C6-41F6-A6E7-E435C1930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5" y="3154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24" name="Rectangle 1342">
                <a:extLst>
                  <a:ext uri="{FF2B5EF4-FFF2-40B4-BE49-F238E27FC236}">
                    <a16:creationId xmlns:a16="http://schemas.microsoft.com/office/drawing/2014/main" id="{B370526F-0847-477F-AB3C-79025930A2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9" y="326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25" name="Rectangle 1343">
                <a:extLst>
                  <a:ext uri="{FF2B5EF4-FFF2-40B4-BE49-F238E27FC236}">
                    <a16:creationId xmlns:a16="http://schemas.microsoft.com/office/drawing/2014/main" id="{3E6B1C46-B45C-4E6C-968D-C43F4182C1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2" y="322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26" name="Freeform 1344">
                <a:extLst>
                  <a:ext uri="{FF2B5EF4-FFF2-40B4-BE49-F238E27FC236}">
                    <a16:creationId xmlns:a16="http://schemas.microsoft.com/office/drawing/2014/main" id="{EA4719BC-F4C9-480A-BC9D-28C03DF55F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8" y="3170"/>
                <a:ext cx="12" cy="0"/>
              </a:xfrm>
              <a:custGeom>
                <a:avLst/>
                <a:gdLst>
                  <a:gd name="T0" fmla="*/ 12 w 12"/>
                  <a:gd name="T1" fmla="*/ 12 w 12"/>
                  <a:gd name="T2" fmla="*/ 0 w 12"/>
                  <a:gd name="T3" fmla="*/ 12 w 12"/>
                  <a:gd name="T4" fmla="*/ 12 w 1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2">
                    <a:moveTo>
                      <a:pt x="12" y="0"/>
                    </a:moveTo>
                    <a:lnTo>
                      <a:pt x="12" y="0"/>
                    </a:lnTo>
                    <a:lnTo>
                      <a:pt x="0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27" name="Freeform 1345">
                <a:extLst>
                  <a:ext uri="{FF2B5EF4-FFF2-40B4-BE49-F238E27FC236}">
                    <a16:creationId xmlns:a16="http://schemas.microsoft.com/office/drawing/2014/main" id="{C160018D-F81B-49F4-A26A-8F06B0E2E5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8" y="3221"/>
                <a:ext cx="3" cy="7"/>
              </a:xfrm>
              <a:custGeom>
                <a:avLst/>
                <a:gdLst>
                  <a:gd name="T0" fmla="*/ 3 w 3"/>
                  <a:gd name="T1" fmla="*/ 7 h 7"/>
                  <a:gd name="T2" fmla="*/ 0 w 3"/>
                  <a:gd name="T3" fmla="*/ 0 h 7"/>
                  <a:gd name="T4" fmla="*/ 0 w 3"/>
                  <a:gd name="T5" fmla="*/ 0 h 7"/>
                  <a:gd name="T6" fmla="*/ 3 w 3"/>
                  <a:gd name="T7" fmla="*/ 7 h 7"/>
                  <a:gd name="T8" fmla="*/ 3 w 3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7">
                    <a:moveTo>
                      <a:pt x="3" y="7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7"/>
                    </a:lnTo>
                    <a:lnTo>
                      <a:pt x="3" y="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28" name="Rectangle 1346">
                <a:extLst>
                  <a:ext uri="{FF2B5EF4-FFF2-40B4-BE49-F238E27FC236}">
                    <a16:creationId xmlns:a16="http://schemas.microsoft.com/office/drawing/2014/main" id="{C75EDBD3-5CBB-4773-8E8B-AFF73B32DB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66" y="318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29" name="Freeform 1347">
                <a:extLst>
                  <a:ext uri="{FF2B5EF4-FFF2-40B4-BE49-F238E27FC236}">
                    <a16:creationId xmlns:a16="http://schemas.microsoft.com/office/drawing/2014/main" id="{8CB76F3D-C4CE-4730-AE74-B6F5D49B7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0" y="3197"/>
                <a:ext cx="14" cy="26"/>
              </a:xfrm>
              <a:custGeom>
                <a:avLst/>
                <a:gdLst>
                  <a:gd name="T0" fmla="*/ 8 w 14"/>
                  <a:gd name="T1" fmla="*/ 0 h 26"/>
                  <a:gd name="T2" fmla="*/ 10 w 14"/>
                  <a:gd name="T3" fmla="*/ 2 h 26"/>
                  <a:gd name="T4" fmla="*/ 12 w 14"/>
                  <a:gd name="T5" fmla="*/ 6 h 26"/>
                  <a:gd name="T6" fmla="*/ 12 w 14"/>
                  <a:gd name="T7" fmla="*/ 10 h 26"/>
                  <a:gd name="T8" fmla="*/ 14 w 14"/>
                  <a:gd name="T9" fmla="*/ 24 h 26"/>
                  <a:gd name="T10" fmla="*/ 12 w 14"/>
                  <a:gd name="T11" fmla="*/ 24 h 26"/>
                  <a:gd name="T12" fmla="*/ 12 w 14"/>
                  <a:gd name="T13" fmla="*/ 26 h 26"/>
                  <a:gd name="T14" fmla="*/ 12 w 14"/>
                  <a:gd name="T15" fmla="*/ 24 h 26"/>
                  <a:gd name="T16" fmla="*/ 14 w 14"/>
                  <a:gd name="T17" fmla="*/ 24 h 26"/>
                  <a:gd name="T18" fmla="*/ 12 w 14"/>
                  <a:gd name="T19" fmla="*/ 10 h 26"/>
                  <a:gd name="T20" fmla="*/ 12 w 14"/>
                  <a:gd name="T21" fmla="*/ 6 h 26"/>
                  <a:gd name="T22" fmla="*/ 10 w 14"/>
                  <a:gd name="T23" fmla="*/ 2 h 26"/>
                  <a:gd name="T24" fmla="*/ 8 w 14"/>
                  <a:gd name="T25" fmla="*/ 0 h 26"/>
                  <a:gd name="T26" fmla="*/ 2 w 14"/>
                  <a:gd name="T27" fmla="*/ 2 h 26"/>
                  <a:gd name="T28" fmla="*/ 0 w 14"/>
                  <a:gd name="T29" fmla="*/ 2 h 26"/>
                  <a:gd name="T30" fmla="*/ 2 w 14"/>
                  <a:gd name="T31" fmla="*/ 2 h 26"/>
                  <a:gd name="T32" fmla="*/ 8 w 14"/>
                  <a:gd name="T33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26">
                    <a:moveTo>
                      <a:pt x="8" y="0"/>
                    </a:moveTo>
                    <a:lnTo>
                      <a:pt x="10" y="2"/>
                    </a:lnTo>
                    <a:lnTo>
                      <a:pt x="12" y="6"/>
                    </a:lnTo>
                    <a:lnTo>
                      <a:pt x="12" y="10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12" y="26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30" name="Freeform 1348">
                <a:extLst>
                  <a:ext uri="{FF2B5EF4-FFF2-40B4-BE49-F238E27FC236}">
                    <a16:creationId xmlns:a16="http://schemas.microsoft.com/office/drawing/2014/main" id="{29F6F715-EDA7-4077-8777-39A32FBE42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2" y="3224"/>
                <a:ext cx="4" cy="4"/>
              </a:xfrm>
              <a:custGeom>
                <a:avLst/>
                <a:gdLst>
                  <a:gd name="T0" fmla="*/ 2 w 4"/>
                  <a:gd name="T1" fmla="*/ 2 h 4"/>
                  <a:gd name="T2" fmla="*/ 2 w 4"/>
                  <a:gd name="T3" fmla="*/ 2 h 4"/>
                  <a:gd name="T4" fmla="*/ 2 w 4"/>
                  <a:gd name="T5" fmla="*/ 2 h 4"/>
                  <a:gd name="T6" fmla="*/ 4 w 4"/>
                  <a:gd name="T7" fmla="*/ 4 h 4"/>
                  <a:gd name="T8" fmla="*/ 4 w 4"/>
                  <a:gd name="T9" fmla="*/ 4 h 4"/>
                  <a:gd name="T10" fmla="*/ 4 w 4"/>
                  <a:gd name="T11" fmla="*/ 4 h 4"/>
                  <a:gd name="T12" fmla="*/ 2 w 4"/>
                  <a:gd name="T13" fmla="*/ 2 h 4"/>
                  <a:gd name="T14" fmla="*/ 2 w 4"/>
                  <a:gd name="T15" fmla="*/ 2 h 4"/>
                  <a:gd name="T16" fmla="*/ 2 w 4"/>
                  <a:gd name="T17" fmla="*/ 2 h 4"/>
                  <a:gd name="T18" fmla="*/ 0 w 4"/>
                  <a:gd name="T19" fmla="*/ 0 h 4"/>
                  <a:gd name="T20" fmla="*/ 0 w 4"/>
                  <a:gd name="T21" fmla="*/ 0 h 4"/>
                  <a:gd name="T22" fmla="*/ 0 w 4"/>
                  <a:gd name="T23" fmla="*/ 0 h 4"/>
                  <a:gd name="T24" fmla="*/ 2 w 4"/>
                  <a:gd name="T2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4">
                    <a:moveTo>
                      <a:pt x="2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31" name="Freeform 1349">
                <a:extLst>
                  <a:ext uri="{FF2B5EF4-FFF2-40B4-BE49-F238E27FC236}">
                    <a16:creationId xmlns:a16="http://schemas.microsoft.com/office/drawing/2014/main" id="{D8AC1E4B-2C6B-4B24-BD62-7DEFF7AC71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6" y="3244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2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32" name="Freeform 1350">
                <a:extLst>
                  <a:ext uri="{FF2B5EF4-FFF2-40B4-BE49-F238E27FC236}">
                    <a16:creationId xmlns:a16="http://schemas.microsoft.com/office/drawing/2014/main" id="{1695AEE8-1ECB-465F-A082-AC044646BD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1" y="3213"/>
                <a:ext cx="21" cy="8"/>
              </a:xfrm>
              <a:custGeom>
                <a:avLst/>
                <a:gdLst>
                  <a:gd name="T0" fmla="*/ 4 w 21"/>
                  <a:gd name="T1" fmla="*/ 8 h 8"/>
                  <a:gd name="T2" fmla="*/ 6 w 21"/>
                  <a:gd name="T3" fmla="*/ 6 h 8"/>
                  <a:gd name="T4" fmla="*/ 10 w 21"/>
                  <a:gd name="T5" fmla="*/ 2 h 8"/>
                  <a:gd name="T6" fmla="*/ 12 w 21"/>
                  <a:gd name="T7" fmla="*/ 0 h 8"/>
                  <a:gd name="T8" fmla="*/ 21 w 21"/>
                  <a:gd name="T9" fmla="*/ 0 h 8"/>
                  <a:gd name="T10" fmla="*/ 12 w 21"/>
                  <a:gd name="T11" fmla="*/ 0 h 8"/>
                  <a:gd name="T12" fmla="*/ 10 w 21"/>
                  <a:gd name="T13" fmla="*/ 2 h 8"/>
                  <a:gd name="T14" fmla="*/ 6 w 21"/>
                  <a:gd name="T15" fmla="*/ 6 h 8"/>
                  <a:gd name="T16" fmla="*/ 4 w 21"/>
                  <a:gd name="T17" fmla="*/ 8 h 8"/>
                  <a:gd name="T18" fmla="*/ 0 w 21"/>
                  <a:gd name="T19" fmla="*/ 8 h 8"/>
                  <a:gd name="T20" fmla="*/ 0 w 21"/>
                  <a:gd name="T21" fmla="*/ 8 h 8"/>
                  <a:gd name="T22" fmla="*/ 0 w 21"/>
                  <a:gd name="T23" fmla="*/ 8 h 8"/>
                  <a:gd name="T24" fmla="*/ 0 w 21"/>
                  <a:gd name="T25" fmla="*/ 8 h 8"/>
                  <a:gd name="T26" fmla="*/ 4 w 21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8">
                    <a:moveTo>
                      <a:pt x="4" y="8"/>
                    </a:moveTo>
                    <a:lnTo>
                      <a:pt x="6" y="6"/>
                    </a:lnTo>
                    <a:lnTo>
                      <a:pt x="10" y="2"/>
                    </a:lnTo>
                    <a:lnTo>
                      <a:pt x="12" y="0"/>
                    </a:lnTo>
                    <a:lnTo>
                      <a:pt x="21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33" name="Freeform 1351">
                <a:extLst>
                  <a:ext uri="{FF2B5EF4-FFF2-40B4-BE49-F238E27FC236}">
                    <a16:creationId xmlns:a16="http://schemas.microsoft.com/office/drawing/2014/main" id="{C4D59D36-B5CF-4599-829C-0BF4E2F882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6" y="323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34" name="Rectangle 1352">
                <a:extLst>
                  <a:ext uri="{FF2B5EF4-FFF2-40B4-BE49-F238E27FC236}">
                    <a16:creationId xmlns:a16="http://schemas.microsoft.com/office/drawing/2014/main" id="{F00CEFEA-E572-4742-901F-D8C693C209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11" y="324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35" name="Freeform 1353">
                <a:extLst>
                  <a:ext uri="{FF2B5EF4-FFF2-40B4-BE49-F238E27FC236}">
                    <a16:creationId xmlns:a16="http://schemas.microsoft.com/office/drawing/2014/main" id="{F8C7DB7D-0B12-4005-9E0D-665DF70AC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0" y="3232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4 w 4"/>
                  <a:gd name="T3" fmla="*/ 0 h 6"/>
                  <a:gd name="T4" fmla="*/ 4 w 4"/>
                  <a:gd name="T5" fmla="*/ 0 h 6"/>
                  <a:gd name="T6" fmla="*/ 4 w 4"/>
                  <a:gd name="T7" fmla="*/ 0 h 6"/>
                  <a:gd name="T8" fmla="*/ 0 w 4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36" name="Freeform 1354">
                <a:extLst>
                  <a:ext uri="{FF2B5EF4-FFF2-40B4-BE49-F238E27FC236}">
                    <a16:creationId xmlns:a16="http://schemas.microsoft.com/office/drawing/2014/main" id="{96876A76-D238-4783-8A62-B3A80F1C38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7" y="3224"/>
                <a:ext cx="2" cy="8"/>
              </a:xfrm>
              <a:custGeom>
                <a:avLst/>
                <a:gdLst>
                  <a:gd name="T0" fmla="*/ 0 w 2"/>
                  <a:gd name="T1" fmla="*/ 4 h 8"/>
                  <a:gd name="T2" fmla="*/ 2 w 2"/>
                  <a:gd name="T3" fmla="*/ 0 h 8"/>
                  <a:gd name="T4" fmla="*/ 0 w 2"/>
                  <a:gd name="T5" fmla="*/ 4 h 8"/>
                  <a:gd name="T6" fmla="*/ 0 w 2"/>
                  <a:gd name="T7" fmla="*/ 8 h 8"/>
                  <a:gd name="T8" fmla="*/ 0 w 2"/>
                  <a:gd name="T9" fmla="*/ 8 h 8"/>
                  <a:gd name="T10" fmla="*/ 0 w 2"/>
                  <a:gd name="T1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8">
                    <a:moveTo>
                      <a:pt x="0" y="4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37" name="Rectangle 1355">
                <a:extLst>
                  <a:ext uri="{FF2B5EF4-FFF2-40B4-BE49-F238E27FC236}">
                    <a16:creationId xmlns:a16="http://schemas.microsoft.com/office/drawing/2014/main" id="{06965036-FF80-4405-A64A-50D5E48366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0" y="318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38" name="Freeform 1356">
                <a:extLst>
                  <a:ext uri="{FF2B5EF4-FFF2-40B4-BE49-F238E27FC236}">
                    <a16:creationId xmlns:a16="http://schemas.microsoft.com/office/drawing/2014/main" id="{026FE647-688C-4B4B-BBF3-4CB793738B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7" y="3199"/>
                <a:ext cx="19" cy="18"/>
              </a:xfrm>
              <a:custGeom>
                <a:avLst/>
                <a:gdLst>
                  <a:gd name="T0" fmla="*/ 15 w 19"/>
                  <a:gd name="T1" fmla="*/ 18 h 18"/>
                  <a:gd name="T2" fmla="*/ 17 w 19"/>
                  <a:gd name="T3" fmla="*/ 18 h 18"/>
                  <a:gd name="T4" fmla="*/ 19 w 19"/>
                  <a:gd name="T5" fmla="*/ 18 h 18"/>
                  <a:gd name="T6" fmla="*/ 17 w 19"/>
                  <a:gd name="T7" fmla="*/ 18 h 18"/>
                  <a:gd name="T8" fmla="*/ 15 w 19"/>
                  <a:gd name="T9" fmla="*/ 18 h 18"/>
                  <a:gd name="T10" fmla="*/ 11 w 19"/>
                  <a:gd name="T11" fmla="*/ 16 h 18"/>
                  <a:gd name="T12" fmla="*/ 0 w 19"/>
                  <a:gd name="T13" fmla="*/ 0 h 18"/>
                  <a:gd name="T14" fmla="*/ 11 w 19"/>
                  <a:gd name="T15" fmla="*/ 16 h 18"/>
                  <a:gd name="T16" fmla="*/ 15 w 19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8">
                    <a:moveTo>
                      <a:pt x="15" y="18"/>
                    </a:moveTo>
                    <a:lnTo>
                      <a:pt x="17" y="18"/>
                    </a:lnTo>
                    <a:lnTo>
                      <a:pt x="19" y="18"/>
                    </a:lnTo>
                    <a:lnTo>
                      <a:pt x="17" y="18"/>
                    </a:lnTo>
                    <a:lnTo>
                      <a:pt x="15" y="18"/>
                    </a:lnTo>
                    <a:lnTo>
                      <a:pt x="11" y="16"/>
                    </a:lnTo>
                    <a:lnTo>
                      <a:pt x="0" y="0"/>
                    </a:lnTo>
                    <a:lnTo>
                      <a:pt x="11" y="16"/>
                    </a:lnTo>
                    <a:lnTo>
                      <a:pt x="15" y="1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39" name="Rectangle 1357">
                <a:extLst>
                  <a:ext uri="{FF2B5EF4-FFF2-40B4-BE49-F238E27FC236}">
                    <a16:creationId xmlns:a16="http://schemas.microsoft.com/office/drawing/2014/main" id="{A9C3BA7B-18C9-4CE4-A600-E400DF1641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4" y="3178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40" name="Freeform 1358">
                <a:extLst>
                  <a:ext uri="{FF2B5EF4-FFF2-40B4-BE49-F238E27FC236}">
                    <a16:creationId xmlns:a16="http://schemas.microsoft.com/office/drawing/2014/main" id="{CEE9C2E2-667F-4ED8-8682-47E2517249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8" y="3203"/>
                <a:ext cx="0" cy="4"/>
              </a:xfrm>
              <a:custGeom>
                <a:avLst/>
                <a:gdLst>
                  <a:gd name="T0" fmla="*/ 0 h 4"/>
                  <a:gd name="T1" fmla="*/ 2 h 4"/>
                  <a:gd name="T2" fmla="*/ 4 h 4"/>
                  <a:gd name="T3" fmla="*/ 2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41" name="Freeform 1359">
                <a:extLst>
                  <a:ext uri="{FF2B5EF4-FFF2-40B4-BE49-F238E27FC236}">
                    <a16:creationId xmlns:a16="http://schemas.microsoft.com/office/drawing/2014/main" id="{2645B989-04DA-459F-90E7-F375AA3C08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3201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0 w 4"/>
                  <a:gd name="T3" fmla="*/ 0 h 4"/>
                  <a:gd name="T4" fmla="*/ 2 w 4"/>
                  <a:gd name="T5" fmla="*/ 0 h 4"/>
                  <a:gd name="T6" fmla="*/ 4 w 4"/>
                  <a:gd name="T7" fmla="*/ 4 h 4"/>
                  <a:gd name="T8" fmla="*/ 4 w 4"/>
                  <a:gd name="T9" fmla="*/ 4 h 4"/>
                  <a:gd name="T10" fmla="*/ 2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42" name="Freeform 1360">
                <a:extLst>
                  <a:ext uri="{FF2B5EF4-FFF2-40B4-BE49-F238E27FC236}">
                    <a16:creationId xmlns:a16="http://schemas.microsoft.com/office/drawing/2014/main" id="{74352C3C-5175-41F9-B007-583C013097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4" y="3219"/>
                <a:ext cx="4" cy="5"/>
              </a:xfrm>
              <a:custGeom>
                <a:avLst/>
                <a:gdLst>
                  <a:gd name="T0" fmla="*/ 4 w 4"/>
                  <a:gd name="T1" fmla="*/ 5 h 5"/>
                  <a:gd name="T2" fmla="*/ 2 w 4"/>
                  <a:gd name="T3" fmla="*/ 4 h 5"/>
                  <a:gd name="T4" fmla="*/ 0 w 4"/>
                  <a:gd name="T5" fmla="*/ 0 h 5"/>
                  <a:gd name="T6" fmla="*/ 2 w 4"/>
                  <a:gd name="T7" fmla="*/ 4 h 5"/>
                  <a:gd name="T8" fmla="*/ 4 w 4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43" name="Freeform 1361">
                <a:extLst>
                  <a:ext uri="{FF2B5EF4-FFF2-40B4-BE49-F238E27FC236}">
                    <a16:creationId xmlns:a16="http://schemas.microsoft.com/office/drawing/2014/main" id="{2E916DAB-DCF5-446D-9142-AF6105ACB5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1" y="3207"/>
                <a:ext cx="6" cy="2"/>
              </a:xfrm>
              <a:custGeom>
                <a:avLst/>
                <a:gdLst>
                  <a:gd name="T0" fmla="*/ 4 w 6"/>
                  <a:gd name="T1" fmla="*/ 2 h 2"/>
                  <a:gd name="T2" fmla="*/ 6 w 6"/>
                  <a:gd name="T3" fmla="*/ 0 h 2"/>
                  <a:gd name="T4" fmla="*/ 6 w 6"/>
                  <a:gd name="T5" fmla="*/ 0 h 2"/>
                  <a:gd name="T6" fmla="*/ 4 w 6"/>
                  <a:gd name="T7" fmla="*/ 2 h 2"/>
                  <a:gd name="T8" fmla="*/ 0 w 6"/>
                  <a:gd name="T9" fmla="*/ 2 h 2"/>
                  <a:gd name="T10" fmla="*/ 0 w 6"/>
                  <a:gd name="T11" fmla="*/ 2 h 2"/>
                  <a:gd name="T12" fmla="*/ 0 w 6"/>
                  <a:gd name="T13" fmla="*/ 2 h 2"/>
                  <a:gd name="T14" fmla="*/ 4 w 6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2">
                    <a:moveTo>
                      <a:pt x="4" y="2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44" name="Freeform 1362">
                <a:extLst>
                  <a:ext uri="{FF2B5EF4-FFF2-40B4-BE49-F238E27FC236}">
                    <a16:creationId xmlns:a16="http://schemas.microsoft.com/office/drawing/2014/main" id="{7696109D-E2B1-4CD6-8AE1-1F49438388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" y="3195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2 h 2"/>
                  <a:gd name="T3" fmla="*/ 0 h 2"/>
                  <a:gd name="T4" fmla="*/ 0 h 2"/>
                  <a:gd name="T5" fmla="*/ 0 h 2"/>
                  <a:gd name="T6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45" name="Freeform 1363">
                <a:extLst>
                  <a:ext uri="{FF2B5EF4-FFF2-40B4-BE49-F238E27FC236}">
                    <a16:creationId xmlns:a16="http://schemas.microsoft.com/office/drawing/2014/main" id="{981EC5C8-081F-4149-86D3-2872C7D0B7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2" y="3219"/>
                <a:ext cx="9" cy="5"/>
              </a:xfrm>
              <a:custGeom>
                <a:avLst/>
                <a:gdLst>
                  <a:gd name="T0" fmla="*/ 4 w 9"/>
                  <a:gd name="T1" fmla="*/ 4 h 5"/>
                  <a:gd name="T2" fmla="*/ 8 w 9"/>
                  <a:gd name="T3" fmla="*/ 2 h 5"/>
                  <a:gd name="T4" fmla="*/ 9 w 9"/>
                  <a:gd name="T5" fmla="*/ 0 h 5"/>
                  <a:gd name="T6" fmla="*/ 8 w 9"/>
                  <a:gd name="T7" fmla="*/ 2 h 5"/>
                  <a:gd name="T8" fmla="*/ 4 w 9"/>
                  <a:gd name="T9" fmla="*/ 4 h 5"/>
                  <a:gd name="T10" fmla="*/ 0 w 9"/>
                  <a:gd name="T11" fmla="*/ 5 h 5"/>
                  <a:gd name="T12" fmla="*/ 0 w 9"/>
                  <a:gd name="T13" fmla="*/ 5 h 5"/>
                  <a:gd name="T14" fmla="*/ 0 w 9"/>
                  <a:gd name="T15" fmla="*/ 5 h 5"/>
                  <a:gd name="T16" fmla="*/ 4 w 9"/>
                  <a:gd name="T1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5">
                    <a:moveTo>
                      <a:pt x="4" y="4"/>
                    </a:moveTo>
                    <a:lnTo>
                      <a:pt x="8" y="2"/>
                    </a:lnTo>
                    <a:lnTo>
                      <a:pt x="9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46" name="Freeform 1364">
                <a:extLst>
                  <a:ext uri="{FF2B5EF4-FFF2-40B4-BE49-F238E27FC236}">
                    <a16:creationId xmlns:a16="http://schemas.microsoft.com/office/drawing/2014/main" id="{CF44994A-806F-4F62-933F-A71E7BC41E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7" y="3199"/>
                <a:ext cx="16" cy="6"/>
              </a:xfrm>
              <a:custGeom>
                <a:avLst/>
                <a:gdLst>
                  <a:gd name="T0" fmla="*/ 12 w 16"/>
                  <a:gd name="T1" fmla="*/ 6 h 6"/>
                  <a:gd name="T2" fmla="*/ 16 w 16"/>
                  <a:gd name="T3" fmla="*/ 4 h 6"/>
                  <a:gd name="T4" fmla="*/ 16 w 16"/>
                  <a:gd name="T5" fmla="*/ 4 h 6"/>
                  <a:gd name="T6" fmla="*/ 16 w 16"/>
                  <a:gd name="T7" fmla="*/ 4 h 6"/>
                  <a:gd name="T8" fmla="*/ 12 w 16"/>
                  <a:gd name="T9" fmla="*/ 6 h 6"/>
                  <a:gd name="T10" fmla="*/ 8 w 16"/>
                  <a:gd name="T11" fmla="*/ 4 h 6"/>
                  <a:gd name="T12" fmla="*/ 0 w 16"/>
                  <a:gd name="T13" fmla="*/ 0 h 6"/>
                  <a:gd name="T14" fmla="*/ 8 w 16"/>
                  <a:gd name="T15" fmla="*/ 4 h 6"/>
                  <a:gd name="T16" fmla="*/ 12 w 16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6">
                    <a:moveTo>
                      <a:pt x="12" y="6"/>
                    </a:move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6"/>
                    </a:lnTo>
                    <a:lnTo>
                      <a:pt x="8" y="4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47" name="Freeform 1365">
                <a:extLst>
                  <a:ext uri="{FF2B5EF4-FFF2-40B4-BE49-F238E27FC236}">
                    <a16:creationId xmlns:a16="http://schemas.microsoft.com/office/drawing/2014/main" id="{D49CBA4F-416D-4C28-BE82-E559EF7084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0" y="3217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2 h 2"/>
                  <a:gd name="T4" fmla="*/ 0 w 4"/>
                  <a:gd name="T5" fmla="*/ 0 h 2"/>
                  <a:gd name="T6" fmla="*/ 0 w 4"/>
                  <a:gd name="T7" fmla="*/ 0 h 2"/>
                  <a:gd name="T8" fmla="*/ 0 w 4"/>
                  <a:gd name="T9" fmla="*/ 0 h 2"/>
                  <a:gd name="T10" fmla="*/ 4 w 4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48" name="Rectangle 1366">
                <a:extLst>
                  <a:ext uri="{FF2B5EF4-FFF2-40B4-BE49-F238E27FC236}">
                    <a16:creationId xmlns:a16="http://schemas.microsoft.com/office/drawing/2014/main" id="{48030219-30DF-4788-A92C-F091D4373D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2" y="318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49" name="Freeform 1367">
                <a:extLst>
                  <a:ext uri="{FF2B5EF4-FFF2-40B4-BE49-F238E27FC236}">
                    <a16:creationId xmlns:a16="http://schemas.microsoft.com/office/drawing/2014/main" id="{18EA9AD9-9FD6-4FC2-8DF3-997F6724C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0" y="3197"/>
                <a:ext cx="20" cy="4"/>
              </a:xfrm>
              <a:custGeom>
                <a:avLst/>
                <a:gdLst>
                  <a:gd name="T0" fmla="*/ 2 w 20"/>
                  <a:gd name="T1" fmla="*/ 2 h 4"/>
                  <a:gd name="T2" fmla="*/ 4 w 20"/>
                  <a:gd name="T3" fmla="*/ 2 h 4"/>
                  <a:gd name="T4" fmla="*/ 10 w 20"/>
                  <a:gd name="T5" fmla="*/ 4 h 4"/>
                  <a:gd name="T6" fmla="*/ 20 w 20"/>
                  <a:gd name="T7" fmla="*/ 4 h 4"/>
                  <a:gd name="T8" fmla="*/ 20 w 20"/>
                  <a:gd name="T9" fmla="*/ 0 h 4"/>
                  <a:gd name="T10" fmla="*/ 20 w 20"/>
                  <a:gd name="T11" fmla="*/ 0 h 4"/>
                  <a:gd name="T12" fmla="*/ 20 w 20"/>
                  <a:gd name="T13" fmla="*/ 0 h 4"/>
                  <a:gd name="T14" fmla="*/ 20 w 20"/>
                  <a:gd name="T15" fmla="*/ 4 h 4"/>
                  <a:gd name="T16" fmla="*/ 10 w 20"/>
                  <a:gd name="T17" fmla="*/ 4 h 4"/>
                  <a:gd name="T18" fmla="*/ 4 w 20"/>
                  <a:gd name="T19" fmla="*/ 2 h 4"/>
                  <a:gd name="T20" fmla="*/ 2 w 20"/>
                  <a:gd name="T21" fmla="*/ 2 h 4"/>
                  <a:gd name="T22" fmla="*/ 0 w 20"/>
                  <a:gd name="T23" fmla="*/ 4 h 4"/>
                  <a:gd name="T24" fmla="*/ 0 w 20"/>
                  <a:gd name="T25" fmla="*/ 4 h 4"/>
                  <a:gd name="T26" fmla="*/ 0 w 20"/>
                  <a:gd name="T27" fmla="*/ 4 h 4"/>
                  <a:gd name="T28" fmla="*/ 2 w 20"/>
                  <a:gd name="T2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" h="4">
                    <a:moveTo>
                      <a:pt x="2" y="2"/>
                    </a:moveTo>
                    <a:lnTo>
                      <a:pt x="4" y="2"/>
                    </a:lnTo>
                    <a:lnTo>
                      <a:pt x="1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10" y="4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50" name="Freeform 1368">
                <a:extLst>
                  <a:ext uri="{FF2B5EF4-FFF2-40B4-BE49-F238E27FC236}">
                    <a16:creationId xmlns:a16="http://schemas.microsoft.com/office/drawing/2014/main" id="{200054C0-F506-4281-80AA-CBAF0C5CC6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8" y="3242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2 w 4"/>
                  <a:gd name="T3" fmla="*/ 2 h 4"/>
                  <a:gd name="T4" fmla="*/ 0 w 4"/>
                  <a:gd name="T5" fmla="*/ 4 h 4"/>
                  <a:gd name="T6" fmla="*/ 2 w 4"/>
                  <a:gd name="T7" fmla="*/ 2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51" name="Freeform 1369">
                <a:extLst>
                  <a:ext uri="{FF2B5EF4-FFF2-40B4-BE49-F238E27FC236}">
                    <a16:creationId xmlns:a16="http://schemas.microsoft.com/office/drawing/2014/main" id="{7796BDC7-4080-449D-9D6E-43AF7A111A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9" y="3197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0 w 4"/>
                  <a:gd name="T4" fmla="*/ 2 w 4"/>
                  <a:gd name="T5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52" name="Freeform 1370">
                <a:extLst>
                  <a:ext uri="{FF2B5EF4-FFF2-40B4-BE49-F238E27FC236}">
                    <a16:creationId xmlns:a16="http://schemas.microsoft.com/office/drawing/2014/main" id="{4B605462-7F24-4048-9B2E-9DE3504C15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2" y="1844"/>
                <a:ext cx="6" cy="12"/>
              </a:xfrm>
              <a:custGeom>
                <a:avLst/>
                <a:gdLst>
                  <a:gd name="T0" fmla="*/ 2 w 6"/>
                  <a:gd name="T1" fmla="*/ 10 h 12"/>
                  <a:gd name="T2" fmla="*/ 0 w 6"/>
                  <a:gd name="T3" fmla="*/ 12 h 12"/>
                  <a:gd name="T4" fmla="*/ 0 w 6"/>
                  <a:gd name="T5" fmla="*/ 12 h 12"/>
                  <a:gd name="T6" fmla="*/ 2 w 6"/>
                  <a:gd name="T7" fmla="*/ 10 h 12"/>
                  <a:gd name="T8" fmla="*/ 6 w 6"/>
                  <a:gd name="T9" fmla="*/ 2 h 12"/>
                  <a:gd name="T10" fmla="*/ 6 w 6"/>
                  <a:gd name="T11" fmla="*/ 0 h 12"/>
                  <a:gd name="T12" fmla="*/ 6 w 6"/>
                  <a:gd name="T13" fmla="*/ 2 h 12"/>
                  <a:gd name="T14" fmla="*/ 2 w 6"/>
                  <a:gd name="T15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2" y="10"/>
                    </a:moveTo>
                    <a:lnTo>
                      <a:pt x="0" y="12"/>
                    </a:lnTo>
                    <a:lnTo>
                      <a:pt x="0" y="12"/>
                    </a:lnTo>
                    <a:lnTo>
                      <a:pt x="2" y="10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53" name="Freeform 1371">
                <a:extLst>
                  <a:ext uri="{FF2B5EF4-FFF2-40B4-BE49-F238E27FC236}">
                    <a16:creationId xmlns:a16="http://schemas.microsoft.com/office/drawing/2014/main" id="{CC98895A-B40A-474D-AA50-96ED8F25FF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959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54" name="Freeform 1372">
                <a:extLst>
                  <a:ext uri="{FF2B5EF4-FFF2-40B4-BE49-F238E27FC236}">
                    <a16:creationId xmlns:a16="http://schemas.microsoft.com/office/drawing/2014/main" id="{F7152D95-5C82-4D6E-867C-30BD27246D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0" y="1897"/>
                <a:ext cx="6" cy="10"/>
              </a:xfrm>
              <a:custGeom>
                <a:avLst/>
                <a:gdLst>
                  <a:gd name="T0" fmla="*/ 4 w 6"/>
                  <a:gd name="T1" fmla="*/ 8 h 10"/>
                  <a:gd name="T2" fmla="*/ 2 w 6"/>
                  <a:gd name="T3" fmla="*/ 2 h 10"/>
                  <a:gd name="T4" fmla="*/ 0 w 6"/>
                  <a:gd name="T5" fmla="*/ 0 h 10"/>
                  <a:gd name="T6" fmla="*/ 2 w 6"/>
                  <a:gd name="T7" fmla="*/ 2 h 10"/>
                  <a:gd name="T8" fmla="*/ 4 w 6"/>
                  <a:gd name="T9" fmla="*/ 8 h 10"/>
                  <a:gd name="T10" fmla="*/ 6 w 6"/>
                  <a:gd name="T11" fmla="*/ 10 h 10"/>
                  <a:gd name="T12" fmla="*/ 6 w 6"/>
                  <a:gd name="T13" fmla="*/ 10 h 10"/>
                  <a:gd name="T14" fmla="*/ 6 w 6"/>
                  <a:gd name="T15" fmla="*/ 10 h 10"/>
                  <a:gd name="T16" fmla="*/ 4 w 6"/>
                  <a:gd name="T1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0">
                    <a:moveTo>
                      <a:pt x="4" y="8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55" name="Freeform 1373">
                <a:extLst>
                  <a:ext uri="{FF2B5EF4-FFF2-40B4-BE49-F238E27FC236}">
                    <a16:creationId xmlns:a16="http://schemas.microsoft.com/office/drawing/2014/main" id="{3D2EE814-3C19-4AFC-B5D5-EA5E4C72A2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6" y="1887"/>
                <a:ext cx="12" cy="8"/>
              </a:xfrm>
              <a:custGeom>
                <a:avLst/>
                <a:gdLst>
                  <a:gd name="T0" fmla="*/ 8 w 12"/>
                  <a:gd name="T1" fmla="*/ 4 h 8"/>
                  <a:gd name="T2" fmla="*/ 0 w 12"/>
                  <a:gd name="T3" fmla="*/ 0 h 8"/>
                  <a:gd name="T4" fmla="*/ 8 w 12"/>
                  <a:gd name="T5" fmla="*/ 4 h 8"/>
                  <a:gd name="T6" fmla="*/ 10 w 12"/>
                  <a:gd name="T7" fmla="*/ 6 h 8"/>
                  <a:gd name="T8" fmla="*/ 12 w 12"/>
                  <a:gd name="T9" fmla="*/ 8 h 8"/>
                  <a:gd name="T10" fmla="*/ 10 w 12"/>
                  <a:gd name="T11" fmla="*/ 6 h 8"/>
                  <a:gd name="T12" fmla="*/ 8 w 12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8">
                    <a:moveTo>
                      <a:pt x="8" y="4"/>
                    </a:moveTo>
                    <a:lnTo>
                      <a:pt x="0" y="0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2" y="8"/>
                    </a:lnTo>
                    <a:lnTo>
                      <a:pt x="10" y="6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56" name="Freeform 1374">
                <a:extLst>
                  <a:ext uri="{FF2B5EF4-FFF2-40B4-BE49-F238E27FC236}">
                    <a16:creationId xmlns:a16="http://schemas.microsoft.com/office/drawing/2014/main" id="{8F38FE97-6BB1-4E02-A63C-A08C60024F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" y="1914"/>
                <a:ext cx="4" cy="8"/>
              </a:xfrm>
              <a:custGeom>
                <a:avLst/>
                <a:gdLst>
                  <a:gd name="T0" fmla="*/ 0 w 4"/>
                  <a:gd name="T1" fmla="*/ 0 h 8"/>
                  <a:gd name="T2" fmla="*/ 2 w 4"/>
                  <a:gd name="T3" fmla="*/ 4 h 8"/>
                  <a:gd name="T4" fmla="*/ 4 w 4"/>
                  <a:gd name="T5" fmla="*/ 8 h 8"/>
                  <a:gd name="T6" fmla="*/ 2 w 4"/>
                  <a:gd name="T7" fmla="*/ 4 h 8"/>
                  <a:gd name="T8" fmla="*/ 0 w 4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2" y="4"/>
                    </a:lnTo>
                    <a:lnTo>
                      <a:pt x="4" y="8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57" name="Freeform 1375">
                <a:extLst>
                  <a:ext uri="{FF2B5EF4-FFF2-40B4-BE49-F238E27FC236}">
                    <a16:creationId xmlns:a16="http://schemas.microsoft.com/office/drawing/2014/main" id="{C1F4D8A4-6B93-426E-97AA-4D121D99E1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7" y="1856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58" name="Freeform 1376">
                <a:extLst>
                  <a:ext uri="{FF2B5EF4-FFF2-40B4-BE49-F238E27FC236}">
                    <a16:creationId xmlns:a16="http://schemas.microsoft.com/office/drawing/2014/main" id="{3020710A-FA88-462E-8D56-6AD69ABD10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3" y="1871"/>
                <a:ext cx="6" cy="2"/>
              </a:xfrm>
              <a:custGeom>
                <a:avLst/>
                <a:gdLst>
                  <a:gd name="T0" fmla="*/ 0 w 6"/>
                  <a:gd name="T1" fmla="*/ 2 h 2"/>
                  <a:gd name="T2" fmla="*/ 4 w 6"/>
                  <a:gd name="T3" fmla="*/ 0 h 2"/>
                  <a:gd name="T4" fmla="*/ 6 w 6"/>
                  <a:gd name="T5" fmla="*/ 0 h 2"/>
                  <a:gd name="T6" fmla="*/ 4 w 6"/>
                  <a:gd name="T7" fmla="*/ 0 h 2"/>
                  <a:gd name="T8" fmla="*/ 0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0" y="2"/>
                    </a:move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59" name="Freeform 1377">
                <a:extLst>
                  <a:ext uri="{FF2B5EF4-FFF2-40B4-BE49-F238E27FC236}">
                    <a16:creationId xmlns:a16="http://schemas.microsoft.com/office/drawing/2014/main" id="{D181934B-2D53-4171-8332-866742D5CD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858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60" name="Freeform 1378">
                <a:extLst>
                  <a:ext uri="{FF2B5EF4-FFF2-40B4-BE49-F238E27FC236}">
                    <a16:creationId xmlns:a16="http://schemas.microsoft.com/office/drawing/2014/main" id="{B66E7FFC-CCCE-42E5-B5BB-B9A3599917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0" y="1955"/>
                <a:ext cx="1" cy="2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0 w 1"/>
                  <a:gd name="T5" fmla="*/ 2 h 2"/>
                  <a:gd name="T6" fmla="*/ 0 w 1"/>
                  <a:gd name="T7" fmla="*/ 2 h 2"/>
                  <a:gd name="T8" fmla="*/ 1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61" name="Freeform 1379">
                <a:extLst>
                  <a:ext uri="{FF2B5EF4-FFF2-40B4-BE49-F238E27FC236}">
                    <a16:creationId xmlns:a16="http://schemas.microsoft.com/office/drawing/2014/main" id="{0112C7C2-FAFB-44C5-B2BD-E4F10D283B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6" y="1850"/>
                <a:ext cx="1" cy="2"/>
              </a:xfrm>
              <a:custGeom>
                <a:avLst/>
                <a:gdLst>
                  <a:gd name="T0" fmla="*/ 0 w 1"/>
                  <a:gd name="T1" fmla="*/ 0 h 2"/>
                  <a:gd name="T2" fmla="*/ 0 w 1"/>
                  <a:gd name="T3" fmla="*/ 0 h 2"/>
                  <a:gd name="T4" fmla="*/ 1 w 1"/>
                  <a:gd name="T5" fmla="*/ 2 h 2"/>
                  <a:gd name="T6" fmla="*/ 1 w 1"/>
                  <a:gd name="T7" fmla="*/ 2 h 2"/>
                  <a:gd name="T8" fmla="*/ 0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62" name="Freeform 1380">
                <a:extLst>
                  <a:ext uri="{FF2B5EF4-FFF2-40B4-BE49-F238E27FC236}">
                    <a16:creationId xmlns:a16="http://schemas.microsoft.com/office/drawing/2014/main" id="{F896CC96-26C6-48DD-A665-90AF395E88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963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63" name="Freeform 1381">
                <a:extLst>
                  <a:ext uri="{FF2B5EF4-FFF2-40B4-BE49-F238E27FC236}">
                    <a16:creationId xmlns:a16="http://schemas.microsoft.com/office/drawing/2014/main" id="{EE515A40-E1ED-4C2D-B2BE-DF24A086BA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1969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64" name="Freeform 1382">
                <a:extLst>
                  <a:ext uri="{FF2B5EF4-FFF2-40B4-BE49-F238E27FC236}">
                    <a16:creationId xmlns:a16="http://schemas.microsoft.com/office/drawing/2014/main" id="{A8968C06-1682-4874-BA1B-22FD65D899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1971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2 h 4"/>
                  <a:gd name="T4" fmla="*/ 0 w 2"/>
                  <a:gd name="T5" fmla="*/ 4 h 4"/>
                  <a:gd name="T6" fmla="*/ 0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65" name="Freeform 1383">
                <a:extLst>
                  <a:ext uri="{FF2B5EF4-FFF2-40B4-BE49-F238E27FC236}">
                    <a16:creationId xmlns:a16="http://schemas.microsoft.com/office/drawing/2014/main" id="{F0AE3C9E-22CD-47CE-84FD-A22CF0DE1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860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0 h 6"/>
                  <a:gd name="T4" fmla="*/ 2 w 2"/>
                  <a:gd name="T5" fmla="*/ 4 h 6"/>
                  <a:gd name="T6" fmla="*/ 0 w 2"/>
                  <a:gd name="T7" fmla="*/ 6 h 6"/>
                  <a:gd name="T8" fmla="*/ 0 w 2"/>
                  <a:gd name="T9" fmla="*/ 6 h 6"/>
                  <a:gd name="T10" fmla="*/ 2 w 2"/>
                  <a:gd name="T11" fmla="*/ 4 h 6"/>
                  <a:gd name="T12" fmla="*/ 2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66" name="Freeform 1384">
                <a:extLst>
                  <a:ext uri="{FF2B5EF4-FFF2-40B4-BE49-F238E27FC236}">
                    <a16:creationId xmlns:a16="http://schemas.microsoft.com/office/drawing/2014/main" id="{E1D8B0BC-CBAB-4550-8FFF-E8A2F8E41E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0" y="1848"/>
                <a:ext cx="6" cy="2"/>
              </a:xfrm>
              <a:custGeom>
                <a:avLst/>
                <a:gdLst>
                  <a:gd name="T0" fmla="*/ 2 w 6"/>
                  <a:gd name="T1" fmla="*/ 0 h 2"/>
                  <a:gd name="T2" fmla="*/ 0 w 6"/>
                  <a:gd name="T3" fmla="*/ 0 h 2"/>
                  <a:gd name="T4" fmla="*/ 2 w 6"/>
                  <a:gd name="T5" fmla="*/ 0 h 2"/>
                  <a:gd name="T6" fmla="*/ 4 w 6"/>
                  <a:gd name="T7" fmla="*/ 0 h 2"/>
                  <a:gd name="T8" fmla="*/ 6 w 6"/>
                  <a:gd name="T9" fmla="*/ 2 h 2"/>
                  <a:gd name="T10" fmla="*/ 4 w 6"/>
                  <a:gd name="T11" fmla="*/ 0 h 2"/>
                  <a:gd name="T12" fmla="*/ 2 w 6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67" name="Freeform 1385">
                <a:extLst>
                  <a:ext uri="{FF2B5EF4-FFF2-40B4-BE49-F238E27FC236}">
                    <a16:creationId xmlns:a16="http://schemas.microsoft.com/office/drawing/2014/main" id="{791ACE63-53B7-4B4B-A56E-E311B86238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" y="1844"/>
                <a:ext cx="12" cy="4"/>
              </a:xfrm>
              <a:custGeom>
                <a:avLst/>
                <a:gdLst>
                  <a:gd name="T0" fmla="*/ 0 w 12"/>
                  <a:gd name="T1" fmla="*/ 0 h 4"/>
                  <a:gd name="T2" fmla="*/ 0 w 12"/>
                  <a:gd name="T3" fmla="*/ 0 h 4"/>
                  <a:gd name="T4" fmla="*/ 0 w 12"/>
                  <a:gd name="T5" fmla="*/ 0 h 4"/>
                  <a:gd name="T6" fmla="*/ 12 w 12"/>
                  <a:gd name="T7" fmla="*/ 4 h 4"/>
                  <a:gd name="T8" fmla="*/ 12 w 12"/>
                  <a:gd name="T9" fmla="*/ 4 h 4"/>
                  <a:gd name="T10" fmla="*/ 12 w 12"/>
                  <a:gd name="T11" fmla="*/ 4 h 4"/>
                  <a:gd name="T12" fmla="*/ 0 w 1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68" name="Freeform 1386">
                <a:extLst>
                  <a:ext uri="{FF2B5EF4-FFF2-40B4-BE49-F238E27FC236}">
                    <a16:creationId xmlns:a16="http://schemas.microsoft.com/office/drawing/2014/main" id="{20AF2688-DBC3-4CE0-9AC7-11326A0B5D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809"/>
                <a:ext cx="0" cy="7"/>
              </a:xfrm>
              <a:custGeom>
                <a:avLst/>
                <a:gdLst>
                  <a:gd name="T0" fmla="*/ 0 h 7"/>
                  <a:gd name="T1" fmla="*/ 5 h 7"/>
                  <a:gd name="T2" fmla="*/ 7 h 7"/>
                  <a:gd name="T3" fmla="*/ 5 h 7"/>
                  <a:gd name="T4" fmla="*/ 0 h 7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7">
                    <a:moveTo>
                      <a:pt x="0" y="0"/>
                    </a:moveTo>
                    <a:lnTo>
                      <a:pt x="0" y="5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69" name="Freeform 1387">
                <a:extLst>
                  <a:ext uri="{FF2B5EF4-FFF2-40B4-BE49-F238E27FC236}">
                    <a16:creationId xmlns:a16="http://schemas.microsoft.com/office/drawing/2014/main" id="{43FFE713-6697-4A92-A1CD-494B70BD8D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8" y="2785"/>
                <a:ext cx="8" cy="8"/>
              </a:xfrm>
              <a:custGeom>
                <a:avLst/>
                <a:gdLst>
                  <a:gd name="T0" fmla="*/ 6 w 8"/>
                  <a:gd name="T1" fmla="*/ 2 h 8"/>
                  <a:gd name="T2" fmla="*/ 8 w 8"/>
                  <a:gd name="T3" fmla="*/ 8 h 8"/>
                  <a:gd name="T4" fmla="*/ 6 w 8"/>
                  <a:gd name="T5" fmla="*/ 2 h 8"/>
                  <a:gd name="T6" fmla="*/ 2 w 8"/>
                  <a:gd name="T7" fmla="*/ 0 h 8"/>
                  <a:gd name="T8" fmla="*/ 0 w 8"/>
                  <a:gd name="T9" fmla="*/ 0 h 8"/>
                  <a:gd name="T10" fmla="*/ 2 w 8"/>
                  <a:gd name="T11" fmla="*/ 0 h 8"/>
                  <a:gd name="T12" fmla="*/ 6 w 8"/>
                  <a:gd name="T1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6" y="2"/>
                    </a:moveTo>
                    <a:lnTo>
                      <a:pt x="8" y="8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70" name="Freeform 1388">
                <a:extLst>
                  <a:ext uri="{FF2B5EF4-FFF2-40B4-BE49-F238E27FC236}">
                    <a16:creationId xmlns:a16="http://schemas.microsoft.com/office/drawing/2014/main" id="{5F500DF5-F7C6-4AE7-AD7B-2A9903ED0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799"/>
                <a:ext cx="2" cy="4"/>
              </a:xfrm>
              <a:custGeom>
                <a:avLst/>
                <a:gdLst>
                  <a:gd name="T0" fmla="*/ 0 w 2"/>
                  <a:gd name="T1" fmla="*/ 2 h 4"/>
                  <a:gd name="T2" fmla="*/ 2 w 2"/>
                  <a:gd name="T3" fmla="*/ 0 h 4"/>
                  <a:gd name="T4" fmla="*/ 2 w 2"/>
                  <a:gd name="T5" fmla="*/ 0 h 4"/>
                  <a:gd name="T6" fmla="*/ 0 w 2"/>
                  <a:gd name="T7" fmla="*/ 2 h 4"/>
                  <a:gd name="T8" fmla="*/ 0 w 2"/>
                  <a:gd name="T9" fmla="*/ 4 h 4"/>
                  <a:gd name="T10" fmla="*/ 0 w 2"/>
                  <a:gd name="T11" fmla="*/ 4 h 4"/>
                  <a:gd name="T12" fmla="*/ 0 w 2"/>
                  <a:gd name="T13" fmla="*/ 4 h 4"/>
                  <a:gd name="T14" fmla="*/ 0 w 2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71" name="Rectangle 1389">
                <a:extLst>
                  <a:ext uri="{FF2B5EF4-FFF2-40B4-BE49-F238E27FC236}">
                    <a16:creationId xmlns:a16="http://schemas.microsoft.com/office/drawing/2014/main" id="{B01ACB19-280D-4A9D-9136-3BF1530EC9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9" y="280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72" name="Freeform 1390">
                <a:extLst>
                  <a:ext uri="{FF2B5EF4-FFF2-40B4-BE49-F238E27FC236}">
                    <a16:creationId xmlns:a16="http://schemas.microsoft.com/office/drawing/2014/main" id="{6C328B05-C626-49FE-B22B-61776CC51B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5" y="2779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73" name="Freeform 1391">
                <a:extLst>
                  <a:ext uri="{FF2B5EF4-FFF2-40B4-BE49-F238E27FC236}">
                    <a16:creationId xmlns:a16="http://schemas.microsoft.com/office/drawing/2014/main" id="{2D5B2C5F-8EF7-4034-9A8C-12B667E9E7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0" y="2816"/>
                <a:ext cx="14" cy="2"/>
              </a:xfrm>
              <a:custGeom>
                <a:avLst/>
                <a:gdLst>
                  <a:gd name="T0" fmla="*/ 10 w 14"/>
                  <a:gd name="T1" fmla="*/ 0 h 2"/>
                  <a:gd name="T2" fmla="*/ 14 w 14"/>
                  <a:gd name="T3" fmla="*/ 0 h 2"/>
                  <a:gd name="T4" fmla="*/ 10 w 14"/>
                  <a:gd name="T5" fmla="*/ 0 h 2"/>
                  <a:gd name="T6" fmla="*/ 4 w 14"/>
                  <a:gd name="T7" fmla="*/ 2 h 2"/>
                  <a:gd name="T8" fmla="*/ 0 w 14"/>
                  <a:gd name="T9" fmla="*/ 0 h 2"/>
                  <a:gd name="T10" fmla="*/ 4 w 14"/>
                  <a:gd name="T11" fmla="*/ 2 h 2"/>
                  <a:gd name="T12" fmla="*/ 10 w 1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">
                    <a:moveTo>
                      <a:pt x="10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74" name="Freeform 1392">
                <a:extLst>
                  <a:ext uri="{FF2B5EF4-FFF2-40B4-BE49-F238E27FC236}">
                    <a16:creationId xmlns:a16="http://schemas.microsoft.com/office/drawing/2014/main" id="{A5FA83CB-9F3C-43F1-ADD0-7941A54F19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3" y="2773"/>
                <a:ext cx="6" cy="4"/>
              </a:xfrm>
              <a:custGeom>
                <a:avLst/>
                <a:gdLst>
                  <a:gd name="T0" fmla="*/ 6 w 6"/>
                  <a:gd name="T1" fmla="*/ 4 h 4"/>
                  <a:gd name="T2" fmla="*/ 2 w 6"/>
                  <a:gd name="T3" fmla="*/ 4 h 4"/>
                  <a:gd name="T4" fmla="*/ 0 w 6"/>
                  <a:gd name="T5" fmla="*/ 0 h 4"/>
                  <a:gd name="T6" fmla="*/ 0 w 6"/>
                  <a:gd name="T7" fmla="*/ 0 h 4"/>
                  <a:gd name="T8" fmla="*/ 2 w 6"/>
                  <a:gd name="T9" fmla="*/ 4 h 4"/>
                  <a:gd name="T10" fmla="*/ 6 w 6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6" y="4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75" name="Rectangle 1393">
                <a:extLst>
                  <a:ext uri="{FF2B5EF4-FFF2-40B4-BE49-F238E27FC236}">
                    <a16:creationId xmlns:a16="http://schemas.microsoft.com/office/drawing/2014/main" id="{D5A548DD-D1DA-4350-BDE4-E3048D0296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3" y="2783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76" name="Freeform 1394">
                <a:extLst>
                  <a:ext uri="{FF2B5EF4-FFF2-40B4-BE49-F238E27FC236}">
                    <a16:creationId xmlns:a16="http://schemas.microsoft.com/office/drawing/2014/main" id="{EFAC8BEA-0A37-45EB-BDE6-1FA2FC609E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9" y="2785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77" name="Freeform 1395">
                <a:extLst>
                  <a:ext uri="{FF2B5EF4-FFF2-40B4-BE49-F238E27FC236}">
                    <a16:creationId xmlns:a16="http://schemas.microsoft.com/office/drawing/2014/main" id="{DF4226F4-2F87-49E4-8339-64BFC9939C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5" y="2777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2 h 2"/>
                  <a:gd name="T4" fmla="*/ 4 w 4"/>
                  <a:gd name="T5" fmla="*/ 0 h 2"/>
                  <a:gd name="T6" fmla="*/ 2 w 4"/>
                  <a:gd name="T7" fmla="*/ 0 h 2"/>
                  <a:gd name="T8" fmla="*/ 0 w 4"/>
                  <a:gd name="T9" fmla="*/ 0 h 2"/>
                  <a:gd name="T10" fmla="*/ 2 w 4"/>
                  <a:gd name="T11" fmla="*/ 0 h 2"/>
                  <a:gd name="T12" fmla="*/ 4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78" name="Freeform 1396">
                <a:extLst>
                  <a:ext uri="{FF2B5EF4-FFF2-40B4-BE49-F238E27FC236}">
                    <a16:creationId xmlns:a16="http://schemas.microsoft.com/office/drawing/2014/main" id="{276D8386-7011-4F08-8983-851F8046B5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789"/>
                <a:ext cx="2" cy="6"/>
              </a:xfrm>
              <a:custGeom>
                <a:avLst/>
                <a:gdLst>
                  <a:gd name="T0" fmla="*/ 0 w 2"/>
                  <a:gd name="T1" fmla="*/ 0 h 6"/>
                  <a:gd name="T2" fmla="*/ 2 w 2"/>
                  <a:gd name="T3" fmla="*/ 2 h 6"/>
                  <a:gd name="T4" fmla="*/ 2 w 2"/>
                  <a:gd name="T5" fmla="*/ 6 h 6"/>
                  <a:gd name="T6" fmla="*/ 2 w 2"/>
                  <a:gd name="T7" fmla="*/ 2 h 6"/>
                  <a:gd name="T8" fmla="*/ 0 w 2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0" y="0"/>
                    </a:moveTo>
                    <a:lnTo>
                      <a:pt x="2" y="2"/>
                    </a:lnTo>
                    <a:lnTo>
                      <a:pt x="2" y="6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79" name="Freeform 1397">
                <a:extLst>
                  <a:ext uri="{FF2B5EF4-FFF2-40B4-BE49-F238E27FC236}">
                    <a16:creationId xmlns:a16="http://schemas.microsoft.com/office/drawing/2014/main" id="{8545B59B-907F-4AF3-930B-5BF30288F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" y="2779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2 w 4"/>
                  <a:gd name="T3" fmla="*/ 0 h 2"/>
                  <a:gd name="T4" fmla="*/ 4 w 4"/>
                  <a:gd name="T5" fmla="*/ 0 h 2"/>
                  <a:gd name="T6" fmla="*/ 4 w 4"/>
                  <a:gd name="T7" fmla="*/ 0 h 2"/>
                  <a:gd name="T8" fmla="*/ 4 w 4"/>
                  <a:gd name="T9" fmla="*/ 0 h 2"/>
                  <a:gd name="T10" fmla="*/ 2 w 4"/>
                  <a:gd name="T11" fmla="*/ 0 h 2"/>
                  <a:gd name="T12" fmla="*/ 2 w 4"/>
                  <a:gd name="T13" fmla="*/ 0 h 2"/>
                  <a:gd name="T14" fmla="*/ 0 w 4"/>
                  <a:gd name="T15" fmla="*/ 2 h 2"/>
                  <a:gd name="T16" fmla="*/ 0 w 4"/>
                  <a:gd name="T17" fmla="*/ 2 h 2"/>
                  <a:gd name="T18" fmla="*/ 0 w 4"/>
                  <a:gd name="T19" fmla="*/ 2 h 2"/>
                  <a:gd name="T20" fmla="*/ 2 w 4"/>
                  <a:gd name="T2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80" name="Freeform 1398">
                <a:extLst>
                  <a:ext uri="{FF2B5EF4-FFF2-40B4-BE49-F238E27FC236}">
                    <a16:creationId xmlns:a16="http://schemas.microsoft.com/office/drawing/2014/main" id="{EEF3090F-F174-4BD7-9CA8-DAE3F067B2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1" y="2775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81" name="Freeform 1399">
                <a:extLst>
                  <a:ext uri="{FF2B5EF4-FFF2-40B4-BE49-F238E27FC236}">
                    <a16:creationId xmlns:a16="http://schemas.microsoft.com/office/drawing/2014/main" id="{81AA5A9A-F493-4CB0-B821-CFB8C61EB8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1" y="3045"/>
                <a:ext cx="14" cy="6"/>
              </a:xfrm>
              <a:custGeom>
                <a:avLst/>
                <a:gdLst>
                  <a:gd name="T0" fmla="*/ 10 w 14"/>
                  <a:gd name="T1" fmla="*/ 2 h 6"/>
                  <a:gd name="T2" fmla="*/ 12 w 14"/>
                  <a:gd name="T3" fmla="*/ 4 h 6"/>
                  <a:gd name="T4" fmla="*/ 14 w 14"/>
                  <a:gd name="T5" fmla="*/ 6 h 6"/>
                  <a:gd name="T6" fmla="*/ 12 w 14"/>
                  <a:gd name="T7" fmla="*/ 4 h 6"/>
                  <a:gd name="T8" fmla="*/ 10 w 14"/>
                  <a:gd name="T9" fmla="*/ 2 h 6"/>
                  <a:gd name="T10" fmla="*/ 0 w 14"/>
                  <a:gd name="T11" fmla="*/ 0 h 6"/>
                  <a:gd name="T12" fmla="*/ 0 w 14"/>
                  <a:gd name="T13" fmla="*/ 0 h 6"/>
                  <a:gd name="T14" fmla="*/ 10 w 14"/>
                  <a:gd name="T1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6">
                    <a:moveTo>
                      <a:pt x="10" y="2"/>
                    </a:moveTo>
                    <a:lnTo>
                      <a:pt x="12" y="4"/>
                    </a:lnTo>
                    <a:lnTo>
                      <a:pt x="14" y="6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82" name="Freeform 1400">
                <a:extLst>
                  <a:ext uri="{FF2B5EF4-FFF2-40B4-BE49-F238E27FC236}">
                    <a16:creationId xmlns:a16="http://schemas.microsoft.com/office/drawing/2014/main" id="{B0C6A67D-3720-46A8-BB21-3AA83F20ED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8" y="2986"/>
                <a:ext cx="6" cy="6"/>
              </a:xfrm>
              <a:custGeom>
                <a:avLst/>
                <a:gdLst>
                  <a:gd name="T0" fmla="*/ 4 w 6"/>
                  <a:gd name="T1" fmla="*/ 0 h 6"/>
                  <a:gd name="T2" fmla="*/ 6 w 6"/>
                  <a:gd name="T3" fmla="*/ 0 h 6"/>
                  <a:gd name="T4" fmla="*/ 6 w 6"/>
                  <a:gd name="T5" fmla="*/ 0 h 6"/>
                  <a:gd name="T6" fmla="*/ 6 w 6"/>
                  <a:gd name="T7" fmla="*/ 0 h 6"/>
                  <a:gd name="T8" fmla="*/ 4 w 6"/>
                  <a:gd name="T9" fmla="*/ 0 h 6"/>
                  <a:gd name="T10" fmla="*/ 0 w 6"/>
                  <a:gd name="T11" fmla="*/ 4 h 6"/>
                  <a:gd name="T12" fmla="*/ 0 w 6"/>
                  <a:gd name="T13" fmla="*/ 6 h 6"/>
                  <a:gd name="T14" fmla="*/ 0 w 6"/>
                  <a:gd name="T15" fmla="*/ 4 h 6"/>
                  <a:gd name="T16" fmla="*/ 4 w 6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83" name="Freeform 1401">
                <a:extLst>
                  <a:ext uri="{FF2B5EF4-FFF2-40B4-BE49-F238E27FC236}">
                    <a16:creationId xmlns:a16="http://schemas.microsoft.com/office/drawing/2014/main" id="{E5750D4F-11A7-42E7-B102-DCE68913C7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2" y="2965"/>
                <a:ext cx="0" cy="8"/>
              </a:xfrm>
              <a:custGeom>
                <a:avLst/>
                <a:gdLst>
                  <a:gd name="T0" fmla="*/ 8 h 8"/>
                  <a:gd name="T1" fmla="*/ 8 h 8"/>
                  <a:gd name="T2" fmla="*/ 4 h 8"/>
                  <a:gd name="T3" fmla="*/ 0 h 8"/>
                  <a:gd name="T4" fmla="*/ 0 h 8"/>
                  <a:gd name="T5" fmla="*/ 4 h 8"/>
                  <a:gd name="T6" fmla="*/ 8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8">
                    <a:moveTo>
                      <a:pt x="0" y="8"/>
                    </a:moveTo>
                    <a:lnTo>
                      <a:pt x="0" y="8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84" name="Freeform 1402">
                <a:extLst>
                  <a:ext uri="{FF2B5EF4-FFF2-40B4-BE49-F238E27FC236}">
                    <a16:creationId xmlns:a16="http://schemas.microsoft.com/office/drawing/2014/main" id="{888DE083-B6A2-4CBD-99AB-71E7A19F7E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9" y="2990"/>
                <a:ext cx="4" cy="12"/>
              </a:xfrm>
              <a:custGeom>
                <a:avLst/>
                <a:gdLst>
                  <a:gd name="T0" fmla="*/ 4 w 4"/>
                  <a:gd name="T1" fmla="*/ 12 h 12"/>
                  <a:gd name="T2" fmla="*/ 4 w 4"/>
                  <a:gd name="T3" fmla="*/ 12 h 12"/>
                  <a:gd name="T4" fmla="*/ 4 w 4"/>
                  <a:gd name="T5" fmla="*/ 12 h 12"/>
                  <a:gd name="T6" fmla="*/ 2 w 4"/>
                  <a:gd name="T7" fmla="*/ 2 h 12"/>
                  <a:gd name="T8" fmla="*/ 0 w 4"/>
                  <a:gd name="T9" fmla="*/ 0 h 12"/>
                  <a:gd name="T10" fmla="*/ 2 w 4"/>
                  <a:gd name="T11" fmla="*/ 2 h 12"/>
                  <a:gd name="T12" fmla="*/ 4 w 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2">
                    <a:moveTo>
                      <a:pt x="4" y="12"/>
                    </a:moveTo>
                    <a:lnTo>
                      <a:pt x="4" y="12"/>
                    </a:lnTo>
                    <a:lnTo>
                      <a:pt x="4" y="1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85" name="Freeform 1403">
                <a:extLst>
                  <a:ext uri="{FF2B5EF4-FFF2-40B4-BE49-F238E27FC236}">
                    <a16:creationId xmlns:a16="http://schemas.microsoft.com/office/drawing/2014/main" id="{74623955-6F6B-433E-9AE2-5D03C5DB89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3" y="2850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86" name="Freeform 1404">
                <a:extLst>
                  <a:ext uri="{FF2B5EF4-FFF2-40B4-BE49-F238E27FC236}">
                    <a16:creationId xmlns:a16="http://schemas.microsoft.com/office/drawing/2014/main" id="{80332575-F511-4FB7-BDB4-DF8D87643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0" y="2832"/>
                <a:ext cx="41" cy="14"/>
              </a:xfrm>
              <a:custGeom>
                <a:avLst/>
                <a:gdLst>
                  <a:gd name="T0" fmla="*/ 39 w 41"/>
                  <a:gd name="T1" fmla="*/ 12 h 14"/>
                  <a:gd name="T2" fmla="*/ 41 w 41"/>
                  <a:gd name="T3" fmla="*/ 14 h 14"/>
                  <a:gd name="T4" fmla="*/ 39 w 41"/>
                  <a:gd name="T5" fmla="*/ 12 h 14"/>
                  <a:gd name="T6" fmla="*/ 5 w 41"/>
                  <a:gd name="T7" fmla="*/ 0 h 14"/>
                  <a:gd name="T8" fmla="*/ 0 w 41"/>
                  <a:gd name="T9" fmla="*/ 2 h 14"/>
                  <a:gd name="T10" fmla="*/ 0 w 41"/>
                  <a:gd name="T11" fmla="*/ 2 h 14"/>
                  <a:gd name="T12" fmla="*/ 5 w 41"/>
                  <a:gd name="T13" fmla="*/ 0 h 14"/>
                  <a:gd name="T14" fmla="*/ 39 w 41"/>
                  <a:gd name="T15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14">
                    <a:moveTo>
                      <a:pt x="39" y="12"/>
                    </a:moveTo>
                    <a:lnTo>
                      <a:pt x="41" y="14"/>
                    </a:lnTo>
                    <a:lnTo>
                      <a:pt x="39" y="12"/>
                    </a:lnTo>
                    <a:lnTo>
                      <a:pt x="5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5" y="0"/>
                    </a:lnTo>
                    <a:lnTo>
                      <a:pt x="39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87" name="Freeform 1405">
                <a:extLst>
                  <a:ext uri="{FF2B5EF4-FFF2-40B4-BE49-F238E27FC236}">
                    <a16:creationId xmlns:a16="http://schemas.microsoft.com/office/drawing/2014/main" id="{DE4E9A07-47AE-4083-875F-6BDC3A8597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9" y="2982"/>
                <a:ext cx="0" cy="4"/>
              </a:xfrm>
              <a:custGeom>
                <a:avLst/>
                <a:gdLst>
                  <a:gd name="T0" fmla="*/ 4 h 4"/>
                  <a:gd name="T1" fmla="*/ 0 h 4"/>
                  <a:gd name="T2" fmla="*/ 0 h 4"/>
                  <a:gd name="T3" fmla="*/ 0 h 4"/>
                  <a:gd name="T4" fmla="*/ 4 h 4"/>
                  <a:gd name="T5" fmla="*/ 4 h 4"/>
                  <a:gd name="T6" fmla="*/ 4 h 4"/>
                  <a:gd name="T7" fmla="*/ 4 h 4"/>
                  <a:gd name="T8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88" name="Freeform 1406">
                <a:extLst>
                  <a:ext uri="{FF2B5EF4-FFF2-40B4-BE49-F238E27FC236}">
                    <a16:creationId xmlns:a16="http://schemas.microsoft.com/office/drawing/2014/main" id="{0E2827F0-CA03-4DC5-9742-E7A362DBD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6" y="2992"/>
                <a:ext cx="8" cy="2"/>
              </a:xfrm>
              <a:custGeom>
                <a:avLst/>
                <a:gdLst>
                  <a:gd name="T0" fmla="*/ 4 w 8"/>
                  <a:gd name="T1" fmla="*/ 0 h 2"/>
                  <a:gd name="T2" fmla="*/ 6 w 8"/>
                  <a:gd name="T3" fmla="*/ 2 h 2"/>
                  <a:gd name="T4" fmla="*/ 8 w 8"/>
                  <a:gd name="T5" fmla="*/ 0 h 2"/>
                  <a:gd name="T6" fmla="*/ 6 w 8"/>
                  <a:gd name="T7" fmla="*/ 2 h 2"/>
                  <a:gd name="T8" fmla="*/ 4 w 8"/>
                  <a:gd name="T9" fmla="*/ 0 h 2"/>
                  <a:gd name="T10" fmla="*/ 0 w 8"/>
                  <a:gd name="T11" fmla="*/ 2 h 2"/>
                  <a:gd name="T12" fmla="*/ 0 w 8"/>
                  <a:gd name="T13" fmla="*/ 2 h 2"/>
                  <a:gd name="T14" fmla="*/ 0 w 8"/>
                  <a:gd name="T15" fmla="*/ 2 h 2"/>
                  <a:gd name="T16" fmla="*/ 4 w 8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2">
                    <a:moveTo>
                      <a:pt x="4" y="0"/>
                    </a:moveTo>
                    <a:lnTo>
                      <a:pt x="6" y="2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89" name="Freeform 1407">
                <a:extLst>
                  <a:ext uri="{FF2B5EF4-FFF2-40B4-BE49-F238E27FC236}">
                    <a16:creationId xmlns:a16="http://schemas.microsoft.com/office/drawing/2014/main" id="{A98913D3-F5A3-40F0-9F87-7E3088AB6D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8" y="3000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90" name="Freeform 1408">
                <a:extLst>
                  <a:ext uri="{FF2B5EF4-FFF2-40B4-BE49-F238E27FC236}">
                    <a16:creationId xmlns:a16="http://schemas.microsoft.com/office/drawing/2014/main" id="{EBF0A8E2-FBE9-4C44-8F16-45C0C3F19E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5" y="3008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2 w 4"/>
                  <a:gd name="T3" fmla="*/ 2 h 4"/>
                  <a:gd name="T4" fmla="*/ 0 w 4"/>
                  <a:gd name="T5" fmla="*/ 0 h 4"/>
                  <a:gd name="T6" fmla="*/ 2 w 4"/>
                  <a:gd name="T7" fmla="*/ 2 h 4"/>
                  <a:gd name="T8" fmla="*/ 4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91" name="Freeform 1409">
                <a:extLst>
                  <a:ext uri="{FF2B5EF4-FFF2-40B4-BE49-F238E27FC236}">
                    <a16:creationId xmlns:a16="http://schemas.microsoft.com/office/drawing/2014/main" id="{E6D0979C-CE01-442E-8913-F51B22B5B6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" y="3018"/>
                <a:ext cx="7" cy="0"/>
              </a:xfrm>
              <a:custGeom>
                <a:avLst/>
                <a:gdLst>
                  <a:gd name="T0" fmla="*/ 7 w 7"/>
                  <a:gd name="T1" fmla="*/ 2 w 7"/>
                  <a:gd name="T2" fmla="*/ 0 w 7"/>
                  <a:gd name="T3" fmla="*/ 2 w 7"/>
                  <a:gd name="T4" fmla="*/ 7 w 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7">
                    <a:moveTo>
                      <a:pt x="7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92" name="Freeform 1410">
                <a:extLst>
                  <a:ext uri="{FF2B5EF4-FFF2-40B4-BE49-F238E27FC236}">
                    <a16:creationId xmlns:a16="http://schemas.microsoft.com/office/drawing/2014/main" id="{191F6EA3-C9CA-4D40-84EC-66DAE5A05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4" y="3006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</p:grpSp>
        <p:sp>
          <p:nvSpPr>
            <p:cNvPr id="533" name="Rectangle 1412">
              <a:extLst>
                <a:ext uri="{FF2B5EF4-FFF2-40B4-BE49-F238E27FC236}">
                  <a16:creationId xmlns:a16="http://schemas.microsoft.com/office/drawing/2014/main" id="{47459FD4-A260-4C6D-9D33-737EC5FC0D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9333" y="4515212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34" name="Freeform 1413">
              <a:extLst>
                <a:ext uri="{FF2B5EF4-FFF2-40B4-BE49-F238E27FC236}">
                  <a16:creationId xmlns:a16="http://schemas.microsoft.com/office/drawing/2014/main" id="{DE95A6C9-6351-45B5-A903-4A4693ADB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3683" y="4704184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0 w 2"/>
                <a:gd name="T5" fmla="*/ 2 h 2"/>
                <a:gd name="T6" fmla="*/ 2 w 2"/>
                <a:gd name="T7" fmla="*/ 0 h 2"/>
                <a:gd name="T8" fmla="*/ 2 w 2"/>
                <a:gd name="T9" fmla="*/ 0 h 2"/>
                <a:gd name="T10" fmla="*/ 2 w 2"/>
                <a:gd name="T11" fmla="*/ 0 h 2"/>
                <a:gd name="T12" fmla="*/ 0 w 2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35" name="Freeform 1414">
              <a:extLst>
                <a:ext uri="{FF2B5EF4-FFF2-40B4-BE49-F238E27FC236}">
                  <a16:creationId xmlns:a16="http://schemas.microsoft.com/office/drawing/2014/main" id="{0B6E6066-C03D-49E7-BEAD-B86CFAD54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8895" y="4651780"/>
              <a:ext cx="15875" cy="3176"/>
            </a:xfrm>
            <a:custGeom>
              <a:avLst/>
              <a:gdLst>
                <a:gd name="T0" fmla="*/ 4 w 10"/>
                <a:gd name="T1" fmla="*/ 0 h 2"/>
                <a:gd name="T2" fmla="*/ 10 w 10"/>
                <a:gd name="T3" fmla="*/ 2 h 2"/>
                <a:gd name="T4" fmla="*/ 4 w 10"/>
                <a:gd name="T5" fmla="*/ 0 h 2"/>
                <a:gd name="T6" fmla="*/ 0 w 10"/>
                <a:gd name="T7" fmla="*/ 0 h 2"/>
                <a:gd name="T8" fmla="*/ 0 w 10"/>
                <a:gd name="T9" fmla="*/ 0 h 2"/>
                <a:gd name="T10" fmla="*/ 0 w 10"/>
                <a:gd name="T11" fmla="*/ 0 h 2"/>
                <a:gd name="T12" fmla="*/ 4 w 10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">
                  <a:moveTo>
                    <a:pt x="4" y="0"/>
                  </a:moveTo>
                  <a:lnTo>
                    <a:pt x="10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36" name="Rectangle 1415">
              <a:extLst>
                <a:ext uri="{FF2B5EF4-FFF2-40B4-BE49-F238E27FC236}">
                  <a16:creationId xmlns:a16="http://schemas.microsoft.com/office/drawing/2014/main" id="{EDD5FA19-1967-46D6-8793-495BF33469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3346" y="4666072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37" name="Freeform 1416">
              <a:extLst>
                <a:ext uri="{FF2B5EF4-FFF2-40B4-BE49-F238E27FC236}">
                  <a16:creationId xmlns:a16="http://schemas.microsoft.com/office/drawing/2014/main" id="{A0EFB3AD-DA99-4CE0-A79A-670A7ED4F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9221" y="4666072"/>
              <a:ext cx="3175" cy="3176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2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0 h 2"/>
                <a:gd name="T10" fmla="*/ 2 w 2"/>
                <a:gd name="T11" fmla="*/ 0 h 2"/>
                <a:gd name="T12" fmla="*/ 2 w 2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38" name="Freeform 1417">
              <a:extLst>
                <a:ext uri="{FF2B5EF4-FFF2-40B4-BE49-F238E27FC236}">
                  <a16:creationId xmlns:a16="http://schemas.microsoft.com/office/drawing/2014/main" id="{74675C13-516A-4531-BF5C-C14AA7260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8207" y="4499332"/>
              <a:ext cx="3175" cy="3176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0 w 2"/>
                <a:gd name="T5" fmla="*/ 2 h 2"/>
                <a:gd name="T6" fmla="*/ 2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39" name="Freeform 1418">
              <a:extLst>
                <a:ext uri="{FF2B5EF4-FFF2-40B4-BE49-F238E27FC236}">
                  <a16:creationId xmlns:a16="http://schemas.microsoft.com/office/drawing/2014/main" id="{D41CFA05-3411-4EED-84DF-F4E31B00C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7158" y="4685128"/>
              <a:ext cx="31750" cy="9528"/>
            </a:xfrm>
            <a:custGeom>
              <a:avLst/>
              <a:gdLst>
                <a:gd name="T0" fmla="*/ 6 w 20"/>
                <a:gd name="T1" fmla="*/ 4 h 6"/>
                <a:gd name="T2" fmla="*/ 10 w 20"/>
                <a:gd name="T3" fmla="*/ 4 h 6"/>
                <a:gd name="T4" fmla="*/ 18 w 20"/>
                <a:gd name="T5" fmla="*/ 4 h 6"/>
                <a:gd name="T6" fmla="*/ 20 w 20"/>
                <a:gd name="T7" fmla="*/ 6 h 6"/>
                <a:gd name="T8" fmla="*/ 18 w 20"/>
                <a:gd name="T9" fmla="*/ 4 h 6"/>
                <a:gd name="T10" fmla="*/ 10 w 20"/>
                <a:gd name="T11" fmla="*/ 4 h 6"/>
                <a:gd name="T12" fmla="*/ 6 w 20"/>
                <a:gd name="T13" fmla="*/ 4 h 6"/>
                <a:gd name="T14" fmla="*/ 0 w 20"/>
                <a:gd name="T15" fmla="*/ 0 h 6"/>
                <a:gd name="T16" fmla="*/ 0 w 20"/>
                <a:gd name="T17" fmla="*/ 0 h 6"/>
                <a:gd name="T18" fmla="*/ 6 w 20"/>
                <a:gd name="T1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6">
                  <a:moveTo>
                    <a:pt x="6" y="4"/>
                  </a:moveTo>
                  <a:lnTo>
                    <a:pt x="10" y="4"/>
                  </a:lnTo>
                  <a:lnTo>
                    <a:pt x="18" y="4"/>
                  </a:lnTo>
                  <a:lnTo>
                    <a:pt x="20" y="6"/>
                  </a:lnTo>
                  <a:lnTo>
                    <a:pt x="18" y="4"/>
                  </a:lnTo>
                  <a:lnTo>
                    <a:pt x="10" y="4"/>
                  </a:lnTo>
                  <a:lnTo>
                    <a:pt x="6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40" name="Freeform 1419">
              <a:extLst>
                <a:ext uri="{FF2B5EF4-FFF2-40B4-BE49-F238E27FC236}">
                  <a16:creationId xmlns:a16="http://schemas.microsoft.com/office/drawing/2014/main" id="{FF45BC85-FE68-4CAD-A2CE-A1DDF8D4D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2396" y="4675600"/>
              <a:ext cx="4763" cy="9528"/>
            </a:xfrm>
            <a:custGeom>
              <a:avLst/>
              <a:gdLst>
                <a:gd name="T0" fmla="*/ 1 w 3"/>
                <a:gd name="T1" fmla="*/ 4 h 6"/>
                <a:gd name="T2" fmla="*/ 3 w 3"/>
                <a:gd name="T3" fmla="*/ 6 h 6"/>
                <a:gd name="T4" fmla="*/ 1 w 3"/>
                <a:gd name="T5" fmla="*/ 4 h 6"/>
                <a:gd name="T6" fmla="*/ 0 w 3"/>
                <a:gd name="T7" fmla="*/ 2 h 6"/>
                <a:gd name="T8" fmla="*/ 0 w 3"/>
                <a:gd name="T9" fmla="*/ 0 h 6"/>
                <a:gd name="T10" fmla="*/ 0 w 3"/>
                <a:gd name="T11" fmla="*/ 2 h 6"/>
                <a:gd name="T12" fmla="*/ 1 w 3"/>
                <a:gd name="T13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6">
                  <a:moveTo>
                    <a:pt x="1" y="4"/>
                  </a:moveTo>
                  <a:lnTo>
                    <a:pt x="3" y="6"/>
                  </a:lnTo>
                  <a:lnTo>
                    <a:pt x="1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41" name="Freeform 1420">
              <a:extLst>
                <a:ext uri="{FF2B5EF4-FFF2-40B4-BE49-F238E27FC236}">
                  <a16:creationId xmlns:a16="http://schemas.microsoft.com/office/drawing/2014/main" id="{DD8FEF62-872A-4C04-ACAC-1C20DA6E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1595" y="4728004"/>
              <a:ext cx="3175" cy="9528"/>
            </a:xfrm>
            <a:custGeom>
              <a:avLst/>
              <a:gdLst>
                <a:gd name="T0" fmla="*/ 2 w 2"/>
                <a:gd name="T1" fmla="*/ 0 h 6"/>
                <a:gd name="T2" fmla="*/ 2 w 2"/>
                <a:gd name="T3" fmla="*/ 2 h 6"/>
                <a:gd name="T4" fmla="*/ 0 w 2"/>
                <a:gd name="T5" fmla="*/ 6 h 6"/>
                <a:gd name="T6" fmla="*/ 2 w 2"/>
                <a:gd name="T7" fmla="*/ 2 h 6"/>
                <a:gd name="T8" fmla="*/ 2 w 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42" name="Freeform 1421">
              <a:extLst>
                <a:ext uri="{FF2B5EF4-FFF2-40B4-BE49-F238E27FC236}">
                  <a16:creationId xmlns:a16="http://schemas.microsoft.com/office/drawing/2014/main" id="{6E35C652-CB1B-4963-A0E5-D749EF9BBB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746" y="4694656"/>
              <a:ext cx="4763" cy="3176"/>
            </a:xfrm>
            <a:custGeom>
              <a:avLst/>
              <a:gdLst>
                <a:gd name="T0" fmla="*/ 3 w 3"/>
                <a:gd name="T1" fmla="*/ 2 h 2"/>
                <a:gd name="T2" fmla="*/ 1 w 3"/>
                <a:gd name="T3" fmla="*/ 0 h 2"/>
                <a:gd name="T4" fmla="*/ 0 w 3"/>
                <a:gd name="T5" fmla="*/ 0 h 2"/>
                <a:gd name="T6" fmla="*/ 1 w 3"/>
                <a:gd name="T7" fmla="*/ 0 h 2"/>
                <a:gd name="T8" fmla="*/ 3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43" name="Freeform 1422">
              <a:extLst>
                <a:ext uri="{FF2B5EF4-FFF2-40B4-BE49-F238E27FC236}">
                  <a16:creationId xmlns:a16="http://schemas.microsoft.com/office/drawing/2014/main" id="{2B48A4B1-22D2-432C-8D7A-33728ACBF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8420" y="4707360"/>
              <a:ext cx="3175" cy="14292"/>
            </a:xfrm>
            <a:custGeom>
              <a:avLst/>
              <a:gdLst>
                <a:gd name="T0" fmla="*/ 0 w 2"/>
                <a:gd name="T1" fmla="*/ 4 h 9"/>
                <a:gd name="T2" fmla="*/ 0 w 2"/>
                <a:gd name="T3" fmla="*/ 0 h 9"/>
                <a:gd name="T4" fmla="*/ 0 w 2"/>
                <a:gd name="T5" fmla="*/ 4 h 9"/>
                <a:gd name="T6" fmla="*/ 2 w 2"/>
                <a:gd name="T7" fmla="*/ 9 h 9"/>
                <a:gd name="T8" fmla="*/ 2 w 2"/>
                <a:gd name="T9" fmla="*/ 9 h 9"/>
                <a:gd name="T10" fmla="*/ 2 w 2"/>
                <a:gd name="T11" fmla="*/ 9 h 9"/>
                <a:gd name="T12" fmla="*/ 0 w 2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9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44" name="Freeform 1423">
              <a:extLst>
                <a:ext uri="{FF2B5EF4-FFF2-40B4-BE49-F238E27FC236}">
                  <a16:creationId xmlns:a16="http://schemas.microsoft.com/office/drawing/2014/main" id="{505F0FDB-A9DD-415B-ADDC-98CD6B4376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4133" y="4691480"/>
              <a:ext cx="4763" cy="6352"/>
            </a:xfrm>
            <a:custGeom>
              <a:avLst/>
              <a:gdLst>
                <a:gd name="T0" fmla="*/ 0 w 3"/>
                <a:gd name="T1" fmla="*/ 0 h 4"/>
                <a:gd name="T2" fmla="*/ 1 w 3"/>
                <a:gd name="T3" fmla="*/ 4 h 4"/>
                <a:gd name="T4" fmla="*/ 3 w 3"/>
                <a:gd name="T5" fmla="*/ 4 h 4"/>
                <a:gd name="T6" fmla="*/ 1 w 3"/>
                <a:gd name="T7" fmla="*/ 4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1" y="4"/>
                  </a:lnTo>
                  <a:lnTo>
                    <a:pt x="3" y="4"/>
                  </a:lnTo>
                  <a:lnTo>
                    <a:pt x="1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45" name="Freeform 1424">
              <a:extLst>
                <a:ext uri="{FF2B5EF4-FFF2-40B4-BE49-F238E27FC236}">
                  <a16:creationId xmlns:a16="http://schemas.microsoft.com/office/drawing/2014/main" id="{385B62C5-BE32-4D39-8556-1879EC21F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608" y="4645428"/>
              <a:ext cx="9525" cy="3176"/>
            </a:xfrm>
            <a:custGeom>
              <a:avLst/>
              <a:gdLst>
                <a:gd name="T0" fmla="*/ 6 w 6"/>
                <a:gd name="T1" fmla="*/ 2 h 2"/>
                <a:gd name="T2" fmla="*/ 2 w 6"/>
                <a:gd name="T3" fmla="*/ 0 h 2"/>
                <a:gd name="T4" fmla="*/ 0 w 6"/>
                <a:gd name="T5" fmla="*/ 0 h 2"/>
                <a:gd name="T6" fmla="*/ 2 w 6"/>
                <a:gd name="T7" fmla="*/ 0 h 2"/>
                <a:gd name="T8" fmla="*/ 6 w 6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6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46" name="Freeform 1425">
              <a:extLst>
                <a:ext uri="{FF2B5EF4-FFF2-40B4-BE49-F238E27FC236}">
                  <a16:creationId xmlns:a16="http://schemas.microsoft.com/office/drawing/2014/main" id="{15A62BBC-205F-4DEB-B37B-A9352B5AA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1595" y="4734356"/>
              <a:ext cx="0" cy="3176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47" name="Rectangle 1426">
              <a:extLst>
                <a:ext uri="{FF2B5EF4-FFF2-40B4-BE49-F238E27FC236}">
                  <a16:creationId xmlns:a16="http://schemas.microsoft.com/office/drawing/2014/main" id="{FF38D92F-522A-4177-8DE6-DF8695B472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8383" y="454220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48" name="Freeform 1427">
              <a:extLst>
                <a:ext uri="{FF2B5EF4-FFF2-40B4-BE49-F238E27FC236}">
                  <a16:creationId xmlns:a16="http://schemas.microsoft.com/office/drawing/2014/main" id="{405513BA-4BED-473D-B011-6FEEA2D94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2683" y="4551736"/>
              <a:ext cx="34925" cy="31760"/>
            </a:xfrm>
            <a:custGeom>
              <a:avLst/>
              <a:gdLst>
                <a:gd name="T0" fmla="*/ 6 w 22"/>
                <a:gd name="T1" fmla="*/ 2 h 20"/>
                <a:gd name="T2" fmla="*/ 22 w 22"/>
                <a:gd name="T3" fmla="*/ 18 h 20"/>
                <a:gd name="T4" fmla="*/ 22 w 22"/>
                <a:gd name="T5" fmla="*/ 20 h 20"/>
                <a:gd name="T6" fmla="*/ 22 w 22"/>
                <a:gd name="T7" fmla="*/ 18 h 20"/>
                <a:gd name="T8" fmla="*/ 6 w 22"/>
                <a:gd name="T9" fmla="*/ 2 h 20"/>
                <a:gd name="T10" fmla="*/ 2 w 22"/>
                <a:gd name="T11" fmla="*/ 0 h 20"/>
                <a:gd name="T12" fmla="*/ 0 w 22"/>
                <a:gd name="T13" fmla="*/ 0 h 20"/>
                <a:gd name="T14" fmla="*/ 2 w 22"/>
                <a:gd name="T15" fmla="*/ 0 h 20"/>
                <a:gd name="T16" fmla="*/ 6 w 22"/>
                <a:gd name="T1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0">
                  <a:moveTo>
                    <a:pt x="6" y="2"/>
                  </a:moveTo>
                  <a:lnTo>
                    <a:pt x="22" y="18"/>
                  </a:lnTo>
                  <a:lnTo>
                    <a:pt x="22" y="20"/>
                  </a:lnTo>
                  <a:lnTo>
                    <a:pt x="22" y="18"/>
                  </a:lnTo>
                  <a:lnTo>
                    <a:pt x="6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49" name="Freeform 1428">
              <a:extLst>
                <a:ext uri="{FF2B5EF4-FFF2-40B4-BE49-F238E27FC236}">
                  <a16:creationId xmlns:a16="http://schemas.microsoft.com/office/drawing/2014/main" id="{E06A3DAD-B51E-4FE8-9B6F-5B68D3E5B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8083" y="4597788"/>
              <a:ext cx="3175" cy="12704"/>
            </a:xfrm>
            <a:custGeom>
              <a:avLst/>
              <a:gdLst>
                <a:gd name="T0" fmla="*/ 0 w 2"/>
                <a:gd name="T1" fmla="*/ 0 h 8"/>
                <a:gd name="T2" fmla="*/ 0 w 2"/>
                <a:gd name="T3" fmla="*/ 2 h 8"/>
                <a:gd name="T4" fmla="*/ 0 w 2"/>
                <a:gd name="T5" fmla="*/ 4 h 8"/>
                <a:gd name="T6" fmla="*/ 0 w 2"/>
                <a:gd name="T7" fmla="*/ 6 h 8"/>
                <a:gd name="T8" fmla="*/ 0 w 2"/>
                <a:gd name="T9" fmla="*/ 6 h 8"/>
                <a:gd name="T10" fmla="*/ 0 w 2"/>
                <a:gd name="T11" fmla="*/ 8 h 8"/>
                <a:gd name="T12" fmla="*/ 0 w 2"/>
                <a:gd name="T13" fmla="*/ 8 h 8"/>
                <a:gd name="T14" fmla="*/ 0 w 2"/>
                <a:gd name="T15" fmla="*/ 6 h 8"/>
                <a:gd name="T16" fmla="*/ 0 w 2"/>
                <a:gd name="T17" fmla="*/ 6 h 8"/>
                <a:gd name="T18" fmla="*/ 0 w 2"/>
                <a:gd name="T19" fmla="*/ 4 h 8"/>
                <a:gd name="T20" fmla="*/ 0 w 2"/>
                <a:gd name="T21" fmla="*/ 2 h 8"/>
                <a:gd name="T22" fmla="*/ 0 w 2"/>
                <a:gd name="T23" fmla="*/ 0 h 8"/>
                <a:gd name="T24" fmla="*/ 2 w 2"/>
                <a:gd name="T25" fmla="*/ 0 h 8"/>
                <a:gd name="T26" fmla="*/ 2 w 2"/>
                <a:gd name="T27" fmla="*/ 0 h 8"/>
                <a:gd name="T28" fmla="*/ 2 w 2"/>
                <a:gd name="T29" fmla="*/ 0 h 8"/>
                <a:gd name="T30" fmla="*/ 0 w 2"/>
                <a:gd name="T3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" h="8">
                  <a:moveTo>
                    <a:pt x="0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50" name="Freeform 1429">
              <a:extLst>
                <a:ext uri="{FF2B5EF4-FFF2-40B4-BE49-F238E27FC236}">
                  <a16:creationId xmlns:a16="http://schemas.microsoft.com/office/drawing/2014/main" id="{EA7D0812-5E0D-4F79-8D58-1A6E59C8F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9033" y="4620020"/>
              <a:ext cx="9525" cy="0"/>
            </a:xfrm>
            <a:custGeom>
              <a:avLst/>
              <a:gdLst>
                <a:gd name="T0" fmla="*/ 0 w 6"/>
                <a:gd name="T1" fmla="*/ 4 w 6"/>
                <a:gd name="T2" fmla="*/ 6 w 6"/>
                <a:gd name="T3" fmla="*/ 4 w 6"/>
                <a:gd name="T4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4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51" name="Freeform 1430">
              <a:extLst>
                <a:ext uri="{FF2B5EF4-FFF2-40B4-BE49-F238E27FC236}">
                  <a16:creationId xmlns:a16="http://schemas.microsoft.com/office/drawing/2014/main" id="{5DF5B95B-D2E0-45B0-AD8B-D86469D10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9983" y="4626372"/>
              <a:ext cx="6350" cy="6352"/>
            </a:xfrm>
            <a:custGeom>
              <a:avLst/>
              <a:gdLst>
                <a:gd name="T0" fmla="*/ 0 w 4"/>
                <a:gd name="T1" fmla="*/ 2 h 4"/>
                <a:gd name="T2" fmla="*/ 0 w 4"/>
                <a:gd name="T3" fmla="*/ 4 h 4"/>
                <a:gd name="T4" fmla="*/ 0 w 4"/>
                <a:gd name="T5" fmla="*/ 2 h 4"/>
                <a:gd name="T6" fmla="*/ 4 w 4"/>
                <a:gd name="T7" fmla="*/ 2 h 4"/>
                <a:gd name="T8" fmla="*/ 4 w 4"/>
                <a:gd name="T9" fmla="*/ 0 h 4"/>
                <a:gd name="T10" fmla="*/ 4 w 4"/>
                <a:gd name="T11" fmla="*/ 2 h 4"/>
                <a:gd name="T12" fmla="*/ 0 w 4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0" y="2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52" name="Freeform 1431">
              <a:extLst>
                <a:ext uri="{FF2B5EF4-FFF2-40B4-BE49-F238E27FC236}">
                  <a16:creationId xmlns:a16="http://schemas.microsoft.com/office/drawing/2014/main" id="{E7B0D694-FB2E-46A8-88F1-E21995E6A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0508" y="4716888"/>
              <a:ext cx="0" cy="4764"/>
            </a:xfrm>
            <a:custGeom>
              <a:avLst/>
              <a:gdLst>
                <a:gd name="T0" fmla="*/ 3 h 3"/>
                <a:gd name="T1" fmla="*/ 2 h 3"/>
                <a:gd name="T2" fmla="*/ 0 h 3"/>
                <a:gd name="T3" fmla="*/ 2 h 3"/>
                <a:gd name="T4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53" name="Freeform 1432">
              <a:extLst>
                <a:ext uri="{FF2B5EF4-FFF2-40B4-BE49-F238E27FC236}">
                  <a16:creationId xmlns:a16="http://schemas.microsoft.com/office/drawing/2014/main" id="{FF427296-9275-4009-B82D-F50E82BF5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8545" y="4545384"/>
              <a:ext cx="6350" cy="19056"/>
            </a:xfrm>
            <a:custGeom>
              <a:avLst/>
              <a:gdLst>
                <a:gd name="T0" fmla="*/ 2 w 4"/>
                <a:gd name="T1" fmla="*/ 6 h 12"/>
                <a:gd name="T2" fmla="*/ 4 w 4"/>
                <a:gd name="T3" fmla="*/ 10 h 12"/>
                <a:gd name="T4" fmla="*/ 4 w 4"/>
                <a:gd name="T5" fmla="*/ 12 h 12"/>
                <a:gd name="T6" fmla="*/ 4 w 4"/>
                <a:gd name="T7" fmla="*/ 12 h 12"/>
                <a:gd name="T8" fmla="*/ 4 w 4"/>
                <a:gd name="T9" fmla="*/ 10 h 12"/>
                <a:gd name="T10" fmla="*/ 2 w 4"/>
                <a:gd name="T11" fmla="*/ 6 h 12"/>
                <a:gd name="T12" fmla="*/ 2 w 4"/>
                <a:gd name="T13" fmla="*/ 2 h 12"/>
                <a:gd name="T14" fmla="*/ 0 w 4"/>
                <a:gd name="T15" fmla="*/ 0 h 12"/>
                <a:gd name="T16" fmla="*/ 2 w 4"/>
                <a:gd name="T17" fmla="*/ 2 h 12"/>
                <a:gd name="T18" fmla="*/ 2 w 4"/>
                <a:gd name="T1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2">
                  <a:moveTo>
                    <a:pt x="2" y="6"/>
                  </a:moveTo>
                  <a:lnTo>
                    <a:pt x="4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0"/>
                  </a:lnTo>
                  <a:lnTo>
                    <a:pt x="2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54" name="Rectangle 1433">
              <a:extLst>
                <a:ext uri="{FF2B5EF4-FFF2-40B4-BE49-F238E27FC236}">
                  <a16:creationId xmlns:a16="http://schemas.microsoft.com/office/drawing/2014/main" id="{D191E764-E38A-439B-843C-20BE8423BF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3683" y="472482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55" name="Rectangle 1434">
              <a:extLst>
                <a:ext uri="{FF2B5EF4-FFF2-40B4-BE49-F238E27FC236}">
                  <a16:creationId xmlns:a16="http://schemas.microsoft.com/office/drawing/2014/main" id="{44F27A15-3EEA-478D-97C9-858C7F3057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2520" y="4564440"/>
              <a:ext cx="3175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56" name="Freeform 1435">
              <a:extLst>
                <a:ext uri="{FF2B5EF4-FFF2-40B4-BE49-F238E27FC236}">
                  <a16:creationId xmlns:a16="http://schemas.microsoft.com/office/drawing/2014/main" id="{16202EE1-9EFA-4248-82C3-2D526C0F8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9020" y="4535856"/>
              <a:ext cx="6350" cy="3176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2 h 2"/>
                <a:gd name="T4" fmla="*/ 0 w 4"/>
                <a:gd name="T5" fmla="*/ 0 h 2"/>
                <a:gd name="T6" fmla="*/ 2 w 4"/>
                <a:gd name="T7" fmla="*/ 2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57" name="Freeform 1436">
              <a:extLst>
                <a:ext uri="{FF2B5EF4-FFF2-40B4-BE49-F238E27FC236}">
                  <a16:creationId xmlns:a16="http://schemas.microsoft.com/office/drawing/2014/main" id="{F23360CA-35B2-4E3C-BAE5-F077EF416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8545" y="4564440"/>
              <a:ext cx="6350" cy="9528"/>
            </a:xfrm>
            <a:custGeom>
              <a:avLst/>
              <a:gdLst>
                <a:gd name="T0" fmla="*/ 0 w 4"/>
                <a:gd name="T1" fmla="*/ 4 h 6"/>
                <a:gd name="T2" fmla="*/ 0 w 4"/>
                <a:gd name="T3" fmla="*/ 4 h 6"/>
                <a:gd name="T4" fmla="*/ 0 w 4"/>
                <a:gd name="T5" fmla="*/ 4 h 6"/>
                <a:gd name="T6" fmla="*/ 0 w 4"/>
                <a:gd name="T7" fmla="*/ 6 h 6"/>
                <a:gd name="T8" fmla="*/ 2 w 4"/>
                <a:gd name="T9" fmla="*/ 6 h 6"/>
                <a:gd name="T10" fmla="*/ 0 w 4"/>
                <a:gd name="T11" fmla="*/ 6 h 6"/>
                <a:gd name="T12" fmla="*/ 0 w 4"/>
                <a:gd name="T13" fmla="*/ 4 h 6"/>
                <a:gd name="T14" fmla="*/ 0 w 4"/>
                <a:gd name="T15" fmla="*/ 4 h 6"/>
                <a:gd name="T16" fmla="*/ 0 w 4"/>
                <a:gd name="T17" fmla="*/ 4 h 6"/>
                <a:gd name="T18" fmla="*/ 0 w 4"/>
                <a:gd name="T19" fmla="*/ 2 h 6"/>
                <a:gd name="T20" fmla="*/ 4 w 4"/>
                <a:gd name="T21" fmla="*/ 0 h 6"/>
                <a:gd name="T22" fmla="*/ 0 w 4"/>
                <a:gd name="T23" fmla="*/ 2 h 6"/>
                <a:gd name="T24" fmla="*/ 0 w 4"/>
                <a:gd name="T2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" h="6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58" name="Freeform 1437">
              <a:extLst>
                <a:ext uri="{FF2B5EF4-FFF2-40B4-BE49-F238E27FC236}">
                  <a16:creationId xmlns:a16="http://schemas.microsoft.com/office/drawing/2014/main" id="{B7AB93E4-0764-4375-9B27-5CA0CA98DC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871" y="4778820"/>
              <a:ext cx="6350" cy="3176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2 h 2"/>
                <a:gd name="T4" fmla="*/ 0 w 4"/>
                <a:gd name="T5" fmla="*/ 0 h 2"/>
                <a:gd name="T6" fmla="*/ 2 w 4"/>
                <a:gd name="T7" fmla="*/ 2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59" name="Freeform 1438">
              <a:extLst>
                <a:ext uri="{FF2B5EF4-FFF2-40B4-BE49-F238E27FC236}">
                  <a16:creationId xmlns:a16="http://schemas.microsoft.com/office/drawing/2014/main" id="{BB30233F-6D5B-4810-93E4-6CE088A38E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0508" y="4786760"/>
              <a:ext cx="3175" cy="6352"/>
            </a:xfrm>
            <a:custGeom>
              <a:avLst/>
              <a:gdLst>
                <a:gd name="T0" fmla="*/ 0 w 2"/>
                <a:gd name="T1" fmla="*/ 2 h 4"/>
                <a:gd name="T2" fmla="*/ 2 w 2"/>
                <a:gd name="T3" fmla="*/ 4 h 4"/>
                <a:gd name="T4" fmla="*/ 2 w 2"/>
                <a:gd name="T5" fmla="*/ 4 h 4"/>
                <a:gd name="T6" fmla="*/ 0 w 2"/>
                <a:gd name="T7" fmla="*/ 2 h 4"/>
                <a:gd name="T8" fmla="*/ 2 w 2"/>
                <a:gd name="T9" fmla="*/ 0 h 4"/>
                <a:gd name="T10" fmla="*/ 2 w 2"/>
                <a:gd name="T11" fmla="*/ 0 h 4"/>
                <a:gd name="T12" fmla="*/ 2 w 2"/>
                <a:gd name="T13" fmla="*/ 0 h 4"/>
                <a:gd name="T14" fmla="*/ 0 w 2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60" name="Freeform 1439">
              <a:extLst>
                <a:ext uri="{FF2B5EF4-FFF2-40B4-BE49-F238E27FC236}">
                  <a16:creationId xmlns:a16="http://schemas.microsoft.com/office/drawing/2014/main" id="{044519ED-E1B5-4A88-8712-9CBCA5999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7283" y="4651780"/>
              <a:ext cx="12700" cy="17468"/>
            </a:xfrm>
            <a:custGeom>
              <a:avLst/>
              <a:gdLst>
                <a:gd name="T0" fmla="*/ 6 w 8"/>
                <a:gd name="T1" fmla="*/ 3 h 11"/>
                <a:gd name="T2" fmla="*/ 8 w 8"/>
                <a:gd name="T3" fmla="*/ 9 h 11"/>
                <a:gd name="T4" fmla="*/ 8 w 8"/>
                <a:gd name="T5" fmla="*/ 11 h 11"/>
                <a:gd name="T6" fmla="*/ 8 w 8"/>
                <a:gd name="T7" fmla="*/ 9 h 11"/>
                <a:gd name="T8" fmla="*/ 6 w 8"/>
                <a:gd name="T9" fmla="*/ 3 h 11"/>
                <a:gd name="T10" fmla="*/ 0 w 8"/>
                <a:gd name="T11" fmla="*/ 2 h 11"/>
                <a:gd name="T12" fmla="*/ 0 w 8"/>
                <a:gd name="T13" fmla="*/ 0 h 11"/>
                <a:gd name="T14" fmla="*/ 0 w 8"/>
                <a:gd name="T15" fmla="*/ 2 h 11"/>
                <a:gd name="T16" fmla="*/ 6 w 8"/>
                <a:gd name="T17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1">
                  <a:moveTo>
                    <a:pt x="6" y="3"/>
                  </a:moveTo>
                  <a:lnTo>
                    <a:pt x="8" y="9"/>
                  </a:lnTo>
                  <a:lnTo>
                    <a:pt x="8" y="11"/>
                  </a:lnTo>
                  <a:lnTo>
                    <a:pt x="8" y="9"/>
                  </a:lnTo>
                  <a:lnTo>
                    <a:pt x="6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6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61" name="Freeform 1440">
              <a:extLst>
                <a:ext uri="{FF2B5EF4-FFF2-40B4-BE49-F238E27FC236}">
                  <a16:creationId xmlns:a16="http://schemas.microsoft.com/office/drawing/2014/main" id="{597756E2-EF46-4A2A-947B-63749093C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9508" y="4669248"/>
              <a:ext cx="15875" cy="0"/>
            </a:xfrm>
            <a:custGeom>
              <a:avLst/>
              <a:gdLst>
                <a:gd name="T0" fmla="*/ 10 w 10"/>
                <a:gd name="T1" fmla="*/ 10 w 10"/>
                <a:gd name="T2" fmla="*/ 10 w 10"/>
                <a:gd name="T3" fmla="*/ 2 w 10"/>
                <a:gd name="T4" fmla="*/ 0 w 10"/>
                <a:gd name="T5" fmla="*/ 2 w 10"/>
                <a:gd name="T6" fmla="*/ 10 w 1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10">
                  <a:moveTo>
                    <a:pt x="10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62" name="Freeform 1441">
              <a:extLst>
                <a:ext uri="{FF2B5EF4-FFF2-40B4-BE49-F238E27FC236}">
                  <a16:creationId xmlns:a16="http://schemas.microsoft.com/office/drawing/2014/main" id="{23F7E80B-443D-4178-803C-A0446E7F1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733" y="4688304"/>
              <a:ext cx="26988" cy="25408"/>
            </a:xfrm>
            <a:custGeom>
              <a:avLst/>
              <a:gdLst>
                <a:gd name="T0" fmla="*/ 10 w 17"/>
                <a:gd name="T1" fmla="*/ 6 h 16"/>
                <a:gd name="T2" fmla="*/ 12 w 17"/>
                <a:gd name="T3" fmla="*/ 8 h 16"/>
                <a:gd name="T4" fmla="*/ 15 w 17"/>
                <a:gd name="T5" fmla="*/ 12 h 16"/>
                <a:gd name="T6" fmla="*/ 17 w 17"/>
                <a:gd name="T7" fmla="*/ 16 h 16"/>
                <a:gd name="T8" fmla="*/ 15 w 17"/>
                <a:gd name="T9" fmla="*/ 12 h 16"/>
                <a:gd name="T10" fmla="*/ 12 w 17"/>
                <a:gd name="T11" fmla="*/ 8 h 16"/>
                <a:gd name="T12" fmla="*/ 10 w 17"/>
                <a:gd name="T13" fmla="*/ 6 h 16"/>
                <a:gd name="T14" fmla="*/ 2 w 17"/>
                <a:gd name="T15" fmla="*/ 2 h 16"/>
                <a:gd name="T16" fmla="*/ 0 w 17"/>
                <a:gd name="T17" fmla="*/ 0 h 16"/>
                <a:gd name="T18" fmla="*/ 2 w 17"/>
                <a:gd name="T19" fmla="*/ 2 h 16"/>
                <a:gd name="T20" fmla="*/ 10 w 17"/>
                <a:gd name="T21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6">
                  <a:moveTo>
                    <a:pt x="10" y="6"/>
                  </a:moveTo>
                  <a:lnTo>
                    <a:pt x="12" y="8"/>
                  </a:lnTo>
                  <a:lnTo>
                    <a:pt x="15" y="12"/>
                  </a:lnTo>
                  <a:lnTo>
                    <a:pt x="17" y="16"/>
                  </a:lnTo>
                  <a:lnTo>
                    <a:pt x="15" y="12"/>
                  </a:lnTo>
                  <a:lnTo>
                    <a:pt x="12" y="8"/>
                  </a:lnTo>
                  <a:lnTo>
                    <a:pt x="10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63" name="Freeform 1442">
              <a:extLst>
                <a:ext uri="{FF2B5EF4-FFF2-40B4-BE49-F238E27FC236}">
                  <a16:creationId xmlns:a16="http://schemas.microsoft.com/office/drawing/2014/main" id="{805B861C-7E53-4A13-BF76-12A1D7188E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558" y="4678776"/>
              <a:ext cx="0" cy="6352"/>
            </a:xfrm>
            <a:custGeom>
              <a:avLst/>
              <a:gdLst>
                <a:gd name="T0" fmla="*/ 4 h 4"/>
                <a:gd name="T1" fmla="*/ 4 h 4"/>
                <a:gd name="T2" fmla="*/ 2 h 4"/>
                <a:gd name="T3" fmla="*/ 0 h 4"/>
                <a:gd name="T4" fmla="*/ 2 h 4"/>
                <a:gd name="T5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64" name="Rectangle 1443">
              <a:extLst>
                <a:ext uri="{FF2B5EF4-FFF2-40B4-BE49-F238E27FC236}">
                  <a16:creationId xmlns:a16="http://schemas.microsoft.com/office/drawing/2014/main" id="{16AA77D6-E57E-4E75-9F09-C8CED2FA09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0458" y="4635900"/>
              <a:ext cx="1588" cy="3176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65" name="Freeform 1444">
              <a:extLst>
                <a:ext uri="{FF2B5EF4-FFF2-40B4-BE49-F238E27FC236}">
                  <a16:creationId xmlns:a16="http://schemas.microsoft.com/office/drawing/2014/main" id="{567D2145-7623-4598-84F1-DFA960E957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2508" y="4521564"/>
              <a:ext cx="12700" cy="20644"/>
            </a:xfrm>
            <a:custGeom>
              <a:avLst/>
              <a:gdLst>
                <a:gd name="T0" fmla="*/ 8 w 8"/>
                <a:gd name="T1" fmla="*/ 13 h 13"/>
                <a:gd name="T2" fmla="*/ 8 w 8"/>
                <a:gd name="T3" fmla="*/ 13 h 13"/>
                <a:gd name="T4" fmla="*/ 8 w 8"/>
                <a:gd name="T5" fmla="*/ 13 h 13"/>
                <a:gd name="T6" fmla="*/ 0 w 8"/>
                <a:gd name="T7" fmla="*/ 0 h 13"/>
                <a:gd name="T8" fmla="*/ 0 w 8"/>
                <a:gd name="T9" fmla="*/ 0 h 13"/>
                <a:gd name="T10" fmla="*/ 0 w 8"/>
                <a:gd name="T11" fmla="*/ 0 h 13"/>
                <a:gd name="T12" fmla="*/ 8 w 8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3">
                  <a:moveTo>
                    <a:pt x="8" y="13"/>
                  </a:moveTo>
                  <a:lnTo>
                    <a:pt x="8" y="13"/>
                  </a:lnTo>
                  <a:lnTo>
                    <a:pt x="8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1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66" name="Freeform 1445">
              <a:extLst>
                <a:ext uri="{FF2B5EF4-FFF2-40B4-BE49-F238E27FC236}">
                  <a16:creationId xmlns:a16="http://schemas.microsoft.com/office/drawing/2014/main" id="{AABFB539-F75F-4285-A63A-B24CE0E68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7333" y="4743884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67" name="Freeform 1446">
              <a:extLst>
                <a:ext uri="{FF2B5EF4-FFF2-40B4-BE49-F238E27FC236}">
                  <a16:creationId xmlns:a16="http://schemas.microsoft.com/office/drawing/2014/main" id="{D213B887-6C2E-4B3B-9BC8-0B9F3E771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7283" y="4642252"/>
              <a:ext cx="3175" cy="0"/>
            </a:xfrm>
            <a:custGeom>
              <a:avLst/>
              <a:gdLst>
                <a:gd name="T0" fmla="*/ 0 w 2"/>
                <a:gd name="T1" fmla="*/ 2 w 2"/>
                <a:gd name="T2" fmla="*/ 0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68" name="Freeform 1447">
              <a:extLst>
                <a:ext uri="{FF2B5EF4-FFF2-40B4-BE49-F238E27FC236}">
                  <a16:creationId xmlns:a16="http://schemas.microsoft.com/office/drawing/2014/main" id="{7433378F-686C-43FB-A7AC-2443CA22E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3683" y="478517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69" name="Freeform 1448">
              <a:extLst>
                <a:ext uri="{FF2B5EF4-FFF2-40B4-BE49-F238E27FC236}">
                  <a16:creationId xmlns:a16="http://schemas.microsoft.com/office/drawing/2014/main" id="{A2207921-04CB-40BD-A8EE-1E8373CFA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5070" y="4721652"/>
              <a:ext cx="9525" cy="15880"/>
            </a:xfrm>
            <a:custGeom>
              <a:avLst/>
              <a:gdLst>
                <a:gd name="T0" fmla="*/ 2 w 6"/>
                <a:gd name="T1" fmla="*/ 4 h 10"/>
                <a:gd name="T2" fmla="*/ 6 w 6"/>
                <a:gd name="T3" fmla="*/ 10 h 10"/>
                <a:gd name="T4" fmla="*/ 2 w 6"/>
                <a:gd name="T5" fmla="*/ 4 h 10"/>
                <a:gd name="T6" fmla="*/ 0 w 6"/>
                <a:gd name="T7" fmla="*/ 0 h 10"/>
                <a:gd name="T8" fmla="*/ 0 w 6"/>
                <a:gd name="T9" fmla="*/ 0 h 10"/>
                <a:gd name="T10" fmla="*/ 0 w 6"/>
                <a:gd name="T11" fmla="*/ 0 h 10"/>
                <a:gd name="T12" fmla="*/ 2 w 6"/>
                <a:gd name="T13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0">
                  <a:moveTo>
                    <a:pt x="2" y="4"/>
                  </a:moveTo>
                  <a:lnTo>
                    <a:pt x="6" y="10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70" name="Freeform 1449">
              <a:extLst>
                <a:ext uri="{FF2B5EF4-FFF2-40B4-BE49-F238E27FC236}">
                  <a16:creationId xmlns:a16="http://schemas.microsoft.com/office/drawing/2014/main" id="{09F003A8-A4FB-4473-B9A2-AF956B0D31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5733" y="4694656"/>
              <a:ext cx="3175" cy="6352"/>
            </a:xfrm>
            <a:custGeom>
              <a:avLst/>
              <a:gdLst>
                <a:gd name="T0" fmla="*/ 0 w 2"/>
                <a:gd name="T1" fmla="*/ 2 h 4"/>
                <a:gd name="T2" fmla="*/ 0 w 2"/>
                <a:gd name="T3" fmla="*/ 2 h 4"/>
                <a:gd name="T4" fmla="*/ 2 w 2"/>
                <a:gd name="T5" fmla="*/ 4 h 4"/>
                <a:gd name="T6" fmla="*/ 2 w 2"/>
                <a:gd name="T7" fmla="*/ 4 h 4"/>
                <a:gd name="T8" fmla="*/ 2 w 2"/>
                <a:gd name="T9" fmla="*/ 4 h 4"/>
                <a:gd name="T10" fmla="*/ 0 w 2"/>
                <a:gd name="T11" fmla="*/ 2 h 4"/>
                <a:gd name="T12" fmla="*/ 0 w 2"/>
                <a:gd name="T13" fmla="*/ 2 h 4"/>
                <a:gd name="T14" fmla="*/ 0 w 2"/>
                <a:gd name="T15" fmla="*/ 0 h 4"/>
                <a:gd name="T16" fmla="*/ 0 w 2"/>
                <a:gd name="T17" fmla="*/ 0 h 4"/>
                <a:gd name="T18" fmla="*/ 0 w 2"/>
                <a:gd name="T1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lnTo>
                    <a:pt x="0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71" name="Freeform 1450">
              <a:extLst>
                <a:ext uri="{FF2B5EF4-FFF2-40B4-BE49-F238E27FC236}">
                  <a16:creationId xmlns:a16="http://schemas.microsoft.com/office/drawing/2014/main" id="{5B02BF2A-326D-4433-88F7-ADED8580A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8908" y="4694656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72" name="Rectangle 1451">
              <a:extLst>
                <a:ext uri="{FF2B5EF4-FFF2-40B4-BE49-F238E27FC236}">
                  <a16:creationId xmlns:a16="http://schemas.microsoft.com/office/drawing/2014/main" id="{1A6FA5E8-2AEF-457B-B9DA-B38645DC99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5608" y="485186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73" name="Freeform 1452">
              <a:extLst>
                <a:ext uri="{FF2B5EF4-FFF2-40B4-BE49-F238E27FC236}">
                  <a16:creationId xmlns:a16="http://schemas.microsoft.com/office/drawing/2014/main" id="{6C6D200F-0DD5-4310-AD26-5D0C5C7B7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608" y="4710536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74" name="Freeform 1453">
              <a:extLst>
                <a:ext uri="{FF2B5EF4-FFF2-40B4-BE49-F238E27FC236}">
                  <a16:creationId xmlns:a16="http://schemas.microsoft.com/office/drawing/2014/main" id="{E6354AC0-B092-4382-B55A-2EF1B84D8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2433" y="4851868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2 w 2"/>
                <a:gd name="T4" fmla="*/ 2 w 2"/>
                <a:gd name="T5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75" name="Freeform 1454">
              <a:extLst>
                <a:ext uri="{FF2B5EF4-FFF2-40B4-BE49-F238E27FC236}">
                  <a16:creationId xmlns:a16="http://schemas.microsoft.com/office/drawing/2014/main" id="{8A19913F-F824-4A11-8E9E-4A6F4A34D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1958" y="4851868"/>
              <a:ext cx="22225" cy="6352"/>
            </a:xfrm>
            <a:custGeom>
              <a:avLst/>
              <a:gdLst>
                <a:gd name="T0" fmla="*/ 8 w 14"/>
                <a:gd name="T1" fmla="*/ 2 h 4"/>
                <a:gd name="T2" fmla="*/ 14 w 14"/>
                <a:gd name="T3" fmla="*/ 4 h 4"/>
                <a:gd name="T4" fmla="*/ 8 w 14"/>
                <a:gd name="T5" fmla="*/ 2 h 4"/>
                <a:gd name="T6" fmla="*/ 2 w 14"/>
                <a:gd name="T7" fmla="*/ 0 h 4"/>
                <a:gd name="T8" fmla="*/ 0 w 14"/>
                <a:gd name="T9" fmla="*/ 0 h 4"/>
                <a:gd name="T10" fmla="*/ 2 w 14"/>
                <a:gd name="T11" fmla="*/ 0 h 4"/>
                <a:gd name="T12" fmla="*/ 8 w 14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4">
                  <a:moveTo>
                    <a:pt x="8" y="2"/>
                  </a:moveTo>
                  <a:lnTo>
                    <a:pt x="14" y="4"/>
                  </a:lnTo>
                  <a:lnTo>
                    <a:pt x="8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76" name="Freeform 1455">
              <a:extLst>
                <a:ext uri="{FF2B5EF4-FFF2-40B4-BE49-F238E27FC236}">
                  <a16:creationId xmlns:a16="http://schemas.microsoft.com/office/drawing/2014/main" id="{C2886CD3-339D-4612-88D2-F3A1A67E55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5083" y="4648604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77" name="Freeform 1456">
              <a:extLst>
                <a:ext uri="{FF2B5EF4-FFF2-40B4-BE49-F238E27FC236}">
                  <a16:creationId xmlns:a16="http://schemas.microsoft.com/office/drawing/2014/main" id="{BF61B776-AAD4-4714-B822-651640891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9508" y="4620020"/>
              <a:ext cx="0" cy="3176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78" name="Rectangle 1457">
              <a:extLst>
                <a:ext uri="{FF2B5EF4-FFF2-40B4-BE49-F238E27FC236}">
                  <a16:creationId xmlns:a16="http://schemas.microsoft.com/office/drawing/2014/main" id="{A8BEBE20-4696-415C-8BB2-EE8B8A8B11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558" y="4620020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79" name="Freeform 1458">
              <a:extLst>
                <a:ext uri="{FF2B5EF4-FFF2-40B4-BE49-F238E27FC236}">
                  <a16:creationId xmlns:a16="http://schemas.microsoft.com/office/drawing/2014/main" id="{F35B7518-C65B-4BE0-9449-E8200971B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558" y="4672424"/>
              <a:ext cx="0" cy="3176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80" name="Freeform 1459">
              <a:extLst>
                <a:ext uri="{FF2B5EF4-FFF2-40B4-BE49-F238E27FC236}">
                  <a16:creationId xmlns:a16="http://schemas.microsoft.com/office/drawing/2014/main" id="{CF2338F5-4944-48F8-89DA-2DE7BAFEB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5083" y="4654956"/>
              <a:ext cx="3175" cy="4764"/>
            </a:xfrm>
            <a:custGeom>
              <a:avLst/>
              <a:gdLst>
                <a:gd name="T0" fmla="*/ 0 w 2"/>
                <a:gd name="T1" fmla="*/ 0 h 3"/>
                <a:gd name="T2" fmla="*/ 2 w 2"/>
                <a:gd name="T3" fmla="*/ 3 h 3"/>
                <a:gd name="T4" fmla="*/ 0 w 2"/>
                <a:gd name="T5" fmla="*/ 0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2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81" name="Freeform 1460">
              <a:extLst>
                <a:ext uri="{FF2B5EF4-FFF2-40B4-BE49-F238E27FC236}">
                  <a16:creationId xmlns:a16="http://schemas.microsoft.com/office/drawing/2014/main" id="{8CFBDBBC-DE9A-4A6A-B994-FD3A72989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4433" y="4589848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82" name="Rectangle 1461">
              <a:extLst>
                <a:ext uri="{FF2B5EF4-FFF2-40B4-BE49-F238E27FC236}">
                  <a16:creationId xmlns:a16="http://schemas.microsoft.com/office/drawing/2014/main" id="{6DA0E769-E46B-454B-A5AC-0ADCAFF710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3633" y="4642252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83" name="Rectangle 1462">
              <a:extLst>
                <a:ext uri="{FF2B5EF4-FFF2-40B4-BE49-F238E27FC236}">
                  <a16:creationId xmlns:a16="http://schemas.microsoft.com/office/drawing/2014/main" id="{5D7E4CFF-860D-420C-9CD5-687E67B262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7521" y="4893156"/>
              <a:ext cx="1588" cy="3176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84" name="Freeform 1463">
              <a:extLst>
                <a:ext uri="{FF2B5EF4-FFF2-40B4-BE49-F238E27FC236}">
                  <a16:creationId xmlns:a16="http://schemas.microsoft.com/office/drawing/2014/main" id="{A22438E0-7A29-4C42-B4EC-9E60DE5D0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646" y="4858220"/>
              <a:ext cx="12700" cy="6352"/>
            </a:xfrm>
            <a:custGeom>
              <a:avLst/>
              <a:gdLst>
                <a:gd name="T0" fmla="*/ 8 w 8"/>
                <a:gd name="T1" fmla="*/ 2 h 4"/>
                <a:gd name="T2" fmla="*/ 6 w 8"/>
                <a:gd name="T3" fmla="*/ 0 h 4"/>
                <a:gd name="T4" fmla="*/ 0 w 8"/>
                <a:gd name="T5" fmla="*/ 4 h 4"/>
                <a:gd name="T6" fmla="*/ 6 w 8"/>
                <a:gd name="T7" fmla="*/ 0 h 4"/>
                <a:gd name="T8" fmla="*/ 8 w 8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8" y="2"/>
                  </a:moveTo>
                  <a:lnTo>
                    <a:pt x="6" y="0"/>
                  </a:lnTo>
                  <a:lnTo>
                    <a:pt x="0" y="4"/>
                  </a:lnTo>
                  <a:lnTo>
                    <a:pt x="6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85" name="Freeform 1464">
              <a:extLst>
                <a:ext uri="{FF2B5EF4-FFF2-40B4-BE49-F238E27FC236}">
                  <a16:creationId xmlns:a16="http://schemas.microsoft.com/office/drawing/2014/main" id="{E9FC8B18-F055-4523-BF37-50F22D284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6259" y="4970968"/>
              <a:ext cx="12700" cy="52404"/>
            </a:xfrm>
            <a:custGeom>
              <a:avLst/>
              <a:gdLst>
                <a:gd name="T0" fmla="*/ 2 w 8"/>
                <a:gd name="T1" fmla="*/ 6 h 33"/>
                <a:gd name="T2" fmla="*/ 4 w 8"/>
                <a:gd name="T3" fmla="*/ 11 h 33"/>
                <a:gd name="T4" fmla="*/ 6 w 8"/>
                <a:gd name="T5" fmla="*/ 13 h 33"/>
                <a:gd name="T6" fmla="*/ 8 w 8"/>
                <a:gd name="T7" fmla="*/ 23 h 33"/>
                <a:gd name="T8" fmla="*/ 8 w 8"/>
                <a:gd name="T9" fmla="*/ 29 h 33"/>
                <a:gd name="T10" fmla="*/ 8 w 8"/>
                <a:gd name="T11" fmla="*/ 33 h 33"/>
                <a:gd name="T12" fmla="*/ 8 w 8"/>
                <a:gd name="T13" fmla="*/ 33 h 33"/>
                <a:gd name="T14" fmla="*/ 8 w 8"/>
                <a:gd name="T15" fmla="*/ 29 h 33"/>
                <a:gd name="T16" fmla="*/ 8 w 8"/>
                <a:gd name="T17" fmla="*/ 23 h 33"/>
                <a:gd name="T18" fmla="*/ 6 w 8"/>
                <a:gd name="T19" fmla="*/ 13 h 33"/>
                <a:gd name="T20" fmla="*/ 4 w 8"/>
                <a:gd name="T21" fmla="*/ 11 h 33"/>
                <a:gd name="T22" fmla="*/ 2 w 8"/>
                <a:gd name="T23" fmla="*/ 6 h 33"/>
                <a:gd name="T24" fmla="*/ 2 w 8"/>
                <a:gd name="T25" fmla="*/ 4 h 33"/>
                <a:gd name="T26" fmla="*/ 0 w 8"/>
                <a:gd name="T27" fmla="*/ 0 h 33"/>
                <a:gd name="T28" fmla="*/ 2 w 8"/>
                <a:gd name="T29" fmla="*/ 4 h 33"/>
                <a:gd name="T30" fmla="*/ 2 w 8"/>
                <a:gd name="T31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33">
                  <a:moveTo>
                    <a:pt x="2" y="6"/>
                  </a:moveTo>
                  <a:lnTo>
                    <a:pt x="4" y="11"/>
                  </a:lnTo>
                  <a:lnTo>
                    <a:pt x="6" y="13"/>
                  </a:lnTo>
                  <a:lnTo>
                    <a:pt x="8" y="23"/>
                  </a:lnTo>
                  <a:lnTo>
                    <a:pt x="8" y="29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29"/>
                  </a:lnTo>
                  <a:lnTo>
                    <a:pt x="8" y="23"/>
                  </a:lnTo>
                  <a:lnTo>
                    <a:pt x="6" y="13"/>
                  </a:lnTo>
                  <a:lnTo>
                    <a:pt x="4" y="11"/>
                  </a:lnTo>
                  <a:lnTo>
                    <a:pt x="2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2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86" name="Freeform 1465">
              <a:extLst>
                <a:ext uri="{FF2B5EF4-FFF2-40B4-BE49-F238E27FC236}">
                  <a16:creationId xmlns:a16="http://schemas.microsoft.com/office/drawing/2014/main" id="{13FB8234-E3E9-41BA-9687-CB9D5398D5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521" y="4880452"/>
              <a:ext cx="6350" cy="3176"/>
            </a:xfrm>
            <a:custGeom>
              <a:avLst/>
              <a:gdLst>
                <a:gd name="T0" fmla="*/ 4 w 4"/>
                <a:gd name="T1" fmla="*/ 2 h 2"/>
                <a:gd name="T2" fmla="*/ 4 w 4"/>
                <a:gd name="T3" fmla="*/ 2 h 2"/>
                <a:gd name="T4" fmla="*/ 0 w 4"/>
                <a:gd name="T5" fmla="*/ 0 h 2"/>
                <a:gd name="T6" fmla="*/ 0 w 4"/>
                <a:gd name="T7" fmla="*/ 0 h 2"/>
                <a:gd name="T8" fmla="*/ 0 w 4"/>
                <a:gd name="T9" fmla="*/ 0 h 2"/>
                <a:gd name="T10" fmla="*/ 4 w 4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87" name="Freeform 1466">
              <a:extLst>
                <a:ext uri="{FF2B5EF4-FFF2-40B4-BE49-F238E27FC236}">
                  <a16:creationId xmlns:a16="http://schemas.microsoft.com/office/drawing/2014/main" id="{B5270FCF-5CA1-4654-B7F8-A21FB5EAA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3084" y="4958264"/>
              <a:ext cx="3175" cy="3176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0 h 2"/>
                <a:gd name="T4" fmla="*/ 0 w 2"/>
                <a:gd name="T5" fmla="*/ 0 h 2"/>
                <a:gd name="T6" fmla="*/ 2 w 2"/>
                <a:gd name="T7" fmla="*/ 0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88" name="Freeform 1467">
              <a:extLst>
                <a:ext uri="{FF2B5EF4-FFF2-40B4-BE49-F238E27FC236}">
                  <a16:creationId xmlns:a16="http://schemas.microsoft.com/office/drawing/2014/main" id="{7ED4324C-7D12-43DA-AE34-558FE8A963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096" y="4948736"/>
              <a:ext cx="6350" cy="3176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0 h 2"/>
                <a:gd name="T4" fmla="*/ 0 w 4"/>
                <a:gd name="T5" fmla="*/ 0 h 2"/>
                <a:gd name="T6" fmla="*/ 2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89" name="Freeform 1468">
              <a:extLst>
                <a:ext uri="{FF2B5EF4-FFF2-40B4-BE49-F238E27FC236}">
                  <a16:creationId xmlns:a16="http://schemas.microsoft.com/office/drawing/2014/main" id="{AC87A793-AA96-4093-A1EC-0843FDEC11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3683" y="4704184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90" name="Freeform 1469">
              <a:extLst>
                <a:ext uri="{FF2B5EF4-FFF2-40B4-BE49-F238E27FC236}">
                  <a16:creationId xmlns:a16="http://schemas.microsoft.com/office/drawing/2014/main" id="{FA8A8930-77F7-44F5-AF72-FD63EB5C9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0508" y="4697832"/>
              <a:ext cx="3175" cy="3176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91" name="Freeform 1470">
              <a:extLst>
                <a:ext uri="{FF2B5EF4-FFF2-40B4-BE49-F238E27FC236}">
                  <a16:creationId xmlns:a16="http://schemas.microsoft.com/office/drawing/2014/main" id="{4EC37E1F-86B3-4EAE-99DC-852E567158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4346" y="4861396"/>
              <a:ext cx="3175" cy="9528"/>
            </a:xfrm>
            <a:custGeom>
              <a:avLst/>
              <a:gdLst>
                <a:gd name="T0" fmla="*/ 2 w 2"/>
                <a:gd name="T1" fmla="*/ 6 h 6"/>
                <a:gd name="T2" fmla="*/ 2 w 2"/>
                <a:gd name="T3" fmla="*/ 4 h 6"/>
                <a:gd name="T4" fmla="*/ 0 w 2"/>
                <a:gd name="T5" fmla="*/ 0 h 6"/>
                <a:gd name="T6" fmla="*/ 2 w 2"/>
                <a:gd name="T7" fmla="*/ 4 h 6"/>
                <a:gd name="T8" fmla="*/ 2 w 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6"/>
                  </a:moveTo>
                  <a:lnTo>
                    <a:pt x="2" y="4"/>
                  </a:lnTo>
                  <a:lnTo>
                    <a:pt x="0" y="0"/>
                  </a:lnTo>
                  <a:lnTo>
                    <a:pt x="2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92" name="Rectangle 1471">
              <a:extLst>
                <a:ext uri="{FF2B5EF4-FFF2-40B4-BE49-F238E27FC236}">
                  <a16:creationId xmlns:a16="http://schemas.microsoft.com/office/drawing/2014/main" id="{BDD21165-A056-4BAA-B97D-DB3E8DDDF4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8296" y="481216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93" name="Freeform 1472">
              <a:extLst>
                <a:ext uri="{FF2B5EF4-FFF2-40B4-BE49-F238E27FC236}">
                  <a16:creationId xmlns:a16="http://schemas.microsoft.com/office/drawing/2014/main" id="{E3795991-046F-4691-A0E2-61778AE22F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2571" y="4694656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0 w 2"/>
                <a:gd name="T4" fmla="*/ 0 w 2"/>
                <a:gd name="T5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94" name="Rectangle 1473">
              <a:extLst>
                <a:ext uri="{FF2B5EF4-FFF2-40B4-BE49-F238E27FC236}">
                  <a16:creationId xmlns:a16="http://schemas.microsoft.com/office/drawing/2014/main" id="{D6E9A96F-C4F5-4B18-9AD9-D37E2B7644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8670" y="441516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95" name="Freeform 1474">
              <a:extLst>
                <a:ext uri="{FF2B5EF4-FFF2-40B4-BE49-F238E27FC236}">
                  <a16:creationId xmlns:a16="http://schemas.microsoft.com/office/drawing/2014/main" id="{352BA54D-BBF7-4A34-B8B0-0B5CF3397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5121" y="4818520"/>
              <a:ext cx="9525" cy="6352"/>
            </a:xfrm>
            <a:custGeom>
              <a:avLst/>
              <a:gdLst>
                <a:gd name="T0" fmla="*/ 6 w 6"/>
                <a:gd name="T1" fmla="*/ 2 h 4"/>
                <a:gd name="T2" fmla="*/ 6 w 6"/>
                <a:gd name="T3" fmla="*/ 0 h 4"/>
                <a:gd name="T4" fmla="*/ 6 w 6"/>
                <a:gd name="T5" fmla="*/ 2 h 4"/>
                <a:gd name="T6" fmla="*/ 6 w 6"/>
                <a:gd name="T7" fmla="*/ 2 h 4"/>
                <a:gd name="T8" fmla="*/ 0 w 6"/>
                <a:gd name="T9" fmla="*/ 4 h 4"/>
                <a:gd name="T10" fmla="*/ 6 w 6"/>
                <a:gd name="T11" fmla="*/ 2 h 4"/>
                <a:gd name="T12" fmla="*/ 6 w 6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6" y="2"/>
                  </a:move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0" y="4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96" name="Rectangle 1475">
              <a:extLst>
                <a:ext uri="{FF2B5EF4-FFF2-40B4-BE49-F238E27FC236}">
                  <a16:creationId xmlns:a16="http://schemas.microsoft.com/office/drawing/2014/main" id="{2455E5A4-1999-4862-AF21-01E39A7B79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8682" y="4477100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97" name="Freeform 1476">
              <a:extLst>
                <a:ext uri="{FF2B5EF4-FFF2-40B4-BE49-F238E27FC236}">
                  <a16:creationId xmlns:a16="http://schemas.microsoft.com/office/drawing/2014/main" id="{96C3EBBE-3AAB-43C8-9389-AE9A59FF91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1308" y="4824872"/>
              <a:ext cx="23813" cy="9528"/>
            </a:xfrm>
            <a:custGeom>
              <a:avLst/>
              <a:gdLst>
                <a:gd name="T0" fmla="*/ 6 w 15"/>
                <a:gd name="T1" fmla="*/ 2 h 6"/>
                <a:gd name="T2" fmla="*/ 9 w 15"/>
                <a:gd name="T3" fmla="*/ 0 h 6"/>
                <a:gd name="T4" fmla="*/ 15 w 15"/>
                <a:gd name="T5" fmla="*/ 0 h 6"/>
                <a:gd name="T6" fmla="*/ 15 w 15"/>
                <a:gd name="T7" fmla="*/ 0 h 6"/>
                <a:gd name="T8" fmla="*/ 9 w 15"/>
                <a:gd name="T9" fmla="*/ 0 h 6"/>
                <a:gd name="T10" fmla="*/ 6 w 15"/>
                <a:gd name="T11" fmla="*/ 2 h 6"/>
                <a:gd name="T12" fmla="*/ 2 w 15"/>
                <a:gd name="T13" fmla="*/ 6 h 6"/>
                <a:gd name="T14" fmla="*/ 0 w 15"/>
                <a:gd name="T15" fmla="*/ 6 h 6"/>
                <a:gd name="T16" fmla="*/ 2 w 15"/>
                <a:gd name="T17" fmla="*/ 6 h 6"/>
                <a:gd name="T18" fmla="*/ 6 w 15"/>
                <a:gd name="T1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6">
                  <a:moveTo>
                    <a:pt x="6" y="2"/>
                  </a:moveTo>
                  <a:lnTo>
                    <a:pt x="9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98" name="Freeform 1477">
              <a:extLst>
                <a:ext uri="{FF2B5EF4-FFF2-40B4-BE49-F238E27FC236}">
                  <a16:creationId xmlns:a16="http://schemas.microsoft.com/office/drawing/2014/main" id="{272C9BC0-B088-443F-9306-8C2F440D84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6645" y="4554912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99" name="Freeform 1478">
              <a:extLst>
                <a:ext uri="{FF2B5EF4-FFF2-40B4-BE49-F238E27FC236}">
                  <a16:creationId xmlns:a16="http://schemas.microsoft.com/office/drawing/2014/main" id="{6779E64D-9B72-4978-9902-AFA736098C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632" y="4453280"/>
              <a:ext cx="9525" cy="17468"/>
            </a:xfrm>
            <a:custGeom>
              <a:avLst/>
              <a:gdLst>
                <a:gd name="T0" fmla="*/ 2 w 6"/>
                <a:gd name="T1" fmla="*/ 5 h 11"/>
                <a:gd name="T2" fmla="*/ 4 w 6"/>
                <a:gd name="T3" fmla="*/ 9 h 11"/>
                <a:gd name="T4" fmla="*/ 6 w 6"/>
                <a:gd name="T5" fmla="*/ 11 h 11"/>
                <a:gd name="T6" fmla="*/ 4 w 6"/>
                <a:gd name="T7" fmla="*/ 9 h 11"/>
                <a:gd name="T8" fmla="*/ 2 w 6"/>
                <a:gd name="T9" fmla="*/ 5 h 11"/>
                <a:gd name="T10" fmla="*/ 0 w 6"/>
                <a:gd name="T11" fmla="*/ 2 h 11"/>
                <a:gd name="T12" fmla="*/ 0 w 6"/>
                <a:gd name="T13" fmla="*/ 0 h 11"/>
                <a:gd name="T14" fmla="*/ 0 w 6"/>
                <a:gd name="T15" fmla="*/ 2 h 11"/>
                <a:gd name="T16" fmla="*/ 2 w 6"/>
                <a:gd name="T17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11">
                  <a:moveTo>
                    <a:pt x="2" y="5"/>
                  </a:moveTo>
                  <a:lnTo>
                    <a:pt x="4" y="9"/>
                  </a:lnTo>
                  <a:lnTo>
                    <a:pt x="6" y="11"/>
                  </a:lnTo>
                  <a:lnTo>
                    <a:pt x="4" y="9"/>
                  </a:lnTo>
                  <a:lnTo>
                    <a:pt x="2" y="5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00" name="Freeform 1479">
              <a:extLst>
                <a:ext uri="{FF2B5EF4-FFF2-40B4-BE49-F238E27FC236}">
                  <a16:creationId xmlns:a16="http://schemas.microsoft.com/office/drawing/2014/main" id="{762E16D8-4F4C-4616-841C-D2A6797852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632" y="4427872"/>
              <a:ext cx="0" cy="6352"/>
            </a:xfrm>
            <a:custGeom>
              <a:avLst/>
              <a:gdLst>
                <a:gd name="T0" fmla="*/ 4 h 4"/>
                <a:gd name="T1" fmla="*/ 2 h 4"/>
                <a:gd name="T2" fmla="*/ 0 h 4"/>
                <a:gd name="T3" fmla="*/ 0 h 4"/>
                <a:gd name="T4" fmla="*/ 2 h 4"/>
                <a:gd name="T5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01" name="Freeform 1480">
              <a:extLst>
                <a:ext uri="{FF2B5EF4-FFF2-40B4-BE49-F238E27FC236}">
                  <a16:creationId xmlns:a16="http://schemas.microsoft.com/office/drawing/2014/main" id="{0AFFAFBF-1B32-47FB-8D22-19CCCCC53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8908" y="4713712"/>
              <a:ext cx="6350" cy="6352"/>
            </a:xfrm>
            <a:custGeom>
              <a:avLst/>
              <a:gdLst>
                <a:gd name="T0" fmla="*/ 4 w 4"/>
                <a:gd name="T1" fmla="*/ 4 h 4"/>
                <a:gd name="T2" fmla="*/ 4 w 4"/>
                <a:gd name="T3" fmla="*/ 4 h 4"/>
                <a:gd name="T4" fmla="*/ 2 w 4"/>
                <a:gd name="T5" fmla="*/ 2 h 4"/>
                <a:gd name="T6" fmla="*/ 0 w 4"/>
                <a:gd name="T7" fmla="*/ 0 h 4"/>
                <a:gd name="T8" fmla="*/ 2 w 4"/>
                <a:gd name="T9" fmla="*/ 2 h 4"/>
                <a:gd name="T10" fmla="*/ 4 w 4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02" name="Freeform 1481">
              <a:extLst>
                <a:ext uri="{FF2B5EF4-FFF2-40B4-BE49-F238E27FC236}">
                  <a16:creationId xmlns:a16="http://schemas.microsoft.com/office/drawing/2014/main" id="{250C7F66-5829-4D50-B9DF-2DE600C31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3683" y="4793112"/>
              <a:ext cx="9525" cy="15880"/>
            </a:xfrm>
            <a:custGeom>
              <a:avLst/>
              <a:gdLst>
                <a:gd name="T0" fmla="*/ 2 w 6"/>
                <a:gd name="T1" fmla="*/ 2 h 10"/>
                <a:gd name="T2" fmla="*/ 4 w 6"/>
                <a:gd name="T3" fmla="*/ 6 h 10"/>
                <a:gd name="T4" fmla="*/ 4 w 6"/>
                <a:gd name="T5" fmla="*/ 10 h 10"/>
                <a:gd name="T6" fmla="*/ 6 w 6"/>
                <a:gd name="T7" fmla="*/ 10 h 10"/>
                <a:gd name="T8" fmla="*/ 4 w 6"/>
                <a:gd name="T9" fmla="*/ 10 h 10"/>
                <a:gd name="T10" fmla="*/ 4 w 6"/>
                <a:gd name="T11" fmla="*/ 6 h 10"/>
                <a:gd name="T12" fmla="*/ 2 w 6"/>
                <a:gd name="T13" fmla="*/ 2 h 10"/>
                <a:gd name="T14" fmla="*/ 0 w 6"/>
                <a:gd name="T15" fmla="*/ 0 h 10"/>
                <a:gd name="T16" fmla="*/ 0 w 6"/>
                <a:gd name="T17" fmla="*/ 0 h 10"/>
                <a:gd name="T18" fmla="*/ 0 w 6"/>
                <a:gd name="T19" fmla="*/ 0 h 10"/>
                <a:gd name="T20" fmla="*/ 2 w 6"/>
                <a:gd name="T21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10">
                  <a:moveTo>
                    <a:pt x="2" y="2"/>
                  </a:moveTo>
                  <a:lnTo>
                    <a:pt x="4" y="6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4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03" name="Freeform 1482">
              <a:extLst>
                <a:ext uri="{FF2B5EF4-FFF2-40B4-BE49-F238E27FC236}">
                  <a16:creationId xmlns:a16="http://schemas.microsoft.com/office/drawing/2014/main" id="{F1F4CF8F-D4BD-43B9-8AD4-FA6A10EBB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6383" y="4815344"/>
              <a:ext cx="3175" cy="6352"/>
            </a:xfrm>
            <a:custGeom>
              <a:avLst/>
              <a:gdLst>
                <a:gd name="T0" fmla="*/ 2 w 2"/>
                <a:gd name="T1" fmla="*/ 4 h 4"/>
                <a:gd name="T2" fmla="*/ 0 w 2"/>
                <a:gd name="T3" fmla="*/ 2 h 4"/>
                <a:gd name="T4" fmla="*/ 0 w 2"/>
                <a:gd name="T5" fmla="*/ 0 h 4"/>
                <a:gd name="T6" fmla="*/ 0 w 2"/>
                <a:gd name="T7" fmla="*/ 2 h 4"/>
                <a:gd name="T8" fmla="*/ 2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04" name="Freeform 1483">
              <a:extLst>
                <a:ext uri="{FF2B5EF4-FFF2-40B4-BE49-F238E27FC236}">
                  <a16:creationId xmlns:a16="http://schemas.microsoft.com/office/drawing/2014/main" id="{9D5D2FF0-4A05-4062-A01E-70C8D1B75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1857" y="4480276"/>
              <a:ext cx="6350" cy="22232"/>
            </a:xfrm>
            <a:custGeom>
              <a:avLst/>
              <a:gdLst>
                <a:gd name="T0" fmla="*/ 2 w 4"/>
                <a:gd name="T1" fmla="*/ 6 h 14"/>
                <a:gd name="T2" fmla="*/ 0 w 4"/>
                <a:gd name="T3" fmla="*/ 8 h 14"/>
                <a:gd name="T4" fmla="*/ 0 w 4"/>
                <a:gd name="T5" fmla="*/ 12 h 14"/>
                <a:gd name="T6" fmla="*/ 2 w 4"/>
                <a:gd name="T7" fmla="*/ 14 h 14"/>
                <a:gd name="T8" fmla="*/ 4 w 4"/>
                <a:gd name="T9" fmla="*/ 14 h 14"/>
                <a:gd name="T10" fmla="*/ 4 w 4"/>
                <a:gd name="T11" fmla="*/ 14 h 14"/>
                <a:gd name="T12" fmla="*/ 4 w 4"/>
                <a:gd name="T13" fmla="*/ 14 h 14"/>
                <a:gd name="T14" fmla="*/ 2 w 4"/>
                <a:gd name="T15" fmla="*/ 14 h 14"/>
                <a:gd name="T16" fmla="*/ 0 w 4"/>
                <a:gd name="T17" fmla="*/ 12 h 14"/>
                <a:gd name="T18" fmla="*/ 0 w 4"/>
                <a:gd name="T19" fmla="*/ 8 h 14"/>
                <a:gd name="T20" fmla="*/ 2 w 4"/>
                <a:gd name="T21" fmla="*/ 6 h 14"/>
                <a:gd name="T22" fmla="*/ 2 w 4"/>
                <a:gd name="T23" fmla="*/ 4 h 14"/>
                <a:gd name="T24" fmla="*/ 0 w 4"/>
                <a:gd name="T25" fmla="*/ 0 h 14"/>
                <a:gd name="T26" fmla="*/ 2 w 4"/>
                <a:gd name="T27" fmla="*/ 4 h 14"/>
                <a:gd name="T28" fmla="*/ 2 w 4"/>
                <a:gd name="T2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" h="14">
                  <a:moveTo>
                    <a:pt x="2" y="6"/>
                  </a:moveTo>
                  <a:lnTo>
                    <a:pt x="0" y="8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2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2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05" name="Freeform 1484">
              <a:extLst>
                <a:ext uri="{FF2B5EF4-FFF2-40B4-BE49-F238E27FC236}">
                  <a16:creationId xmlns:a16="http://schemas.microsoft.com/office/drawing/2014/main" id="{59FEDA9B-A2EF-4909-8F56-7352DB113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471" y="4812168"/>
              <a:ext cx="3175" cy="3176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0 h 2"/>
                <a:gd name="T8" fmla="*/ 2 w 2"/>
                <a:gd name="T9" fmla="*/ 2 h 2"/>
                <a:gd name="T10" fmla="*/ 2 w 2"/>
                <a:gd name="T11" fmla="*/ 0 h 2"/>
                <a:gd name="T12" fmla="*/ 0 w 2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06" name="Freeform 1485">
              <a:extLst>
                <a:ext uri="{FF2B5EF4-FFF2-40B4-BE49-F238E27FC236}">
                  <a16:creationId xmlns:a16="http://schemas.microsoft.com/office/drawing/2014/main" id="{6EE7C8BE-B001-404A-9022-ED02CC188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1133" y="4716888"/>
              <a:ext cx="3175" cy="4764"/>
            </a:xfrm>
            <a:custGeom>
              <a:avLst/>
              <a:gdLst>
                <a:gd name="T0" fmla="*/ 2 w 2"/>
                <a:gd name="T1" fmla="*/ 3 h 3"/>
                <a:gd name="T2" fmla="*/ 2 w 2"/>
                <a:gd name="T3" fmla="*/ 3 h 3"/>
                <a:gd name="T4" fmla="*/ 0 w 2"/>
                <a:gd name="T5" fmla="*/ 0 h 3"/>
                <a:gd name="T6" fmla="*/ 2 w 2"/>
                <a:gd name="T7" fmla="*/ 3 h 3"/>
                <a:gd name="T8" fmla="*/ 2 w 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lnTo>
                    <a:pt x="2" y="3"/>
                  </a:lnTo>
                  <a:lnTo>
                    <a:pt x="0" y="0"/>
                  </a:lnTo>
                  <a:lnTo>
                    <a:pt x="2" y="3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07" name="Freeform 1486">
              <a:extLst>
                <a:ext uri="{FF2B5EF4-FFF2-40B4-BE49-F238E27FC236}">
                  <a16:creationId xmlns:a16="http://schemas.microsoft.com/office/drawing/2014/main" id="{E3D60124-5255-445E-AD05-0AC65E625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471" y="4805816"/>
              <a:ext cx="19050" cy="9528"/>
            </a:xfrm>
            <a:custGeom>
              <a:avLst/>
              <a:gdLst>
                <a:gd name="T0" fmla="*/ 12 w 12"/>
                <a:gd name="T1" fmla="*/ 6 h 6"/>
                <a:gd name="T2" fmla="*/ 2 w 12"/>
                <a:gd name="T3" fmla="*/ 0 h 6"/>
                <a:gd name="T4" fmla="*/ 0 w 12"/>
                <a:gd name="T5" fmla="*/ 0 h 6"/>
                <a:gd name="T6" fmla="*/ 2 w 12"/>
                <a:gd name="T7" fmla="*/ 0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08" name="Freeform 1487">
              <a:extLst>
                <a:ext uri="{FF2B5EF4-FFF2-40B4-BE49-F238E27FC236}">
                  <a16:creationId xmlns:a16="http://schemas.microsoft.com/office/drawing/2014/main" id="{3183FD3A-5178-48BE-8D66-CE2D2B3B58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0521" y="4818520"/>
              <a:ext cx="0" cy="6352"/>
            </a:xfrm>
            <a:custGeom>
              <a:avLst/>
              <a:gdLst>
                <a:gd name="T0" fmla="*/ 4 h 4"/>
                <a:gd name="T1" fmla="*/ 0 h 4"/>
                <a:gd name="T2" fmla="*/ 4 h 4"/>
                <a:gd name="T3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09" name="Freeform 1488">
              <a:extLst>
                <a:ext uri="{FF2B5EF4-FFF2-40B4-BE49-F238E27FC236}">
                  <a16:creationId xmlns:a16="http://schemas.microsoft.com/office/drawing/2014/main" id="{EF0C9742-A315-4FE0-8101-BE252C5457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5121" y="4802640"/>
              <a:ext cx="3175" cy="9528"/>
            </a:xfrm>
            <a:custGeom>
              <a:avLst/>
              <a:gdLst>
                <a:gd name="T0" fmla="*/ 2 w 2"/>
                <a:gd name="T1" fmla="*/ 0 h 6"/>
                <a:gd name="T2" fmla="*/ 0 w 2"/>
                <a:gd name="T3" fmla="*/ 0 h 6"/>
                <a:gd name="T4" fmla="*/ 2 w 2"/>
                <a:gd name="T5" fmla="*/ 6 h 6"/>
                <a:gd name="T6" fmla="*/ 0 w 2"/>
                <a:gd name="T7" fmla="*/ 0 h 6"/>
                <a:gd name="T8" fmla="*/ 2 w 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lnTo>
                    <a:pt x="0" y="0"/>
                  </a:lnTo>
                  <a:lnTo>
                    <a:pt x="2" y="6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10" name="Freeform 1489">
              <a:extLst>
                <a:ext uri="{FF2B5EF4-FFF2-40B4-BE49-F238E27FC236}">
                  <a16:creationId xmlns:a16="http://schemas.microsoft.com/office/drawing/2014/main" id="{7216868E-1B06-4103-A002-E533D54B3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7033" y="4843928"/>
              <a:ext cx="9525" cy="11116"/>
            </a:xfrm>
            <a:custGeom>
              <a:avLst/>
              <a:gdLst>
                <a:gd name="T0" fmla="*/ 4 w 6"/>
                <a:gd name="T1" fmla="*/ 2 h 7"/>
                <a:gd name="T2" fmla="*/ 6 w 6"/>
                <a:gd name="T3" fmla="*/ 2 h 7"/>
                <a:gd name="T4" fmla="*/ 6 w 6"/>
                <a:gd name="T5" fmla="*/ 5 h 7"/>
                <a:gd name="T6" fmla="*/ 6 w 6"/>
                <a:gd name="T7" fmla="*/ 7 h 7"/>
                <a:gd name="T8" fmla="*/ 6 w 6"/>
                <a:gd name="T9" fmla="*/ 5 h 7"/>
                <a:gd name="T10" fmla="*/ 6 w 6"/>
                <a:gd name="T11" fmla="*/ 2 h 7"/>
                <a:gd name="T12" fmla="*/ 4 w 6"/>
                <a:gd name="T13" fmla="*/ 2 h 7"/>
                <a:gd name="T14" fmla="*/ 2 w 6"/>
                <a:gd name="T15" fmla="*/ 0 h 7"/>
                <a:gd name="T16" fmla="*/ 0 w 6"/>
                <a:gd name="T17" fmla="*/ 0 h 7"/>
                <a:gd name="T18" fmla="*/ 2 w 6"/>
                <a:gd name="T19" fmla="*/ 0 h 7"/>
                <a:gd name="T20" fmla="*/ 4 w 6"/>
                <a:gd name="T21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7">
                  <a:moveTo>
                    <a:pt x="4" y="2"/>
                  </a:moveTo>
                  <a:lnTo>
                    <a:pt x="6" y="2"/>
                  </a:lnTo>
                  <a:lnTo>
                    <a:pt x="6" y="5"/>
                  </a:lnTo>
                  <a:lnTo>
                    <a:pt x="6" y="7"/>
                  </a:lnTo>
                  <a:lnTo>
                    <a:pt x="6" y="5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11" name="Freeform 1490">
              <a:extLst>
                <a:ext uri="{FF2B5EF4-FFF2-40B4-BE49-F238E27FC236}">
                  <a16:creationId xmlns:a16="http://schemas.microsoft.com/office/drawing/2014/main" id="{182C8941-CEB2-4E97-88FC-3365B7156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871" y="4710536"/>
              <a:ext cx="6350" cy="3176"/>
            </a:xfrm>
            <a:custGeom>
              <a:avLst/>
              <a:gdLst>
                <a:gd name="T0" fmla="*/ 4 w 4"/>
                <a:gd name="T1" fmla="*/ 0 h 2"/>
                <a:gd name="T2" fmla="*/ 2 w 4"/>
                <a:gd name="T3" fmla="*/ 0 h 2"/>
                <a:gd name="T4" fmla="*/ 0 w 4"/>
                <a:gd name="T5" fmla="*/ 2 h 2"/>
                <a:gd name="T6" fmla="*/ 2 w 4"/>
                <a:gd name="T7" fmla="*/ 0 h 2"/>
                <a:gd name="T8" fmla="*/ 4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12" name="Rectangle 1491">
              <a:extLst>
                <a:ext uri="{FF2B5EF4-FFF2-40B4-BE49-F238E27FC236}">
                  <a16:creationId xmlns:a16="http://schemas.microsoft.com/office/drawing/2014/main" id="{1C1E3050-C303-446E-965E-890973C9E8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2571" y="4697832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13" name="Freeform 1492">
              <a:extLst>
                <a:ext uri="{FF2B5EF4-FFF2-40B4-BE49-F238E27FC236}">
                  <a16:creationId xmlns:a16="http://schemas.microsoft.com/office/drawing/2014/main" id="{F83B6C19-3CA4-4904-91D1-EA29AB302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7483" y="4721652"/>
              <a:ext cx="0" cy="3176"/>
            </a:xfrm>
            <a:custGeom>
              <a:avLst/>
              <a:gdLst>
                <a:gd name="T0" fmla="*/ 0 h 2"/>
                <a:gd name="T1" fmla="*/ 2 h 2"/>
                <a:gd name="T2" fmla="*/ 2 h 2"/>
                <a:gd name="T3" fmla="*/ 2 h 2"/>
                <a:gd name="T4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14" name="Freeform 1493">
              <a:extLst>
                <a:ext uri="{FF2B5EF4-FFF2-40B4-BE49-F238E27FC236}">
                  <a16:creationId xmlns:a16="http://schemas.microsoft.com/office/drawing/2014/main" id="{ADEBA9C3-DB73-4F7B-9CBE-3E94C22FEB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2908" y="4855044"/>
              <a:ext cx="9525" cy="6352"/>
            </a:xfrm>
            <a:custGeom>
              <a:avLst/>
              <a:gdLst>
                <a:gd name="T0" fmla="*/ 4 w 6"/>
                <a:gd name="T1" fmla="*/ 4 h 4"/>
                <a:gd name="T2" fmla="*/ 6 w 6"/>
                <a:gd name="T3" fmla="*/ 0 h 4"/>
                <a:gd name="T4" fmla="*/ 4 w 6"/>
                <a:gd name="T5" fmla="*/ 4 h 4"/>
                <a:gd name="T6" fmla="*/ 0 w 6"/>
                <a:gd name="T7" fmla="*/ 4 h 4"/>
                <a:gd name="T8" fmla="*/ 0 w 6"/>
                <a:gd name="T9" fmla="*/ 4 h 4"/>
                <a:gd name="T10" fmla="*/ 4 w 6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4" y="4"/>
                  </a:moveTo>
                  <a:lnTo>
                    <a:pt x="6" y="0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15" name="Rectangle 1494">
              <a:extLst>
                <a:ext uri="{FF2B5EF4-FFF2-40B4-BE49-F238E27FC236}">
                  <a16:creationId xmlns:a16="http://schemas.microsoft.com/office/drawing/2014/main" id="{116D3CC5-7E32-47A8-8D02-E029FDA4C8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4673" y="4170616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16" name="Rectangle 1495">
              <a:extLst>
                <a:ext uri="{FF2B5EF4-FFF2-40B4-BE49-F238E27FC236}">
                  <a16:creationId xmlns:a16="http://schemas.microsoft.com/office/drawing/2014/main" id="{BAFD34AA-9775-4AB0-B05D-E4EFFD4F0E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7848" y="4180144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17" name="Rectangle 1496">
              <a:extLst>
                <a:ext uri="{FF2B5EF4-FFF2-40B4-BE49-F238E27FC236}">
                  <a16:creationId xmlns:a16="http://schemas.microsoft.com/office/drawing/2014/main" id="{E76984D5-26F9-4C62-906E-B540873D50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5148" y="4127740"/>
              <a:ext cx="3175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18" name="Freeform 1497">
              <a:extLst>
                <a:ext uri="{FF2B5EF4-FFF2-40B4-BE49-F238E27FC236}">
                  <a16:creationId xmlns:a16="http://schemas.microsoft.com/office/drawing/2014/main" id="{3ED63B28-C245-4B6E-AE66-282A24C38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4148384"/>
              <a:ext cx="3175" cy="12704"/>
            </a:xfrm>
            <a:custGeom>
              <a:avLst/>
              <a:gdLst>
                <a:gd name="T0" fmla="*/ 2 w 2"/>
                <a:gd name="T1" fmla="*/ 8 h 8"/>
                <a:gd name="T2" fmla="*/ 0 w 2"/>
                <a:gd name="T3" fmla="*/ 4 h 8"/>
                <a:gd name="T4" fmla="*/ 0 w 2"/>
                <a:gd name="T5" fmla="*/ 0 h 8"/>
                <a:gd name="T6" fmla="*/ 0 w 2"/>
                <a:gd name="T7" fmla="*/ 4 h 8"/>
                <a:gd name="T8" fmla="*/ 2 w 2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8">
                  <a:moveTo>
                    <a:pt x="2" y="8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19" name="Freeform 1498">
              <a:extLst>
                <a:ext uri="{FF2B5EF4-FFF2-40B4-BE49-F238E27FC236}">
                  <a16:creationId xmlns:a16="http://schemas.microsoft.com/office/drawing/2014/main" id="{D5D99391-A1DE-41BD-988D-151E854536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5148" y="4130916"/>
              <a:ext cx="3175" cy="3176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20" name="Freeform 1499">
              <a:extLst>
                <a:ext uri="{FF2B5EF4-FFF2-40B4-BE49-F238E27FC236}">
                  <a16:creationId xmlns:a16="http://schemas.microsoft.com/office/drawing/2014/main" id="{46390CFA-E747-4BAB-828B-12E8020D4B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4135680"/>
              <a:ext cx="0" cy="12704"/>
            </a:xfrm>
            <a:custGeom>
              <a:avLst/>
              <a:gdLst>
                <a:gd name="T0" fmla="*/ 8 h 8"/>
                <a:gd name="T1" fmla="*/ 8 h 8"/>
                <a:gd name="T2" fmla="*/ 2 h 8"/>
                <a:gd name="T3" fmla="*/ 0 h 8"/>
                <a:gd name="T4" fmla="*/ 2 h 8"/>
                <a:gd name="T5" fmla="*/ 8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8">
                  <a:moveTo>
                    <a:pt x="0" y="8"/>
                  </a:moveTo>
                  <a:lnTo>
                    <a:pt x="0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21" name="Freeform 1500">
              <a:extLst>
                <a:ext uri="{FF2B5EF4-FFF2-40B4-BE49-F238E27FC236}">
                  <a16:creationId xmlns:a16="http://schemas.microsoft.com/office/drawing/2014/main" id="{0A84215A-C1FE-4647-A2DD-C48B97B72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8336" y="3565588"/>
              <a:ext cx="0" cy="3176"/>
            </a:xfrm>
            <a:custGeom>
              <a:avLst/>
              <a:gdLst>
                <a:gd name="T0" fmla="*/ 2 h 2"/>
                <a:gd name="T1" fmla="*/ 2 h 2"/>
                <a:gd name="T2" fmla="*/ 0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22" name="Freeform 1501">
              <a:extLst>
                <a:ext uri="{FF2B5EF4-FFF2-40B4-BE49-F238E27FC236}">
                  <a16:creationId xmlns:a16="http://schemas.microsoft.com/office/drawing/2014/main" id="{13A06AEE-3B0F-4E62-821E-E4294CFE00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2936" y="3448076"/>
              <a:ext cx="3175" cy="6352"/>
            </a:xfrm>
            <a:custGeom>
              <a:avLst/>
              <a:gdLst>
                <a:gd name="T0" fmla="*/ 2 w 2"/>
                <a:gd name="T1" fmla="*/ 4 h 4"/>
                <a:gd name="T2" fmla="*/ 0 w 2"/>
                <a:gd name="T3" fmla="*/ 2 h 4"/>
                <a:gd name="T4" fmla="*/ 0 w 2"/>
                <a:gd name="T5" fmla="*/ 0 h 4"/>
                <a:gd name="T6" fmla="*/ 0 w 2"/>
                <a:gd name="T7" fmla="*/ 2 h 4"/>
                <a:gd name="T8" fmla="*/ 2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23" name="Freeform 1502">
              <a:extLst>
                <a:ext uri="{FF2B5EF4-FFF2-40B4-BE49-F238E27FC236}">
                  <a16:creationId xmlns:a16="http://schemas.microsoft.com/office/drawing/2014/main" id="{A798FDA7-AC85-475B-8729-0E62399A0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2461" y="3513184"/>
              <a:ext cx="0" cy="6352"/>
            </a:xfrm>
            <a:custGeom>
              <a:avLst/>
              <a:gdLst>
                <a:gd name="T0" fmla="*/ 4 h 4"/>
                <a:gd name="T1" fmla="*/ 2 h 4"/>
                <a:gd name="T2" fmla="*/ 0 h 4"/>
                <a:gd name="T3" fmla="*/ 2 h 4"/>
                <a:gd name="T4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24" name="Freeform 1503">
              <a:extLst>
                <a:ext uri="{FF2B5EF4-FFF2-40B4-BE49-F238E27FC236}">
                  <a16:creationId xmlns:a16="http://schemas.microsoft.com/office/drawing/2014/main" id="{A112684F-C907-4AF4-859E-E00AC14C7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5636" y="3500480"/>
              <a:ext cx="0" cy="3176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0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25" name="Freeform 1504">
              <a:extLst>
                <a:ext uri="{FF2B5EF4-FFF2-40B4-BE49-F238E27FC236}">
                  <a16:creationId xmlns:a16="http://schemas.microsoft.com/office/drawing/2014/main" id="{E784D1F0-333F-4C90-9523-76D313406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2461" y="3470308"/>
              <a:ext cx="9525" cy="9528"/>
            </a:xfrm>
            <a:custGeom>
              <a:avLst/>
              <a:gdLst>
                <a:gd name="T0" fmla="*/ 4 w 6"/>
                <a:gd name="T1" fmla="*/ 2 h 6"/>
                <a:gd name="T2" fmla="*/ 6 w 6"/>
                <a:gd name="T3" fmla="*/ 6 h 6"/>
                <a:gd name="T4" fmla="*/ 6 w 6"/>
                <a:gd name="T5" fmla="*/ 6 h 6"/>
                <a:gd name="T6" fmla="*/ 4 w 6"/>
                <a:gd name="T7" fmla="*/ 2 h 6"/>
                <a:gd name="T8" fmla="*/ 2 w 6"/>
                <a:gd name="T9" fmla="*/ 0 h 6"/>
                <a:gd name="T10" fmla="*/ 0 w 6"/>
                <a:gd name="T11" fmla="*/ 0 h 6"/>
                <a:gd name="T12" fmla="*/ 2 w 6"/>
                <a:gd name="T13" fmla="*/ 0 h 6"/>
                <a:gd name="T14" fmla="*/ 4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4" y="2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26" name="Freeform 1505">
              <a:extLst>
                <a:ext uri="{FF2B5EF4-FFF2-40B4-BE49-F238E27FC236}">
                  <a16:creationId xmlns:a16="http://schemas.microsoft.com/office/drawing/2014/main" id="{F981124F-CB3D-4A6C-974F-0D1C256A96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1986" y="3484600"/>
              <a:ext cx="0" cy="6352"/>
            </a:xfrm>
            <a:custGeom>
              <a:avLst/>
              <a:gdLst>
                <a:gd name="T0" fmla="*/ 4 h 4"/>
                <a:gd name="T1" fmla="*/ 4 h 4"/>
                <a:gd name="T2" fmla="*/ 0 h 4"/>
                <a:gd name="T3" fmla="*/ 4 h 4"/>
                <a:gd name="T4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27" name="Freeform 1506">
              <a:extLst>
                <a:ext uri="{FF2B5EF4-FFF2-40B4-BE49-F238E27FC236}">
                  <a16:creationId xmlns:a16="http://schemas.microsoft.com/office/drawing/2014/main" id="{0DF26D0A-9B75-41D4-AD8A-D39432DADF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1986" y="3532240"/>
              <a:ext cx="3175" cy="3176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2 h 2"/>
                <a:gd name="T4" fmla="*/ 0 w 2"/>
                <a:gd name="T5" fmla="*/ 0 h 2"/>
                <a:gd name="T6" fmla="*/ 0 w 2"/>
                <a:gd name="T7" fmla="*/ 2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28" name="Freeform 1507">
              <a:extLst>
                <a:ext uri="{FF2B5EF4-FFF2-40B4-BE49-F238E27FC236}">
                  <a16:creationId xmlns:a16="http://schemas.microsoft.com/office/drawing/2014/main" id="{FC952874-0836-437C-8F7F-1E57FCBF7A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4985" y="3730740"/>
              <a:ext cx="39688" cy="23820"/>
            </a:xfrm>
            <a:custGeom>
              <a:avLst/>
              <a:gdLst>
                <a:gd name="T0" fmla="*/ 0 w 25"/>
                <a:gd name="T1" fmla="*/ 15 h 15"/>
                <a:gd name="T2" fmla="*/ 11 w 25"/>
                <a:gd name="T3" fmla="*/ 8 h 15"/>
                <a:gd name="T4" fmla="*/ 25 w 25"/>
                <a:gd name="T5" fmla="*/ 0 h 15"/>
                <a:gd name="T6" fmla="*/ 11 w 25"/>
                <a:gd name="T7" fmla="*/ 8 h 15"/>
                <a:gd name="T8" fmla="*/ 0 w 2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5">
                  <a:moveTo>
                    <a:pt x="0" y="15"/>
                  </a:moveTo>
                  <a:lnTo>
                    <a:pt x="11" y="8"/>
                  </a:lnTo>
                  <a:lnTo>
                    <a:pt x="25" y="0"/>
                  </a:lnTo>
                  <a:lnTo>
                    <a:pt x="11" y="8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29" name="Freeform 1508">
              <a:extLst>
                <a:ext uri="{FF2B5EF4-FFF2-40B4-BE49-F238E27FC236}">
                  <a16:creationId xmlns:a16="http://schemas.microsoft.com/office/drawing/2014/main" id="{C10181B2-359B-4E4B-83EC-B9A58A5F8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598" y="3810140"/>
              <a:ext cx="14288" cy="19056"/>
            </a:xfrm>
            <a:custGeom>
              <a:avLst/>
              <a:gdLst>
                <a:gd name="T0" fmla="*/ 0 w 9"/>
                <a:gd name="T1" fmla="*/ 12 h 12"/>
                <a:gd name="T2" fmla="*/ 2 w 9"/>
                <a:gd name="T3" fmla="*/ 8 h 12"/>
                <a:gd name="T4" fmla="*/ 9 w 9"/>
                <a:gd name="T5" fmla="*/ 0 h 12"/>
                <a:gd name="T6" fmla="*/ 9 w 9"/>
                <a:gd name="T7" fmla="*/ 0 h 12"/>
                <a:gd name="T8" fmla="*/ 2 w 9"/>
                <a:gd name="T9" fmla="*/ 8 h 12"/>
                <a:gd name="T10" fmla="*/ 0 w 9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2">
                  <a:moveTo>
                    <a:pt x="0" y="12"/>
                  </a:moveTo>
                  <a:lnTo>
                    <a:pt x="2" y="8"/>
                  </a:lnTo>
                  <a:lnTo>
                    <a:pt x="9" y="0"/>
                  </a:lnTo>
                  <a:lnTo>
                    <a:pt x="9" y="0"/>
                  </a:lnTo>
                  <a:lnTo>
                    <a:pt x="2" y="8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30" name="Freeform 1509">
              <a:extLst>
                <a:ext uri="{FF2B5EF4-FFF2-40B4-BE49-F238E27FC236}">
                  <a16:creationId xmlns:a16="http://schemas.microsoft.com/office/drawing/2014/main" id="{9AE55E5C-FADA-4338-B7D5-521249CAA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161" y="3578292"/>
              <a:ext cx="0" cy="9528"/>
            </a:xfrm>
            <a:custGeom>
              <a:avLst/>
              <a:gdLst>
                <a:gd name="T0" fmla="*/ 4 h 6"/>
                <a:gd name="T1" fmla="*/ 6 h 6"/>
                <a:gd name="T2" fmla="*/ 6 h 6"/>
                <a:gd name="T3" fmla="*/ 6 h 6"/>
                <a:gd name="T4" fmla="*/ 4 h 6"/>
                <a:gd name="T5" fmla="*/ 2 h 6"/>
                <a:gd name="T6" fmla="*/ 0 h 6"/>
                <a:gd name="T7" fmla="*/ 2 h 6"/>
                <a:gd name="T8" fmla="*/ 4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</a:cxnLst>
              <a:rect l="0" t="0" r="r" b="b"/>
              <a:pathLst>
                <a:path h="6">
                  <a:moveTo>
                    <a:pt x="0" y="4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31" name="Freeform 1510">
              <a:extLst>
                <a:ext uri="{FF2B5EF4-FFF2-40B4-BE49-F238E27FC236}">
                  <a16:creationId xmlns:a16="http://schemas.microsoft.com/office/drawing/2014/main" id="{BBBA2745-EA69-4DC4-AF43-07D53208B2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6586" y="3683100"/>
              <a:ext cx="25400" cy="19056"/>
            </a:xfrm>
            <a:custGeom>
              <a:avLst/>
              <a:gdLst>
                <a:gd name="T0" fmla="*/ 0 w 16"/>
                <a:gd name="T1" fmla="*/ 12 h 12"/>
                <a:gd name="T2" fmla="*/ 12 w 16"/>
                <a:gd name="T3" fmla="*/ 4 h 12"/>
                <a:gd name="T4" fmla="*/ 16 w 16"/>
                <a:gd name="T5" fmla="*/ 0 h 12"/>
                <a:gd name="T6" fmla="*/ 12 w 16"/>
                <a:gd name="T7" fmla="*/ 4 h 12"/>
                <a:gd name="T8" fmla="*/ 0 w 1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2">
                  <a:moveTo>
                    <a:pt x="0" y="12"/>
                  </a:moveTo>
                  <a:lnTo>
                    <a:pt x="12" y="4"/>
                  </a:lnTo>
                  <a:lnTo>
                    <a:pt x="16" y="0"/>
                  </a:lnTo>
                  <a:lnTo>
                    <a:pt x="12" y="4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32" name="Freeform 1511">
              <a:extLst>
                <a:ext uri="{FF2B5EF4-FFF2-40B4-BE49-F238E27FC236}">
                  <a16:creationId xmlns:a16="http://schemas.microsoft.com/office/drawing/2014/main" id="{DB6FED4C-21D9-466D-BB86-3F16EF08E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161" y="3544944"/>
              <a:ext cx="3175" cy="14292"/>
            </a:xfrm>
            <a:custGeom>
              <a:avLst/>
              <a:gdLst>
                <a:gd name="T0" fmla="*/ 0 w 2"/>
                <a:gd name="T1" fmla="*/ 5 h 9"/>
                <a:gd name="T2" fmla="*/ 2 w 2"/>
                <a:gd name="T3" fmla="*/ 9 h 9"/>
                <a:gd name="T4" fmla="*/ 0 w 2"/>
                <a:gd name="T5" fmla="*/ 5 h 9"/>
                <a:gd name="T6" fmla="*/ 0 w 2"/>
                <a:gd name="T7" fmla="*/ 3 h 9"/>
                <a:gd name="T8" fmla="*/ 2 w 2"/>
                <a:gd name="T9" fmla="*/ 0 h 9"/>
                <a:gd name="T10" fmla="*/ 0 w 2"/>
                <a:gd name="T11" fmla="*/ 3 h 9"/>
                <a:gd name="T12" fmla="*/ 0 w 2"/>
                <a:gd name="T1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9">
                  <a:moveTo>
                    <a:pt x="0" y="5"/>
                  </a:moveTo>
                  <a:lnTo>
                    <a:pt x="2" y="9"/>
                  </a:lnTo>
                  <a:lnTo>
                    <a:pt x="0" y="5"/>
                  </a:lnTo>
                  <a:lnTo>
                    <a:pt x="0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33" name="Rectangle 1512">
              <a:extLst>
                <a:ext uri="{FF2B5EF4-FFF2-40B4-BE49-F238E27FC236}">
                  <a16:creationId xmlns:a16="http://schemas.microsoft.com/office/drawing/2014/main" id="{B6E168C3-21AD-41F7-8731-740C3B49AE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9898" y="3857780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34" name="Freeform 1513">
              <a:extLst>
                <a:ext uri="{FF2B5EF4-FFF2-40B4-BE49-F238E27FC236}">
                  <a16:creationId xmlns:a16="http://schemas.microsoft.com/office/drawing/2014/main" id="{ED560021-304A-45CD-8F57-8ED41C8B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9123" y="3376616"/>
              <a:ext cx="7938" cy="31760"/>
            </a:xfrm>
            <a:custGeom>
              <a:avLst/>
              <a:gdLst>
                <a:gd name="T0" fmla="*/ 5 w 5"/>
                <a:gd name="T1" fmla="*/ 20 h 20"/>
                <a:gd name="T2" fmla="*/ 1 w 5"/>
                <a:gd name="T3" fmla="*/ 6 h 20"/>
                <a:gd name="T4" fmla="*/ 0 w 5"/>
                <a:gd name="T5" fmla="*/ 0 h 20"/>
                <a:gd name="T6" fmla="*/ 1 w 5"/>
                <a:gd name="T7" fmla="*/ 6 h 20"/>
                <a:gd name="T8" fmla="*/ 5 w 5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0">
                  <a:moveTo>
                    <a:pt x="5" y="20"/>
                  </a:moveTo>
                  <a:lnTo>
                    <a:pt x="1" y="6"/>
                  </a:lnTo>
                  <a:lnTo>
                    <a:pt x="0" y="0"/>
                  </a:lnTo>
                  <a:lnTo>
                    <a:pt x="1" y="6"/>
                  </a:lnTo>
                  <a:lnTo>
                    <a:pt x="5" y="2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35" name="Rectangle 1514">
              <a:extLst>
                <a:ext uri="{FF2B5EF4-FFF2-40B4-BE49-F238E27FC236}">
                  <a16:creationId xmlns:a16="http://schemas.microsoft.com/office/drawing/2014/main" id="{0AC077F4-3F6B-4494-9153-D851301B57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0548" y="403404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36" name="Freeform 1515">
              <a:extLst>
                <a:ext uri="{FF2B5EF4-FFF2-40B4-BE49-F238E27FC236}">
                  <a16:creationId xmlns:a16="http://schemas.microsoft.com/office/drawing/2014/main" id="{4A0C7B90-A000-478C-929B-3252F5CD9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1023" y="3932416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37" name="Rectangle 1516">
              <a:extLst>
                <a:ext uri="{FF2B5EF4-FFF2-40B4-BE49-F238E27FC236}">
                  <a16:creationId xmlns:a16="http://schemas.microsoft.com/office/drawing/2014/main" id="{825D6139-FE52-4614-B5DC-F6D836538A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9898" y="3857780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38" name="Freeform 1517">
              <a:extLst>
                <a:ext uri="{FF2B5EF4-FFF2-40B4-BE49-F238E27FC236}">
                  <a16:creationId xmlns:a16="http://schemas.microsoft.com/office/drawing/2014/main" id="{4C89B854-A0B6-40DC-928B-E1C675749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510" y="3900656"/>
              <a:ext cx="0" cy="3176"/>
            </a:xfrm>
            <a:custGeom>
              <a:avLst/>
              <a:gdLst>
                <a:gd name="T0" fmla="*/ 0 h 2"/>
                <a:gd name="T1" fmla="*/ 2 h 2"/>
                <a:gd name="T2" fmla="*/ 0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39" name="Freeform 1518">
              <a:extLst>
                <a:ext uri="{FF2B5EF4-FFF2-40B4-BE49-F238E27FC236}">
                  <a16:creationId xmlns:a16="http://schemas.microsoft.com/office/drawing/2014/main" id="{0B59A770-93FA-4A48-979C-9E12D29EFA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1023" y="4076924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40" name="Freeform 1519">
              <a:extLst>
                <a:ext uri="{FF2B5EF4-FFF2-40B4-BE49-F238E27FC236}">
                  <a16:creationId xmlns:a16="http://schemas.microsoft.com/office/drawing/2014/main" id="{E329E0D3-5400-4B15-ACC0-803E0599F7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3206700"/>
              <a:ext cx="6350" cy="9528"/>
            </a:xfrm>
            <a:custGeom>
              <a:avLst/>
              <a:gdLst>
                <a:gd name="T0" fmla="*/ 4 w 4"/>
                <a:gd name="T1" fmla="*/ 6 h 6"/>
                <a:gd name="T2" fmla="*/ 4 w 4"/>
                <a:gd name="T3" fmla="*/ 6 h 6"/>
                <a:gd name="T4" fmla="*/ 0 w 4"/>
                <a:gd name="T5" fmla="*/ 0 h 6"/>
                <a:gd name="T6" fmla="*/ 0 w 4"/>
                <a:gd name="T7" fmla="*/ 0 h 6"/>
                <a:gd name="T8" fmla="*/ 0 w 4"/>
                <a:gd name="T9" fmla="*/ 0 h 6"/>
                <a:gd name="T10" fmla="*/ 4 w 4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lnTo>
                    <a:pt x="4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41" name="Freeform 1520">
              <a:extLst>
                <a:ext uri="{FF2B5EF4-FFF2-40B4-BE49-F238E27FC236}">
                  <a16:creationId xmlns:a16="http://schemas.microsoft.com/office/drawing/2014/main" id="{18211DAF-136E-402E-A1BB-62228255E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673" y="4170616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42" name="Freeform 1521">
              <a:extLst>
                <a:ext uri="{FF2B5EF4-FFF2-40B4-BE49-F238E27FC236}">
                  <a16:creationId xmlns:a16="http://schemas.microsoft.com/office/drawing/2014/main" id="{F1026A73-B01E-4C76-9428-77C5CC249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8798" y="3162236"/>
              <a:ext cx="6350" cy="22232"/>
            </a:xfrm>
            <a:custGeom>
              <a:avLst/>
              <a:gdLst>
                <a:gd name="T0" fmla="*/ 4 w 4"/>
                <a:gd name="T1" fmla="*/ 14 h 14"/>
                <a:gd name="T2" fmla="*/ 2 w 4"/>
                <a:gd name="T3" fmla="*/ 8 h 14"/>
                <a:gd name="T4" fmla="*/ 0 w 4"/>
                <a:gd name="T5" fmla="*/ 0 h 14"/>
                <a:gd name="T6" fmla="*/ 2 w 4"/>
                <a:gd name="T7" fmla="*/ 8 h 14"/>
                <a:gd name="T8" fmla="*/ 4 w 4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4">
                  <a:moveTo>
                    <a:pt x="4" y="14"/>
                  </a:moveTo>
                  <a:lnTo>
                    <a:pt x="2" y="8"/>
                  </a:lnTo>
                  <a:lnTo>
                    <a:pt x="0" y="0"/>
                  </a:lnTo>
                  <a:lnTo>
                    <a:pt x="2" y="8"/>
                  </a:lnTo>
                  <a:lnTo>
                    <a:pt x="4" y="1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43" name="Rectangle 1522">
              <a:extLst>
                <a:ext uri="{FF2B5EF4-FFF2-40B4-BE49-F238E27FC236}">
                  <a16:creationId xmlns:a16="http://schemas.microsoft.com/office/drawing/2014/main" id="{90240F48-D6E4-4215-AC3F-2AB353D5D1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5623" y="3154296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44" name="Freeform 1523">
              <a:extLst>
                <a:ext uri="{FF2B5EF4-FFF2-40B4-BE49-F238E27FC236}">
                  <a16:creationId xmlns:a16="http://schemas.microsoft.com/office/drawing/2014/main" id="{FCD7679A-012E-42AB-B381-7DB57ED45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4111860"/>
              <a:ext cx="3175" cy="6352"/>
            </a:xfrm>
            <a:custGeom>
              <a:avLst/>
              <a:gdLst>
                <a:gd name="T0" fmla="*/ 0 w 2"/>
                <a:gd name="T1" fmla="*/ 2 h 4"/>
                <a:gd name="T2" fmla="*/ 2 w 2"/>
                <a:gd name="T3" fmla="*/ 4 h 4"/>
                <a:gd name="T4" fmla="*/ 2 w 2"/>
                <a:gd name="T5" fmla="*/ 4 h 4"/>
                <a:gd name="T6" fmla="*/ 2 w 2"/>
                <a:gd name="T7" fmla="*/ 4 h 4"/>
                <a:gd name="T8" fmla="*/ 0 w 2"/>
                <a:gd name="T9" fmla="*/ 2 h 4"/>
                <a:gd name="T10" fmla="*/ 2 w 2"/>
                <a:gd name="T11" fmla="*/ 2 h 4"/>
                <a:gd name="T12" fmla="*/ 2 w 2"/>
                <a:gd name="T13" fmla="*/ 0 h 4"/>
                <a:gd name="T14" fmla="*/ 2 w 2"/>
                <a:gd name="T15" fmla="*/ 2 h 4"/>
                <a:gd name="T16" fmla="*/ 0 w 2"/>
                <a:gd name="T1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45" name="Freeform 1524">
              <a:extLst>
                <a:ext uri="{FF2B5EF4-FFF2-40B4-BE49-F238E27FC236}">
                  <a16:creationId xmlns:a16="http://schemas.microsoft.com/office/drawing/2014/main" id="{D92A30ED-E02C-44DB-9574-7F8D9AB58F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0548" y="4000700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0 w 2"/>
                <a:gd name="T5" fmla="*/ 2 h 2"/>
                <a:gd name="T6" fmla="*/ 0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46" name="Freeform 1525">
              <a:extLst>
                <a:ext uri="{FF2B5EF4-FFF2-40B4-BE49-F238E27FC236}">
                  <a16:creationId xmlns:a16="http://schemas.microsoft.com/office/drawing/2014/main" id="{31B42237-A71D-4F39-8757-9226B012F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6885" y="3884776"/>
              <a:ext cx="6350" cy="0"/>
            </a:xfrm>
            <a:custGeom>
              <a:avLst/>
              <a:gdLst>
                <a:gd name="T0" fmla="*/ 4 w 4"/>
                <a:gd name="T1" fmla="*/ 2 w 4"/>
                <a:gd name="T2" fmla="*/ 0 w 4"/>
                <a:gd name="T3" fmla="*/ 2 w 4"/>
                <a:gd name="T4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47" name="Freeform 1526">
              <a:extLst>
                <a:ext uri="{FF2B5EF4-FFF2-40B4-BE49-F238E27FC236}">
                  <a16:creationId xmlns:a16="http://schemas.microsoft.com/office/drawing/2014/main" id="{F72FC32C-0A50-41F5-B0F5-7C0CFC84D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3723" y="3943532"/>
              <a:ext cx="3175" cy="9528"/>
            </a:xfrm>
            <a:custGeom>
              <a:avLst/>
              <a:gdLst>
                <a:gd name="T0" fmla="*/ 0 w 2"/>
                <a:gd name="T1" fmla="*/ 4 h 6"/>
                <a:gd name="T2" fmla="*/ 2 w 2"/>
                <a:gd name="T3" fmla="*/ 6 h 6"/>
                <a:gd name="T4" fmla="*/ 0 w 2"/>
                <a:gd name="T5" fmla="*/ 4 h 6"/>
                <a:gd name="T6" fmla="*/ 0 w 2"/>
                <a:gd name="T7" fmla="*/ 0 h 6"/>
                <a:gd name="T8" fmla="*/ 0 w 2"/>
                <a:gd name="T9" fmla="*/ 0 h 6"/>
                <a:gd name="T10" fmla="*/ 0 w 2"/>
                <a:gd name="T11" fmla="*/ 0 h 6"/>
                <a:gd name="T12" fmla="*/ 0 w 2"/>
                <a:gd name="T13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6">
                  <a:moveTo>
                    <a:pt x="0" y="4"/>
                  </a:moveTo>
                  <a:lnTo>
                    <a:pt x="2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48" name="Freeform 1527">
              <a:extLst>
                <a:ext uri="{FF2B5EF4-FFF2-40B4-BE49-F238E27FC236}">
                  <a16:creationId xmlns:a16="http://schemas.microsoft.com/office/drawing/2014/main" id="{85CE0946-1CE9-4249-86EE-783FA6AFD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1023" y="4046752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0 w 2"/>
                <a:gd name="T5" fmla="*/ 2 h 2"/>
                <a:gd name="T6" fmla="*/ 0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49" name="Freeform 1528">
              <a:extLst>
                <a:ext uri="{FF2B5EF4-FFF2-40B4-BE49-F238E27FC236}">
                  <a16:creationId xmlns:a16="http://schemas.microsoft.com/office/drawing/2014/main" id="{D78E76E9-53AE-4BF0-B26E-24456F68D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073" y="3975292"/>
              <a:ext cx="3175" cy="6352"/>
            </a:xfrm>
            <a:custGeom>
              <a:avLst/>
              <a:gdLst>
                <a:gd name="T0" fmla="*/ 2 w 2"/>
                <a:gd name="T1" fmla="*/ 4 h 4"/>
                <a:gd name="T2" fmla="*/ 0 w 2"/>
                <a:gd name="T3" fmla="*/ 0 h 4"/>
                <a:gd name="T4" fmla="*/ 0 w 2"/>
                <a:gd name="T5" fmla="*/ 0 h 4"/>
                <a:gd name="T6" fmla="*/ 2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50" name="Freeform 1529">
              <a:extLst>
                <a:ext uri="{FF2B5EF4-FFF2-40B4-BE49-F238E27FC236}">
                  <a16:creationId xmlns:a16="http://schemas.microsoft.com/office/drawing/2014/main" id="{AD936CB0-2BB5-40AE-B3A7-11DD49C24A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898" y="3984820"/>
              <a:ext cx="6350" cy="9528"/>
            </a:xfrm>
            <a:custGeom>
              <a:avLst/>
              <a:gdLst>
                <a:gd name="T0" fmla="*/ 0 w 4"/>
                <a:gd name="T1" fmla="*/ 6 h 6"/>
                <a:gd name="T2" fmla="*/ 2 w 4"/>
                <a:gd name="T3" fmla="*/ 2 h 6"/>
                <a:gd name="T4" fmla="*/ 4 w 4"/>
                <a:gd name="T5" fmla="*/ 0 h 6"/>
                <a:gd name="T6" fmla="*/ 4 w 4"/>
                <a:gd name="T7" fmla="*/ 0 h 6"/>
                <a:gd name="T8" fmla="*/ 2 w 4"/>
                <a:gd name="T9" fmla="*/ 2 h 6"/>
                <a:gd name="T10" fmla="*/ 0 w 4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6"/>
                  </a:move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51" name="Freeform 1530">
              <a:extLst>
                <a:ext uri="{FF2B5EF4-FFF2-40B4-BE49-F238E27FC236}">
                  <a16:creationId xmlns:a16="http://schemas.microsoft.com/office/drawing/2014/main" id="{35D92656-77C8-4F6E-A39D-D7718D6193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4095980"/>
              <a:ext cx="3175" cy="15880"/>
            </a:xfrm>
            <a:custGeom>
              <a:avLst/>
              <a:gdLst>
                <a:gd name="T0" fmla="*/ 2 w 2"/>
                <a:gd name="T1" fmla="*/ 6 h 10"/>
                <a:gd name="T2" fmla="*/ 2 w 2"/>
                <a:gd name="T3" fmla="*/ 8 h 10"/>
                <a:gd name="T4" fmla="*/ 2 w 2"/>
                <a:gd name="T5" fmla="*/ 10 h 10"/>
                <a:gd name="T6" fmla="*/ 2 w 2"/>
                <a:gd name="T7" fmla="*/ 10 h 10"/>
                <a:gd name="T8" fmla="*/ 2 w 2"/>
                <a:gd name="T9" fmla="*/ 8 h 10"/>
                <a:gd name="T10" fmla="*/ 2 w 2"/>
                <a:gd name="T11" fmla="*/ 6 h 10"/>
                <a:gd name="T12" fmla="*/ 0 w 2"/>
                <a:gd name="T13" fmla="*/ 6 h 10"/>
                <a:gd name="T14" fmla="*/ 2 w 2"/>
                <a:gd name="T15" fmla="*/ 0 h 10"/>
                <a:gd name="T16" fmla="*/ 0 w 2"/>
                <a:gd name="T17" fmla="*/ 6 h 10"/>
                <a:gd name="T18" fmla="*/ 2 w 2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10">
                  <a:moveTo>
                    <a:pt x="2" y="6"/>
                  </a:moveTo>
                  <a:lnTo>
                    <a:pt x="2" y="8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2" y="6"/>
                  </a:lnTo>
                  <a:lnTo>
                    <a:pt x="0" y="6"/>
                  </a:lnTo>
                  <a:lnTo>
                    <a:pt x="2" y="0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52" name="Freeform 1531">
              <a:extLst>
                <a:ext uri="{FF2B5EF4-FFF2-40B4-BE49-F238E27FC236}">
                  <a16:creationId xmlns:a16="http://schemas.microsoft.com/office/drawing/2014/main" id="{6F4DE5BE-3D30-497F-9C43-1BE79F267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4124564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2 w 2"/>
                <a:gd name="T5" fmla="*/ 0 h 2"/>
                <a:gd name="T6" fmla="*/ 0 w 2"/>
                <a:gd name="T7" fmla="*/ 2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53" name="Freeform 1532">
              <a:extLst>
                <a:ext uri="{FF2B5EF4-FFF2-40B4-BE49-F238E27FC236}">
                  <a16:creationId xmlns:a16="http://schemas.microsoft.com/office/drawing/2014/main" id="{F17D8EA4-4E7A-451E-A841-13BFFE42C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4198" y="4065808"/>
              <a:ext cx="6350" cy="11116"/>
            </a:xfrm>
            <a:custGeom>
              <a:avLst/>
              <a:gdLst>
                <a:gd name="T0" fmla="*/ 0 w 4"/>
                <a:gd name="T1" fmla="*/ 7 h 7"/>
                <a:gd name="T2" fmla="*/ 2 w 4"/>
                <a:gd name="T3" fmla="*/ 5 h 7"/>
                <a:gd name="T4" fmla="*/ 4 w 4"/>
                <a:gd name="T5" fmla="*/ 0 h 7"/>
                <a:gd name="T6" fmla="*/ 2 w 4"/>
                <a:gd name="T7" fmla="*/ 5 h 7"/>
                <a:gd name="T8" fmla="*/ 0 w 4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0" y="7"/>
                  </a:moveTo>
                  <a:lnTo>
                    <a:pt x="2" y="5"/>
                  </a:lnTo>
                  <a:lnTo>
                    <a:pt x="4" y="0"/>
                  </a:lnTo>
                  <a:lnTo>
                    <a:pt x="2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54" name="Freeform 1533">
              <a:extLst>
                <a:ext uri="{FF2B5EF4-FFF2-40B4-BE49-F238E27FC236}">
                  <a16:creationId xmlns:a16="http://schemas.microsoft.com/office/drawing/2014/main" id="{117CD09F-C4CD-4465-AB93-CE436AD49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4198" y="4056280"/>
              <a:ext cx="6350" cy="3176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0 h 2"/>
                <a:gd name="T4" fmla="*/ 0 w 4"/>
                <a:gd name="T5" fmla="*/ 0 h 2"/>
                <a:gd name="T6" fmla="*/ 2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55" name="Rectangle 1534">
              <a:extLst>
                <a:ext uri="{FF2B5EF4-FFF2-40B4-BE49-F238E27FC236}">
                  <a16:creationId xmlns:a16="http://schemas.microsoft.com/office/drawing/2014/main" id="{E122F8C3-AB54-4F3F-907D-A0825BC251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7373" y="4030872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56" name="Freeform 1535">
              <a:extLst>
                <a:ext uri="{FF2B5EF4-FFF2-40B4-BE49-F238E27FC236}">
                  <a16:creationId xmlns:a16="http://schemas.microsoft.com/office/drawing/2014/main" id="{F9AB9E7E-0A6F-46A7-84EF-FA061BFBD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0860" y="3903832"/>
              <a:ext cx="1588" cy="3176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0 w 1"/>
                <a:gd name="T5" fmla="*/ 2 h 2"/>
                <a:gd name="T6" fmla="*/ 1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57" name="Freeform 1536">
              <a:extLst>
                <a:ext uri="{FF2B5EF4-FFF2-40B4-BE49-F238E27FC236}">
                  <a16:creationId xmlns:a16="http://schemas.microsoft.com/office/drawing/2014/main" id="{E8C67F01-EB42-4277-A708-0C9280ABC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5460" y="3894304"/>
              <a:ext cx="3175" cy="6352"/>
            </a:xfrm>
            <a:custGeom>
              <a:avLst/>
              <a:gdLst>
                <a:gd name="T0" fmla="*/ 2 w 2"/>
                <a:gd name="T1" fmla="*/ 2 h 4"/>
                <a:gd name="T2" fmla="*/ 2 w 2"/>
                <a:gd name="T3" fmla="*/ 4 h 4"/>
                <a:gd name="T4" fmla="*/ 2 w 2"/>
                <a:gd name="T5" fmla="*/ 2 h 4"/>
                <a:gd name="T6" fmla="*/ 2 w 2"/>
                <a:gd name="T7" fmla="*/ 0 h 4"/>
                <a:gd name="T8" fmla="*/ 0 w 2"/>
                <a:gd name="T9" fmla="*/ 0 h 4"/>
                <a:gd name="T10" fmla="*/ 2 w 2"/>
                <a:gd name="T11" fmla="*/ 0 h 4"/>
                <a:gd name="T12" fmla="*/ 2 w 2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">
                  <a:moveTo>
                    <a:pt x="2" y="2"/>
                  </a:moveTo>
                  <a:lnTo>
                    <a:pt x="2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58" name="Freeform 1537">
              <a:extLst>
                <a:ext uri="{FF2B5EF4-FFF2-40B4-BE49-F238E27FC236}">
                  <a16:creationId xmlns:a16="http://schemas.microsoft.com/office/drawing/2014/main" id="{944F4CDB-7F8D-4EB5-AB7E-4A8E80E93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6410" y="3887952"/>
              <a:ext cx="12700" cy="3176"/>
            </a:xfrm>
            <a:custGeom>
              <a:avLst/>
              <a:gdLst>
                <a:gd name="T0" fmla="*/ 8 w 8"/>
                <a:gd name="T1" fmla="*/ 2 h 2"/>
                <a:gd name="T2" fmla="*/ 0 w 8"/>
                <a:gd name="T3" fmla="*/ 0 h 2"/>
                <a:gd name="T4" fmla="*/ 0 w 8"/>
                <a:gd name="T5" fmla="*/ 0 h 2"/>
                <a:gd name="T6" fmla="*/ 0 w 8"/>
                <a:gd name="T7" fmla="*/ 0 h 2"/>
                <a:gd name="T8" fmla="*/ 8 w 8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8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59" name="Freeform 1538">
              <a:extLst>
                <a:ext uri="{FF2B5EF4-FFF2-40B4-BE49-F238E27FC236}">
                  <a16:creationId xmlns:a16="http://schemas.microsoft.com/office/drawing/2014/main" id="{3991DBFE-2448-4399-910D-33D42D5FE3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4985" y="3900656"/>
              <a:ext cx="3175" cy="6352"/>
            </a:xfrm>
            <a:custGeom>
              <a:avLst/>
              <a:gdLst>
                <a:gd name="T0" fmla="*/ 2 w 2"/>
                <a:gd name="T1" fmla="*/ 2 h 4"/>
                <a:gd name="T2" fmla="*/ 2 w 2"/>
                <a:gd name="T3" fmla="*/ 4 h 4"/>
                <a:gd name="T4" fmla="*/ 2 w 2"/>
                <a:gd name="T5" fmla="*/ 2 h 4"/>
                <a:gd name="T6" fmla="*/ 0 w 2"/>
                <a:gd name="T7" fmla="*/ 2 h 4"/>
                <a:gd name="T8" fmla="*/ 0 w 2"/>
                <a:gd name="T9" fmla="*/ 0 h 4"/>
                <a:gd name="T10" fmla="*/ 0 w 2"/>
                <a:gd name="T11" fmla="*/ 2 h 4"/>
                <a:gd name="T12" fmla="*/ 2 w 2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">
                  <a:moveTo>
                    <a:pt x="2" y="2"/>
                  </a:moveTo>
                  <a:lnTo>
                    <a:pt x="2" y="4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60" name="Freeform 1539">
              <a:extLst>
                <a:ext uri="{FF2B5EF4-FFF2-40B4-BE49-F238E27FC236}">
                  <a16:creationId xmlns:a16="http://schemas.microsoft.com/office/drawing/2014/main" id="{2A8C34C5-6721-48ED-AEFB-96598EA6C8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510" y="3903832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0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61" name="Freeform 1540">
              <a:extLst>
                <a:ext uri="{FF2B5EF4-FFF2-40B4-BE49-F238E27FC236}">
                  <a16:creationId xmlns:a16="http://schemas.microsoft.com/office/drawing/2014/main" id="{66E5E2B1-DE59-4B2F-84D1-39ECCF8D6C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8635" y="3900656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0 w 2"/>
                <a:gd name="T5" fmla="*/ 2 h 2"/>
                <a:gd name="T6" fmla="*/ 0 w 2"/>
                <a:gd name="T7" fmla="*/ 0 h 2"/>
                <a:gd name="T8" fmla="*/ 0 w 2"/>
                <a:gd name="T9" fmla="*/ 0 h 2"/>
                <a:gd name="T10" fmla="*/ 0 w 2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62" name="Freeform 1541">
              <a:extLst>
                <a:ext uri="{FF2B5EF4-FFF2-40B4-BE49-F238E27FC236}">
                  <a16:creationId xmlns:a16="http://schemas.microsoft.com/office/drawing/2014/main" id="{F9F73C0D-DE03-47B8-AD00-298BAE964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2448" y="3913360"/>
              <a:ext cx="6350" cy="15880"/>
            </a:xfrm>
            <a:custGeom>
              <a:avLst/>
              <a:gdLst>
                <a:gd name="T0" fmla="*/ 4 w 4"/>
                <a:gd name="T1" fmla="*/ 10 h 10"/>
                <a:gd name="T2" fmla="*/ 4 w 4"/>
                <a:gd name="T3" fmla="*/ 10 h 10"/>
                <a:gd name="T4" fmla="*/ 0 w 4"/>
                <a:gd name="T5" fmla="*/ 0 h 10"/>
                <a:gd name="T6" fmla="*/ 0 w 4"/>
                <a:gd name="T7" fmla="*/ 0 h 10"/>
                <a:gd name="T8" fmla="*/ 4 w 4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0">
                  <a:moveTo>
                    <a:pt x="4" y="10"/>
                  </a:moveTo>
                  <a:lnTo>
                    <a:pt x="4" y="1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63" name="Freeform 1542">
              <a:extLst>
                <a:ext uri="{FF2B5EF4-FFF2-40B4-BE49-F238E27FC236}">
                  <a16:creationId xmlns:a16="http://schemas.microsoft.com/office/drawing/2014/main" id="{31061E0E-AF70-4E71-80CC-7F3D5F124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1973" y="3929240"/>
              <a:ext cx="6350" cy="0"/>
            </a:xfrm>
            <a:custGeom>
              <a:avLst/>
              <a:gdLst>
                <a:gd name="T0" fmla="*/ 4 w 4"/>
                <a:gd name="T1" fmla="*/ 2 w 4"/>
                <a:gd name="T2" fmla="*/ 0 w 4"/>
                <a:gd name="T3" fmla="*/ 2 w 4"/>
                <a:gd name="T4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64" name="Rectangle 1543">
              <a:extLst>
                <a:ext uri="{FF2B5EF4-FFF2-40B4-BE49-F238E27FC236}">
                  <a16:creationId xmlns:a16="http://schemas.microsoft.com/office/drawing/2014/main" id="{21D0944C-C603-4D87-A579-3869D19FFB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7373" y="3940356"/>
              <a:ext cx="3175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65" name="Freeform 1544">
              <a:extLst>
                <a:ext uri="{FF2B5EF4-FFF2-40B4-BE49-F238E27FC236}">
                  <a16:creationId xmlns:a16="http://schemas.microsoft.com/office/drawing/2014/main" id="{5D138473-5038-43DB-95A3-CECF6611A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2448" y="3903832"/>
              <a:ext cx="3175" cy="9528"/>
            </a:xfrm>
            <a:custGeom>
              <a:avLst/>
              <a:gdLst>
                <a:gd name="T0" fmla="*/ 0 w 2"/>
                <a:gd name="T1" fmla="*/ 4 h 6"/>
                <a:gd name="T2" fmla="*/ 0 w 2"/>
                <a:gd name="T3" fmla="*/ 6 h 6"/>
                <a:gd name="T4" fmla="*/ 0 w 2"/>
                <a:gd name="T5" fmla="*/ 4 h 6"/>
                <a:gd name="T6" fmla="*/ 2 w 2"/>
                <a:gd name="T7" fmla="*/ 2 h 6"/>
                <a:gd name="T8" fmla="*/ 0 w 2"/>
                <a:gd name="T9" fmla="*/ 0 h 6"/>
                <a:gd name="T10" fmla="*/ 0 w 2"/>
                <a:gd name="T11" fmla="*/ 0 h 6"/>
                <a:gd name="T12" fmla="*/ 2 w 2"/>
                <a:gd name="T13" fmla="*/ 2 h 6"/>
                <a:gd name="T14" fmla="*/ 0 w 2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6">
                  <a:moveTo>
                    <a:pt x="0" y="4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66" name="Freeform 1545">
              <a:extLst>
                <a:ext uri="{FF2B5EF4-FFF2-40B4-BE49-F238E27FC236}">
                  <a16:creationId xmlns:a16="http://schemas.microsoft.com/office/drawing/2014/main" id="{320D81ED-D451-4807-B974-D6D1C7ED7F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6921" y="2895452"/>
              <a:ext cx="3175" cy="3176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67" name="Freeform 1546">
              <a:extLst>
                <a:ext uri="{FF2B5EF4-FFF2-40B4-BE49-F238E27FC236}">
                  <a16:creationId xmlns:a16="http://schemas.microsoft.com/office/drawing/2014/main" id="{AD189C64-6908-4DC3-B9ED-940553C713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3746" y="2509568"/>
              <a:ext cx="858839" cy="438288"/>
            </a:xfrm>
            <a:custGeom>
              <a:avLst/>
              <a:gdLst>
                <a:gd name="T0" fmla="*/ 51 w 541"/>
                <a:gd name="T1" fmla="*/ 194 h 276"/>
                <a:gd name="T2" fmla="*/ 59 w 541"/>
                <a:gd name="T3" fmla="*/ 188 h 276"/>
                <a:gd name="T4" fmla="*/ 60 w 541"/>
                <a:gd name="T5" fmla="*/ 170 h 276"/>
                <a:gd name="T6" fmla="*/ 72 w 541"/>
                <a:gd name="T7" fmla="*/ 172 h 276"/>
                <a:gd name="T8" fmla="*/ 84 w 541"/>
                <a:gd name="T9" fmla="*/ 180 h 276"/>
                <a:gd name="T10" fmla="*/ 119 w 541"/>
                <a:gd name="T11" fmla="*/ 186 h 276"/>
                <a:gd name="T12" fmla="*/ 82 w 541"/>
                <a:gd name="T13" fmla="*/ 207 h 276"/>
                <a:gd name="T14" fmla="*/ 74 w 541"/>
                <a:gd name="T15" fmla="*/ 213 h 276"/>
                <a:gd name="T16" fmla="*/ 57 w 541"/>
                <a:gd name="T17" fmla="*/ 227 h 276"/>
                <a:gd name="T18" fmla="*/ 33 w 541"/>
                <a:gd name="T19" fmla="*/ 244 h 276"/>
                <a:gd name="T20" fmla="*/ 25 w 541"/>
                <a:gd name="T21" fmla="*/ 250 h 276"/>
                <a:gd name="T22" fmla="*/ 281 w 541"/>
                <a:gd name="T23" fmla="*/ 264 h 276"/>
                <a:gd name="T24" fmla="*/ 518 w 541"/>
                <a:gd name="T25" fmla="*/ 276 h 276"/>
                <a:gd name="T26" fmla="*/ 514 w 541"/>
                <a:gd name="T27" fmla="*/ 244 h 276"/>
                <a:gd name="T28" fmla="*/ 518 w 541"/>
                <a:gd name="T29" fmla="*/ 198 h 276"/>
                <a:gd name="T30" fmla="*/ 518 w 541"/>
                <a:gd name="T31" fmla="*/ 178 h 276"/>
                <a:gd name="T32" fmla="*/ 522 w 541"/>
                <a:gd name="T33" fmla="*/ 168 h 276"/>
                <a:gd name="T34" fmla="*/ 522 w 541"/>
                <a:gd name="T35" fmla="*/ 166 h 276"/>
                <a:gd name="T36" fmla="*/ 527 w 541"/>
                <a:gd name="T37" fmla="*/ 162 h 276"/>
                <a:gd name="T38" fmla="*/ 539 w 541"/>
                <a:gd name="T39" fmla="*/ 151 h 276"/>
                <a:gd name="T40" fmla="*/ 541 w 541"/>
                <a:gd name="T41" fmla="*/ 135 h 276"/>
                <a:gd name="T42" fmla="*/ 537 w 541"/>
                <a:gd name="T43" fmla="*/ 120 h 276"/>
                <a:gd name="T44" fmla="*/ 523 w 541"/>
                <a:gd name="T45" fmla="*/ 110 h 276"/>
                <a:gd name="T46" fmla="*/ 523 w 541"/>
                <a:gd name="T47" fmla="*/ 104 h 276"/>
                <a:gd name="T48" fmla="*/ 510 w 541"/>
                <a:gd name="T49" fmla="*/ 100 h 276"/>
                <a:gd name="T50" fmla="*/ 504 w 541"/>
                <a:gd name="T51" fmla="*/ 96 h 276"/>
                <a:gd name="T52" fmla="*/ 500 w 541"/>
                <a:gd name="T53" fmla="*/ 75 h 276"/>
                <a:gd name="T54" fmla="*/ 494 w 541"/>
                <a:gd name="T55" fmla="*/ 67 h 276"/>
                <a:gd name="T56" fmla="*/ 441 w 541"/>
                <a:gd name="T57" fmla="*/ 65 h 276"/>
                <a:gd name="T58" fmla="*/ 422 w 541"/>
                <a:gd name="T59" fmla="*/ 73 h 276"/>
                <a:gd name="T60" fmla="*/ 408 w 541"/>
                <a:gd name="T61" fmla="*/ 77 h 276"/>
                <a:gd name="T62" fmla="*/ 402 w 541"/>
                <a:gd name="T63" fmla="*/ 61 h 276"/>
                <a:gd name="T64" fmla="*/ 391 w 541"/>
                <a:gd name="T65" fmla="*/ 63 h 276"/>
                <a:gd name="T66" fmla="*/ 369 w 541"/>
                <a:gd name="T67" fmla="*/ 51 h 276"/>
                <a:gd name="T68" fmla="*/ 348 w 541"/>
                <a:gd name="T69" fmla="*/ 38 h 276"/>
                <a:gd name="T70" fmla="*/ 316 w 541"/>
                <a:gd name="T71" fmla="*/ 30 h 276"/>
                <a:gd name="T72" fmla="*/ 293 w 541"/>
                <a:gd name="T73" fmla="*/ 2 h 276"/>
                <a:gd name="T74" fmla="*/ 279 w 541"/>
                <a:gd name="T75" fmla="*/ 18 h 276"/>
                <a:gd name="T76" fmla="*/ 271 w 541"/>
                <a:gd name="T77" fmla="*/ 28 h 276"/>
                <a:gd name="T78" fmla="*/ 264 w 541"/>
                <a:gd name="T79" fmla="*/ 26 h 276"/>
                <a:gd name="T80" fmla="*/ 266 w 541"/>
                <a:gd name="T81" fmla="*/ 43 h 276"/>
                <a:gd name="T82" fmla="*/ 273 w 541"/>
                <a:gd name="T83" fmla="*/ 98 h 276"/>
                <a:gd name="T84" fmla="*/ 250 w 541"/>
                <a:gd name="T85" fmla="*/ 114 h 276"/>
                <a:gd name="T86" fmla="*/ 242 w 541"/>
                <a:gd name="T87" fmla="*/ 112 h 276"/>
                <a:gd name="T88" fmla="*/ 201 w 541"/>
                <a:gd name="T89" fmla="*/ 104 h 276"/>
                <a:gd name="T90" fmla="*/ 156 w 541"/>
                <a:gd name="T91" fmla="*/ 100 h 276"/>
                <a:gd name="T92" fmla="*/ 158 w 541"/>
                <a:gd name="T93" fmla="*/ 92 h 276"/>
                <a:gd name="T94" fmla="*/ 205 w 541"/>
                <a:gd name="T95" fmla="*/ 41 h 276"/>
                <a:gd name="T96" fmla="*/ 215 w 541"/>
                <a:gd name="T97" fmla="*/ 26 h 276"/>
                <a:gd name="T98" fmla="*/ 219 w 541"/>
                <a:gd name="T99" fmla="*/ 18 h 276"/>
                <a:gd name="T100" fmla="*/ 225 w 541"/>
                <a:gd name="T101" fmla="*/ 12 h 276"/>
                <a:gd name="T102" fmla="*/ 221 w 541"/>
                <a:gd name="T103" fmla="*/ 4 h 276"/>
                <a:gd name="T104" fmla="*/ 133 w 541"/>
                <a:gd name="T105" fmla="*/ 100 h 276"/>
                <a:gd name="T106" fmla="*/ 70 w 541"/>
                <a:gd name="T107" fmla="*/ 102 h 276"/>
                <a:gd name="T108" fmla="*/ 57 w 541"/>
                <a:gd name="T109" fmla="*/ 106 h 276"/>
                <a:gd name="T110" fmla="*/ 57 w 541"/>
                <a:gd name="T111" fmla="*/ 139 h 276"/>
                <a:gd name="T112" fmla="*/ 51 w 541"/>
                <a:gd name="T113" fmla="*/ 172 h 276"/>
                <a:gd name="T114" fmla="*/ 49 w 541"/>
                <a:gd name="T115" fmla="*/ 182 h 276"/>
                <a:gd name="T116" fmla="*/ 37 w 541"/>
                <a:gd name="T117" fmla="*/ 202 h 276"/>
                <a:gd name="T118" fmla="*/ 2 w 541"/>
                <a:gd name="T119" fmla="*/ 244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1" h="276">
                  <a:moveTo>
                    <a:pt x="21" y="229"/>
                  </a:moveTo>
                  <a:lnTo>
                    <a:pt x="31" y="217"/>
                  </a:lnTo>
                  <a:lnTo>
                    <a:pt x="47" y="198"/>
                  </a:lnTo>
                  <a:lnTo>
                    <a:pt x="49" y="196"/>
                  </a:lnTo>
                  <a:lnTo>
                    <a:pt x="51" y="194"/>
                  </a:lnTo>
                  <a:lnTo>
                    <a:pt x="53" y="192"/>
                  </a:lnTo>
                  <a:lnTo>
                    <a:pt x="55" y="192"/>
                  </a:lnTo>
                  <a:lnTo>
                    <a:pt x="57" y="192"/>
                  </a:lnTo>
                  <a:lnTo>
                    <a:pt x="59" y="192"/>
                  </a:lnTo>
                  <a:lnTo>
                    <a:pt x="59" y="188"/>
                  </a:lnTo>
                  <a:lnTo>
                    <a:pt x="57" y="186"/>
                  </a:lnTo>
                  <a:lnTo>
                    <a:pt x="57" y="182"/>
                  </a:lnTo>
                  <a:lnTo>
                    <a:pt x="57" y="176"/>
                  </a:lnTo>
                  <a:lnTo>
                    <a:pt x="59" y="172"/>
                  </a:lnTo>
                  <a:lnTo>
                    <a:pt x="60" y="170"/>
                  </a:lnTo>
                  <a:lnTo>
                    <a:pt x="62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68"/>
                  </a:lnTo>
                  <a:lnTo>
                    <a:pt x="72" y="172"/>
                  </a:lnTo>
                  <a:lnTo>
                    <a:pt x="72" y="176"/>
                  </a:lnTo>
                  <a:lnTo>
                    <a:pt x="74" y="182"/>
                  </a:lnTo>
                  <a:lnTo>
                    <a:pt x="78" y="186"/>
                  </a:lnTo>
                  <a:lnTo>
                    <a:pt x="80" y="186"/>
                  </a:lnTo>
                  <a:lnTo>
                    <a:pt x="84" y="180"/>
                  </a:lnTo>
                  <a:lnTo>
                    <a:pt x="96" y="174"/>
                  </a:lnTo>
                  <a:lnTo>
                    <a:pt x="133" y="176"/>
                  </a:lnTo>
                  <a:lnTo>
                    <a:pt x="133" y="178"/>
                  </a:lnTo>
                  <a:lnTo>
                    <a:pt x="121" y="184"/>
                  </a:lnTo>
                  <a:lnTo>
                    <a:pt x="119" y="186"/>
                  </a:lnTo>
                  <a:lnTo>
                    <a:pt x="115" y="192"/>
                  </a:lnTo>
                  <a:lnTo>
                    <a:pt x="113" y="194"/>
                  </a:lnTo>
                  <a:lnTo>
                    <a:pt x="107" y="196"/>
                  </a:lnTo>
                  <a:lnTo>
                    <a:pt x="86" y="207"/>
                  </a:lnTo>
                  <a:lnTo>
                    <a:pt x="82" y="207"/>
                  </a:lnTo>
                  <a:lnTo>
                    <a:pt x="80" y="209"/>
                  </a:lnTo>
                  <a:lnTo>
                    <a:pt x="78" y="213"/>
                  </a:lnTo>
                  <a:lnTo>
                    <a:pt x="76" y="213"/>
                  </a:lnTo>
                  <a:lnTo>
                    <a:pt x="74" y="213"/>
                  </a:lnTo>
                  <a:lnTo>
                    <a:pt x="74" y="213"/>
                  </a:lnTo>
                  <a:lnTo>
                    <a:pt x="72" y="211"/>
                  </a:lnTo>
                  <a:lnTo>
                    <a:pt x="70" y="209"/>
                  </a:lnTo>
                  <a:lnTo>
                    <a:pt x="64" y="209"/>
                  </a:lnTo>
                  <a:lnTo>
                    <a:pt x="60" y="217"/>
                  </a:lnTo>
                  <a:lnTo>
                    <a:pt x="57" y="227"/>
                  </a:lnTo>
                  <a:lnTo>
                    <a:pt x="51" y="235"/>
                  </a:lnTo>
                  <a:lnTo>
                    <a:pt x="39" y="239"/>
                  </a:lnTo>
                  <a:lnTo>
                    <a:pt x="35" y="241"/>
                  </a:lnTo>
                  <a:lnTo>
                    <a:pt x="35" y="241"/>
                  </a:lnTo>
                  <a:lnTo>
                    <a:pt x="33" y="244"/>
                  </a:lnTo>
                  <a:lnTo>
                    <a:pt x="33" y="246"/>
                  </a:lnTo>
                  <a:lnTo>
                    <a:pt x="31" y="248"/>
                  </a:lnTo>
                  <a:lnTo>
                    <a:pt x="25" y="248"/>
                  </a:lnTo>
                  <a:lnTo>
                    <a:pt x="25" y="250"/>
                  </a:lnTo>
                  <a:lnTo>
                    <a:pt x="25" y="250"/>
                  </a:lnTo>
                  <a:lnTo>
                    <a:pt x="60" y="252"/>
                  </a:lnTo>
                  <a:lnTo>
                    <a:pt x="125" y="254"/>
                  </a:lnTo>
                  <a:lnTo>
                    <a:pt x="172" y="258"/>
                  </a:lnTo>
                  <a:lnTo>
                    <a:pt x="221" y="260"/>
                  </a:lnTo>
                  <a:lnTo>
                    <a:pt x="281" y="264"/>
                  </a:lnTo>
                  <a:lnTo>
                    <a:pt x="353" y="268"/>
                  </a:lnTo>
                  <a:lnTo>
                    <a:pt x="400" y="270"/>
                  </a:lnTo>
                  <a:lnTo>
                    <a:pt x="447" y="272"/>
                  </a:lnTo>
                  <a:lnTo>
                    <a:pt x="486" y="274"/>
                  </a:lnTo>
                  <a:lnTo>
                    <a:pt x="518" y="276"/>
                  </a:lnTo>
                  <a:lnTo>
                    <a:pt x="529" y="272"/>
                  </a:lnTo>
                  <a:lnTo>
                    <a:pt x="523" y="262"/>
                  </a:lnTo>
                  <a:lnTo>
                    <a:pt x="518" y="254"/>
                  </a:lnTo>
                  <a:lnTo>
                    <a:pt x="516" y="248"/>
                  </a:lnTo>
                  <a:lnTo>
                    <a:pt x="514" y="244"/>
                  </a:lnTo>
                  <a:lnTo>
                    <a:pt x="514" y="239"/>
                  </a:lnTo>
                  <a:lnTo>
                    <a:pt x="514" y="233"/>
                  </a:lnTo>
                  <a:lnTo>
                    <a:pt x="514" y="211"/>
                  </a:lnTo>
                  <a:lnTo>
                    <a:pt x="516" y="203"/>
                  </a:lnTo>
                  <a:lnTo>
                    <a:pt x="518" y="198"/>
                  </a:lnTo>
                  <a:lnTo>
                    <a:pt x="520" y="192"/>
                  </a:lnTo>
                  <a:lnTo>
                    <a:pt x="518" y="190"/>
                  </a:lnTo>
                  <a:lnTo>
                    <a:pt x="518" y="188"/>
                  </a:lnTo>
                  <a:lnTo>
                    <a:pt x="518" y="182"/>
                  </a:lnTo>
                  <a:lnTo>
                    <a:pt x="518" y="178"/>
                  </a:lnTo>
                  <a:lnTo>
                    <a:pt x="518" y="176"/>
                  </a:lnTo>
                  <a:lnTo>
                    <a:pt x="522" y="172"/>
                  </a:lnTo>
                  <a:lnTo>
                    <a:pt x="522" y="172"/>
                  </a:lnTo>
                  <a:lnTo>
                    <a:pt x="522" y="170"/>
                  </a:lnTo>
                  <a:lnTo>
                    <a:pt x="522" y="168"/>
                  </a:lnTo>
                  <a:lnTo>
                    <a:pt x="522" y="168"/>
                  </a:lnTo>
                  <a:lnTo>
                    <a:pt x="522" y="166"/>
                  </a:lnTo>
                  <a:lnTo>
                    <a:pt x="522" y="166"/>
                  </a:lnTo>
                  <a:lnTo>
                    <a:pt x="522" y="166"/>
                  </a:lnTo>
                  <a:lnTo>
                    <a:pt x="522" y="166"/>
                  </a:lnTo>
                  <a:lnTo>
                    <a:pt x="522" y="166"/>
                  </a:lnTo>
                  <a:lnTo>
                    <a:pt x="523" y="166"/>
                  </a:lnTo>
                  <a:lnTo>
                    <a:pt x="523" y="164"/>
                  </a:lnTo>
                  <a:lnTo>
                    <a:pt x="525" y="164"/>
                  </a:lnTo>
                  <a:lnTo>
                    <a:pt x="527" y="162"/>
                  </a:lnTo>
                  <a:lnTo>
                    <a:pt x="529" y="161"/>
                  </a:lnTo>
                  <a:lnTo>
                    <a:pt x="531" y="157"/>
                  </a:lnTo>
                  <a:lnTo>
                    <a:pt x="533" y="155"/>
                  </a:lnTo>
                  <a:lnTo>
                    <a:pt x="537" y="153"/>
                  </a:lnTo>
                  <a:lnTo>
                    <a:pt x="539" y="151"/>
                  </a:lnTo>
                  <a:lnTo>
                    <a:pt x="541" y="147"/>
                  </a:lnTo>
                  <a:lnTo>
                    <a:pt x="541" y="145"/>
                  </a:lnTo>
                  <a:lnTo>
                    <a:pt x="541" y="143"/>
                  </a:lnTo>
                  <a:lnTo>
                    <a:pt x="541" y="141"/>
                  </a:lnTo>
                  <a:lnTo>
                    <a:pt x="541" y="135"/>
                  </a:lnTo>
                  <a:lnTo>
                    <a:pt x="541" y="135"/>
                  </a:lnTo>
                  <a:lnTo>
                    <a:pt x="541" y="131"/>
                  </a:lnTo>
                  <a:lnTo>
                    <a:pt x="539" y="123"/>
                  </a:lnTo>
                  <a:lnTo>
                    <a:pt x="539" y="121"/>
                  </a:lnTo>
                  <a:lnTo>
                    <a:pt x="537" y="120"/>
                  </a:lnTo>
                  <a:lnTo>
                    <a:pt x="537" y="118"/>
                  </a:lnTo>
                  <a:lnTo>
                    <a:pt x="535" y="118"/>
                  </a:lnTo>
                  <a:lnTo>
                    <a:pt x="525" y="112"/>
                  </a:lnTo>
                  <a:lnTo>
                    <a:pt x="525" y="112"/>
                  </a:lnTo>
                  <a:lnTo>
                    <a:pt x="523" y="110"/>
                  </a:lnTo>
                  <a:lnTo>
                    <a:pt x="525" y="108"/>
                  </a:lnTo>
                  <a:lnTo>
                    <a:pt x="525" y="106"/>
                  </a:lnTo>
                  <a:lnTo>
                    <a:pt x="525" y="106"/>
                  </a:lnTo>
                  <a:lnTo>
                    <a:pt x="523" y="106"/>
                  </a:lnTo>
                  <a:lnTo>
                    <a:pt x="523" y="104"/>
                  </a:lnTo>
                  <a:lnTo>
                    <a:pt x="522" y="104"/>
                  </a:lnTo>
                  <a:lnTo>
                    <a:pt x="522" y="102"/>
                  </a:lnTo>
                  <a:lnTo>
                    <a:pt x="520" y="100"/>
                  </a:lnTo>
                  <a:lnTo>
                    <a:pt x="518" y="100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506" y="98"/>
                  </a:lnTo>
                  <a:lnTo>
                    <a:pt x="504" y="96"/>
                  </a:lnTo>
                  <a:lnTo>
                    <a:pt x="504" y="94"/>
                  </a:lnTo>
                  <a:lnTo>
                    <a:pt x="504" y="92"/>
                  </a:lnTo>
                  <a:lnTo>
                    <a:pt x="502" y="88"/>
                  </a:lnTo>
                  <a:lnTo>
                    <a:pt x="500" y="82"/>
                  </a:lnTo>
                  <a:lnTo>
                    <a:pt x="500" y="75"/>
                  </a:lnTo>
                  <a:lnTo>
                    <a:pt x="498" y="73"/>
                  </a:lnTo>
                  <a:lnTo>
                    <a:pt x="498" y="69"/>
                  </a:lnTo>
                  <a:lnTo>
                    <a:pt x="496" y="69"/>
                  </a:lnTo>
                  <a:lnTo>
                    <a:pt x="496" y="67"/>
                  </a:lnTo>
                  <a:lnTo>
                    <a:pt x="494" y="67"/>
                  </a:lnTo>
                  <a:lnTo>
                    <a:pt x="490" y="65"/>
                  </a:lnTo>
                  <a:lnTo>
                    <a:pt x="473" y="69"/>
                  </a:lnTo>
                  <a:lnTo>
                    <a:pt x="445" y="65"/>
                  </a:lnTo>
                  <a:lnTo>
                    <a:pt x="445" y="65"/>
                  </a:lnTo>
                  <a:lnTo>
                    <a:pt x="441" y="65"/>
                  </a:lnTo>
                  <a:lnTo>
                    <a:pt x="434" y="67"/>
                  </a:lnTo>
                  <a:lnTo>
                    <a:pt x="424" y="71"/>
                  </a:lnTo>
                  <a:lnTo>
                    <a:pt x="422" y="73"/>
                  </a:lnTo>
                  <a:lnTo>
                    <a:pt x="422" y="73"/>
                  </a:lnTo>
                  <a:lnTo>
                    <a:pt x="422" y="73"/>
                  </a:lnTo>
                  <a:lnTo>
                    <a:pt x="420" y="75"/>
                  </a:lnTo>
                  <a:lnTo>
                    <a:pt x="416" y="77"/>
                  </a:lnTo>
                  <a:lnTo>
                    <a:pt x="412" y="79"/>
                  </a:lnTo>
                  <a:lnTo>
                    <a:pt x="412" y="77"/>
                  </a:lnTo>
                  <a:lnTo>
                    <a:pt x="408" y="77"/>
                  </a:lnTo>
                  <a:lnTo>
                    <a:pt x="406" y="75"/>
                  </a:lnTo>
                  <a:lnTo>
                    <a:pt x="404" y="73"/>
                  </a:lnTo>
                  <a:lnTo>
                    <a:pt x="402" y="69"/>
                  </a:lnTo>
                  <a:lnTo>
                    <a:pt x="402" y="63"/>
                  </a:lnTo>
                  <a:lnTo>
                    <a:pt x="402" y="61"/>
                  </a:lnTo>
                  <a:lnTo>
                    <a:pt x="402" y="61"/>
                  </a:lnTo>
                  <a:lnTo>
                    <a:pt x="400" y="59"/>
                  </a:lnTo>
                  <a:lnTo>
                    <a:pt x="396" y="59"/>
                  </a:lnTo>
                  <a:lnTo>
                    <a:pt x="393" y="63"/>
                  </a:lnTo>
                  <a:lnTo>
                    <a:pt x="391" y="63"/>
                  </a:lnTo>
                  <a:lnTo>
                    <a:pt x="389" y="63"/>
                  </a:lnTo>
                  <a:lnTo>
                    <a:pt x="385" y="59"/>
                  </a:lnTo>
                  <a:lnTo>
                    <a:pt x="379" y="59"/>
                  </a:lnTo>
                  <a:lnTo>
                    <a:pt x="375" y="57"/>
                  </a:lnTo>
                  <a:lnTo>
                    <a:pt x="369" y="51"/>
                  </a:lnTo>
                  <a:lnTo>
                    <a:pt x="361" y="49"/>
                  </a:lnTo>
                  <a:lnTo>
                    <a:pt x="357" y="49"/>
                  </a:lnTo>
                  <a:lnTo>
                    <a:pt x="355" y="45"/>
                  </a:lnTo>
                  <a:lnTo>
                    <a:pt x="353" y="43"/>
                  </a:lnTo>
                  <a:lnTo>
                    <a:pt x="348" y="38"/>
                  </a:lnTo>
                  <a:lnTo>
                    <a:pt x="342" y="34"/>
                  </a:lnTo>
                  <a:lnTo>
                    <a:pt x="338" y="32"/>
                  </a:lnTo>
                  <a:lnTo>
                    <a:pt x="334" y="30"/>
                  </a:lnTo>
                  <a:lnTo>
                    <a:pt x="328" y="30"/>
                  </a:lnTo>
                  <a:lnTo>
                    <a:pt x="316" y="30"/>
                  </a:lnTo>
                  <a:lnTo>
                    <a:pt x="311" y="24"/>
                  </a:lnTo>
                  <a:lnTo>
                    <a:pt x="301" y="6"/>
                  </a:lnTo>
                  <a:lnTo>
                    <a:pt x="301" y="6"/>
                  </a:lnTo>
                  <a:lnTo>
                    <a:pt x="295" y="0"/>
                  </a:lnTo>
                  <a:lnTo>
                    <a:pt x="293" y="2"/>
                  </a:lnTo>
                  <a:lnTo>
                    <a:pt x="291" y="2"/>
                  </a:lnTo>
                  <a:lnTo>
                    <a:pt x="289" y="4"/>
                  </a:lnTo>
                  <a:lnTo>
                    <a:pt x="277" y="14"/>
                  </a:lnTo>
                  <a:lnTo>
                    <a:pt x="279" y="14"/>
                  </a:lnTo>
                  <a:lnTo>
                    <a:pt x="279" y="18"/>
                  </a:lnTo>
                  <a:lnTo>
                    <a:pt x="277" y="22"/>
                  </a:lnTo>
                  <a:lnTo>
                    <a:pt x="277" y="24"/>
                  </a:lnTo>
                  <a:lnTo>
                    <a:pt x="275" y="26"/>
                  </a:lnTo>
                  <a:lnTo>
                    <a:pt x="275" y="28"/>
                  </a:lnTo>
                  <a:lnTo>
                    <a:pt x="271" y="28"/>
                  </a:lnTo>
                  <a:lnTo>
                    <a:pt x="269" y="28"/>
                  </a:lnTo>
                  <a:lnTo>
                    <a:pt x="269" y="26"/>
                  </a:lnTo>
                  <a:lnTo>
                    <a:pt x="268" y="24"/>
                  </a:lnTo>
                  <a:lnTo>
                    <a:pt x="266" y="24"/>
                  </a:lnTo>
                  <a:lnTo>
                    <a:pt x="264" y="26"/>
                  </a:lnTo>
                  <a:lnTo>
                    <a:pt x="264" y="28"/>
                  </a:lnTo>
                  <a:lnTo>
                    <a:pt x="264" y="30"/>
                  </a:lnTo>
                  <a:lnTo>
                    <a:pt x="264" y="36"/>
                  </a:lnTo>
                  <a:lnTo>
                    <a:pt x="264" y="38"/>
                  </a:lnTo>
                  <a:lnTo>
                    <a:pt x="266" y="43"/>
                  </a:lnTo>
                  <a:lnTo>
                    <a:pt x="266" y="43"/>
                  </a:lnTo>
                  <a:lnTo>
                    <a:pt x="266" y="47"/>
                  </a:lnTo>
                  <a:lnTo>
                    <a:pt x="269" y="82"/>
                  </a:lnTo>
                  <a:lnTo>
                    <a:pt x="271" y="92"/>
                  </a:lnTo>
                  <a:lnTo>
                    <a:pt x="273" y="98"/>
                  </a:lnTo>
                  <a:lnTo>
                    <a:pt x="271" y="104"/>
                  </a:lnTo>
                  <a:lnTo>
                    <a:pt x="266" y="108"/>
                  </a:lnTo>
                  <a:lnTo>
                    <a:pt x="250" y="112"/>
                  </a:lnTo>
                  <a:lnTo>
                    <a:pt x="250" y="112"/>
                  </a:lnTo>
                  <a:lnTo>
                    <a:pt x="250" y="114"/>
                  </a:lnTo>
                  <a:lnTo>
                    <a:pt x="248" y="114"/>
                  </a:lnTo>
                  <a:lnTo>
                    <a:pt x="246" y="116"/>
                  </a:lnTo>
                  <a:lnTo>
                    <a:pt x="246" y="114"/>
                  </a:lnTo>
                  <a:lnTo>
                    <a:pt x="244" y="112"/>
                  </a:lnTo>
                  <a:lnTo>
                    <a:pt x="242" y="112"/>
                  </a:lnTo>
                  <a:lnTo>
                    <a:pt x="242" y="112"/>
                  </a:lnTo>
                  <a:lnTo>
                    <a:pt x="240" y="114"/>
                  </a:lnTo>
                  <a:lnTo>
                    <a:pt x="228" y="116"/>
                  </a:lnTo>
                  <a:lnTo>
                    <a:pt x="209" y="112"/>
                  </a:lnTo>
                  <a:lnTo>
                    <a:pt x="201" y="104"/>
                  </a:lnTo>
                  <a:lnTo>
                    <a:pt x="193" y="102"/>
                  </a:lnTo>
                  <a:lnTo>
                    <a:pt x="162" y="104"/>
                  </a:lnTo>
                  <a:lnTo>
                    <a:pt x="158" y="104"/>
                  </a:lnTo>
                  <a:lnTo>
                    <a:pt x="158" y="102"/>
                  </a:lnTo>
                  <a:lnTo>
                    <a:pt x="156" y="100"/>
                  </a:lnTo>
                  <a:lnTo>
                    <a:pt x="154" y="98"/>
                  </a:lnTo>
                  <a:lnTo>
                    <a:pt x="154" y="96"/>
                  </a:lnTo>
                  <a:lnTo>
                    <a:pt x="154" y="94"/>
                  </a:lnTo>
                  <a:lnTo>
                    <a:pt x="156" y="92"/>
                  </a:lnTo>
                  <a:lnTo>
                    <a:pt x="158" y="92"/>
                  </a:lnTo>
                  <a:lnTo>
                    <a:pt x="158" y="92"/>
                  </a:lnTo>
                  <a:lnTo>
                    <a:pt x="180" y="71"/>
                  </a:lnTo>
                  <a:lnTo>
                    <a:pt x="195" y="53"/>
                  </a:lnTo>
                  <a:lnTo>
                    <a:pt x="203" y="43"/>
                  </a:lnTo>
                  <a:lnTo>
                    <a:pt x="205" y="41"/>
                  </a:lnTo>
                  <a:lnTo>
                    <a:pt x="209" y="36"/>
                  </a:lnTo>
                  <a:lnTo>
                    <a:pt x="209" y="34"/>
                  </a:lnTo>
                  <a:lnTo>
                    <a:pt x="213" y="30"/>
                  </a:lnTo>
                  <a:lnTo>
                    <a:pt x="213" y="28"/>
                  </a:lnTo>
                  <a:lnTo>
                    <a:pt x="215" y="26"/>
                  </a:lnTo>
                  <a:lnTo>
                    <a:pt x="215" y="24"/>
                  </a:lnTo>
                  <a:lnTo>
                    <a:pt x="215" y="24"/>
                  </a:lnTo>
                  <a:lnTo>
                    <a:pt x="217" y="22"/>
                  </a:lnTo>
                  <a:lnTo>
                    <a:pt x="217" y="20"/>
                  </a:lnTo>
                  <a:lnTo>
                    <a:pt x="219" y="18"/>
                  </a:lnTo>
                  <a:lnTo>
                    <a:pt x="223" y="16"/>
                  </a:lnTo>
                  <a:lnTo>
                    <a:pt x="223" y="14"/>
                  </a:lnTo>
                  <a:lnTo>
                    <a:pt x="223" y="14"/>
                  </a:lnTo>
                  <a:lnTo>
                    <a:pt x="223" y="14"/>
                  </a:lnTo>
                  <a:lnTo>
                    <a:pt x="225" y="12"/>
                  </a:lnTo>
                  <a:lnTo>
                    <a:pt x="230" y="6"/>
                  </a:lnTo>
                  <a:lnTo>
                    <a:pt x="230" y="6"/>
                  </a:lnTo>
                  <a:lnTo>
                    <a:pt x="230" y="6"/>
                  </a:lnTo>
                  <a:lnTo>
                    <a:pt x="221" y="4"/>
                  </a:lnTo>
                  <a:lnTo>
                    <a:pt x="221" y="4"/>
                  </a:lnTo>
                  <a:lnTo>
                    <a:pt x="203" y="34"/>
                  </a:lnTo>
                  <a:lnTo>
                    <a:pt x="201" y="36"/>
                  </a:lnTo>
                  <a:lnTo>
                    <a:pt x="172" y="73"/>
                  </a:lnTo>
                  <a:lnTo>
                    <a:pt x="146" y="92"/>
                  </a:lnTo>
                  <a:lnTo>
                    <a:pt x="133" y="100"/>
                  </a:lnTo>
                  <a:lnTo>
                    <a:pt x="127" y="102"/>
                  </a:lnTo>
                  <a:lnTo>
                    <a:pt x="100" y="98"/>
                  </a:lnTo>
                  <a:lnTo>
                    <a:pt x="90" y="100"/>
                  </a:lnTo>
                  <a:lnTo>
                    <a:pt x="78" y="100"/>
                  </a:lnTo>
                  <a:lnTo>
                    <a:pt x="70" y="102"/>
                  </a:lnTo>
                  <a:lnTo>
                    <a:pt x="68" y="100"/>
                  </a:lnTo>
                  <a:lnTo>
                    <a:pt x="64" y="96"/>
                  </a:lnTo>
                  <a:lnTo>
                    <a:pt x="62" y="96"/>
                  </a:lnTo>
                  <a:lnTo>
                    <a:pt x="59" y="100"/>
                  </a:lnTo>
                  <a:lnTo>
                    <a:pt x="57" y="106"/>
                  </a:lnTo>
                  <a:lnTo>
                    <a:pt x="55" y="110"/>
                  </a:lnTo>
                  <a:lnTo>
                    <a:pt x="53" y="118"/>
                  </a:lnTo>
                  <a:lnTo>
                    <a:pt x="53" y="121"/>
                  </a:lnTo>
                  <a:lnTo>
                    <a:pt x="53" y="125"/>
                  </a:lnTo>
                  <a:lnTo>
                    <a:pt x="57" y="139"/>
                  </a:lnTo>
                  <a:lnTo>
                    <a:pt x="59" y="145"/>
                  </a:lnTo>
                  <a:lnTo>
                    <a:pt x="59" y="153"/>
                  </a:lnTo>
                  <a:lnTo>
                    <a:pt x="59" y="157"/>
                  </a:lnTo>
                  <a:lnTo>
                    <a:pt x="55" y="168"/>
                  </a:lnTo>
                  <a:lnTo>
                    <a:pt x="51" y="172"/>
                  </a:lnTo>
                  <a:lnTo>
                    <a:pt x="49" y="174"/>
                  </a:lnTo>
                  <a:lnTo>
                    <a:pt x="49" y="176"/>
                  </a:lnTo>
                  <a:lnTo>
                    <a:pt x="49" y="178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9" y="184"/>
                  </a:lnTo>
                  <a:lnTo>
                    <a:pt x="47" y="184"/>
                  </a:lnTo>
                  <a:lnTo>
                    <a:pt x="47" y="184"/>
                  </a:lnTo>
                  <a:lnTo>
                    <a:pt x="47" y="186"/>
                  </a:lnTo>
                  <a:lnTo>
                    <a:pt x="37" y="202"/>
                  </a:lnTo>
                  <a:lnTo>
                    <a:pt x="21" y="223"/>
                  </a:lnTo>
                  <a:lnTo>
                    <a:pt x="4" y="241"/>
                  </a:lnTo>
                  <a:lnTo>
                    <a:pt x="4" y="243"/>
                  </a:lnTo>
                  <a:lnTo>
                    <a:pt x="0" y="243"/>
                  </a:lnTo>
                  <a:lnTo>
                    <a:pt x="2" y="244"/>
                  </a:lnTo>
                  <a:lnTo>
                    <a:pt x="21" y="22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 dirty="0"/>
            </a:p>
          </p:txBody>
        </p:sp>
        <p:sp>
          <p:nvSpPr>
            <p:cNvPr id="668" name="Freeform 1547">
              <a:extLst>
                <a:ext uri="{FF2B5EF4-FFF2-40B4-BE49-F238E27FC236}">
                  <a16:creationId xmlns:a16="http://schemas.microsoft.com/office/drawing/2014/main" id="{641E56BD-6E09-41C0-80BD-81BC70C8E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922" y="2604848"/>
              <a:ext cx="6350" cy="22232"/>
            </a:xfrm>
            <a:custGeom>
              <a:avLst/>
              <a:gdLst>
                <a:gd name="T0" fmla="*/ 0 w 4"/>
                <a:gd name="T1" fmla="*/ 8 h 14"/>
                <a:gd name="T2" fmla="*/ 0 w 4"/>
                <a:gd name="T3" fmla="*/ 2 h 14"/>
                <a:gd name="T4" fmla="*/ 0 w 4"/>
                <a:gd name="T5" fmla="*/ 0 h 14"/>
                <a:gd name="T6" fmla="*/ 0 w 4"/>
                <a:gd name="T7" fmla="*/ 2 h 14"/>
                <a:gd name="T8" fmla="*/ 0 w 4"/>
                <a:gd name="T9" fmla="*/ 8 h 14"/>
                <a:gd name="T10" fmla="*/ 2 w 4"/>
                <a:gd name="T11" fmla="*/ 12 h 14"/>
                <a:gd name="T12" fmla="*/ 4 w 4"/>
                <a:gd name="T13" fmla="*/ 14 h 14"/>
                <a:gd name="T14" fmla="*/ 2 w 4"/>
                <a:gd name="T15" fmla="*/ 12 h 14"/>
                <a:gd name="T16" fmla="*/ 0 w 4"/>
                <a:gd name="T1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14">
                  <a:moveTo>
                    <a:pt x="0" y="8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2" y="12"/>
                  </a:lnTo>
                  <a:lnTo>
                    <a:pt x="4" y="14"/>
                  </a:lnTo>
                  <a:lnTo>
                    <a:pt x="2" y="12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69" name="Rectangle 1548">
              <a:extLst>
                <a:ext uri="{FF2B5EF4-FFF2-40B4-BE49-F238E27FC236}">
                  <a16:creationId xmlns:a16="http://schemas.microsoft.com/office/drawing/2014/main" id="{8C8DE3D9-8066-4E22-A90E-DF41DB2DB8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3672" y="2623904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70" name="Freeform 1549">
              <a:extLst>
                <a:ext uri="{FF2B5EF4-FFF2-40B4-BE49-F238E27FC236}">
                  <a16:creationId xmlns:a16="http://schemas.microsoft.com/office/drawing/2014/main" id="{56326F07-1C91-4069-A2CC-9BC5ED396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7797" y="2623904"/>
              <a:ext cx="15875" cy="9528"/>
            </a:xfrm>
            <a:custGeom>
              <a:avLst/>
              <a:gdLst>
                <a:gd name="T0" fmla="*/ 4 w 10"/>
                <a:gd name="T1" fmla="*/ 4 h 6"/>
                <a:gd name="T2" fmla="*/ 0 w 10"/>
                <a:gd name="T3" fmla="*/ 6 h 6"/>
                <a:gd name="T4" fmla="*/ 0 w 10"/>
                <a:gd name="T5" fmla="*/ 4 h 6"/>
                <a:gd name="T6" fmla="*/ 0 w 10"/>
                <a:gd name="T7" fmla="*/ 6 h 6"/>
                <a:gd name="T8" fmla="*/ 4 w 10"/>
                <a:gd name="T9" fmla="*/ 4 h 6"/>
                <a:gd name="T10" fmla="*/ 8 w 10"/>
                <a:gd name="T11" fmla="*/ 2 h 6"/>
                <a:gd name="T12" fmla="*/ 10 w 10"/>
                <a:gd name="T13" fmla="*/ 0 h 6"/>
                <a:gd name="T14" fmla="*/ 8 w 10"/>
                <a:gd name="T15" fmla="*/ 2 h 6"/>
                <a:gd name="T16" fmla="*/ 4 w 10"/>
                <a:gd name="T1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6">
                  <a:moveTo>
                    <a:pt x="4" y="4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0" y="0"/>
                  </a:lnTo>
                  <a:lnTo>
                    <a:pt x="8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71" name="Freeform 1550">
              <a:extLst>
                <a:ext uri="{FF2B5EF4-FFF2-40B4-BE49-F238E27FC236}">
                  <a16:creationId xmlns:a16="http://schemas.microsoft.com/office/drawing/2014/main" id="{F326DE4C-B589-448A-8F89-897F25ED5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623" y="2611200"/>
              <a:ext cx="9525" cy="6352"/>
            </a:xfrm>
            <a:custGeom>
              <a:avLst/>
              <a:gdLst>
                <a:gd name="T0" fmla="*/ 4 w 6"/>
                <a:gd name="T1" fmla="*/ 2 h 4"/>
                <a:gd name="T2" fmla="*/ 0 w 6"/>
                <a:gd name="T3" fmla="*/ 0 h 4"/>
                <a:gd name="T4" fmla="*/ 0 w 6"/>
                <a:gd name="T5" fmla="*/ 0 h 4"/>
                <a:gd name="T6" fmla="*/ 4 w 6"/>
                <a:gd name="T7" fmla="*/ 2 h 4"/>
                <a:gd name="T8" fmla="*/ 6 w 6"/>
                <a:gd name="T9" fmla="*/ 2 h 4"/>
                <a:gd name="T10" fmla="*/ 6 w 6"/>
                <a:gd name="T11" fmla="*/ 4 h 4"/>
                <a:gd name="T12" fmla="*/ 6 w 6"/>
                <a:gd name="T13" fmla="*/ 2 h 4"/>
                <a:gd name="T14" fmla="*/ 4 w 6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4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72" name="Freeform 1551">
              <a:extLst>
                <a:ext uri="{FF2B5EF4-FFF2-40B4-BE49-F238E27FC236}">
                  <a16:creationId xmlns:a16="http://schemas.microsoft.com/office/drawing/2014/main" id="{39697675-361B-45D4-BA3F-2970B7CE5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2722" y="2611200"/>
              <a:ext cx="17463" cy="3176"/>
            </a:xfrm>
            <a:custGeom>
              <a:avLst/>
              <a:gdLst>
                <a:gd name="T0" fmla="*/ 0 w 11"/>
                <a:gd name="T1" fmla="*/ 2 h 2"/>
                <a:gd name="T2" fmla="*/ 7 w 11"/>
                <a:gd name="T3" fmla="*/ 0 h 2"/>
                <a:gd name="T4" fmla="*/ 11 w 11"/>
                <a:gd name="T5" fmla="*/ 0 h 2"/>
                <a:gd name="T6" fmla="*/ 7 w 11"/>
                <a:gd name="T7" fmla="*/ 0 h 2"/>
                <a:gd name="T8" fmla="*/ 0 w 1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">
                  <a:moveTo>
                    <a:pt x="0" y="2"/>
                  </a:moveTo>
                  <a:lnTo>
                    <a:pt x="7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73" name="Freeform 1552">
              <a:extLst>
                <a:ext uri="{FF2B5EF4-FFF2-40B4-BE49-F238E27FC236}">
                  <a16:creationId xmlns:a16="http://schemas.microsoft.com/office/drawing/2014/main" id="{40CA6D38-833B-4CDF-A828-38142F8AB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323" y="2623904"/>
              <a:ext cx="3175" cy="14292"/>
            </a:xfrm>
            <a:custGeom>
              <a:avLst/>
              <a:gdLst>
                <a:gd name="T0" fmla="*/ 0 w 2"/>
                <a:gd name="T1" fmla="*/ 0 h 9"/>
                <a:gd name="T2" fmla="*/ 2 w 2"/>
                <a:gd name="T3" fmla="*/ 2 h 9"/>
                <a:gd name="T4" fmla="*/ 2 w 2"/>
                <a:gd name="T5" fmla="*/ 9 h 9"/>
                <a:gd name="T6" fmla="*/ 2 w 2"/>
                <a:gd name="T7" fmla="*/ 2 h 9"/>
                <a:gd name="T8" fmla="*/ 0 w 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9">
                  <a:moveTo>
                    <a:pt x="0" y="0"/>
                  </a:moveTo>
                  <a:lnTo>
                    <a:pt x="2" y="2"/>
                  </a:lnTo>
                  <a:lnTo>
                    <a:pt x="2" y="9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74" name="Rectangle 1553">
              <a:extLst>
                <a:ext uri="{FF2B5EF4-FFF2-40B4-BE49-F238E27FC236}">
                  <a16:creationId xmlns:a16="http://schemas.microsoft.com/office/drawing/2014/main" id="{44B99494-5463-4465-AB92-6E5274C739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7185" y="267630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75" name="Rectangle 1554">
              <a:extLst>
                <a:ext uri="{FF2B5EF4-FFF2-40B4-BE49-F238E27FC236}">
                  <a16:creationId xmlns:a16="http://schemas.microsoft.com/office/drawing/2014/main" id="{8C690F24-38D5-4CB8-98B9-5FFBC3D64C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3373" y="2666780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76" name="Rectangle 1555">
              <a:extLst>
                <a:ext uri="{FF2B5EF4-FFF2-40B4-BE49-F238E27FC236}">
                  <a16:creationId xmlns:a16="http://schemas.microsoft.com/office/drawing/2014/main" id="{C81907C9-AF85-4B99-9EDB-FD7DDC4F41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1585" y="251750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77" name="Freeform 1556">
              <a:extLst>
                <a:ext uri="{FF2B5EF4-FFF2-40B4-BE49-F238E27FC236}">
                  <a16:creationId xmlns:a16="http://schemas.microsoft.com/office/drawing/2014/main" id="{9CF000CA-2440-457C-A479-F9E285FF3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4447" y="2555620"/>
              <a:ext cx="15875" cy="3176"/>
            </a:xfrm>
            <a:custGeom>
              <a:avLst/>
              <a:gdLst>
                <a:gd name="T0" fmla="*/ 0 w 10"/>
                <a:gd name="T1" fmla="*/ 0 h 2"/>
                <a:gd name="T2" fmla="*/ 6 w 10"/>
                <a:gd name="T3" fmla="*/ 0 h 2"/>
                <a:gd name="T4" fmla="*/ 10 w 10"/>
                <a:gd name="T5" fmla="*/ 2 h 2"/>
                <a:gd name="T6" fmla="*/ 6 w 10"/>
                <a:gd name="T7" fmla="*/ 0 h 2"/>
                <a:gd name="T8" fmla="*/ 0 w 10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">
                  <a:moveTo>
                    <a:pt x="0" y="0"/>
                  </a:moveTo>
                  <a:lnTo>
                    <a:pt x="6" y="0"/>
                  </a:lnTo>
                  <a:lnTo>
                    <a:pt x="10" y="2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78" name="Freeform 1557">
              <a:extLst>
                <a:ext uri="{FF2B5EF4-FFF2-40B4-BE49-F238E27FC236}">
                  <a16:creationId xmlns:a16="http://schemas.microsoft.com/office/drawing/2014/main" id="{2E9FEEFA-5FDB-4A6F-BF78-8BDB2342D5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6197" y="2568324"/>
              <a:ext cx="20638" cy="17468"/>
            </a:xfrm>
            <a:custGeom>
              <a:avLst/>
              <a:gdLst>
                <a:gd name="T0" fmla="*/ 7 w 13"/>
                <a:gd name="T1" fmla="*/ 7 h 11"/>
                <a:gd name="T2" fmla="*/ 5 w 13"/>
                <a:gd name="T3" fmla="*/ 5 h 11"/>
                <a:gd name="T4" fmla="*/ 0 w 13"/>
                <a:gd name="T5" fmla="*/ 0 h 11"/>
                <a:gd name="T6" fmla="*/ 5 w 13"/>
                <a:gd name="T7" fmla="*/ 5 h 11"/>
                <a:gd name="T8" fmla="*/ 7 w 13"/>
                <a:gd name="T9" fmla="*/ 7 h 11"/>
                <a:gd name="T10" fmla="*/ 9 w 13"/>
                <a:gd name="T11" fmla="*/ 11 h 11"/>
                <a:gd name="T12" fmla="*/ 13 w 13"/>
                <a:gd name="T13" fmla="*/ 11 h 11"/>
                <a:gd name="T14" fmla="*/ 9 w 13"/>
                <a:gd name="T15" fmla="*/ 11 h 11"/>
                <a:gd name="T16" fmla="*/ 7 w 13"/>
                <a:gd name="T1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1">
                  <a:moveTo>
                    <a:pt x="7" y="7"/>
                  </a:moveTo>
                  <a:lnTo>
                    <a:pt x="5" y="5"/>
                  </a:lnTo>
                  <a:lnTo>
                    <a:pt x="0" y="0"/>
                  </a:lnTo>
                  <a:lnTo>
                    <a:pt x="5" y="5"/>
                  </a:lnTo>
                  <a:lnTo>
                    <a:pt x="7" y="7"/>
                  </a:lnTo>
                  <a:lnTo>
                    <a:pt x="9" y="11"/>
                  </a:lnTo>
                  <a:lnTo>
                    <a:pt x="13" y="11"/>
                  </a:lnTo>
                  <a:lnTo>
                    <a:pt x="9" y="11"/>
                  </a:lnTo>
                  <a:lnTo>
                    <a:pt x="7" y="7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79" name="Rectangle 1558">
              <a:extLst>
                <a:ext uri="{FF2B5EF4-FFF2-40B4-BE49-F238E27FC236}">
                  <a16:creationId xmlns:a16="http://schemas.microsoft.com/office/drawing/2014/main" id="{89E80849-03DE-4AFC-9925-1B458733E6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2423" y="277158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80" name="Freeform 1559">
              <a:extLst>
                <a:ext uri="{FF2B5EF4-FFF2-40B4-BE49-F238E27FC236}">
                  <a16:creationId xmlns:a16="http://schemas.microsoft.com/office/drawing/2014/main" id="{7655B6A3-251F-4432-91A0-4BE462D50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6073" y="2781116"/>
              <a:ext cx="6350" cy="28584"/>
            </a:xfrm>
            <a:custGeom>
              <a:avLst/>
              <a:gdLst>
                <a:gd name="T0" fmla="*/ 0 w 4"/>
                <a:gd name="T1" fmla="*/ 10 h 18"/>
                <a:gd name="T2" fmla="*/ 0 w 4"/>
                <a:gd name="T3" fmla="*/ 6 h 18"/>
                <a:gd name="T4" fmla="*/ 0 w 4"/>
                <a:gd name="T5" fmla="*/ 4 h 18"/>
                <a:gd name="T6" fmla="*/ 4 w 4"/>
                <a:gd name="T7" fmla="*/ 0 h 18"/>
                <a:gd name="T8" fmla="*/ 0 w 4"/>
                <a:gd name="T9" fmla="*/ 4 h 18"/>
                <a:gd name="T10" fmla="*/ 0 w 4"/>
                <a:gd name="T11" fmla="*/ 6 h 18"/>
                <a:gd name="T12" fmla="*/ 0 w 4"/>
                <a:gd name="T13" fmla="*/ 10 h 18"/>
                <a:gd name="T14" fmla="*/ 0 w 4"/>
                <a:gd name="T15" fmla="*/ 16 h 18"/>
                <a:gd name="T16" fmla="*/ 0 w 4"/>
                <a:gd name="T17" fmla="*/ 18 h 18"/>
                <a:gd name="T18" fmla="*/ 0 w 4"/>
                <a:gd name="T19" fmla="*/ 16 h 18"/>
                <a:gd name="T20" fmla="*/ 0 w 4"/>
                <a:gd name="T21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18">
                  <a:moveTo>
                    <a:pt x="0" y="10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81" name="Freeform 1560">
              <a:extLst>
                <a:ext uri="{FF2B5EF4-FFF2-40B4-BE49-F238E27FC236}">
                  <a16:creationId xmlns:a16="http://schemas.microsoft.com/office/drawing/2014/main" id="{D4DC467E-130E-4792-B1E3-44DD701FC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9723" y="2830344"/>
              <a:ext cx="3175" cy="57168"/>
            </a:xfrm>
            <a:custGeom>
              <a:avLst/>
              <a:gdLst>
                <a:gd name="T0" fmla="*/ 0 w 2"/>
                <a:gd name="T1" fmla="*/ 8 h 36"/>
                <a:gd name="T2" fmla="*/ 2 w 2"/>
                <a:gd name="T3" fmla="*/ 0 h 36"/>
                <a:gd name="T4" fmla="*/ 0 w 2"/>
                <a:gd name="T5" fmla="*/ 8 h 36"/>
                <a:gd name="T6" fmla="*/ 0 w 2"/>
                <a:gd name="T7" fmla="*/ 30 h 36"/>
                <a:gd name="T8" fmla="*/ 0 w 2"/>
                <a:gd name="T9" fmla="*/ 36 h 36"/>
                <a:gd name="T10" fmla="*/ 0 w 2"/>
                <a:gd name="T11" fmla="*/ 30 h 36"/>
                <a:gd name="T12" fmla="*/ 0 w 2"/>
                <a:gd name="T13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36">
                  <a:moveTo>
                    <a:pt x="0" y="8"/>
                  </a:moveTo>
                  <a:lnTo>
                    <a:pt x="2" y="0"/>
                  </a:lnTo>
                  <a:lnTo>
                    <a:pt x="0" y="8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82" name="Freeform 1561">
              <a:extLst>
                <a:ext uri="{FF2B5EF4-FFF2-40B4-BE49-F238E27FC236}">
                  <a16:creationId xmlns:a16="http://schemas.microsoft.com/office/drawing/2014/main" id="{D280A024-5F23-4207-9DC8-F2B4671FF0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2898" y="2901804"/>
              <a:ext cx="11113" cy="22232"/>
            </a:xfrm>
            <a:custGeom>
              <a:avLst/>
              <a:gdLst>
                <a:gd name="T0" fmla="*/ 0 w 7"/>
                <a:gd name="T1" fmla="*/ 0 h 14"/>
                <a:gd name="T2" fmla="*/ 2 w 7"/>
                <a:gd name="T3" fmla="*/ 6 h 14"/>
                <a:gd name="T4" fmla="*/ 7 w 7"/>
                <a:gd name="T5" fmla="*/ 14 h 14"/>
                <a:gd name="T6" fmla="*/ 2 w 7"/>
                <a:gd name="T7" fmla="*/ 6 h 14"/>
                <a:gd name="T8" fmla="*/ 0 w 7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4">
                  <a:moveTo>
                    <a:pt x="0" y="0"/>
                  </a:moveTo>
                  <a:lnTo>
                    <a:pt x="2" y="6"/>
                  </a:lnTo>
                  <a:lnTo>
                    <a:pt x="7" y="14"/>
                  </a:lnTo>
                  <a:lnTo>
                    <a:pt x="2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83" name="Freeform 1562">
              <a:extLst>
                <a:ext uri="{FF2B5EF4-FFF2-40B4-BE49-F238E27FC236}">
                  <a16:creationId xmlns:a16="http://schemas.microsoft.com/office/drawing/2014/main" id="{02E0A455-E087-468A-B8CF-BA52DB17B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4010" y="2754120"/>
              <a:ext cx="15875" cy="17468"/>
            </a:xfrm>
            <a:custGeom>
              <a:avLst/>
              <a:gdLst>
                <a:gd name="T0" fmla="*/ 2 w 10"/>
                <a:gd name="T1" fmla="*/ 9 h 11"/>
                <a:gd name="T2" fmla="*/ 4 w 10"/>
                <a:gd name="T3" fmla="*/ 7 h 11"/>
                <a:gd name="T4" fmla="*/ 6 w 10"/>
                <a:gd name="T5" fmla="*/ 6 h 11"/>
                <a:gd name="T6" fmla="*/ 8 w 10"/>
                <a:gd name="T7" fmla="*/ 2 h 11"/>
                <a:gd name="T8" fmla="*/ 10 w 10"/>
                <a:gd name="T9" fmla="*/ 0 h 11"/>
                <a:gd name="T10" fmla="*/ 8 w 10"/>
                <a:gd name="T11" fmla="*/ 2 h 11"/>
                <a:gd name="T12" fmla="*/ 6 w 10"/>
                <a:gd name="T13" fmla="*/ 6 h 11"/>
                <a:gd name="T14" fmla="*/ 4 w 10"/>
                <a:gd name="T15" fmla="*/ 7 h 11"/>
                <a:gd name="T16" fmla="*/ 2 w 10"/>
                <a:gd name="T17" fmla="*/ 9 h 11"/>
                <a:gd name="T18" fmla="*/ 0 w 10"/>
                <a:gd name="T19" fmla="*/ 9 h 11"/>
                <a:gd name="T20" fmla="*/ 0 w 10"/>
                <a:gd name="T21" fmla="*/ 11 h 11"/>
                <a:gd name="T22" fmla="*/ 0 w 10"/>
                <a:gd name="T23" fmla="*/ 9 h 11"/>
                <a:gd name="T24" fmla="*/ 2 w 10"/>
                <a:gd name="T25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1">
                  <a:moveTo>
                    <a:pt x="2" y="9"/>
                  </a:moveTo>
                  <a:lnTo>
                    <a:pt x="4" y="7"/>
                  </a:lnTo>
                  <a:lnTo>
                    <a:pt x="6" y="6"/>
                  </a:lnTo>
                  <a:lnTo>
                    <a:pt x="8" y="2"/>
                  </a:lnTo>
                  <a:lnTo>
                    <a:pt x="10" y="0"/>
                  </a:lnTo>
                  <a:lnTo>
                    <a:pt x="8" y="2"/>
                  </a:lnTo>
                  <a:lnTo>
                    <a:pt x="6" y="6"/>
                  </a:lnTo>
                  <a:lnTo>
                    <a:pt x="4" y="7"/>
                  </a:lnTo>
                  <a:lnTo>
                    <a:pt x="2" y="9"/>
                  </a:lnTo>
                  <a:lnTo>
                    <a:pt x="0" y="9"/>
                  </a:lnTo>
                  <a:lnTo>
                    <a:pt x="0" y="11"/>
                  </a:lnTo>
                  <a:lnTo>
                    <a:pt x="0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84" name="Freeform 1563">
              <a:extLst>
                <a:ext uri="{FF2B5EF4-FFF2-40B4-BE49-F238E27FC236}">
                  <a16:creationId xmlns:a16="http://schemas.microsoft.com/office/drawing/2014/main" id="{C828EC0D-A6FC-4B27-B216-0F81920B3C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2535" y="2512744"/>
              <a:ext cx="6350" cy="3176"/>
            </a:xfrm>
            <a:custGeom>
              <a:avLst/>
              <a:gdLst>
                <a:gd name="T0" fmla="*/ 4 w 4"/>
                <a:gd name="T1" fmla="*/ 0 h 2"/>
                <a:gd name="T2" fmla="*/ 2 w 4"/>
                <a:gd name="T3" fmla="*/ 0 h 2"/>
                <a:gd name="T4" fmla="*/ 0 w 4"/>
                <a:gd name="T5" fmla="*/ 2 h 2"/>
                <a:gd name="T6" fmla="*/ 2 w 4"/>
                <a:gd name="T7" fmla="*/ 0 h 2"/>
                <a:gd name="T8" fmla="*/ 4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85" name="Freeform 1564">
              <a:extLst>
                <a:ext uri="{FF2B5EF4-FFF2-40B4-BE49-F238E27FC236}">
                  <a16:creationId xmlns:a16="http://schemas.microsoft.com/office/drawing/2014/main" id="{1C328AAD-8EC3-4325-A68E-A109D1A31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2585" y="2716008"/>
              <a:ext cx="0" cy="6352"/>
            </a:xfrm>
            <a:custGeom>
              <a:avLst/>
              <a:gdLst>
                <a:gd name="T0" fmla="*/ 0 h 4"/>
                <a:gd name="T1" fmla="*/ 4 h 4"/>
                <a:gd name="T2" fmla="*/ 4 h 4"/>
                <a:gd name="T3" fmla="*/ 4 h 4"/>
                <a:gd name="T4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86" name="Freeform 1565">
              <a:extLst>
                <a:ext uri="{FF2B5EF4-FFF2-40B4-BE49-F238E27FC236}">
                  <a16:creationId xmlns:a16="http://schemas.microsoft.com/office/drawing/2014/main" id="{E1B0330E-4276-4401-BAC3-832A84EE0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4010" y="2679484"/>
              <a:ext cx="3175" cy="6352"/>
            </a:xfrm>
            <a:custGeom>
              <a:avLst/>
              <a:gdLst>
                <a:gd name="T0" fmla="*/ 2 w 2"/>
                <a:gd name="T1" fmla="*/ 0 h 4"/>
                <a:gd name="T2" fmla="*/ 0 w 2"/>
                <a:gd name="T3" fmla="*/ 2 h 4"/>
                <a:gd name="T4" fmla="*/ 2 w 2"/>
                <a:gd name="T5" fmla="*/ 4 h 4"/>
                <a:gd name="T6" fmla="*/ 0 w 2"/>
                <a:gd name="T7" fmla="*/ 2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0" y="2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87" name="Freeform 1566">
              <a:extLst>
                <a:ext uri="{FF2B5EF4-FFF2-40B4-BE49-F238E27FC236}">
                  <a16:creationId xmlns:a16="http://schemas.microsoft.com/office/drawing/2014/main" id="{CFDF19A4-F646-4C74-A69E-BBAEBDD9B6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3848" y="2654076"/>
              <a:ext cx="0" cy="6352"/>
            </a:xfrm>
            <a:custGeom>
              <a:avLst/>
              <a:gdLst>
                <a:gd name="T0" fmla="*/ 0 h 4"/>
                <a:gd name="T1" fmla="*/ 2 h 4"/>
                <a:gd name="T2" fmla="*/ 4 h 4"/>
                <a:gd name="T3" fmla="*/ 2 h 4"/>
                <a:gd name="T4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88" name="Freeform 1567">
              <a:extLst>
                <a:ext uri="{FF2B5EF4-FFF2-40B4-BE49-F238E27FC236}">
                  <a16:creationId xmlns:a16="http://schemas.microsoft.com/office/drawing/2014/main" id="{13F9FADB-3748-43A0-BD49-8C6393EAA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6235" y="2695364"/>
              <a:ext cx="3175" cy="4764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0 w 2"/>
                <a:gd name="T7" fmla="*/ 2 h 3"/>
                <a:gd name="T8" fmla="*/ 0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89" name="Freeform 1568">
              <a:extLst>
                <a:ext uri="{FF2B5EF4-FFF2-40B4-BE49-F238E27FC236}">
                  <a16:creationId xmlns:a16="http://schemas.microsoft.com/office/drawing/2014/main" id="{B70165A9-B7FB-49AD-8408-AD6767CE9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4584" y="2515920"/>
              <a:ext cx="14288" cy="3176"/>
            </a:xfrm>
            <a:custGeom>
              <a:avLst/>
              <a:gdLst>
                <a:gd name="T0" fmla="*/ 9 w 9"/>
                <a:gd name="T1" fmla="*/ 2 h 2"/>
                <a:gd name="T2" fmla="*/ 0 w 9"/>
                <a:gd name="T3" fmla="*/ 0 h 2"/>
                <a:gd name="T4" fmla="*/ 0 w 9"/>
                <a:gd name="T5" fmla="*/ 0 h 2"/>
                <a:gd name="T6" fmla="*/ 0 w 9"/>
                <a:gd name="T7" fmla="*/ 0 h 2"/>
                <a:gd name="T8" fmla="*/ 9 w 9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">
                  <a:moveTo>
                    <a:pt x="9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90" name="Freeform 1569">
              <a:extLst>
                <a:ext uri="{FF2B5EF4-FFF2-40B4-BE49-F238E27FC236}">
                  <a16:creationId xmlns:a16="http://schemas.microsoft.com/office/drawing/2014/main" id="{036E2E60-2F27-496B-82DE-82F2BEA88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2585" y="2735064"/>
              <a:ext cx="0" cy="6352"/>
            </a:xfrm>
            <a:custGeom>
              <a:avLst/>
              <a:gdLst>
                <a:gd name="T0" fmla="*/ 0 h 4"/>
                <a:gd name="T1" fmla="*/ 2 h 4"/>
                <a:gd name="T2" fmla="*/ 4 h 4"/>
                <a:gd name="T3" fmla="*/ 2 h 4"/>
                <a:gd name="T4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91" name="Freeform 1570">
              <a:extLst>
                <a:ext uri="{FF2B5EF4-FFF2-40B4-BE49-F238E27FC236}">
                  <a16:creationId xmlns:a16="http://schemas.microsoft.com/office/drawing/2014/main" id="{73FFA315-8DE7-4DB4-8EC3-08A74FB3A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9248" y="2666780"/>
              <a:ext cx="4763" cy="6352"/>
            </a:xfrm>
            <a:custGeom>
              <a:avLst/>
              <a:gdLst>
                <a:gd name="T0" fmla="*/ 2 w 3"/>
                <a:gd name="T1" fmla="*/ 2 h 4"/>
                <a:gd name="T2" fmla="*/ 0 w 3"/>
                <a:gd name="T3" fmla="*/ 0 h 4"/>
                <a:gd name="T4" fmla="*/ 0 w 3"/>
                <a:gd name="T5" fmla="*/ 0 h 4"/>
                <a:gd name="T6" fmla="*/ 2 w 3"/>
                <a:gd name="T7" fmla="*/ 2 h 4"/>
                <a:gd name="T8" fmla="*/ 2 w 3"/>
                <a:gd name="T9" fmla="*/ 4 h 4"/>
                <a:gd name="T10" fmla="*/ 3 w 3"/>
                <a:gd name="T11" fmla="*/ 4 h 4"/>
                <a:gd name="T12" fmla="*/ 2 w 3"/>
                <a:gd name="T13" fmla="*/ 4 h 4"/>
                <a:gd name="T14" fmla="*/ 2 w 3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4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692" name="Freeform 1571">
              <a:extLst>
                <a:ext uri="{FF2B5EF4-FFF2-40B4-BE49-F238E27FC236}">
                  <a16:creationId xmlns:a16="http://schemas.microsoft.com/office/drawing/2014/main" id="{F0E04FC1-F459-4EDA-B79C-0DB79211A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3746" y="2895452"/>
              <a:ext cx="3175" cy="1588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</p:grpSp>
      <p:sp>
        <p:nvSpPr>
          <p:cNvPr id="1892" name="Title 5">
            <a:extLst>
              <a:ext uri="{FF2B5EF4-FFF2-40B4-BE49-F238E27FC236}">
                <a16:creationId xmlns:a16="http://schemas.microsoft.com/office/drawing/2014/main" id="{B2D79D19-3B83-44BC-95D5-00BA5895B042}"/>
              </a:ext>
            </a:extLst>
          </p:cNvPr>
          <p:cNvSpPr txBox="1">
            <a:spLocks/>
          </p:cNvSpPr>
          <p:nvPr/>
        </p:nvSpPr>
        <p:spPr>
          <a:xfrm>
            <a:off x="2444298" y="2885419"/>
            <a:ext cx="578832" cy="1811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007943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200" b="1" i="0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l-PL" sz="800" b="0" dirty="0">
                <a:solidFill>
                  <a:schemeClr val="tx2"/>
                </a:solidFill>
                <a:latin typeface="Orsted Sans Office" panose="00000500000000000000" pitchFamily="2" charset="0"/>
              </a:rPr>
              <a:t>Polska</a:t>
            </a:r>
            <a:endParaRPr lang="da-DK" sz="800" b="0" dirty="0">
              <a:solidFill>
                <a:schemeClr val="tx2"/>
              </a:solidFill>
              <a:latin typeface="Orsted Sans Office" panose="00000500000000000000" pitchFamily="2" charset="0"/>
            </a:endParaRPr>
          </a:p>
        </p:txBody>
      </p:sp>
      <p:graphicFrame>
        <p:nvGraphicFramePr>
          <p:cNvPr id="1893" name="Object 1892" hidden="1">
            <a:extLst>
              <a:ext uri="{FF2B5EF4-FFF2-40B4-BE49-F238E27FC236}">
                <a16:creationId xmlns:a16="http://schemas.microsoft.com/office/drawing/2014/main" id="{76CAE67E-2196-4D06-AB14-8E3FF295B0E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29427360"/>
              </p:ext>
            </p:extLst>
          </p:nvPr>
        </p:nvGraphicFramePr>
        <p:xfrm>
          <a:off x="159" y="2001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14" imgW="592" imgH="595" progId="TCLayout.ActiveDocument.1">
                  <p:embed/>
                </p:oleObj>
              </mc:Choice>
              <mc:Fallback>
                <p:oleObj name="think-cell Slide" r:id="rId14" imgW="592" imgH="595" progId="TCLayout.ActiveDocument.1">
                  <p:embed/>
                  <p:pic>
                    <p:nvPicPr>
                      <p:cNvPr id="1893" name="Object 1892" hidden="1">
                        <a:extLst>
                          <a:ext uri="{FF2B5EF4-FFF2-40B4-BE49-F238E27FC236}">
                            <a16:creationId xmlns:a16="http://schemas.microsoft.com/office/drawing/2014/main" id="{76CAE67E-2196-4D06-AB14-8E3FF295B0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9" y="2001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94" name="Group 1893">
            <a:extLst>
              <a:ext uri="{FF2B5EF4-FFF2-40B4-BE49-F238E27FC236}">
                <a16:creationId xmlns:a16="http://schemas.microsoft.com/office/drawing/2014/main" id="{FDDB3B0B-7647-40EC-8A2B-BA5E76144260}"/>
              </a:ext>
            </a:extLst>
          </p:cNvPr>
          <p:cNvGrpSpPr>
            <a:grpSpLocks noChangeAspect="1"/>
          </p:cNvGrpSpPr>
          <p:nvPr/>
        </p:nvGrpSpPr>
        <p:grpSpPr>
          <a:xfrm>
            <a:off x="4909465" y="1463989"/>
            <a:ext cx="390526" cy="390526"/>
            <a:chOff x="9189497" y="2457856"/>
            <a:chExt cx="390525" cy="390525"/>
          </a:xfrm>
          <a:solidFill>
            <a:schemeClr val="accent3"/>
          </a:solidFill>
        </p:grpSpPr>
        <p:sp>
          <p:nvSpPr>
            <p:cNvPr id="1895" name="Freeform: Shape 1894">
              <a:extLst>
                <a:ext uri="{FF2B5EF4-FFF2-40B4-BE49-F238E27FC236}">
                  <a16:creationId xmlns:a16="http://schemas.microsoft.com/office/drawing/2014/main" id="{BA550943-5C6D-49EE-BD5E-0117037A0A2C}"/>
                </a:ext>
              </a:extLst>
            </p:cNvPr>
            <p:cNvSpPr/>
            <p:nvPr/>
          </p:nvSpPr>
          <p:spPr>
            <a:xfrm>
              <a:off x="9189497" y="2457856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8" y="29051"/>
                    <a:pt x="285750" y="46673"/>
                    <a:pt x="317659" y="78581"/>
                  </a:cubicBezTo>
                  <a:cubicBezTo>
                    <a:pt x="349567" y="110490"/>
                    <a:pt x="367189" y="152972"/>
                    <a:pt x="367189" y="198120"/>
                  </a:cubicBezTo>
                  <a:cubicBezTo>
                    <a:pt x="367189" y="243269"/>
                    <a:pt x="349567" y="285750"/>
                    <a:pt x="317659" y="317659"/>
                  </a:cubicBezTo>
                  <a:cubicBezTo>
                    <a:pt x="285750" y="349568"/>
                    <a:pt x="243268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2" y="285750"/>
                    <a:pt x="29051" y="243269"/>
                    <a:pt x="29051" y="198120"/>
                  </a:cubicBezTo>
                  <a:cubicBezTo>
                    <a:pt x="29051" y="152972"/>
                    <a:pt x="46672" y="110490"/>
                    <a:pt x="78581" y="78581"/>
                  </a:cubicBezTo>
                  <a:cubicBezTo>
                    <a:pt x="110490" y="46577"/>
                    <a:pt x="152876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>
                <a:solidFill>
                  <a:schemeClr val="accent3">
                    <a:lumMod val="75000"/>
                  </a:schemeClr>
                </a:solidFill>
              </a:endParaRPr>
            </a:p>
          </p:txBody>
        </p:sp>
        <p:sp>
          <p:nvSpPr>
            <p:cNvPr id="1896" name="Freeform: Shape 1895">
              <a:extLst>
                <a:ext uri="{FF2B5EF4-FFF2-40B4-BE49-F238E27FC236}">
                  <a16:creationId xmlns:a16="http://schemas.microsoft.com/office/drawing/2014/main" id="{6B2D42DF-6E2A-48DE-8135-60FA3B747DBB}"/>
                </a:ext>
              </a:extLst>
            </p:cNvPr>
            <p:cNvSpPr/>
            <p:nvPr/>
          </p:nvSpPr>
          <p:spPr>
            <a:xfrm>
              <a:off x="9335230" y="2723413"/>
              <a:ext cx="95250" cy="66675"/>
            </a:xfrm>
            <a:custGeom>
              <a:avLst/>
              <a:gdLst>
                <a:gd name="connsiteX0" fmla="*/ 46768 w 95250"/>
                <a:gd name="connsiteY0" fmla="*/ 18574 h 66675"/>
                <a:gd name="connsiteX1" fmla="*/ 35338 w 95250"/>
                <a:gd name="connsiteY1" fmla="*/ 7144 h 66675"/>
                <a:gd name="connsiteX2" fmla="*/ 7144 w 95250"/>
                <a:gd name="connsiteY2" fmla="*/ 35338 h 66675"/>
                <a:gd name="connsiteX3" fmla="*/ 35338 w 95250"/>
                <a:gd name="connsiteY3" fmla="*/ 63532 h 66675"/>
                <a:gd name="connsiteX4" fmla="*/ 46768 w 95250"/>
                <a:gd name="connsiteY4" fmla="*/ 52102 h 66675"/>
                <a:gd name="connsiteX5" fmla="*/ 38100 w 95250"/>
                <a:gd name="connsiteY5" fmla="*/ 43434 h 66675"/>
                <a:gd name="connsiteX6" fmla="*/ 90392 w 95250"/>
                <a:gd name="connsiteY6" fmla="*/ 43434 h 66675"/>
                <a:gd name="connsiteX7" fmla="*/ 90392 w 95250"/>
                <a:gd name="connsiteY7" fmla="*/ 27242 h 66675"/>
                <a:gd name="connsiteX8" fmla="*/ 38100 w 95250"/>
                <a:gd name="connsiteY8" fmla="*/ 27242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250" h="66675">
                  <a:moveTo>
                    <a:pt x="46768" y="18574"/>
                  </a:moveTo>
                  <a:lnTo>
                    <a:pt x="35338" y="7144"/>
                  </a:lnTo>
                  <a:lnTo>
                    <a:pt x="7144" y="35338"/>
                  </a:lnTo>
                  <a:lnTo>
                    <a:pt x="35338" y="63532"/>
                  </a:lnTo>
                  <a:lnTo>
                    <a:pt x="46768" y="52102"/>
                  </a:lnTo>
                  <a:lnTo>
                    <a:pt x="38100" y="43434"/>
                  </a:lnTo>
                  <a:lnTo>
                    <a:pt x="90392" y="43434"/>
                  </a:lnTo>
                  <a:lnTo>
                    <a:pt x="90392" y="27242"/>
                  </a:lnTo>
                  <a:lnTo>
                    <a:pt x="38100" y="272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3">
                    <a:lumMod val="75000"/>
                  </a:schemeClr>
                </a:solidFill>
              </a:endParaRPr>
            </a:p>
          </p:txBody>
        </p:sp>
        <p:sp>
          <p:nvSpPr>
            <p:cNvPr id="1897" name="Freeform: Shape 1896">
              <a:extLst>
                <a:ext uri="{FF2B5EF4-FFF2-40B4-BE49-F238E27FC236}">
                  <a16:creationId xmlns:a16="http://schemas.microsoft.com/office/drawing/2014/main" id="{B05B4C6D-67EB-4A59-BA07-91F318AD8ECF}"/>
                </a:ext>
              </a:extLst>
            </p:cNvPr>
            <p:cNvSpPr/>
            <p:nvPr/>
          </p:nvSpPr>
          <p:spPr>
            <a:xfrm>
              <a:off x="9414287" y="2683408"/>
              <a:ext cx="95250" cy="66675"/>
            </a:xfrm>
            <a:custGeom>
              <a:avLst/>
              <a:gdLst>
                <a:gd name="connsiteX0" fmla="*/ 46768 w 95250"/>
                <a:gd name="connsiteY0" fmla="*/ 18574 h 66675"/>
                <a:gd name="connsiteX1" fmla="*/ 35338 w 95250"/>
                <a:gd name="connsiteY1" fmla="*/ 7144 h 66675"/>
                <a:gd name="connsiteX2" fmla="*/ 7144 w 95250"/>
                <a:gd name="connsiteY2" fmla="*/ 35338 h 66675"/>
                <a:gd name="connsiteX3" fmla="*/ 35338 w 95250"/>
                <a:gd name="connsiteY3" fmla="*/ 63532 h 66675"/>
                <a:gd name="connsiteX4" fmla="*/ 46768 w 95250"/>
                <a:gd name="connsiteY4" fmla="*/ 52102 h 66675"/>
                <a:gd name="connsiteX5" fmla="*/ 38100 w 95250"/>
                <a:gd name="connsiteY5" fmla="*/ 43434 h 66675"/>
                <a:gd name="connsiteX6" fmla="*/ 90392 w 95250"/>
                <a:gd name="connsiteY6" fmla="*/ 43434 h 66675"/>
                <a:gd name="connsiteX7" fmla="*/ 90392 w 95250"/>
                <a:gd name="connsiteY7" fmla="*/ 27241 h 66675"/>
                <a:gd name="connsiteX8" fmla="*/ 38100 w 95250"/>
                <a:gd name="connsiteY8" fmla="*/ 27241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250" h="66675">
                  <a:moveTo>
                    <a:pt x="46768" y="18574"/>
                  </a:moveTo>
                  <a:lnTo>
                    <a:pt x="35338" y="7144"/>
                  </a:lnTo>
                  <a:lnTo>
                    <a:pt x="7144" y="35338"/>
                  </a:lnTo>
                  <a:lnTo>
                    <a:pt x="35338" y="63532"/>
                  </a:lnTo>
                  <a:lnTo>
                    <a:pt x="46768" y="52102"/>
                  </a:lnTo>
                  <a:lnTo>
                    <a:pt x="38100" y="43434"/>
                  </a:lnTo>
                  <a:lnTo>
                    <a:pt x="90392" y="43434"/>
                  </a:lnTo>
                  <a:lnTo>
                    <a:pt x="90392" y="27241"/>
                  </a:lnTo>
                  <a:lnTo>
                    <a:pt x="38100" y="272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3">
                    <a:lumMod val="75000"/>
                  </a:schemeClr>
                </a:solidFill>
              </a:endParaRPr>
            </a:p>
          </p:txBody>
        </p:sp>
        <p:sp>
          <p:nvSpPr>
            <p:cNvPr id="1898" name="Freeform: Shape 1897">
              <a:extLst>
                <a:ext uri="{FF2B5EF4-FFF2-40B4-BE49-F238E27FC236}">
                  <a16:creationId xmlns:a16="http://schemas.microsoft.com/office/drawing/2014/main" id="{CD43482C-6E89-4791-AF15-FBFDDBB9CDA0}"/>
                </a:ext>
              </a:extLst>
            </p:cNvPr>
            <p:cNvSpPr/>
            <p:nvPr/>
          </p:nvSpPr>
          <p:spPr>
            <a:xfrm>
              <a:off x="9279127" y="2533485"/>
              <a:ext cx="85725" cy="285750"/>
            </a:xfrm>
            <a:custGeom>
              <a:avLst/>
              <a:gdLst>
                <a:gd name="connsiteX0" fmla="*/ 84201 w 85725"/>
                <a:gd name="connsiteY0" fmla="*/ 151257 h 285750"/>
                <a:gd name="connsiteX1" fmla="*/ 84201 w 85725"/>
                <a:gd name="connsiteY1" fmla="*/ 38290 h 285750"/>
                <a:gd name="connsiteX2" fmla="*/ 29051 w 85725"/>
                <a:gd name="connsiteY2" fmla="*/ 26384 h 285750"/>
                <a:gd name="connsiteX3" fmla="*/ 29051 w 85725"/>
                <a:gd name="connsiteY3" fmla="*/ 7144 h 285750"/>
                <a:gd name="connsiteX4" fmla="*/ 7144 w 85725"/>
                <a:gd name="connsiteY4" fmla="*/ 7144 h 285750"/>
                <a:gd name="connsiteX5" fmla="*/ 7144 w 85725"/>
                <a:gd name="connsiteY5" fmla="*/ 278987 h 285750"/>
                <a:gd name="connsiteX6" fmla="*/ 29051 w 85725"/>
                <a:gd name="connsiteY6" fmla="*/ 278987 h 285750"/>
                <a:gd name="connsiteX7" fmla="*/ 29051 w 85725"/>
                <a:gd name="connsiteY7" fmla="*/ 163163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725" h="285750">
                  <a:moveTo>
                    <a:pt x="84201" y="151257"/>
                  </a:moveTo>
                  <a:lnTo>
                    <a:pt x="84201" y="38290"/>
                  </a:lnTo>
                  <a:lnTo>
                    <a:pt x="29051" y="26384"/>
                  </a:lnTo>
                  <a:lnTo>
                    <a:pt x="29051" y="7144"/>
                  </a:lnTo>
                  <a:lnTo>
                    <a:pt x="7144" y="7144"/>
                  </a:lnTo>
                  <a:lnTo>
                    <a:pt x="7144" y="278987"/>
                  </a:lnTo>
                  <a:lnTo>
                    <a:pt x="29051" y="278987"/>
                  </a:lnTo>
                  <a:lnTo>
                    <a:pt x="29051" y="1631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3">
                    <a:lumMod val="75000"/>
                  </a:schemeClr>
                </a:solidFill>
              </a:endParaRPr>
            </a:p>
          </p:txBody>
        </p:sp>
        <p:sp>
          <p:nvSpPr>
            <p:cNvPr id="1899" name="Freeform: Shape 1898">
              <a:extLst>
                <a:ext uri="{FF2B5EF4-FFF2-40B4-BE49-F238E27FC236}">
                  <a16:creationId xmlns:a16="http://schemas.microsoft.com/office/drawing/2014/main" id="{57EC10F0-72E0-4E07-B0BD-B6E0CD9DBD36}"/>
                </a:ext>
              </a:extLst>
            </p:cNvPr>
            <p:cNvSpPr/>
            <p:nvPr/>
          </p:nvSpPr>
          <p:spPr>
            <a:xfrm>
              <a:off x="9386093" y="2571013"/>
              <a:ext cx="57150" cy="114300"/>
            </a:xfrm>
            <a:custGeom>
              <a:avLst/>
              <a:gdLst>
                <a:gd name="connsiteX0" fmla="*/ 51911 w 57150"/>
                <a:gd name="connsiteY0" fmla="*/ 16859 h 114300"/>
                <a:gd name="connsiteX1" fmla="*/ 7144 w 57150"/>
                <a:gd name="connsiteY1" fmla="*/ 7144 h 114300"/>
                <a:gd name="connsiteX2" fmla="*/ 7144 w 57150"/>
                <a:gd name="connsiteY2" fmla="*/ 107252 h 114300"/>
                <a:gd name="connsiteX3" fmla="*/ 51911 w 57150"/>
                <a:gd name="connsiteY3" fmla="*/ 97536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114300">
                  <a:moveTo>
                    <a:pt x="51911" y="16859"/>
                  </a:moveTo>
                  <a:lnTo>
                    <a:pt x="7144" y="7144"/>
                  </a:lnTo>
                  <a:lnTo>
                    <a:pt x="7144" y="107252"/>
                  </a:lnTo>
                  <a:lnTo>
                    <a:pt x="51911" y="975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3">
                    <a:lumMod val="75000"/>
                  </a:schemeClr>
                </a:solidFill>
              </a:endParaRPr>
            </a:p>
          </p:txBody>
        </p:sp>
        <p:sp>
          <p:nvSpPr>
            <p:cNvPr id="1900" name="Freeform: Shape 1899">
              <a:extLst>
                <a:ext uri="{FF2B5EF4-FFF2-40B4-BE49-F238E27FC236}">
                  <a16:creationId xmlns:a16="http://schemas.microsoft.com/office/drawing/2014/main" id="{309A14E5-EB2E-4774-B571-E4A3F6CBC315}"/>
                </a:ext>
              </a:extLst>
            </p:cNvPr>
            <p:cNvSpPr/>
            <p:nvPr/>
          </p:nvSpPr>
          <p:spPr>
            <a:xfrm>
              <a:off x="9460674" y="2587206"/>
              <a:ext cx="66675" cy="76200"/>
            </a:xfrm>
            <a:custGeom>
              <a:avLst/>
              <a:gdLst>
                <a:gd name="connsiteX0" fmla="*/ 7144 w 66675"/>
                <a:gd name="connsiteY0" fmla="*/ 7144 h 76200"/>
                <a:gd name="connsiteX1" fmla="*/ 7144 w 66675"/>
                <a:gd name="connsiteY1" fmla="*/ 74962 h 76200"/>
                <a:gd name="connsiteX2" fmla="*/ 61913 w 66675"/>
                <a:gd name="connsiteY2" fmla="*/ 63055 h 76200"/>
                <a:gd name="connsiteX3" fmla="*/ 61913 w 66675"/>
                <a:gd name="connsiteY3" fmla="*/ 18955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76200">
                  <a:moveTo>
                    <a:pt x="7144" y="7144"/>
                  </a:moveTo>
                  <a:lnTo>
                    <a:pt x="7144" y="74962"/>
                  </a:lnTo>
                  <a:lnTo>
                    <a:pt x="61913" y="63055"/>
                  </a:lnTo>
                  <a:lnTo>
                    <a:pt x="61913" y="189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accent3">
                    <a:lumMod val="75000"/>
                  </a:schemeClr>
                </a:solidFill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08C2BB8E-E447-4D4A-A752-23049F6B1234}"/>
              </a:ext>
            </a:extLst>
          </p:cNvPr>
          <p:cNvSpPr txBox="1"/>
          <p:nvPr/>
        </p:nvSpPr>
        <p:spPr>
          <a:xfrm>
            <a:off x="5807283" y="1459149"/>
            <a:ext cx="3028155" cy="1772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1200" b="1" dirty="0">
                <a:solidFill>
                  <a:srgbClr val="00B0F0"/>
                </a:solidFill>
              </a:rPr>
              <a:t>Stabilny i silny wiatr                     </a:t>
            </a:r>
            <a:r>
              <a:rPr lang="pl-PL" sz="1000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endParaRPr lang="en-GB" sz="10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4F0AA1-91D2-4585-BB78-4A0ABB1C94C7}"/>
              </a:ext>
            </a:extLst>
          </p:cNvPr>
          <p:cNvSpPr txBox="1"/>
          <p:nvPr/>
        </p:nvSpPr>
        <p:spPr>
          <a:xfrm>
            <a:off x="5807283" y="2253596"/>
            <a:ext cx="2827450" cy="1772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1200" b="1" dirty="0">
                <a:solidFill>
                  <a:srgbClr val="00B0F0"/>
                </a:solidFill>
              </a:rPr>
              <a:t>Płytkie wody i niskie fale                  </a:t>
            </a:r>
            <a:endParaRPr lang="en-GB" sz="9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AE6DFFE-23CD-431C-AEDD-C12756807AC8}"/>
              </a:ext>
            </a:extLst>
          </p:cNvPr>
          <p:cNvSpPr txBox="1"/>
          <p:nvPr/>
        </p:nvSpPr>
        <p:spPr>
          <a:xfrm>
            <a:off x="5917134" y="2830830"/>
            <a:ext cx="1800000" cy="192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endParaRPr lang="en-GB" sz="1300" dirty="0">
              <a:solidFill>
                <a:schemeClr val="tx2"/>
              </a:solidFill>
            </a:endParaRPr>
          </a:p>
        </p:txBody>
      </p:sp>
      <p:sp>
        <p:nvSpPr>
          <p:cNvPr id="1901" name="TextBox 1900">
            <a:extLst>
              <a:ext uri="{FF2B5EF4-FFF2-40B4-BE49-F238E27FC236}">
                <a16:creationId xmlns:a16="http://schemas.microsoft.com/office/drawing/2014/main" id="{A0E36E18-47EF-41A9-A31F-601C50F8CBF2}"/>
              </a:ext>
            </a:extLst>
          </p:cNvPr>
          <p:cNvSpPr txBox="1"/>
          <p:nvPr/>
        </p:nvSpPr>
        <p:spPr>
          <a:xfrm>
            <a:off x="5807282" y="2868781"/>
            <a:ext cx="2827449" cy="4432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1200" b="1" dirty="0">
                <a:solidFill>
                  <a:srgbClr val="00B0F0"/>
                </a:solidFill>
              </a:rPr>
              <a:t>Duże poparcie społeczne                          </a:t>
            </a:r>
            <a:r>
              <a:rPr lang="pl-PL" sz="900" dirty="0">
                <a:solidFill>
                  <a:schemeClr val="accent3">
                    <a:lumMod val="75000"/>
                  </a:schemeClr>
                </a:solidFill>
              </a:rPr>
              <a:t>8 na 10 mieszkańców Polski popiera rozwój morskich farm wiatrowych*.</a:t>
            </a:r>
          </a:p>
        </p:txBody>
      </p:sp>
      <p:graphicFrame>
        <p:nvGraphicFramePr>
          <p:cNvPr id="1902" name="Object 1901" hidden="1">
            <a:extLst>
              <a:ext uri="{FF2B5EF4-FFF2-40B4-BE49-F238E27FC236}">
                <a16:creationId xmlns:a16="http://schemas.microsoft.com/office/drawing/2014/main" id="{9AA4D6BC-3448-41A0-BE29-85B7DEA4F062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69145164"/>
              </p:ext>
            </p:extLst>
          </p:nvPr>
        </p:nvGraphicFramePr>
        <p:xfrm>
          <a:off x="152559" y="3525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16" imgW="592" imgH="595" progId="TCLayout.ActiveDocument.1">
                  <p:embed/>
                </p:oleObj>
              </mc:Choice>
              <mc:Fallback>
                <p:oleObj name="think-cell Slide" r:id="rId16" imgW="592" imgH="595" progId="TCLayout.ActiveDocument.1">
                  <p:embed/>
                  <p:pic>
                    <p:nvPicPr>
                      <p:cNvPr id="1902" name="Object 1901" hidden="1">
                        <a:extLst>
                          <a:ext uri="{FF2B5EF4-FFF2-40B4-BE49-F238E27FC236}">
                            <a16:creationId xmlns:a16="http://schemas.microsoft.com/office/drawing/2014/main" id="{9AA4D6BC-3448-41A0-BE29-85B7DEA4F0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2559" y="3525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08" name="Object 1907" hidden="1">
            <a:extLst>
              <a:ext uri="{FF2B5EF4-FFF2-40B4-BE49-F238E27FC236}">
                <a16:creationId xmlns:a16="http://schemas.microsoft.com/office/drawing/2014/main" id="{3DCF2F45-A810-4414-8DEF-91F5C30109E4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18867849"/>
              </p:ext>
            </p:extLst>
          </p:nvPr>
        </p:nvGraphicFramePr>
        <p:xfrm>
          <a:off x="304959" y="5049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Slide" r:id="rId17" imgW="592" imgH="595" progId="TCLayout.ActiveDocument.1">
                  <p:embed/>
                </p:oleObj>
              </mc:Choice>
              <mc:Fallback>
                <p:oleObj name="think-cell Slide" r:id="rId17" imgW="592" imgH="595" progId="TCLayout.ActiveDocument.1">
                  <p:embed/>
                  <p:pic>
                    <p:nvPicPr>
                      <p:cNvPr id="1908" name="Object 1907" hidden="1">
                        <a:extLst>
                          <a:ext uri="{FF2B5EF4-FFF2-40B4-BE49-F238E27FC236}">
                            <a16:creationId xmlns:a16="http://schemas.microsoft.com/office/drawing/2014/main" id="{3DCF2F45-A810-4414-8DEF-91F5C3010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304959" y="5049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09" name="Group 1908">
            <a:extLst>
              <a:ext uri="{FF2B5EF4-FFF2-40B4-BE49-F238E27FC236}">
                <a16:creationId xmlns:a16="http://schemas.microsoft.com/office/drawing/2014/main" id="{33C90E65-F017-480E-B4F3-C5C24001D69F}"/>
              </a:ext>
            </a:extLst>
          </p:cNvPr>
          <p:cNvGrpSpPr>
            <a:grpSpLocks noChangeAspect="1"/>
          </p:cNvGrpSpPr>
          <p:nvPr/>
        </p:nvGrpSpPr>
        <p:grpSpPr>
          <a:xfrm>
            <a:off x="4910799" y="2161419"/>
            <a:ext cx="390525" cy="390525"/>
            <a:chOff x="4661652" y="440688"/>
            <a:chExt cx="390525" cy="390525"/>
          </a:xfrm>
          <a:solidFill>
            <a:schemeClr val="accent3"/>
          </a:solidFill>
        </p:grpSpPr>
        <p:sp>
          <p:nvSpPr>
            <p:cNvPr id="1910" name="Freeform: Shape 1909">
              <a:extLst>
                <a:ext uri="{FF2B5EF4-FFF2-40B4-BE49-F238E27FC236}">
                  <a16:creationId xmlns:a16="http://schemas.microsoft.com/office/drawing/2014/main" id="{0865AD17-C0E5-4649-8B81-28DBACFFFB9F}"/>
                </a:ext>
              </a:extLst>
            </p:cNvPr>
            <p:cNvSpPr/>
            <p:nvPr/>
          </p:nvSpPr>
          <p:spPr>
            <a:xfrm>
              <a:off x="4661652" y="440688"/>
              <a:ext cx="390525" cy="390525"/>
            </a:xfrm>
            <a:custGeom>
              <a:avLst/>
              <a:gdLst>
                <a:gd name="connsiteX0" fmla="*/ 198120 w 390525"/>
                <a:gd name="connsiteY0" fmla="*/ 7144 h 390525"/>
                <a:gd name="connsiteX1" fmla="*/ 7144 w 390525"/>
                <a:gd name="connsiteY1" fmla="*/ 198120 h 390525"/>
                <a:gd name="connsiteX2" fmla="*/ 198120 w 390525"/>
                <a:gd name="connsiteY2" fmla="*/ 389096 h 390525"/>
                <a:gd name="connsiteX3" fmla="*/ 389096 w 390525"/>
                <a:gd name="connsiteY3" fmla="*/ 198120 h 390525"/>
                <a:gd name="connsiteX4" fmla="*/ 198120 w 390525"/>
                <a:gd name="connsiteY4" fmla="*/ 7144 h 390525"/>
                <a:gd name="connsiteX5" fmla="*/ 317659 w 390525"/>
                <a:gd name="connsiteY5" fmla="*/ 317659 h 390525"/>
                <a:gd name="connsiteX6" fmla="*/ 198120 w 390525"/>
                <a:gd name="connsiteY6" fmla="*/ 367189 h 390525"/>
                <a:gd name="connsiteX7" fmla="*/ 78581 w 390525"/>
                <a:gd name="connsiteY7" fmla="*/ 317659 h 390525"/>
                <a:gd name="connsiteX8" fmla="*/ 29051 w 390525"/>
                <a:gd name="connsiteY8" fmla="*/ 198120 h 390525"/>
                <a:gd name="connsiteX9" fmla="*/ 78581 w 390525"/>
                <a:gd name="connsiteY9" fmla="*/ 78581 h 390525"/>
                <a:gd name="connsiteX10" fmla="*/ 198120 w 390525"/>
                <a:gd name="connsiteY10" fmla="*/ 29051 h 390525"/>
                <a:gd name="connsiteX11" fmla="*/ 317659 w 390525"/>
                <a:gd name="connsiteY11" fmla="*/ 78581 h 390525"/>
                <a:gd name="connsiteX12" fmla="*/ 367189 w 390525"/>
                <a:gd name="connsiteY12" fmla="*/ 198120 h 390525"/>
                <a:gd name="connsiteX13" fmla="*/ 317659 w 390525"/>
                <a:gd name="connsiteY13" fmla="*/ 317659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0525" h="390525"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657" y="7144"/>
                    <a:pt x="198120" y="7144"/>
                  </a:cubicBezTo>
                  <a:close/>
                  <a:moveTo>
                    <a:pt x="317659" y="317659"/>
                  </a:moveTo>
                  <a:cubicBezTo>
                    <a:pt x="285750" y="349568"/>
                    <a:pt x="243269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2" y="285750"/>
                    <a:pt x="29051" y="243269"/>
                    <a:pt x="29051" y="198120"/>
                  </a:cubicBezTo>
                  <a:cubicBezTo>
                    <a:pt x="29051" y="152972"/>
                    <a:pt x="46672" y="110490"/>
                    <a:pt x="78581" y="78581"/>
                  </a:cubicBezTo>
                  <a:cubicBezTo>
                    <a:pt x="110490" y="46673"/>
                    <a:pt x="152971" y="29051"/>
                    <a:pt x="198120" y="29051"/>
                  </a:cubicBezTo>
                  <a:cubicBezTo>
                    <a:pt x="243269" y="29051"/>
                    <a:pt x="285750" y="46673"/>
                    <a:pt x="317659" y="78581"/>
                  </a:cubicBezTo>
                  <a:cubicBezTo>
                    <a:pt x="349568" y="110490"/>
                    <a:pt x="367189" y="152972"/>
                    <a:pt x="367189" y="198120"/>
                  </a:cubicBezTo>
                  <a:cubicBezTo>
                    <a:pt x="367189" y="243269"/>
                    <a:pt x="349663" y="285750"/>
                    <a:pt x="317659" y="3176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1" name="Freeform: Shape 1910">
              <a:extLst>
                <a:ext uri="{FF2B5EF4-FFF2-40B4-BE49-F238E27FC236}">
                  <a16:creationId xmlns:a16="http://schemas.microsoft.com/office/drawing/2014/main" id="{42D7DD02-6E1E-4BBD-89CA-689727AB994A}"/>
                </a:ext>
              </a:extLst>
            </p:cNvPr>
            <p:cNvSpPr/>
            <p:nvPr/>
          </p:nvSpPr>
          <p:spPr>
            <a:xfrm>
              <a:off x="4868916" y="614710"/>
              <a:ext cx="123825" cy="95250"/>
            </a:xfrm>
            <a:custGeom>
              <a:avLst/>
              <a:gdLst>
                <a:gd name="connsiteX0" fmla="*/ 7144 w 123825"/>
                <a:gd name="connsiteY0" fmla="*/ 83820 h 95250"/>
                <a:gd name="connsiteX1" fmla="*/ 8096 w 123825"/>
                <a:gd name="connsiteY1" fmla="*/ 95631 h 95250"/>
                <a:gd name="connsiteX2" fmla="*/ 89344 w 123825"/>
                <a:gd name="connsiteY2" fmla="*/ 95631 h 95250"/>
                <a:gd name="connsiteX3" fmla="*/ 72390 w 123825"/>
                <a:gd name="connsiteY3" fmla="*/ 60484 h 95250"/>
                <a:gd name="connsiteX4" fmla="*/ 117348 w 123825"/>
                <a:gd name="connsiteY4" fmla="*/ 15526 h 95250"/>
                <a:gd name="connsiteX5" fmla="*/ 118872 w 123825"/>
                <a:gd name="connsiteY5" fmla="*/ 15526 h 95250"/>
                <a:gd name="connsiteX6" fmla="*/ 83915 w 123825"/>
                <a:gd name="connsiteY6" fmla="*/ 7144 h 95250"/>
                <a:gd name="connsiteX7" fmla="*/ 7144 w 123825"/>
                <a:gd name="connsiteY7" fmla="*/ 8382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825" h="95250">
                  <a:moveTo>
                    <a:pt x="7144" y="83820"/>
                  </a:moveTo>
                  <a:cubicBezTo>
                    <a:pt x="7144" y="87820"/>
                    <a:pt x="7429" y="91821"/>
                    <a:pt x="8096" y="95631"/>
                  </a:cubicBezTo>
                  <a:lnTo>
                    <a:pt x="89344" y="95631"/>
                  </a:lnTo>
                  <a:cubicBezTo>
                    <a:pt x="79057" y="87440"/>
                    <a:pt x="72390" y="74676"/>
                    <a:pt x="72390" y="60484"/>
                  </a:cubicBezTo>
                  <a:cubicBezTo>
                    <a:pt x="72390" y="35623"/>
                    <a:pt x="92488" y="15526"/>
                    <a:pt x="117348" y="15526"/>
                  </a:cubicBezTo>
                  <a:cubicBezTo>
                    <a:pt x="117824" y="15526"/>
                    <a:pt x="118872" y="15526"/>
                    <a:pt x="118872" y="15526"/>
                  </a:cubicBezTo>
                  <a:cubicBezTo>
                    <a:pt x="108394" y="10096"/>
                    <a:pt x="96488" y="7144"/>
                    <a:pt x="83915" y="7144"/>
                  </a:cubicBezTo>
                  <a:cubicBezTo>
                    <a:pt x="41529" y="7144"/>
                    <a:pt x="7144" y="41434"/>
                    <a:pt x="7144" y="83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12" name="Freeform: Shape 1911">
              <a:extLst>
                <a:ext uri="{FF2B5EF4-FFF2-40B4-BE49-F238E27FC236}">
                  <a16:creationId xmlns:a16="http://schemas.microsoft.com/office/drawing/2014/main" id="{7742693F-EE9A-4EAA-B87B-B3C7002F4671}"/>
                </a:ext>
              </a:extLst>
            </p:cNvPr>
            <p:cNvSpPr/>
            <p:nvPr/>
          </p:nvSpPr>
          <p:spPr>
            <a:xfrm>
              <a:off x="4728327" y="545273"/>
              <a:ext cx="266700" cy="171450"/>
            </a:xfrm>
            <a:custGeom>
              <a:avLst/>
              <a:gdLst>
                <a:gd name="connsiteX0" fmla="*/ 162878 w 266700"/>
                <a:gd name="connsiteY0" fmla="*/ 7144 h 171450"/>
                <a:gd name="connsiteX1" fmla="*/ 162878 w 266700"/>
                <a:gd name="connsiteY1" fmla="*/ 7144 h 171450"/>
                <a:gd name="connsiteX2" fmla="*/ 72104 w 266700"/>
                <a:gd name="connsiteY2" fmla="*/ 50102 h 171450"/>
                <a:gd name="connsiteX3" fmla="*/ 72104 w 266700"/>
                <a:gd name="connsiteY3" fmla="*/ 50102 h 171450"/>
                <a:gd name="connsiteX4" fmla="*/ 7144 w 266700"/>
                <a:gd name="connsiteY4" fmla="*/ 165164 h 171450"/>
                <a:gd name="connsiteX5" fmla="*/ 132112 w 266700"/>
                <a:gd name="connsiteY5" fmla="*/ 165164 h 171450"/>
                <a:gd name="connsiteX6" fmla="*/ 131350 w 266700"/>
                <a:gd name="connsiteY6" fmla="*/ 153353 h 171450"/>
                <a:gd name="connsiteX7" fmla="*/ 224504 w 266700"/>
                <a:gd name="connsiteY7" fmla="*/ 60198 h 171450"/>
                <a:gd name="connsiteX8" fmla="*/ 261461 w 266700"/>
                <a:gd name="connsiteY8" fmla="*/ 67818 h 171450"/>
                <a:gd name="connsiteX9" fmla="*/ 162878 w 266700"/>
                <a:gd name="connsiteY9" fmla="*/ 7144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6700" h="171450">
                  <a:moveTo>
                    <a:pt x="162878" y="7144"/>
                  </a:moveTo>
                  <a:lnTo>
                    <a:pt x="162878" y="7144"/>
                  </a:lnTo>
                  <a:cubicBezTo>
                    <a:pt x="126302" y="7144"/>
                    <a:pt x="93631" y="23908"/>
                    <a:pt x="72104" y="50102"/>
                  </a:cubicBezTo>
                  <a:lnTo>
                    <a:pt x="72104" y="50102"/>
                  </a:lnTo>
                  <a:cubicBezTo>
                    <a:pt x="34480" y="94107"/>
                    <a:pt x="36386" y="126111"/>
                    <a:pt x="7144" y="165164"/>
                  </a:cubicBezTo>
                  <a:lnTo>
                    <a:pt x="132112" y="165164"/>
                  </a:lnTo>
                  <a:cubicBezTo>
                    <a:pt x="131636" y="161258"/>
                    <a:pt x="131350" y="157258"/>
                    <a:pt x="131350" y="153353"/>
                  </a:cubicBezTo>
                  <a:cubicBezTo>
                    <a:pt x="131350" y="102013"/>
                    <a:pt x="173164" y="60198"/>
                    <a:pt x="224504" y="60198"/>
                  </a:cubicBezTo>
                  <a:cubicBezTo>
                    <a:pt x="237172" y="60198"/>
                    <a:pt x="249841" y="62865"/>
                    <a:pt x="261461" y="67818"/>
                  </a:cubicBezTo>
                  <a:cubicBezTo>
                    <a:pt x="243269" y="31814"/>
                    <a:pt x="206026" y="7144"/>
                    <a:pt x="162878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1913" name="Object 1912" hidden="1">
            <a:extLst>
              <a:ext uri="{FF2B5EF4-FFF2-40B4-BE49-F238E27FC236}">
                <a16:creationId xmlns:a16="http://schemas.microsoft.com/office/drawing/2014/main" id="{8BBAC872-04A7-4375-A3AB-C59248165127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30573006"/>
              </p:ext>
            </p:extLst>
          </p:nvPr>
        </p:nvGraphicFramePr>
        <p:xfrm>
          <a:off x="457359" y="6573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Slide" r:id="rId18" imgW="592" imgH="595" progId="TCLayout.ActiveDocument.1">
                  <p:embed/>
                </p:oleObj>
              </mc:Choice>
              <mc:Fallback>
                <p:oleObj name="think-cell Slide" r:id="rId18" imgW="592" imgH="595" progId="TCLayout.ActiveDocument.1">
                  <p:embed/>
                  <p:pic>
                    <p:nvPicPr>
                      <p:cNvPr id="1913" name="Object 1912" hidden="1">
                        <a:extLst>
                          <a:ext uri="{FF2B5EF4-FFF2-40B4-BE49-F238E27FC236}">
                            <a16:creationId xmlns:a16="http://schemas.microsoft.com/office/drawing/2014/main" id="{8BBAC872-04A7-4375-A3AB-C592481651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457359" y="6573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23" name="Object 1922" hidden="1">
            <a:extLst>
              <a:ext uri="{FF2B5EF4-FFF2-40B4-BE49-F238E27FC236}">
                <a16:creationId xmlns:a16="http://schemas.microsoft.com/office/drawing/2014/main" id="{05BE286C-C827-465B-9D15-51E91EE777B9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78184318"/>
              </p:ext>
            </p:extLst>
          </p:nvPr>
        </p:nvGraphicFramePr>
        <p:xfrm>
          <a:off x="609759" y="8097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Slide" r:id="rId19" imgW="592" imgH="595" progId="TCLayout.ActiveDocument.1">
                  <p:embed/>
                </p:oleObj>
              </mc:Choice>
              <mc:Fallback>
                <p:oleObj name="think-cell Slide" r:id="rId19" imgW="592" imgH="595" progId="TCLayout.ActiveDocument.1">
                  <p:embed/>
                  <p:pic>
                    <p:nvPicPr>
                      <p:cNvPr id="1923" name="Object 1922" hidden="1">
                        <a:extLst>
                          <a:ext uri="{FF2B5EF4-FFF2-40B4-BE49-F238E27FC236}">
                            <a16:creationId xmlns:a16="http://schemas.microsoft.com/office/drawing/2014/main" id="{05BE286C-C827-465B-9D15-51E91EE777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609759" y="8097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51" name="Object 1950" hidden="1">
            <a:extLst>
              <a:ext uri="{FF2B5EF4-FFF2-40B4-BE49-F238E27FC236}">
                <a16:creationId xmlns:a16="http://schemas.microsoft.com/office/drawing/2014/main" id="{5B253DDF-3809-4A34-834A-28DA15A6BB92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05073484"/>
              </p:ext>
            </p:extLst>
          </p:nvPr>
        </p:nvGraphicFramePr>
        <p:xfrm>
          <a:off x="762159" y="9621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9" name="think-cell Slide" r:id="rId20" imgW="592" imgH="595" progId="TCLayout.ActiveDocument.1">
                  <p:embed/>
                </p:oleObj>
              </mc:Choice>
              <mc:Fallback>
                <p:oleObj name="think-cell Slide" r:id="rId20" imgW="592" imgH="595" progId="TCLayout.ActiveDocument.1">
                  <p:embed/>
                  <p:pic>
                    <p:nvPicPr>
                      <p:cNvPr id="1951" name="Object 1950" hidden="1">
                        <a:extLst>
                          <a:ext uri="{FF2B5EF4-FFF2-40B4-BE49-F238E27FC236}">
                            <a16:creationId xmlns:a16="http://schemas.microsoft.com/office/drawing/2014/main" id="{5B253DDF-3809-4A34-834A-28DA15A6B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762159" y="9621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56" name="Object 1955" hidden="1">
            <a:extLst>
              <a:ext uri="{FF2B5EF4-FFF2-40B4-BE49-F238E27FC236}">
                <a16:creationId xmlns:a16="http://schemas.microsoft.com/office/drawing/2014/main" id="{A6111358-42E3-4106-A49D-D7DA1CA65820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906257485"/>
              </p:ext>
            </p:extLst>
          </p:nvPr>
        </p:nvGraphicFramePr>
        <p:xfrm>
          <a:off x="914559" y="11145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Slide" r:id="rId21" imgW="592" imgH="595" progId="TCLayout.ActiveDocument.1">
                  <p:embed/>
                </p:oleObj>
              </mc:Choice>
              <mc:Fallback>
                <p:oleObj name="think-cell Slide" r:id="rId21" imgW="592" imgH="595" progId="TCLayout.ActiveDocument.1">
                  <p:embed/>
                  <p:pic>
                    <p:nvPicPr>
                      <p:cNvPr id="1956" name="Object 1955" hidden="1">
                        <a:extLst>
                          <a:ext uri="{FF2B5EF4-FFF2-40B4-BE49-F238E27FC236}">
                            <a16:creationId xmlns:a16="http://schemas.microsoft.com/office/drawing/2014/main" id="{A6111358-42E3-4106-A49D-D7DA1CA65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914559" y="11145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57" name="Group 1956">
            <a:extLst>
              <a:ext uri="{FF2B5EF4-FFF2-40B4-BE49-F238E27FC236}">
                <a16:creationId xmlns:a16="http://schemas.microsoft.com/office/drawing/2014/main" id="{74DF0D62-C6F2-4FA2-B2EF-D5C16E76F9FB}"/>
              </a:ext>
            </a:extLst>
          </p:cNvPr>
          <p:cNvGrpSpPr>
            <a:grpSpLocks noChangeAspect="1"/>
          </p:cNvGrpSpPr>
          <p:nvPr/>
        </p:nvGrpSpPr>
        <p:grpSpPr>
          <a:xfrm>
            <a:off x="4901983" y="2814466"/>
            <a:ext cx="390525" cy="390525"/>
            <a:chOff x="3203527" y="3694240"/>
            <a:chExt cx="390525" cy="390525"/>
          </a:xfrm>
          <a:solidFill>
            <a:schemeClr val="accent3"/>
          </a:solidFill>
        </p:grpSpPr>
        <p:sp>
          <p:nvSpPr>
            <p:cNvPr id="1958" name="Freeform: Shape 1957">
              <a:extLst>
                <a:ext uri="{FF2B5EF4-FFF2-40B4-BE49-F238E27FC236}">
                  <a16:creationId xmlns:a16="http://schemas.microsoft.com/office/drawing/2014/main" id="{36E0D10F-2F50-4774-AD7F-5CB612CE705D}"/>
                </a:ext>
              </a:extLst>
            </p:cNvPr>
            <p:cNvSpPr/>
            <p:nvPr/>
          </p:nvSpPr>
          <p:spPr>
            <a:xfrm>
              <a:off x="3334210" y="3758820"/>
              <a:ext cx="57150" cy="57150"/>
            </a:xfrm>
            <a:custGeom>
              <a:avLst/>
              <a:gdLst>
                <a:gd name="connsiteX0" fmla="*/ 57817 w 57150"/>
                <a:gd name="connsiteY0" fmla="*/ 32480 h 57150"/>
                <a:gd name="connsiteX1" fmla="*/ 32480 w 57150"/>
                <a:gd name="connsiteY1" fmla="*/ 57817 h 57150"/>
                <a:gd name="connsiteX2" fmla="*/ 7144 w 57150"/>
                <a:gd name="connsiteY2" fmla="*/ 32480 h 57150"/>
                <a:gd name="connsiteX3" fmla="*/ 32480 w 57150"/>
                <a:gd name="connsiteY3" fmla="*/ 7144 h 57150"/>
                <a:gd name="connsiteX4" fmla="*/ 57817 w 57150"/>
                <a:gd name="connsiteY4" fmla="*/ 3248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57817" y="32480"/>
                  </a:moveTo>
                  <a:cubicBezTo>
                    <a:pt x="57817" y="46473"/>
                    <a:pt x="46473" y="57817"/>
                    <a:pt x="32480" y="57817"/>
                  </a:cubicBezTo>
                  <a:cubicBezTo>
                    <a:pt x="18487" y="57817"/>
                    <a:pt x="7144" y="46473"/>
                    <a:pt x="7144" y="32480"/>
                  </a:cubicBezTo>
                  <a:cubicBezTo>
                    <a:pt x="7144" y="18487"/>
                    <a:pt x="18487" y="7144"/>
                    <a:pt x="32480" y="7144"/>
                  </a:cubicBezTo>
                  <a:cubicBezTo>
                    <a:pt x="46473" y="7144"/>
                    <a:pt x="57817" y="18487"/>
                    <a:pt x="57817" y="324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59" name="Freeform: Shape 1958">
              <a:extLst>
                <a:ext uri="{FF2B5EF4-FFF2-40B4-BE49-F238E27FC236}">
                  <a16:creationId xmlns:a16="http://schemas.microsoft.com/office/drawing/2014/main" id="{3AAB3D35-C836-4606-98C7-EC53F005BBE7}"/>
                </a:ext>
              </a:extLst>
            </p:cNvPr>
            <p:cNvSpPr/>
            <p:nvPr/>
          </p:nvSpPr>
          <p:spPr>
            <a:xfrm>
              <a:off x="3303635" y="3823971"/>
              <a:ext cx="123825" cy="171450"/>
            </a:xfrm>
            <a:custGeom>
              <a:avLst/>
              <a:gdLst>
                <a:gd name="connsiteX0" fmla="*/ 56769 w 123825"/>
                <a:gd name="connsiteY0" fmla="*/ 121920 h 171450"/>
                <a:gd name="connsiteX1" fmla="*/ 118681 w 123825"/>
                <a:gd name="connsiteY1" fmla="*/ 56102 h 171450"/>
                <a:gd name="connsiteX2" fmla="*/ 65246 w 123825"/>
                <a:gd name="connsiteY2" fmla="*/ 7144 h 171450"/>
                <a:gd name="connsiteX3" fmla="*/ 60769 w 123825"/>
                <a:gd name="connsiteY3" fmla="*/ 7144 h 171450"/>
                <a:gd name="connsiteX4" fmla="*/ 7144 w 123825"/>
                <a:gd name="connsiteY4" fmla="*/ 60770 h 171450"/>
                <a:gd name="connsiteX5" fmla="*/ 7144 w 123825"/>
                <a:gd name="connsiteY5" fmla="*/ 144399 h 171450"/>
                <a:gd name="connsiteX6" fmla="*/ 22193 w 123825"/>
                <a:gd name="connsiteY6" fmla="*/ 151543 h 171450"/>
                <a:gd name="connsiteX7" fmla="*/ 22193 w 123825"/>
                <a:gd name="connsiteY7" fmla="*/ 172022 h 171450"/>
                <a:gd name="connsiteX8" fmla="*/ 79819 w 123825"/>
                <a:gd name="connsiteY8" fmla="*/ 172022 h 171450"/>
                <a:gd name="connsiteX9" fmla="*/ 56769 w 123825"/>
                <a:gd name="connsiteY9" fmla="*/ 12192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825" h="171450">
                  <a:moveTo>
                    <a:pt x="56769" y="121920"/>
                  </a:moveTo>
                  <a:cubicBezTo>
                    <a:pt x="56769" y="86868"/>
                    <a:pt x="84201" y="58198"/>
                    <a:pt x="118681" y="56102"/>
                  </a:cubicBezTo>
                  <a:cubicBezTo>
                    <a:pt x="116300" y="28670"/>
                    <a:pt x="93345" y="7144"/>
                    <a:pt x="65246" y="7144"/>
                  </a:cubicBezTo>
                  <a:lnTo>
                    <a:pt x="60769" y="7144"/>
                  </a:lnTo>
                  <a:cubicBezTo>
                    <a:pt x="31147" y="7144"/>
                    <a:pt x="7144" y="31147"/>
                    <a:pt x="7144" y="60770"/>
                  </a:cubicBezTo>
                  <a:lnTo>
                    <a:pt x="7144" y="144399"/>
                  </a:lnTo>
                  <a:lnTo>
                    <a:pt x="22193" y="151543"/>
                  </a:lnTo>
                  <a:lnTo>
                    <a:pt x="22193" y="172022"/>
                  </a:lnTo>
                  <a:lnTo>
                    <a:pt x="79819" y="172022"/>
                  </a:lnTo>
                  <a:cubicBezTo>
                    <a:pt x="65722" y="159830"/>
                    <a:pt x="56769" y="141923"/>
                    <a:pt x="56769" y="1219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60" name="Freeform: Shape 1959">
              <a:extLst>
                <a:ext uri="{FF2B5EF4-FFF2-40B4-BE49-F238E27FC236}">
                  <a16:creationId xmlns:a16="http://schemas.microsoft.com/office/drawing/2014/main" id="{09A8C16B-5480-46A8-A995-81CC599B97D6}"/>
                </a:ext>
              </a:extLst>
            </p:cNvPr>
            <p:cNvSpPr/>
            <p:nvPr/>
          </p:nvSpPr>
          <p:spPr>
            <a:xfrm>
              <a:off x="3424697" y="3789966"/>
              <a:ext cx="95250" cy="95250"/>
            </a:xfrm>
            <a:custGeom>
              <a:avLst/>
              <a:gdLst>
                <a:gd name="connsiteX0" fmla="*/ 50292 w 95250"/>
                <a:gd name="connsiteY0" fmla="*/ 7144 h 95250"/>
                <a:gd name="connsiteX1" fmla="*/ 7144 w 95250"/>
                <a:gd name="connsiteY1" fmla="*/ 50292 h 95250"/>
                <a:gd name="connsiteX2" fmla="*/ 50292 w 95250"/>
                <a:gd name="connsiteY2" fmla="*/ 93440 h 95250"/>
                <a:gd name="connsiteX3" fmla="*/ 93440 w 95250"/>
                <a:gd name="connsiteY3" fmla="*/ 50292 h 95250"/>
                <a:gd name="connsiteX4" fmla="*/ 50292 w 95250"/>
                <a:gd name="connsiteY4" fmla="*/ 7144 h 95250"/>
                <a:gd name="connsiteX5" fmla="*/ 49911 w 95250"/>
                <a:gd name="connsiteY5" fmla="*/ 75152 h 95250"/>
                <a:gd name="connsiteX6" fmla="*/ 26003 w 95250"/>
                <a:gd name="connsiteY6" fmla="*/ 59246 h 95250"/>
                <a:gd name="connsiteX7" fmla="*/ 36671 w 95250"/>
                <a:gd name="connsiteY7" fmla="*/ 54864 h 95250"/>
                <a:gd name="connsiteX8" fmla="*/ 49816 w 95250"/>
                <a:gd name="connsiteY8" fmla="*/ 63627 h 95250"/>
                <a:gd name="connsiteX9" fmla="*/ 64579 w 95250"/>
                <a:gd name="connsiteY9" fmla="*/ 54959 h 95250"/>
                <a:gd name="connsiteX10" fmla="*/ 75248 w 95250"/>
                <a:gd name="connsiteY10" fmla="*/ 59436 h 95250"/>
                <a:gd name="connsiteX11" fmla="*/ 49911 w 95250"/>
                <a:gd name="connsiteY11" fmla="*/ 75152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5250" h="95250">
                  <a:moveTo>
                    <a:pt x="50292" y="7144"/>
                  </a:moveTo>
                  <a:cubicBezTo>
                    <a:pt x="26479" y="7144"/>
                    <a:pt x="7144" y="26480"/>
                    <a:pt x="7144" y="50292"/>
                  </a:cubicBezTo>
                  <a:cubicBezTo>
                    <a:pt x="7144" y="74105"/>
                    <a:pt x="26479" y="93440"/>
                    <a:pt x="50292" y="93440"/>
                  </a:cubicBezTo>
                  <a:cubicBezTo>
                    <a:pt x="74104" y="93440"/>
                    <a:pt x="93440" y="74105"/>
                    <a:pt x="93440" y="50292"/>
                  </a:cubicBezTo>
                  <a:cubicBezTo>
                    <a:pt x="93440" y="26480"/>
                    <a:pt x="74104" y="7144"/>
                    <a:pt x="50292" y="7144"/>
                  </a:cubicBezTo>
                  <a:close/>
                  <a:moveTo>
                    <a:pt x="49911" y="75152"/>
                  </a:moveTo>
                  <a:cubicBezTo>
                    <a:pt x="39910" y="75152"/>
                    <a:pt x="29813" y="68485"/>
                    <a:pt x="26003" y="59246"/>
                  </a:cubicBezTo>
                  <a:lnTo>
                    <a:pt x="36671" y="54864"/>
                  </a:lnTo>
                  <a:cubicBezTo>
                    <a:pt x="38671" y="59722"/>
                    <a:pt x="44482" y="63627"/>
                    <a:pt x="49816" y="63627"/>
                  </a:cubicBezTo>
                  <a:cubicBezTo>
                    <a:pt x="56198" y="63627"/>
                    <a:pt x="62865" y="59055"/>
                    <a:pt x="64579" y="54959"/>
                  </a:cubicBezTo>
                  <a:lnTo>
                    <a:pt x="75248" y="59436"/>
                  </a:lnTo>
                  <a:cubicBezTo>
                    <a:pt x="71152" y="69247"/>
                    <a:pt x="59150" y="75152"/>
                    <a:pt x="49911" y="751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1" name="Freeform: Shape 1960">
              <a:extLst>
                <a:ext uri="{FF2B5EF4-FFF2-40B4-BE49-F238E27FC236}">
                  <a16:creationId xmlns:a16="http://schemas.microsoft.com/office/drawing/2014/main" id="{F14699F7-508B-43DD-892E-029814E883B9}"/>
                </a:ext>
              </a:extLst>
            </p:cNvPr>
            <p:cNvSpPr/>
            <p:nvPr/>
          </p:nvSpPr>
          <p:spPr>
            <a:xfrm>
              <a:off x="3203527" y="3694240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9" y="29051"/>
                    <a:pt x="285750" y="46673"/>
                    <a:pt x="317659" y="78581"/>
                  </a:cubicBezTo>
                  <a:cubicBezTo>
                    <a:pt x="349568" y="110490"/>
                    <a:pt x="367189" y="152972"/>
                    <a:pt x="367189" y="198120"/>
                  </a:cubicBezTo>
                  <a:cubicBezTo>
                    <a:pt x="367189" y="243269"/>
                    <a:pt x="349568" y="285750"/>
                    <a:pt x="317659" y="317659"/>
                  </a:cubicBezTo>
                  <a:cubicBezTo>
                    <a:pt x="285750" y="349568"/>
                    <a:pt x="243269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3" y="285750"/>
                    <a:pt x="29051" y="243269"/>
                    <a:pt x="29051" y="198120"/>
                  </a:cubicBezTo>
                  <a:cubicBezTo>
                    <a:pt x="29051" y="152972"/>
                    <a:pt x="46673" y="110490"/>
                    <a:pt x="78581" y="78581"/>
                  </a:cubicBezTo>
                  <a:cubicBezTo>
                    <a:pt x="110490" y="46673"/>
                    <a:pt x="152971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62" name="Freeform: Shape 1961">
              <a:extLst>
                <a:ext uri="{FF2B5EF4-FFF2-40B4-BE49-F238E27FC236}">
                  <a16:creationId xmlns:a16="http://schemas.microsoft.com/office/drawing/2014/main" id="{C815A05D-8047-4432-B15E-4A8E3EF947E2}"/>
                </a:ext>
              </a:extLst>
            </p:cNvPr>
            <p:cNvSpPr/>
            <p:nvPr/>
          </p:nvSpPr>
          <p:spPr>
            <a:xfrm>
              <a:off x="3369452" y="3888931"/>
              <a:ext cx="104775" cy="104775"/>
            </a:xfrm>
            <a:custGeom>
              <a:avLst/>
              <a:gdLst>
                <a:gd name="connsiteX0" fmla="*/ 56960 w 104775"/>
                <a:gd name="connsiteY0" fmla="*/ 7144 h 104775"/>
                <a:gd name="connsiteX1" fmla="*/ 7144 w 104775"/>
                <a:gd name="connsiteY1" fmla="*/ 56959 h 104775"/>
                <a:gd name="connsiteX2" fmla="*/ 56960 w 104775"/>
                <a:gd name="connsiteY2" fmla="*/ 106775 h 104775"/>
                <a:gd name="connsiteX3" fmla="*/ 106775 w 104775"/>
                <a:gd name="connsiteY3" fmla="*/ 56959 h 104775"/>
                <a:gd name="connsiteX4" fmla="*/ 56960 w 104775"/>
                <a:gd name="connsiteY4" fmla="*/ 7144 h 104775"/>
                <a:gd name="connsiteX5" fmla="*/ 56483 w 104775"/>
                <a:gd name="connsiteY5" fmla="*/ 85630 h 104775"/>
                <a:gd name="connsiteX6" fmla="*/ 28956 w 104775"/>
                <a:gd name="connsiteY6" fmla="*/ 67246 h 104775"/>
                <a:gd name="connsiteX7" fmla="*/ 41339 w 104775"/>
                <a:gd name="connsiteY7" fmla="*/ 62198 h 104775"/>
                <a:gd name="connsiteX8" fmla="*/ 56579 w 104775"/>
                <a:gd name="connsiteY8" fmla="*/ 72295 h 104775"/>
                <a:gd name="connsiteX9" fmla="*/ 73628 w 104775"/>
                <a:gd name="connsiteY9" fmla="*/ 62293 h 104775"/>
                <a:gd name="connsiteX10" fmla="*/ 85916 w 104775"/>
                <a:gd name="connsiteY10" fmla="*/ 67437 h 104775"/>
                <a:gd name="connsiteX11" fmla="*/ 56483 w 104775"/>
                <a:gd name="connsiteY11" fmla="*/ 85630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775" h="104775">
                  <a:moveTo>
                    <a:pt x="56960" y="7144"/>
                  </a:moveTo>
                  <a:cubicBezTo>
                    <a:pt x="29432" y="7144"/>
                    <a:pt x="7144" y="29432"/>
                    <a:pt x="7144" y="56959"/>
                  </a:cubicBezTo>
                  <a:cubicBezTo>
                    <a:pt x="7144" y="84487"/>
                    <a:pt x="29432" y="106775"/>
                    <a:pt x="56960" y="106775"/>
                  </a:cubicBezTo>
                  <a:cubicBezTo>
                    <a:pt x="84487" y="106775"/>
                    <a:pt x="106775" y="84487"/>
                    <a:pt x="106775" y="56959"/>
                  </a:cubicBezTo>
                  <a:cubicBezTo>
                    <a:pt x="106775" y="29432"/>
                    <a:pt x="84487" y="7144"/>
                    <a:pt x="56960" y="7144"/>
                  </a:cubicBezTo>
                  <a:close/>
                  <a:moveTo>
                    <a:pt x="56483" y="85630"/>
                  </a:moveTo>
                  <a:cubicBezTo>
                    <a:pt x="44863" y="85630"/>
                    <a:pt x="33338" y="77914"/>
                    <a:pt x="28956" y="67246"/>
                  </a:cubicBezTo>
                  <a:lnTo>
                    <a:pt x="41339" y="62198"/>
                  </a:lnTo>
                  <a:cubicBezTo>
                    <a:pt x="43625" y="67818"/>
                    <a:pt x="50387" y="72295"/>
                    <a:pt x="56579" y="72295"/>
                  </a:cubicBezTo>
                  <a:cubicBezTo>
                    <a:pt x="63913" y="72295"/>
                    <a:pt x="71628" y="67056"/>
                    <a:pt x="73628" y="62293"/>
                  </a:cubicBezTo>
                  <a:lnTo>
                    <a:pt x="85916" y="67437"/>
                  </a:lnTo>
                  <a:cubicBezTo>
                    <a:pt x="81153" y="78772"/>
                    <a:pt x="67247" y="85630"/>
                    <a:pt x="56483" y="8563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aphicFrame>
        <p:nvGraphicFramePr>
          <p:cNvPr id="1963" name="Object 1962" hidden="1">
            <a:extLst>
              <a:ext uri="{FF2B5EF4-FFF2-40B4-BE49-F238E27FC236}">
                <a16:creationId xmlns:a16="http://schemas.microsoft.com/office/drawing/2014/main" id="{D6D10C19-EE79-4C94-A094-58CCCD79AB35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9403208"/>
              </p:ext>
            </p:extLst>
          </p:nvPr>
        </p:nvGraphicFramePr>
        <p:xfrm>
          <a:off x="1066959" y="12669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Slide" r:id="rId22" imgW="592" imgH="595" progId="TCLayout.ActiveDocument.1">
                  <p:embed/>
                </p:oleObj>
              </mc:Choice>
              <mc:Fallback>
                <p:oleObj name="think-cell Slide" r:id="rId22" imgW="592" imgH="595" progId="TCLayout.ActiveDocument.1">
                  <p:embed/>
                  <p:pic>
                    <p:nvPicPr>
                      <p:cNvPr id="1963" name="Object 1962" hidden="1">
                        <a:extLst>
                          <a:ext uri="{FF2B5EF4-FFF2-40B4-BE49-F238E27FC236}">
                            <a16:creationId xmlns:a16="http://schemas.microsoft.com/office/drawing/2014/main" id="{D6D10C19-EE79-4C94-A094-58CCCD79A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066959" y="12669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64" name="Oval 1963">
            <a:extLst>
              <a:ext uri="{FF2B5EF4-FFF2-40B4-BE49-F238E27FC236}">
                <a16:creationId xmlns:a16="http://schemas.microsoft.com/office/drawing/2014/main" id="{423E26C5-D01C-4ACB-8CFF-1ECF703307BB}"/>
              </a:ext>
            </a:extLst>
          </p:cNvPr>
          <p:cNvSpPr>
            <a:spLocks noChangeAspect="1"/>
          </p:cNvSpPr>
          <p:nvPr/>
        </p:nvSpPr>
        <p:spPr>
          <a:xfrm>
            <a:off x="4926113" y="3467932"/>
            <a:ext cx="390525" cy="390525"/>
          </a:xfrm>
          <a:prstGeom prst="ellipse">
            <a:avLst/>
          </a:prstGeom>
          <a:solidFill>
            <a:srgbClr val="8ECDC8"/>
          </a:solidFill>
          <a:ln>
            <a:solidFill>
              <a:srgbClr val="8ECD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graphicFrame>
        <p:nvGraphicFramePr>
          <p:cNvPr id="1965" name="Object 1964" hidden="1">
            <a:extLst>
              <a:ext uri="{FF2B5EF4-FFF2-40B4-BE49-F238E27FC236}">
                <a16:creationId xmlns:a16="http://schemas.microsoft.com/office/drawing/2014/main" id="{D9DB63C5-7B51-4119-8AAD-A4E29ADEAC52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42772685"/>
              </p:ext>
            </p:extLst>
          </p:nvPr>
        </p:nvGraphicFramePr>
        <p:xfrm>
          <a:off x="1219359" y="14193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2" name="think-cell Slide" r:id="rId23" imgW="592" imgH="595" progId="TCLayout.ActiveDocument.1">
                  <p:embed/>
                </p:oleObj>
              </mc:Choice>
              <mc:Fallback>
                <p:oleObj name="think-cell Slide" r:id="rId23" imgW="592" imgH="595" progId="TCLayout.ActiveDocument.1">
                  <p:embed/>
                  <p:pic>
                    <p:nvPicPr>
                      <p:cNvPr id="1965" name="Object 1964" hidden="1">
                        <a:extLst>
                          <a:ext uri="{FF2B5EF4-FFF2-40B4-BE49-F238E27FC236}">
                            <a16:creationId xmlns:a16="http://schemas.microsoft.com/office/drawing/2014/main" id="{D9DB63C5-7B51-4119-8AAD-A4E29ADEAC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219359" y="14193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C49FE09D-7C66-4EEB-9BC5-F9FD41FADA15}"/>
              </a:ext>
            </a:extLst>
          </p:cNvPr>
          <p:cNvSpPr txBox="1"/>
          <p:nvPr/>
        </p:nvSpPr>
        <p:spPr>
          <a:xfrm>
            <a:off x="5800615" y="3505679"/>
            <a:ext cx="2834116" cy="4432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1200" b="1" dirty="0">
                <a:solidFill>
                  <a:srgbClr val="00B0F0"/>
                </a:solidFill>
              </a:rPr>
              <a:t>Zielone światło dla rozwoju MFW</a:t>
            </a:r>
            <a:r>
              <a:rPr lang="pl-PL" sz="900" dirty="0">
                <a:solidFill>
                  <a:schemeClr val="accent3">
                    <a:lumMod val="75000"/>
                  </a:schemeClr>
                </a:solidFill>
              </a:rPr>
              <a:t>                            PEP2040: MFW filarem polskiej transformacji;    Ustawa offshore: ramy prawne dla rozwoju MFW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91BC5B4-57BB-45B9-883F-AFE8A624A0B1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3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928652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C9878F-4505-40D5-ACD5-0785AD8CB781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GB"/>
              <a:pPr/>
              <a:t>4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CFC4E6A-3378-4C6D-8637-97CB988F8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z="1600" dirty="0">
                <a:solidFill>
                  <a:srgbClr val="00B0F0"/>
                </a:solidFill>
                <a:latin typeface="+mn-lt"/>
              </a:rPr>
              <a:t>Polska ma szansę stać się jednym z największych rynków morskiej energetyki wiatrowej w Europie i liderem w regionie Morza Bałtyckiego</a:t>
            </a:r>
            <a:endParaRPr lang="en-GB" sz="1600" dirty="0">
              <a:solidFill>
                <a:srgbClr val="00B0F0"/>
              </a:solidFill>
              <a:latin typeface="+mn-lt"/>
            </a:endParaRPr>
          </a:p>
        </p:txBody>
      </p:sp>
      <p:sp>
        <p:nvSpPr>
          <p:cNvPr id="235" name="Title 5">
            <a:extLst>
              <a:ext uri="{FF2B5EF4-FFF2-40B4-BE49-F238E27FC236}">
                <a16:creationId xmlns:a16="http://schemas.microsoft.com/office/drawing/2014/main" id="{B4EBFE13-55AC-4C71-BA50-5275F5AB6A7B}"/>
              </a:ext>
            </a:extLst>
          </p:cNvPr>
          <p:cNvSpPr txBox="1">
            <a:spLocks/>
          </p:cNvSpPr>
          <p:nvPr/>
        </p:nvSpPr>
        <p:spPr>
          <a:xfrm>
            <a:off x="1714965" y="4089607"/>
            <a:ext cx="948673" cy="34064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algn="l" defTabSz="1007943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200" b="1" i="0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600" b="0" dirty="0">
                <a:solidFill>
                  <a:schemeClr val="bg1"/>
                </a:solidFill>
                <a:latin typeface="Orsted Sans Office" panose="00000500000000000000" pitchFamily="2" charset="0"/>
              </a:rPr>
              <a:t>Germany</a:t>
            </a:r>
            <a:endParaRPr lang="da-DK" sz="600" b="0" dirty="0">
              <a:solidFill>
                <a:schemeClr val="bg1"/>
              </a:solidFill>
              <a:latin typeface="Orsted Sans Office" panose="00000500000000000000" pitchFamily="2" charset="0"/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4EE12A4E-8F62-41B9-BE63-012B7FDE719A}"/>
              </a:ext>
            </a:extLst>
          </p:cNvPr>
          <p:cNvGrpSpPr>
            <a:grpSpLocks/>
          </p:cNvGrpSpPr>
          <p:nvPr/>
        </p:nvGrpSpPr>
        <p:grpSpPr>
          <a:xfrm>
            <a:off x="-21599" y="828000"/>
            <a:ext cx="4593599" cy="3721814"/>
            <a:chOff x="2029" y="1108952"/>
            <a:chExt cx="6073343" cy="4955620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75" name="Freeform 809">
              <a:extLst>
                <a:ext uri="{FF2B5EF4-FFF2-40B4-BE49-F238E27FC236}">
                  <a16:creationId xmlns:a16="http://schemas.microsoft.com/office/drawing/2014/main" id="{5BA8B149-CD09-4286-890A-6BA2FE0546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4321" y="5616962"/>
              <a:ext cx="6350" cy="12698"/>
            </a:xfrm>
            <a:custGeom>
              <a:avLst/>
              <a:gdLst>
                <a:gd name="T0" fmla="*/ 4 w 4"/>
                <a:gd name="T1" fmla="*/ 0 h 8"/>
                <a:gd name="T2" fmla="*/ 2 w 4"/>
                <a:gd name="T3" fmla="*/ 2 h 8"/>
                <a:gd name="T4" fmla="*/ 0 w 4"/>
                <a:gd name="T5" fmla="*/ 8 h 8"/>
                <a:gd name="T6" fmla="*/ 2 w 4"/>
                <a:gd name="T7" fmla="*/ 2 h 8"/>
                <a:gd name="T8" fmla="*/ 4 w 4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2" y="2"/>
                  </a:lnTo>
                  <a:lnTo>
                    <a:pt x="0" y="8"/>
                  </a:lnTo>
                  <a:lnTo>
                    <a:pt x="2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76" name="Freeform 810">
              <a:extLst>
                <a:ext uri="{FF2B5EF4-FFF2-40B4-BE49-F238E27FC236}">
                  <a16:creationId xmlns:a16="http://schemas.microsoft.com/office/drawing/2014/main" id="{25CED383-5EE0-4C83-8D73-8B7AC421C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8820" y="5594741"/>
              <a:ext cx="19050" cy="19047"/>
            </a:xfrm>
            <a:custGeom>
              <a:avLst/>
              <a:gdLst>
                <a:gd name="T0" fmla="*/ 6 w 12"/>
                <a:gd name="T1" fmla="*/ 2 h 12"/>
                <a:gd name="T2" fmla="*/ 8 w 12"/>
                <a:gd name="T3" fmla="*/ 0 h 12"/>
                <a:gd name="T4" fmla="*/ 12 w 12"/>
                <a:gd name="T5" fmla="*/ 2 h 12"/>
                <a:gd name="T6" fmla="*/ 8 w 12"/>
                <a:gd name="T7" fmla="*/ 0 h 12"/>
                <a:gd name="T8" fmla="*/ 6 w 12"/>
                <a:gd name="T9" fmla="*/ 2 h 12"/>
                <a:gd name="T10" fmla="*/ 2 w 12"/>
                <a:gd name="T11" fmla="*/ 8 h 12"/>
                <a:gd name="T12" fmla="*/ 0 w 12"/>
                <a:gd name="T13" fmla="*/ 12 h 12"/>
                <a:gd name="T14" fmla="*/ 2 w 12"/>
                <a:gd name="T15" fmla="*/ 8 h 12"/>
                <a:gd name="T16" fmla="*/ 6 w 12"/>
                <a:gd name="T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2">
                  <a:moveTo>
                    <a:pt x="6" y="2"/>
                  </a:moveTo>
                  <a:lnTo>
                    <a:pt x="8" y="0"/>
                  </a:lnTo>
                  <a:lnTo>
                    <a:pt x="12" y="2"/>
                  </a:lnTo>
                  <a:lnTo>
                    <a:pt x="8" y="0"/>
                  </a:lnTo>
                  <a:lnTo>
                    <a:pt x="6" y="2"/>
                  </a:lnTo>
                  <a:lnTo>
                    <a:pt x="2" y="8"/>
                  </a:lnTo>
                  <a:lnTo>
                    <a:pt x="0" y="12"/>
                  </a:lnTo>
                  <a:lnTo>
                    <a:pt x="2" y="8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77" name="Freeform 811">
              <a:extLst>
                <a:ext uri="{FF2B5EF4-FFF2-40B4-BE49-F238E27FC236}">
                  <a16:creationId xmlns:a16="http://schemas.microsoft.com/office/drawing/2014/main" id="{4CC884FE-92D2-4719-9A0F-1F6B2AA7F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307" y="5636010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0 h 2"/>
                <a:gd name="T4" fmla="*/ 0 w 4"/>
                <a:gd name="T5" fmla="*/ 0 h 2"/>
                <a:gd name="T6" fmla="*/ 2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78" name="Freeform 812">
              <a:extLst>
                <a:ext uri="{FF2B5EF4-FFF2-40B4-BE49-F238E27FC236}">
                  <a16:creationId xmlns:a16="http://schemas.microsoft.com/office/drawing/2014/main" id="{A6FD2ECA-5301-4313-A345-2BEF129D5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7557" y="5626486"/>
              <a:ext cx="15875" cy="12698"/>
            </a:xfrm>
            <a:custGeom>
              <a:avLst/>
              <a:gdLst>
                <a:gd name="T0" fmla="*/ 8 w 10"/>
                <a:gd name="T1" fmla="*/ 8 h 8"/>
                <a:gd name="T2" fmla="*/ 10 w 10"/>
                <a:gd name="T3" fmla="*/ 8 h 8"/>
                <a:gd name="T4" fmla="*/ 8 w 10"/>
                <a:gd name="T5" fmla="*/ 8 h 8"/>
                <a:gd name="T6" fmla="*/ 4 w 10"/>
                <a:gd name="T7" fmla="*/ 4 h 8"/>
                <a:gd name="T8" fmla="*/ 0 w 10"/>
                <a:gd name="T9" fmla="*/ 0 h 8"/>
                <a:gd name="T10" fmla="*/ 4 w 10"/>
                <a:gd name="T11" fmla="*/ 4 h 8"/>
                <a:gd name="T12" fmla="*/ 8 w 1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8">
                  <a:moveTo>
                    <a:pt x="8" y="8"/>
                  </a:moveTo>
                  <a:lnTo>
                    <a:pt x="10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0" y="0"/>
                  </a:lnTo>
                  <a:lnTo>
                    <a:pt x="4" y="4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79" name="Freeform 813">
              <a:extLst>
                <a:ext uri="{FF2B5EF4-FFF2-40B4-BE49-F238E27FC236}">
                  <a16:creationId xmlns:a16="http://schemas.microsoft.com/office/drawing/2014/main" id="{DDC0ACBA-DFDA-4C6D-8B7C-BA93E6600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0245" y="5639184"/>
              <a:ext cx="6350" cy="1587"/>
            </a:xfrm>
            <a:custGeom>
              <a:avLst/>
              <a:gdLst>
                <a:gd name="T0" fmla="*/ 4 w 4"/>
                <a:gd name="T1" fmla="*/ 1 h 1"/>
                <a:gd name="T2" fmla="*/ 2 w 4"/>
                <a:gd name="T3" fmla="*/ 1 h 1"/>
                <a:gd name="T4" fmla="*/ 0 w 4"/>
                <a:gd name="T5" fmla="*/ 0 h 1"/>
                <a:gd name="T6" fmla="*/ 2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lnTo>
                    <a:pt x="2" y="1"/>
                  </a:lnTo>
                  <a:lnTo>
                    <a:pt x="0" y="0"/>
                  </a:lnTo>
                  <a:lnTo>
                    <a:pt x="2" y="1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80" name="Freeform 814">
              <a:extLst>
                <a:ext uri="{FF2B5EF4-FFF2-40B4-BE49-F238E27FC236}">
                  <a16:creationId xmlns:a16="http://schemas.microsoft.com/office/drawing/2014/main" id="{0AC23313-DEFD-4B91-844D-817262F1A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6120" y="5629661"/>
              <a:ext cx="9525" cy="9524"/>
            </a:xfrm>
            <a:custGeom>
              <a:avLst/>
              <a:gdLst>
                <a:gd name="T0" fmla="*/ 6 w 6"/>
                <a:gd name="T1" fmla="*/ 0 h 6"/>
                <a:gd name="T2" fmla="*/ 4 w 6"/>
                <a:gd name="T3" fmla="*/ 2 h 6"/>
                <a:gd name="T4" fmla="*/ 0 w 6"/>
                <a:gd name="T5" fmla="*/ 6 h 6"/>
                <a:gd name="T6" fmla="*/ 4 w 6"/>
                <a:gd name="T7" fmla="*/ 2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4" y="2"/>
                  </a:lnTo>
                  <a:lnTo>
                    <a:pt x="0" y="6"/>
                  </a:lnTo>
                  <a:lnTo>
                    <a:pt x="4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81" name="Freeform 815">
              <a:extLst>
                <a:ext uri="{FF2B5EF4-FFF2-40B4-BE49-F238E27FC236}">
                  <a16:creationId xmlns:a16="http://schemas.microsoft.com/office/drawing/2014/main" id="{9751080A-5825-44EB-841D-3A33AC14FA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70" y="5601090"/>
              <a:ext cx="7938" cy="6349"/>
            </a:xfrm>
            <a:custGeom>
              <a:avLst/>
              <a:gdLst>
                <a:gd name="T0" fmla="*/ 5 w 5"/>
                <a:gd name="T1" fmla="*/ 4 h 4"/>
                <a:gd name="T2" fmla="*/ 4 w 5"/>
                <a:gd name="T3" fmla="*/ 2 h 4"/>
                <a:gd name="T4" fmla="*/ 0 w 5"/>
                <a:gd name="T5" fmla="*/ 0 h 4"/>
                <a:gd name="T6" fmla="*/ 4 w 5"/>
                <a:gd name="T7" fmla="*/ 2 h 4"/>
                <a:gd name="T8" fmla="*/ 5 w 5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5" y="4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4" y="2"/>
                  </a:lnTo>
                  <a:lnTo>
                    <a:pt x="5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82" name="Freeform 816">
              <a:extLst>
                <a:ext uri="{FF2B5EF4-FFF2-40B4-BE49-F238E27FC236}">
                  <a16:creationId xmlns:a16="http://schemas.microsoft.com/office/drawing/2014/main" id="{C6826774-97B2-4CF6-A446-CEFC74D51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6607" y="5639184"/>
              <a:ext cx="3175" cy="0"/>
            </a:xfrm>
            <a:custGeom>
              <a:avLst/>
              <a:gdLst>
                <a:gd name="T0" fmla="*/ 0 w 2"/>
                <a:gd name="T1" fmla="*/ 2 w 2"/>
                <a:gd name="T2" fmla="*/ 2 w 2"/>
                <a:gd name="T3" fmla="*/ 2 w 2"/>
                <a:gd name="T4" fmla="*/ 2 w 2"/>
                <a:gd name="T5" fmla="*/ 2 w 2"/>
                <a:gd name="T6" fmla="*/ 0 w 2"/>
                <a:gd name="T7" fmla="*/ 0 w 2"/>
                <a:gd name="T8" fmla="*/ 0 w 2"/>
                <a:gd name="T9" fmla="*/ 0 w 2"/>
                <a:gd name="T10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83" name="Freeform 817">
              <a:extLst>
                <a:ext uri="{FF2B5EF4-FFF2-40B4-BE49-F238E27FC236}">
                  <a16:creationId xmlns:a16="http://schemas.microsoft.com/office/drawing/2014/main" id="{D61F4A5F-7277-4859-86D3-CD2AE893C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995" y="5636010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0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84" name="Freeform 818">
              <a:extLst>
                <a:ext uri="{FF2B5EF4-FFF2-40B4-BE49-F238E27FC236}">
                  <a16:creationId xmlns:a16="http://schemas.microsoft.com/office/drawing/2014/main" id="{DBFF367F-67D2-4900-842B-C5A62DB10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1783" y="5555059"/>
              <a:ext cx="9525" cy="46031"/>
            </a:xfrm>
            <a:custGeom>
              <a:avLst/>
              <a:gdLst>
                <a:gd name="T0" fmla="*/ 4 w 6"/>
                <a:gd name="T1" fmla="*/ 19 h 29"/>
                <a:gd name="T2" fmla="*/ 6 w 6"/>
                <a:gd name="T3" fmla="*/ 12 h 29"/>
                <a:gd name="T4" fmla="*/ 6 w 6"/>
                <a:gd name="T5" fmla="*/ 6 h 29"/>
                <a:gd name="T6" fmla="*/ 6 w 6"/>
                <a:gd name="T7" fmla="*/ 0 h 29"/>
                <a:gd name="T8" fmla="*/ 6 w 6"/>
                <a:gd name="T9" fmla="*/ 6 h 29"/>
                <a:gd name="T10" fmla="*/ 6 w 6"/>
                <a:gd name="T11" fmla="*/ 12 h 29"/>
                <a:gd name="T12" fmla="*/ 4 w 6"/>
                <a:gd name="T13" fmla="*/ 19 h 29"/>
                <a:gd name="T14" fmla="*/ 2 w 6"/>
                <a:gd name="T15" fmla="*/ 27 h 29"/>
                <a:gd name="T16" fmla="*/ 0 w 6"/>
                <a:gd name="T17" fmla="*/ 29 h 29"/>
                <a:gd name="T18" fmla="*/ 2 w 6"/>
                <a:gd name="T19" fmla="*/ 27 h 29"/>
                <a:gd name="T20" fmla="*/ 4 w 6"/>
                <a:gd name="T21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29">
                  <a:moveTo>
                    <a:pt x="4" y="19"/>
                  </a:moveTo>
                  <a:lnTo>
                    <a:pt x="6" y="12"/>
                  </a:lnTo>
                  <a:lnTo>
                    <a:pt x="6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4" y="19"/>
                  </a:lnTo>
                  <a:lnTo>
                    <a:pt x="2" y="27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85" name="Freeform 819">
              <a:extLst>
                <a:ext uri="{FF2B5EF4-FFF2-40B4-BE49-F238E27FC236}">
                  <a16:creationId xmlns:a16="http://schemas.microsoft.com/office/drawing/2014/main" id="{1A5F2D54-3818-4F2C-BB94-E14A54E4B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70" y="5639184"/>
              <a:ext cx="6350" cy="1587"/>
            </a:xfrm>
            <a:custGeom>
              <a:avLst/>
              <a:gdLst>
                <a:gd name="T0" fmla="*/ 4 w 4"/>
                <a:gd name="T1" fmla="*/ 1 h 1"/>
                <a:gd name="T2" fmla="*/ 0 w 4"/>
                <a:gd name="T3" fmla="*/ 1 h 1"/>
                <a:gd name="T4" fmla="*/ 0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86" name="Freeform 820">
              <a:extLst>
                <a:ext uri="{FF2B5EF4-FFF2-40B4-BE49-F238E27FC236}">
                  <a16:creationId xmlns:a16="http://schemas.microsoft.com/office/drawing/2014/main" id="{75B122DD-B31D-43BE-B374-2254C88C1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6770" y="5639184"/>
              <a:ext cx="3175" cy="1587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1 h 1"/>
                <a:gd name="T4" fmla="*/ 0 w 2"/>
                <a:gd name="T5" fmla="*/ 1 h 1"/>
                <a:gd name="T6" fmla="*/ 0 w 2"/>
                <a:gd name="T7" fmla="*/ 1 h 1"/>
                <a:gd name="T8" fmla="*/ 2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87" name="Freeform 821">
              <a:extLst>
                <a:ext uri="{FF2B5EF4-FFF2-40B4-BE49-F238E27FC236}">
                  <a16:creationId xmlns:a16="http://schemas.microsoft.com/office/drawing/2014/main" id="{1D741871-456F-44F4-ACF9-BC7D614F7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9782" y="5639184"/>
              <a:ext cx="3175" cy="0"/>
            </a:xfrm>
            <a:custGeom>
              <a:avLst/>
              <a:gdLst>
                <a:gd name="T0" fmla="*/ 0 w 2"/>
                <a:gd name="T1" fmla="*/ 2 w 2"/>
                <a:gd name="T2" fmla="*/ 0 w 2"/>
                <a:gd name="T3" fmla="*/ 0 w 2"/>
                <a:gd name="T4" fmla="*/ 0 w 2"/>
                <a:gd name="T5" fmla="*/ 0 w 2"/>
                <a:gd name="T6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88" name="Freeform 822">
              <a:extLst>
                <a:ext uri="{FF2B5EF4-FFF2-40B4-BE49-F238E27FC236}">
                  <a16:creationId xmlns:a16="http://schemas.microsoft.com/office/drawing/2014/main" id="{416B94CD-330C-4640-A0B8-9FE11FE8F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658" y="5545535"/>
              <a:ext cx="19050" cy="6349"/>
            </a:xfrm>
            <a:custGeom>
              <a:avLst/>
              <a:gdLst>
                <a:gd name="T0" fmla="*/ 4 w 12"/>
                <a:gd name="T1" fmla="*/ 4 h 4"/>
                <a:gd name="T2" fmla="*/ 10 w 12"/>
                <a:gd name="T3" fmla="*/ 0 h 4"/>
                <a:gd name="T4" fmla="*/ 12 w 12"/>
                <a:gd name="T5" fmla="*/ 0 h 4"/>
                <a:gd name="T6" fmla="*/ 10 w 12"/>
                <a:gd name="T7" fmla="*/ 0 h 4"/>
                <a:gd name="T8" fmla="*/ 4 w 12"/>
                <a:gd name="T9" fmla="*/ 4 h 4"/>
                <a:gd name="T10" fmla="*/ 2 w 12"/>
                <a:gd name="T11" fmla="*/ 4 h 4"/>
                <a:gd name="T12" fmla="*/ 0 w 12"/>
                <a:gd name="T13" fmla="*/ 4 h 4"/>
                <a:gd name="T14" fmla="*/ 2 w 12"/>
                <a:gd name="T15" fmla="*/ 4 h 4"/>
                <a:gd name="T16" fmla="*/ 4 w 12"/>
                <a:gd name="T1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4">
                  <a:moveTo>
                    <a:pt x="4" y="4"/>
                  </a:moveTo>
                  <a:lnTo>
                    <a:pt x="10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89" name="Freeform 823">
              <a:extLst>
                <a:ext uri="{FF2B5EF4-FFF2-40B4-BE49-F238E27FC236}">
                  <a16:creationId xmlns:a16="http://schemas.microsoft.com/office/drawing/2014/main" id="{78AC3BB3-472A-47B9-BA70-7B1444EE3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2197" y="5643946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90" name="Freeform 824">
              <a:extLst>
                <a:ext uri="{FF2B5EF4-FFF2-40B4-BE49-F238E27FC236}">
                  <a16:creationId xmlns:a16="http://schemas.microsoft.com/office/drawing/2014/main" id="{E8751C96-2742-4C71-97EA-9595A6F907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2197" y="5643946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91" name="Freeform 825">
              <a:extLst>
                <a:ext uri="{FF2B5EF4-FFF2-40B4-BE49-F238E27FC236}">
                  <a16:creationId xmlns:a16="http://schemas.microsoft.com/office/drawing/2014/main" id="{D570F667-2A9D-44E5-AB16-0023E706E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0584" y="5570932"/>
              <a:ext cx="3175" cy="7936"/>
            </a:xfrm>
            <a:custGeom>
              <a:avLst/>
              <a:gdLst>
                <a:gd name="T0" fmla="*/ 2 w 2"/>
                <a:gd name="T1" fmla="*/ 2 h 5"/>
                <a:gd name="T2" fmla="*/ 2 w 2"/>
                <a:gd name="T3" fmla="*/ 0 h 5"/>
                <a:gd name="T4" fmla="*/ 2 w 2"/>
                <a:gd name="T5" fmla="*/ 2 h 5"/>
                <a:gd name="T6" fmla="*/ 0 w 2"/>
                <a:gd name="T7" fmla="*/ 5 h 5"/>
                <a:gd name="T8" fmla="*/ 0 w 2"/>
                <a:gd name="T9" fmla="*/ 5 h 5"/>
                <a:gd name="T10" fmla="*/ 0 w 2"/>
                <a:gd name="T11" fmla="*/ 5 h 5"/>
                <a:gd name="T12" fmla="*/ 2 w 2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5">
                  <a:moveTo>
                    <a:pt x="2" y="2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92" name="Freeform 826">
              <a:extLst>
                <a:ext uri="{FF2B5EF4-FFF2-40B4-BE49-F238E27FC236}">
                  <a16:creationId xmlns:a16="http://schemas.microsoft.com/office/drawing/2014/main" id="{EE8128D0-BB4B-4D2C-A70D-8777A85283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459" y="5578868"/>
              <a:ext cx="3175" cy="3175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2 h 2"/>
                <a:gd name="T4" fmla="*/ 2 w 2"/>
                <a:gd name="T5" fmla="*/ 0 h 2"/>
                <a:gd name="T6" fmla="*/ 2 w 2"/>
                <a:gd name="T7" fmla="*/ 2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93" name="Freeform 827">
              <a:extLst>
                <a:ext uri="{FF2B5EF4-FFF2-40B4-BE49-F238E27FC236}">
                  <a16:creationId xmlns:a16="http://schemas.microsoft.com/office/drawing/2014/main" id="{7C8ADBC7-ACE5-417B-ABDB-9A261F786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9147" y="5513790"/>
              <a:ext cx="0" cy="12698"/>
            </a:xfrm>
            <a:custGeom>
              <a:avLst/>
              <a:gdLst>
                <a:gd name="T0" fmla="*/ 8 h 8"/>
                <a:gd name="T1" fmla="*/ 6 h 8"/>
                <a:gd name="T2" fmla="*/ 0 h 8"/>
                <a:gd name="T3" fmla="*/ 0 h 8"/>
                <a:gd name="T4" fmla="*/ 6 h 8"/>
                <a:gd name="T5" fmla="*/ 8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8">
                  <a:moveTo>
                    <a:pt x="0" y="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94" name="Freeform 828">
              <a:extLst>
                <a:ext uri="{FF2B5EF4-FFF2-40B4-BE49-F238E27FC236}">
                  <a16:creationId xmlns:a16="http://schemas.microsoft.com/office/drawing/2014/main" id="{B9FF8664-0751-458A-A220-037B54A43C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7884" y="5575693"/>
              <a:ext cx="0" cy="6349"/>
            </a:xfrm>
            <a:custGeom>
              <a:avLst/>
              <a:gdLst>
                <a:gd name="T0" fmla="*/ 4 h 4"/>
                <a:gd name="T1" fmla="*/ 4 h 4"/>
                <a:gd name="T2" fmla="*/ 4 h 4"/>
                <a:gd name="T3" fmla="*/ 0 h 4"/>
                <a:gd name="T4" fmla="*/ 0 h 4"/>
                <a:gd name="T5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95" name="Freeform 829">
              <a:extLst>
                <a:ext uri="{FF2B5EF4-FFF2-40B4-BE49-F238E27FC236}">
                  <a16:creationId xmlns:a16="http://schemas.microsoft.com/office/drawing/2014/main" id="{5D31D008-8298-406A-A9A6-978C7934A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459" y="5585217"/>
              <a:ext cx="19050" cy="25396"/>
            </a:xfrm>
            <a:custGeom>
              <a:avLst/>
              <a:gdLst>
                <a:gd name="T0" fmla="*/ 6 w 12"/>
                <a:gd name="T1" fmla="*/ 12 h 16"/>
                <a:gd name="T2" fmla="*/ 10 w 12"/>
                <a:gd name="T3" fmla="*/ 16 h 16"/>
                <a:gd name="T4" fmla="*/ 12 w 12"/>
                <a:gd name="T5" fmla="*/ 16 h 16"/>
                <a:gd name="T6" fmla="*/ 12 w 12"/>
                <a:gd name="T7" fmla="*/ 12 h 16"/>
                <a:gd name="T8" fmla="*/ 12 w 12"/>
                <a:gd name="T9" fmla="*/ 8 h 16"/>
                <a:gd name="T10" fmla="*/ 12 w 12"/>
                <a:gd name="T11" fmla="*/ 6 h 16"/>
                <a:gd name="T12" fmla="*/ 12 w 12"/>
                <a:gd name="T13" fmla="*/ 8 h 16"/>
                <a:gd name="T14" fmla="*/ 12 w 12"/>
                <a:gd name="T15" fmla="*/ 12 h 16"/>
                <a:gd name="T16" fmla="*/ 12 w 12"/>
                <a:gd name="T17" fmla="*/ 16 h 16"/>
                <a:gd name="T18" fmla="*/ 10 w 12"/>
                <a:gd name="T19" fmla="*/ 16 h 16"/>
                <a:gd name="T20" fmla="*/ 6 w 12"/>
                <a:gd name="T21" fmla="*/ 12 h 16"/>
                <a:gd name="T22" fmla="*/ 4 w 12"/>
                <a:gd name="T23" fmla="*/ 10 h 16"/>
                <a:gd name="T24" fmla="*/ 0 w 12"/>
                <a:gd name="T25" fmla="*/ 0 h 16"/>
                <a:gd name="T26" fmla="*/ 4 w 12"/>
                <a:gd name="T27" fmla="*/ 10 h 16"/>
                <a:gd name="T28" fmla="*/ 6 w 12"/>
                <a:gd name="T29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6">
                  <a:moveTo>
                    <a:pt x="6" y="12"/>
                  </a:moveTo>
                  <a:lnTo>
                    <a:pt x="10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0" y="16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0" y="0"/>
                  </a:lnTo>
                  <a:lnTo>
                    <a:pt x="4" y="10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96" name="Freeform 830">
              <a:extLst>
                <a:ext uri="{FF2B5EF4-FFF2-40B4-BE49-F238E27FC236}">
                  <a16:creationId xmlns:a16="http://schemas.microsoft.com/office/drawing/2014/main" id="{99DD415A-841E-4FBB-99A2-158652A30D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7884" y="5567757"/>
              <a:ext cx="6350" cy="7936"/>
            </a:xfrm>
            <a:custGeom>
              <a:avLst/>
              <a:gdLst>
                <a:gd name="T0" fmla="*/ 0 w 4"/>
                <a:gd name="T1" fmla="*/ 2 h 5"/>
                <a:gd name="T2" fmla="*/ 0 w 4"/>
                <a:gd name="T3" fmla="*/ 5 h 5"/>
                <a:gd name="T4" fmla="*/ 0 w 4"/>
                <a:gd name="T5" fmla="*/ 2 h 5"/>
                <a:gd name="T6" fmla="*/ 4 w 4"/>
                <a:gd name="T7" fmla="*/ 0 h 5"/>
                <a:gd name="T8" fmla="*/ 4 w 4"/>
                <a:gd name="T9" fmla="*/ 0 h 5"/>
                <a:gd name="T10" fmla="*/ 0 w 4"/>
                <a:gd name="T1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5">
                  <a:moveTo>
                    <a:pt x="0" y="2"/>
                  </a:moveTo>
                  <a:lnTo>
                    <a:pt x="0" y="5"/>
                  </a:ln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97" name="Freeform 831">
              <a:extLst>
                <a:ext uri="{FF2B5EF4-FFF2-40B4-BE49-F238E27FC236}">
                  <a16:creationId xmlns:a16="http://schemas.microsoft.com/office/drawing/2014/main" id="{AB2B1D79-F877-40FE-A0B6-C370BD941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709" y="5588392"/>
              <a:ext cx="6350" cy="6349"/>
            </a:xfrm>
            <a:custGeom>
              <a:avLst/>
              <a:gdLst>
                <a:gd name="T0" fmla="*/ 4 w 4"/>
                <a:gd name="T1" fmla="*/ 4 h 4"/>
                <a:gd name="T2" fmla="*/ 4 w 4"/>
                <a:gd name="T3" fmla="*/ 4 h 4"/>
                <a:gd name="T4" fmla="*/ 4 w 4"/>
                <a:gd name="T5" fmla="*/ 4 h 4"/>
                <a:gd name="T6" fmla="*/ 2 w 4"/>
                <a:gd name="T7" fmla="*/ 2 h 4"/>
                <a:gd name="T8" fmla="*/ 0 w 4"/>
                <a:gd name="T9" fmla="*/ 0 h 4"/>
                <a:gd name="T10" fmla="*/ 2 w 4"/>
                <a:gd name="T11" fmla="*/ 2 h 4"/>
                <a:gd name="T12" fmla="*/ 4 w 4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98" name="Rectangle 832">
              <a:extLst>
                <a:ext uri="{FF2B5EF4-FFF2-40B4-BE49-F238E27FC236}">
                  <a16:creationId xmlns:a16="http://schemas.microsoft.com/office/drawing/2014/main" id="{10CC8750-1702-4D27-A542-AD8930E749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0897" y="5551884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99" name="Freeform 833">
              <a:extLst>
                <a:ext uri="{FF2B5EF4-FFF2-40B4-BE49-F238E27FC236}">
                  <a16:creationId xmlns:a16="http://schemas.microsoft.com/office/drawing/2014/main" id="{1D423651-7198-4CD0-A235-F55F89152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5497" y="5532837"/>
              <a:ext cx="15875" cy="9524"/>
            </a:xfrm>
            <a:custGeom>
              <a:avLst/>
              <a:gdLst>
                <a:gd name="T0" fmla="*/ 2 w 10"/>
                <a:gd name="T1" fmla="*/ 4 h 6"/>
                <a:gd name="T2" fmla="*/ 8 w 10"/>
                <a:gd name="T3" fmla="*/ 0 h 6"/>
                <a:gd name="T4" fmla="*/ 10 w 10"/>
                <a:gd name="T5" fmla="*/ 0 h 6"/>
                <a:gd name="T6" fmla="*/ 10 w 10"/>
                <a:gd name="T7" fmla="*/ 0 h 6"/>
                <a:gd name="T8" fmla="*/ 8 w 10"/>
                <a:gd name="T9" fmla="*/ 0 h 6"/>
                <a:gd name="T10" fmla="*/ 2 w 10"/>
                <a:gd name="T11" fmla="*/ 4 h 6"/>
                <a:gd name="T12" fmla="*/ 0 w 10"/>
                <a:gd name="T13" fmla="*/ 6 h 6"/>
                <a:gd name="T14" fmla="*/ 0 w 10"/>
                <a:gd name="T15" fmla="*/ 6 h 6"/>
                <a:gd name="T16" fmla="*/ 2 w 10"/>
                <a:gd name="T1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6">
                  <a:moveTo>
                    <a:pt x="2" y="4"/>
                  </a:move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00" name="Freeform 834">
              <a:extLst>
                <a:ext uri="{FF2B5EF4-FFF2-40B4-BE49-F238E27FC236}">
                  <a16:creationId xmlns:a16="http://schemas.microsoft.com/office/drawing/2014/main" id="{79B1438B-BCBB-405A-85EE-D379F7C49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234" y="5542361"/>
              <a:ext cx="6350" cy="22222"/>
            </a:xfrm>
            <a:custGeom>
              <a:avLst/>
              <a:gdLst>
                <a:gd name="T0" fmla="*/ 4 w 4"/>
                <a:gd name="T1" fmla="*/ 12 h 14"/>
                <a:gd name="T2" fmla="*/ 2 w 4"/>
                <a:gd name="T3" fmla="*/ 14 h 14"/>
                <a:gd name="T4" fmla="*/ 0 w 4"/>
                <a:gd name="T5" fmla="*/ 14 h 14"/>
                <a:gd name="T6" fmla="*/ 2 w 4"/>
                <a:gd name="T7" fmla="*/ 14 h 14"/>
                <a:gd name="T8" fmla="*/ 4 w 4"/>
                <a:gd name="T9" fmla="*/ 12 h 14"/>
                <a:gd name="T10" fmla="*/ 4 w 4"/>
                <a:gd name="T11" fmla="*/ 6 h 14"/>
                <a:gd name="T12" fmla="*/ 4 w 4"/>
                <a:gd name="T13" fmla="*/ 0 h 14"/>
                <a:gd name="T14" fmla="*/ 4 w 4"/>
                <a:gd name="T15" fmla="*/ 0 h 14"/>
                <a:gd name="T16" fmla="*/ 4 w 4"/>
                <a:gd name="T17" fmla="*/ 6 h 14"/>
                <a:gd name="T18" fmla="*/ 4 w 4"/>
                <a:gd name="T1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4">
                  <a:moveTo>
                    <a:pt x="4" y="12"/>
                  </a:moveTo>
                  <a:lnTo>
                    <a:pt x="2" y="14"/>
                  </a:lnTo>
                  <a:lnTo>
                    <a:pt x="0" y="14"/>
                  </a:lnTo>
                  <a:lnTo>
                    <a:pt x="2" y="14"/>
                  </a:lnTo>
                  <a:lnTo>
                    <a:pt x="4" y="12"/>
                  </a:lnTo>
                  <a:lnTo>
                    <a:pt x="4" y="6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6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01" name="Freeform 835">
              <a:extLst>
                <a:ext uri="{FF2B5EF4-FFF2-40B4-BE49-F238E27FC236}">
                  <a16:creationId xmlns:a16="http://schemas.microsoft.com/office/drawing/2014/main" id="{183525D1-7B71-47C9-B7AB-F3EB9077C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0422" y="5539186"/>
              <a:ext cx="17463" cy="12698"/>
            </a:xfrm>
            <a:custGeom>
              <a:avLst/>
              <a:gdLst>
                <a:gd name="T0" fmla="*/ 5 w 11"/>
                <a:gd name="T1" fmla="*/ 4 h 8"/>
                <a:gd name="T2" fmla="*/ 7 w 11"/>
                <a:gd name="T3" fmla="*/ 2 h 8"/>
                <a:gd name="T4" fmla="*/ 11 w 11"/>
                <a:gd name="T5" fmla="*/ 0 h 8"/>
                <a:gd name="T6" fmla="*/ 7 w 11"/>
                <a:gd name="T7" fmla="*/ 2 h 8"/>
                <a:gd name="T8" fmla="*/ 5 w 11"/>
                <a:gd name="T9" fmla="*/ 4 h 8"/>
                <a:gd name="T10" fmla="*/ 1 w 11"/>
                <a:gd name="T11" fmla="*/ 6 h 8"/>
                <a:gd name="T12" fmla="*/ 0 w 11"/>
                <a:gd name="T13" fmla="*/ 8 h 8"/>
                <a:gd name="T14" fmla="*/ 1 w 11"/>
                <a:gd name="T15" fmla="*/ 6 h 8"/>
                <a:gd name="T16" fmla="*/ 5 w 11"/>
                <a:gd name="T17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8">
                  <a:moveTo>
                    <a:pt x="5" y="4"/>
                  </a:moveTo>
                  <a:lnTo>
                    <a:pt x="7" y="2"/>
                  </a:lnTo>
                  <a:lnTo>
                    <a:pt x="11" y="0"/>
                  </a:lnTo>
                  <a:lnTo>
                    <a:pt x="7" y="2"/>
                  </a:lnTo>
                  <a:lnTo>
                    <a:pt x="5" y="4"/>
                  </a:lnTo>
                  <a:lnTo>
                    <a:pt x="1" y="6"/>
                  </a:lnTo>
                  <a:lnTo>
                    <a:pt x="0" y="8"/>
                  </a:lnTo>
                  <a:lnTo>
                    <a:pt x="1" y="6"/>
                  </a:lnTo>
                  <a:lnTo>
                    <a:pt x="5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02" name="Freeform 836">
              <a:extLst>
                <a:ext uri="{FF2B5EF4-FFF2-40B4-BE49-F238E27FC236}">
                  <a16:creationId xmlns:a16="http://schemas.microsoft.com/office/drawing/2014/main" id="{188F3907-5DD1-471B-9918-919ECCA0B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8372" y="5582042"/>
              <a:ext cx="26988" cy="3175"/>
            </a:xfrm>
            <a:custGeom>
              <a:avLst/>
              <a:gdLst>
                <a:gd name="T0" fmla="*/ 14 w 17"/>
                <a:gd name="T1" fmla="*/ 2 h 2"/>
                <a:gd name="T2" fmla="*/ 17 w 17"/>
                <a:gd name="T3" fmla="*/ 2 h 2"/>
                <a:gd name="T4" fmla="*/ 14 w 17"/>
                <a:gd name="T5" fmla="*/ 2 h 2"/>
                <a:gd name="T6" fmla="*/ 2 w 17"/>
                <a:gd name="T7" fmla="*/ 0 h 2"/>
                <a:gd name="T8" fmla="*/ 0 w 17"/>
                <a:gd name="T9" fmla="*/ 0 h 2"/>
                <a:gd name="T10" fmla="*/ 2 w 17"/>
                <a:gd name="T11" fmla="*/ 0 h 2"/>
                <a:gd name="T12" fmla="*/ 14 w 17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">
                  <a:moveTo>
                    <a:pt x="14" y="2"/>
                  </a:moveTo>
                  <a:lnTo>
                    <a:pt x="17" y="2"/>
                  </a:lnTo>
                  <a:lnTo>
                    <a:pt x="1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03" name="Freeform 837">
              <a:extLst>
                <a:ext uri="{FF2B5EF4-FFF2-40B4-BE49-F238E27FC236}">
                  <a16:creationId xmlns:a16="http://schemas.microsoft.com/office/drawing/2014/main" id="{67A78113-945A-4208-A913-78665768C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459" y="5570932"/>
              <a:ext cx="3175" cy="3175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04" name="Freeform 838">
              <a:extLst>
                <a:ext uri="{FF2B5EF4-FFF2-40B4-BE49-F238E27FC236}">
                  <a16:creationId xmlns:a16="http://schemas.microsoft.com/office/drawing/2014/main" id="{AC6BA02E-EF27-4DAE-8CE0-B9677E37B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284" y="5567757"/>
              <a:ext cx="3175" cy="3175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05" name="Freeform 839">
              <a:extLst>
                <a:ext uri="{FF2B5EF4-FFF2-40B4-BE49-F238E27FC236}">
                  <a16:creationId xmlns:a16="http://schemas.microsoft.com/office/drawing/2014/main" id="{411EC860-E59C-4734-9043-BDDC17FE0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7409" y="5539186"/>
              <a:ext cx="3175" cy="3175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06" name="Rectangle 840">
              <a:extLst>
                <a:ext uri="{FF2B5EF4-FFF2-40B4-BE49-F238E27FC236}">
                  <a16:creationId xmlns:a16="http://schemas.microsoft.com/office/drawing/2014/main" id="{9A702D3C-D5FA-4A0E-A93E-126C8588E1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51484" y="5486806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07" name="Rectangle 841">
              <a:extLst>
                <a:ext uri="{FF2B5EF4-FFF2-40B4-BE49-F238E27FC236}">
                  <a16:creationId xmlns:a16="http://schemas.microsoft.com/office/drawing/2014/main" id="{ED28BFE1-7025-47BE-9781-2EA32F0410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3396" y="5480457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08" name="Rectangle 842">
              <a:extLst>
                <a:ext uri="{FF2B5EF4-FFF2-40B4-BE49-F238E27FC236}">
                  <a16:creationId xmlns:a16="http://schemas.microsoft.com/office/drawing/2014/main" id="{BED837ED-4012-4AD6-869A-C429A75A5B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16622" y="5574106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09" name="Freeform 843">
              <a:extLst>
                <a:ext uri="{FF2B5EF4-FFF2-40B4-BE49-F238E27FC236}">
                  <a16:creationId xmlns:a16="http://schemas.microsoft.com/office/drawing/2014/main" id="{B84D52D3-4547-4598-9299-0097674640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4409" y="5613788"/>
              <a:ext cx="0" cy="12698"/>
            </a:xfrm>
            <a:custGeom>
              <a:avLst/>
              <a:gdLst>
                <a:gd name="T0" fmla="*/ 8 h 8"/>
                <a:gd name="T1" fmla="*/ 6 h 8"/>
                <a:gd name="T2" fmla="*/ 0 h 8"/>
                <a:gd name="T3" fmla="*/ 6 h 8"/>
                <a:gd name="T4" fmla="*/ 8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8">
                  <a:moveTo>
                    <a:pt x="0" y="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10" name="Freeform 844">
              <a:extLst>
                <a:ext uri="{FF2B5EF4-FFF2-40B4-BE49-F238E27FC236}">
                  <a16:creationId xmlns:a16="http://schemas.microsoft.com/office/drawing/2014/main" id="{8219F147-A0FE-4655-A15B-B99346899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72" y="5575693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11" name="Freeform 845">
              <a:extLst>
                <a:ext uri="{FF2B5EF4-FFF2-40B4-BE49-F238E27FC236}">
                  <a16:creationId xmlns:a16="http://schemas.microsoft.com/office/drawing/2014/main" id="{4631BB74-3501-4012-8276-80C5AB0DC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7584" y="5629661"/>
              <a:ext cx="3175" cy="6349"/>
            </a:xfrm>
            <a:custGeom>
              <a:avLst/>
              <a:gdLst>
                <a:gd name="T0" fmla="*/ 2 w 2"/>
                <a:gd name="T1" fmla="*/ 4 h 4"/>
                <a:gd name="T2" fmla="*/ 2 w 2"/>
                <a:gd name="T3" fmla="*/ 2 h 4"/>
                <a:gd name="T4" fmla="*/ 0 w 2"/>
                <a:gd name="T5" fmla="*/ 0 h 4"/>
                <a:gd name="T6" fmla="*/ 2 w 2"/>
                <a:gd name="T7" fmla="*/ 2 h 4"/>
                <a:gd name="T8" fmla="*/ 2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12" name="Freeform 846">
              <a:extLst>
                <a:ext uri="{FF2B5EF4-FFF2-40B4-BE49-F238E27FC236}">
                  <a16:creationId xmlns:a16="http://schemas.microsoft.com/office/drawing/2014/main" id="{C82452C1-019B-4818-B3F2-CDC4F50CD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8059" y="5597915"/>
              <a:ext cx="3175" cy="12698"/>
            </a:xfrm>
            <a:custGeom>
              <a:avLst/>
              <a:gdLst>
                <a:gd name="T0" fmla="*/ 0 w 2"/>
                <a:gd name="T1" fmla="*/ 2 h 8"/>
                <a:gd name="T2" fmla="*/ 2 w 2"/>
                <a:gd name="T3" fmla="*/ 8 h 8"/>
                <a:gd name="T4" fmla="*/ 0 w 2"/>
                <a:gd name="T5" fmla="*/ 2 h 8"/>
                <a:gd name="T6" fmla="*/ 0 w 2"/>
                <a:gd name="T7" fmla="*/ 2 h 8"/>
                <a:gd name="T8" fmla="*/ 0 w 2"/>
                <a:gd name="T9" fmla="*/ 0 h 8"/>
                <a:gd name="T10" fmla="*/ 0 w 2"/>
                <a:gd name="T11" fmla="*/ 2 h 8"/>
                <a:gd name="T12" fmla="*/ 0 w 2"/>
                <a:gd name="T13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">
                  <a:moveTo>
                    <a:pt x="0" y="2"/>
                  </a:moveTo>
                  <a:lnTo>
                    <a:pt x="2" y="8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13" name="Freeform 847">
              <a:extLst>
                <a:ext uri="{FF2B5EF4-FFF2-40B4-BE49-F238E27FC236}">
                  <a16:creationId xmlns:a16="http://schemas.microsoft.com/office/drawing/2014/main" id="{9E6EE35A-4942-43D1-A646-01A210A88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3934" y="5639184"/>
              <a:ext cx="22225" cy="20634"/>
            </a:xfrm>
            <a:custGeom>
              <a:avLst/>
              <a:gdLst>
                <a:gd name="T0" fmla="*/ 8 w 14"/>
                <a:gd name="T1" fmla="*/ 9 h 13"/>
                <a:gd name="T2" fmla="*/ 12 w 14"/>
                <a:gd name="T3" fmla="*/ 11 h 13"/>
                <a:gd name="T4" fmla="*/ 14 w 14"/>
                <a:gd name="T5" fmla="*/ 13 h 13"/>
                <a:gd name="T6" fmla="*/ 12 w 14"/>
                <a:gd name="T7" fmla="*/ 11 h 13"/>
                <a:gd name="T8" fmla="*/ 8 w 14"/>
                <a:gd name="T9" fmla="*/ 9 h 13"/>
                <a:gd name="T10" fmla="*/ 2 w 14"/>
                <a:gd name="T11" fmla="*/ 3 h 13"/>
                <a:gd name="T12" fmla="*/ 0 w 14"/>
                <a:gd name="T13" fmla="*/ 0 h 13"/>
                <a:gd name="T14" fmla="*/ 2 w 14"/>
                <a:gd name="T15" fmla="*/ 3 h 13"/>
                <a:gd name="T16" fmla="*/ 8 w 14"/>
                <a:gd name="T17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3">
                  <a:moveTo>
                    <a:pt x="8" y="9"/>
                  </a:moveTo>
                  <a:lnTo>
                    <a:pt x="12" y="11"/>
                  </a:lnTo>
                  <a:lnTo>
                    <a:pt x="14" y="13"/>
                  </a:lnTo>
                  <a:lnTo>
                    <a:pt x="12" y="11"/>
                  </a:lnTo>
                  <a:lnTo>
                    <a:pt x="8" y="9"/>
                  </a:lnTo>
                  <a:lnTo>
                    <a:pt x="2" y="3"/>
                  </a:lnTo>
                  <a:lnTo>
                    <a:pt x="0" y="0"/>
                  </a:lnTo>
                  <a:lnTo>
                    <a:pt x="2" y="3"/>
                  </a:lnTo>
                  <a:lnTo>
                    <a:pt x="8" y="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14" name="Freeform 848">
              <a:extLst>
                <a:ext uri="{FF2B5EF4-FFF2-40B4-BE49-F238E27FC236}">
                  <a16:creationId xmlns:a16="http://schemas.microsoft.com/office/drawing/2014/main" id="{94DAFEA7-66B1-45CB-B5EE-860BC08B1C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2159" y="5505854"/>
              <a:ext cx="23813" cy="4762"/>
            </a:xfrm>
            <a:custGeom>
              <a:avLst/>
              <a:gdLst>
                <a:gd name="T0" fmla="*/ 11 w 15"/>
                <a:gd name="T1" fmla="*/ 2 h 3"/>
                <a:gd name="T2" fmla="*/ 13 w 15"/>
                <a:gd name="T3" fmla="*/ 3 h 3"/>
                <a:gd name="T4" fmla="*/ 15 w 15"/>
                <a:gd name="T5" fmla="*/ 3 h 3"/>
                <a:gd name="T6" fmla="*/ 13 w 15"/>
                <a:gd name="T7" fmla="*/ 3 h 3"/>
                <a:gd name="T8" fmla="*/ 11 w 15"/>
                <a:gd name="T9" fmla="*/ 2 h 3"/>
                <a:gd name="T10" fmla="*/ 2 w 15"/>
                <a:gd name="T11" fmla="*/ 0 h 3"/>
                <a:gd name="T12" fmla="*/ 0 w 15"/>
                <a:gd name="T13" fmla="*/ 0 h 3"/>
                <a:gd name="T14" fmla="*/ 2 w 15"/>
                <a:gd name="T15" fmla="*/ 0 h 3"/>
                <a:gd name="T16" fmla="*/ 11 w 15"/>
                <a:gd name="T1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3">
                  <a:moveTo>
                    <a:pt x="11" y="2"/>
                  </a:moveTo>
                  <a:lnTo>
                    <a:pt x="13" y="3"/>
                  </a:lnTo>
                  <a:lnTo>
                    <a:pt x="15" y="3"/>
                  </a:lnTo>
                  <a:lnTo>
                    <a:pt x="13" y="3"/>
                  </a:lnTo>
                  <a:lnTo>
                    <a:pt x="11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1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15" name="Freeform 849">
              <a:extLst>
                <a:ext uri="{FF2B5EF4-FFF2-40B4-BE49-F238E27FC236}">
                  <a16:creationId xmlns:a16="http://schemas.microsoft.com/office/drawing/2014/main" id="{AF59B040-55F5-4190-9FD4-42FC29167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5459" y="5493155"/>
              <a:ext cx="4763" cy="0"/>
            </a:xfrm>
            <a:custGeom>
              <a:avLst/>
              <a:gdLst>
                <a:gd name="T0" fmla="*/ 3 w 3"/>
                <a:gd name="T1" fmla="*/ 3 w 3"/>
                <a:gd name="T2" fmla="*/ 2 w 3"/>
                <a:gd name="T3" fmla="*/ 0 w 3"/>
                <a:gd name="T4" fmla="*/ 0 w 3"/>
                <a:gd name="T5" fmla="*/ 2 w 3"/>
                <a:gd name="T6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16" name="Freeform 850">
              <a:extLst>
                <a:ext uri="{FF2B5EF4-FFF2-40B4-BE49-F238E27FC236}">
                  <a16:creationId xmlns:a16="http://schemas.microsoft.com/office/drawing/2014/main" id="{509FD01A-F144-4037-A868-E51528CF80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9109" y="5493155"/>
              <a:ext cx="6350" cy="3175"/>
            </a:xfrm>
            <a:custGeom>
              <a:avLst/>
              <a:gdLst>
                <a:gd name="T0" fmla="*/ 4 w 4"/>
                <a:gd name="T1" fmla="*/ 0 h 2"/>
                <a:gd name="T2" fmla="*/ 2 w 4"/>
                <a:gd name="T3" fmla="*/ 0 h 2"/>
                <a:gd name="T4" fmla="*/ 0 w 4"/>
                <a:gd name="T5" fmla="*/ 2 h 2"/>
                <a:gd name="T6" fmla="*/ 2 w 4"/>
                <a:gd name="T7" fmla="*/ 0 h 2"/>
                <a:gd name="T8" fmla="*/ 4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17" name="Freeform 851">
              <a:extLst>
                <a:ext uri="{FF2B5EF4-FFF2-40B4-BE49-F238E27FC236}">
                  <a16:creationId xmlns:a16="http://schemas.microsoft.com/office/drawing/2014/main" id="{932C5DD9-F0DE-4DDC-BB41-D736F64B9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184" y="5480457"/>
              <a:ext cx="25400" cy="12698"/>
            </a:xfrm>
            <a:custGeom>
              <a:avLst/>
              <a:gdLst>
                <a:gd name="T0" fmla="*/ 2 w 16"/>
                <a:gd name="T1" fmla="*/ 0 h 8"/>
                <a:gd name="T2" fmla="*/ 6 w 16"/>
                <a:gd name="T3" fmla="*/ 2 h 8"/>
                <a:gd name="T4" fmla="*/ 12 w 16"/>
                <a:gd name="T5" fmla="*/ 6 h 8"/>
                <a:gd name="T6" fmla="*/ 16 w 16"/>
                <a:gd name="T7" fmla="*/ 8 h 8"/>
                <a:gd name="T8" fmla="*/ 12 w 16"/>
                <a:gd name="T9" fmla="*/ 6 h 8"/>
                <a:gd name="T10" fmla="*/ 6 w 16"/>
                <a:gd name="T11" fmla="*/ 2 h 8"/>
                <a:gd name="T12" fmla="*/ 2 w 16"/>
                <a:gd name="T13" fmla="*/ 0 h 8"/>
                <a:gd name="T14" fmla="*/ 0 w 16"/>
                <a:gd name="T15" fmla="*/ 0 h 8"/>
                <a:gd name="T16" fmla="*/ 0 w 16"/>
                <a:gd name="T17" fmla="*/ 0 h 8"/>
                <a:gd name="T18" fmla="*/ 0 w 16"/>
                <a:gd name="T19" fmla="*/ 0 h 8"/>
                <a:gd name="T20" fmla="*/ 2 w 16"/>
                <a:gd name="T2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2" y="0"/>
                  </a:moveTo>
                  <a:lnTo>
                    <a:pt x="6" y="2"/>
                  </a:lnTo>
                  <a:lnTo>
                    <a:pt x="12" y="6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6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18" name="Rectangle 852">
              <a:extLst>
                <a:ext uri="{FF2B5EF4-FFF2-40B4-BE49-F238E27FC236}">
                  <a16:creationId xmlns:a16="http://schemas.microsoft.com/office/drawing/2014/main" id="{4CCC0FA9-0B43-4535-B77D-3CE61AFF50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3396" y="5493155"/>
              <a:ext cx="3175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19" name="Freeform 853">
              <a:extLst>
                <a:ext uri="{FF2B5EF4-FFF2-40B4-BE49-F238E27FC236}">
                  <a16:creationId xmlns:a16="http://schemas.microsoft.com/office/drawing/2014/main" id="{EEA11CAC-937B-4357-A947-D5CD08C5E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8621" y="5516964"/>
              <a:ext cx="3175" cy="9524"/>
            </a:xfrm>
            <a:custGeom>
              <a:avLst/>
              <a:gdLst>
                <a:gd name="T0" fmla="*/ 2 w 2"/>
                <a:gd name="T1" fmla="*/ 0 h 6"/>
                <a:gd name="T2" fmla="*/ 0 w 2"/>
                <a:gd name="T3" fmla="*/ 4 h 6"/>
                <a:gd name="T4" fmla="*/ 0 w 2"/>
                <a:gd name="T5" fmla="*/ 6 h 6"/>
                <a:gd name="T6" fmla="*/ 0 w 2"/>
                <a:gd name="T7" fmla="*/ 4 h 6"/>
                <a:gd name="T8" fmla="*/ 2 w 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20" name="Freeform 854">
              <a:extLst>
                <a:ext uri="{FF2B5EF4-FFF2-40B4-BE49-F238E27FC236}">
                  <a16:creationId xmlns:a16="http://schemas.microsoft.com/office/drawing/2014/main" id="{DACE1DBC-AC82-4E8F-9615-3FE55A9D3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1321" y="5505854"/>
              <a:ext cx="3175" cy="4762"/>
            </a:xfrm>
            <a:custGeom>
              <a:avLst/>
              <a:gdLst>
                <a:gd name="T0" fmla="*/ 2 w 2"/>
                <a:gd name="T1" fmla="*/ 0 h 3"/>
                <a:gd name="T2" fmla="*/ 2 w 2"/>
                <a:gd name="T3" fmla="*/ 0 h 3"/>
                <a:gd name="T4" fmla="*/ 0 w 2"/>
                <a:gd name="T5" fmla="*/ 2 h 3"/>
                <a:gd name="T6" fmla="*/ 0 w 2"/>
                <a:gd name="T7" fmla="*/ 3 h 3"/>
                <a:gd name="T8" fmla="*/ 0 w 2"/>
                <a:gd name="T9" fmla="*/ 2 h 3"/>
                <a:gd name="T10" fmla="*/ 2 w 2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21" name="Freeform 855">
              <a:extLst>
                <a:ext uri="{FF2B5EF4-FFF2-40B4-BE49-F238E27FC236}">
                  <a16:creationId xmlns:a16="http://schemas.microsoft.com/office/drawing/2014/main" id="{8A519AEC-E68F-4899-BF40-176036147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6571" y="5489981"/>
              <a:ext cx="0" cy="3175"/>
            </a:xfrm>
            <a:custGeom>
              <a:avLst/>
              <a:gdLst>
                <a:gd name="T0" fmla="*/ 0 h 2"/>
                <a:gd name="T1" fmla="*/ 0 h 2"/>
                <a:gd name="T2" fmla="*/ 0 h 2"/>
                <a:gd name="T3" fmla="*/ 2 h 2"/>
                <a:gd name="T4" fmla="*/ 2 h 2"/>
                <a:gd name="T5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22" name="Freeform 856">
              <a:extLst>
                <a:ext uri="{FF2B5EF4-FFF2-40B4-BE49-F238E27FC236}">
                  <a16:creationId xmlns:a16="http://schemas.microsoft.com/office/drawing/2014/main" id="{5433975C-2425-4EB1-96A6-A998779EF9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796" y="5510615"/>
              <a:ext cx="9525" cy="6349"/>
            </a:xfrm>
            <a:custGeom>
              <a:avLst/>
              <a:gdLst>
                <a:gd name="T0" fmla="*/ 6 w 6"/>
                <a:gd name="T1" fmla="*/ 0 h 4"/>
                <a:gd name="T2" fmla="*/ 0 w 6"/>
                <a:gd name="T3" fmla="*/ 4 h 4"/>
                <a:gd name="T4" fmla="*/ 0 w 6"/>
                <a:gd name="T5" fmla="*/ 4 h 4"/>
                <a:gd name="T6" fmla="*/ 6 w 6"/>
                <a:gd name="T7" fmla="*/ 0 h 4"/>
                <a:gd name="T8" fmla="*/ 6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23" name="Freeform 857">
              <a:extLst>
                <a:ext uri="{FF2B5EF4-FFF2-40B4-BE49-F238E27FC236}">
                  <a16:creationId xmlns:a16="http://schemas.microsoft.com/office/drawing/2014/main" id="{DCF7FEED-7001-461C-AFF4-5055D54B7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4496" y="5505854"/>
              <a:ext cx="20638" cy="14285"/>
            </a:xfrm>
            <a:custGeom>
              <a:avLst/>
              <a:gdLst>
                <a:gd name="T0" fmla="*/ 6 w 13"/>
                <a:gd name="T1" fmla="*/ 3 h 9"/>
                <a:gd name="T2" fmla="*/ 6 w 13"/>
                <a:gd name="T3" fmla="*/ 5 h 9"/>
                <a:gd name="T4" fmla="*/ 10 w 13"/>
                <a:gd name="T5" fmla="*/ 9 h 9"/>
                <a:gd name="T6" fmla="*/ 11 w 13"/>
                <a:gd name="T7" fmla="*/ 9 h 9"/>
                <a:gd name="T8" fmla="*/ 13 w 13"/>
                <a:gd name="T9" fmla="*/ 9 h 9"/>
                <a:gd name="T10" fmla="*/ 11 w 13"/>
                <a:gd name="T11" fmla="*/ 9 h 9"/>
                <a:gd name="T12" fmla="*/ 10 w 13"/>
                <a:gd name="T13" fmla="*/ 9 h 9"/>
                <a:gd name="T14" fmla="*/ 6 w 13"/>
                <a:gd name="T15" fmla="*/ 5 h 9"/>
                <a:gd name="T16" fmla="*/ 6 w 13"/>
                <a:gd name="T17" fmla="*/ 3 h 9"/>
                <a:gd name="T18" fmla="*/ 2 w 13"/>
                <a:gd name="T19" fmla="*/ 0 h 9"/>
                <a:gd name="T20" fmla="*/ 0 w 13"/>
                <a:gd name="T21" fmla="*/ 0 h 9"/>
                <a:gd name="T22" fmla="*/ 2 w 13"/>
                <a:gd name="T23" fmla="*/ 0 h 9"/>
                <a:gd name="T24" fmla="*/ 6 w 1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9">
                  <a:moveTo>
                    <a:pt x="6" y="3"/>
                  </a:moveTo>
                  <a:lnTo>
                    <a:pt x="6" y="5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3" y="9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6" y="5"/>
                  </a:lnTo>
                  <a:lnTo>
                    <a:pt x="6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24" name="Freeform 858">
              <a:extLst>
                <a:ext uri="{FF2B5EF4-FFF2-40B4-BE49-F238E27FC236}">
                  <a16:creationId xmlns:a16="http://schemas.microsoft.com/office/drawing/2014/main" id="{AC78F796-D172-45B0-B29B-B83B026929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7834" y="5486806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0 w 2"/>
                <a:gd name="T4" fmla="*/ 0 w 2"/>
                <a:gd name="T5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25" name="Freeform 859">
              <a:extLst>
                <a:ext uri="{FF2B5EF4-FFF2-40B4-BE49-F238E27FC236}">
                  <a16:creationId xmlns:a16="http://schemas.microsoft.com/office/drawing/2014/main" id="{3E1274EF-DF88-49A9-8B74-D8C2FEA06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8309" y="5509028"/>
              <a:ext cx="3175" cy="11111"/>
            </a:xfrm>
            <a:custGeom>
              <a:avLst/>
              <a:gdLst>
                <a:gd name="T0" fmla="*/ 2 w 2"/>
                <a:gd name="T1" fmla="*/ 3 h 7"/>
                <a:gd name="T2" fmla="*/ 2 w 2"/>
                <a:gd name="T3" fmla="*/ 0 h 7"/>
                <a:gd name="T4" fmla="*/ 2 w 2"/>
                <a:gd name="T5" fmla="*/ 3 h 7"/>
                <a:gd name="T6" fmla="*/ 2 w 2"/>
                <a:gd name="T7" fmla="*/ 5 h 7"/>
                <a:gd name="T8" fmla="*/ 0 w 2"/>
                <a:gd name="T9" fmla="*/ 7 h 7"/>
                <a:gd name="T10" fmla="*/ 2 w 2"/>
                <a:gd name="T11" fmla="*/ 5 h 7"/>
                <a:gd name="T12" fmla="*/ 2 w 2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7">
                  <a:moveTo>
                    <a:pt x="2" y="3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2" y="5"/>
                  </a:lnTo>
                  <a:lnTo>
                    <a:pt x="0" y="7"/>
                  </a:lnTo>
                  <a:lnTo>
                    <a:pt x="2" y="5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26" name="Freeform 860">
              <a:extLst>
                <a:ext uri="{FF2B5EF4-FFF2-40B4-BE49-F238E27FC236}">
                  <a16:creationId xmlns:a16="http://schemas.microsoft.com/office/drawing/2014/main" id="{AFC5E74E-5A55-440E-A7C0-92AA18C6DF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0409" y="5480457"/>
              <a:ext cx="6350" cy="6349"/>
            </a:xfrm>
            <a:custGeom>
              <a:avLst/>
              <a:gdLst>
                <a:gd name="T0" fmla="*/ 4 w 4"/>
                <a:gd name="T1" fmla="*/ 4 h 4"/>
                <a:gd name="T2" fmla="*/ 2 w 4"/>
                <a:gd name="T3" fmla="*/ 2 h 4"/>
                <a:gd name="T4" fmla="*/ 0 w 4"/>
                <a:gd name="T5" fmla="*/ 0 h 4"/>
                <a:gd name="T6" fmla="*/ 2 w 4"/>
                <a:gd name="T7" fmla="*/ 2 h 4"/>
                <a:gd name="T8" fmla="*/ 4 w 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27" name="Freeform 861">
              <a:extLst>
                <a:ext uri="{FF2B5EF4-FFF2-40B4-BE49-F238E27FC236}">
                  <a16:creationId xmlns:a16="http://schemas.microsoft.com/office/drawing/2014/main" id="{C2EF0907-4436-4E99-B54D-E29BEC6BD6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8971" y="5448712"/>
              <a:ext cx="3175" cy="6349"/>
            </a:xfrm>
            <a:custGeom>
              <a:avLst/>
              <a:gdLst>
                <a:gd name="T0" fmla="*/ 2 w 2"/>
                <a:gd name="T1" fmla="*/ 4 h 4"/>
                <a:gd name="T2" fmla="*/ 0 w 2"/>
                <a:gd name="T3" fmla="*/ 2 h 4"/>
                <a:gd name="T4" fmla="*/ 0 w 2"/>
                <a:gd name="T5" fmla="*/ 0 h 4"/>
                <a:gd name="T6" fmla="*/ 0 w 2"/>
                <a:gd name="T7" fmla="*/ 2 h 4"/>
                <a:gd name="T8" fmla="*/ 2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28" name="Freeform 862">
              <a:extLst>
                <a:ext uri="{FF2B5EF4-FFF2-40B4-BE49-F238E27FC236}">
                  <a16:creationId xmlns:a16="http://schemas.microsoft.com/office/drawing/2014/main" id="{A510F6A9-D72A-4994-BAA3-7D262A1EF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4846" y="5455061"/>
              <a:ext cx="49213" cy="19047"/>
            </a:xfrm>
            <a:custGeom>
              <a:avLst/>
              <a:gdLst>
                <a:gd name="T0" fmla="*/ 19 w 31"/>
                <a:gd name="T1" fmla="*/ 2 h 12"/>
                <a:gd name="T2" fmla="*/ 31 w 31"/>
                <a:gd name="T3" fmla="*/ 10 h 12"/>
                <a:gd name="T4" fmla="*/ 31 w 31"/>
                <a:gd name="T5" fmla="*/ 12 h 12"/>
                <a:gd name="T6" fmla="*/ 31 w 31"/>
                <a:gd name="T7" fmla="*/ 10 h 12"/>
                <a:gd name="T8" fmla="*/ 19 w 31"/>
                <a:gd name="T9" fmla="*/ 2 h 12"/>
                <a:gd name="T10" fmla="*/ 14 w 31"/>
                <a:gd name="T11" fmla="*/ 0 h 12"/>
                <a:gd name="T12" fmla="*/ 0 w 31"/>
                <a:gd name="T13" fmla="*/ 0 h 12"/>
                <a:gd name="T14" fmla="*/ 14 w 31"/>
                <a:gd name="T15" fmla="*/ 0 h 12"/>
                <a:gd name="T16" fmla="*/ 19 w 31"/>
                <a:gd name="T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2">
                  <a:moveTo>
                    <a:pt x="19" y="2"/>
                  </a:moveTo>
                  <a:lnTo>
                    <a:pt x="31" y="10"/>
                  </a:lnTo>
                  <a:lnTo>
                    <a:pt x="31" y="12"/>
                  </a:lnTo>
                  <a:lnTo>
                    <a:pt x="31" y="10"/>
                  </a:lnTo>
                  <a:lnTo>
                    <a:pt x="19" y="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9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29" name="Freeform 863">
              <a:extLst>
                <a:ext uri="{FF2B5EF4-FFF2-40B4-BE49-F238E27FC236}">
                  <a16:creationId xmlns:a16="http://schemas.microsoft.com/office/drawing/2014/main" id="{DA3D82E5-6CD8-4BA9-BEEE-AAF251874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9" y="5499505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0 w 4"/>
                <a:gd name="T3" fmla="*/ 0 h 2"/>
                <a:gd name="T4" fmla="*/ 0 w 4"/>
                <a:gd name="T5" fmla="*/ 0 h 2"/>
                <a:gd name="T6" fmla="*/ 4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30" name="Freeform 864">
              <a:extLst>
                <a:ext uri="{FF2B5EF4-FFF2-40B4-BE49-F238E27FC236}">
                  <a16:creationId xmlns:a16="http://schemas.microsoft.com/office/drawing/2014/main" id="{C1A1F68E-EDEC-4E45-A82B-1E5543910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1984" y="5443950"/>
              <a:ext cx="26988" cy="1587"/>
            </a:xfrm>
            <a:custGeom>
              <a:avLst/>
              <a:gdLst>
                <a:gd name="T0" fmla="*/ 9 w 17"/>
                <a:gd name="T1" fmla="*/ 1 h 1"/>
                <a:gd name="T2" fmla="*/ 13 w 17"/>
                <a:gd name="T3" fmla="*/ 0 h 1"/>
                <a:gd name="T4" fmla="*/ 17 w 17"/>
                <a:gd name="T5" fmla="*/ 0 h 1"/>
                <a:gd name="T6" fmla="*/ 17 w 17"/>
                <a:gd name="T7" fmla="*/ 0 h 1"/>
                <a:gd name="T8" fmla="*/ 13 w 17"/>
                <a:gd name="T9" fmla="*/ 0 h 1"/>
                <a:gd name="T10" fmla="*/ 9 w 17"/>
                <a:gd name="T11" fmla="*/ 1 h 1"/>
                <a:gd name="T12" fmla="*/ 7 w 17"/>
                <a:gd name="T13" fmla="*/ 1 h 1"/>
                <a:gd name="T14" fmla="*/ 0 w 17"/>
                <a:gd name="T15" fmla="*/ 1 h 1"/>
                <a:gd name="T16" fmla="*/ 0 w 17"/>
                <a:gd name="T17" fmla="*/ 1 h 1"/>
                <a:gd name="T18" fmla="*/ 7 w 17"/>
                <a:gd name="T19" fmla="*/ 1 h 1"/>
                <a:gd name="T20" fmla="*/ 9 w 17"/>
                <a:gd name="T2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">
                  <a:moveTo>
                    <a:pt x="9" y="1"/>
                  </a:moveTo>
                  <a:lnTo>
                    <a:pt x="13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7" y="1"/>
                  </a:ln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31" name="Freeform 865">
              <a:extLst>
                <a:ext uri="{FF2B5EF4-FFF2-40B4-BE49-F238E27FC236}">
                  <a16:creationId xmlns:a16="http://schemas.microsoft.com/office/drawing/2014/main" id="{762E2CAD-6522-4036-861F-A9794E5D9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3396" y="5483632"/>
              <a:ext cx="3175" cy="3175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0 h 2"/>
                <a:gd name="T4" fmla="*/ 0 w 2"/>
                <a:gd name="T5" fmla="*/ 2 h 2"/>
                <a:gd name="T6" fmla="*/ 2 w 2"/>
                <a:gd name="T7" fmla="*/ 2 h 2"/>
                <a:gd name="T8" fmla="*/ 0 w 2"/>
                <a:gd name="T9" fmla="*/ 2 h 2"/>
                <a:gd name="T10" fmla="*/ 2 w 2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32" name="Freeform 866">
              <a:extLst>
                <a:ext uri="{FF2B5EF4-FFF2-40B4-BE49-F238E27FC236}">
                  <a16:creationId xmlns:a16="http://schemas.microsoft.com/office/drawing/2014/main" id="{A5BD4532-291F-4D8D-B888-1A9A06D60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6759" y="5489981"/>
              <a:ext cx="6350" cy="6349"/>
            </a:xfrm>
            <a:custGeom>
              <a:avLst/>
              <a:gdLst>
                <a:gd name="T0" fmla="*/ 2 w 4"/>
                <a:gd name="T1" fmla="*/ 2 h 4"/>
                <a:gd name="T2" fmla="*/ 4 w 4"/>
                <a:gd name="T3" fmla="*/ 4 h 4"/>
                <a:gd name="T4" fmla="*/ 2 w 4"/>
                <a:gd name="T5" fmla="*/ 2 h 4"/>
                <a:gd name="T6" fmla="*/ 0 w 4"/>
                <a:gd name="T7" fmla="*/ 0 h 4"/>
                <a:gd name="T8" fmla="*/ 0 w 4"/>
                <a:gd name="T9" fmla="*/ 0 h 4"/>
                <a:gd name="T10" fmla="*/ 2 w 4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2" y="2"/>
                  </a:move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33" name="Freeform 867">
              <a:extLst>
                <a:ext uri="{FF2B5EF4-FFF2-40B4-BE49-F238E27FC236}">
                  <a16:creationId xmlns:a16="http://schemas.microsoft.com/office/drawing/2014/main" id="{866AEE11-C194-40EF-8D72-D92F084F0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3721" y="5477283"/>
              <a:ext cx="4763" cy="9524"/>
            </a:xfrm>
            <a:custGeom>
              <a:avLst/>
              <a:gdLst>
                <a:gd name="T0" fmla="*/ 3 w 3"/>
                <a:gd name="T1" fmla="*/ 0 h 6"/>
                <a:gd name="T2" fmla="*/ 1 w 3"/>
                <a:gd name="T3" fmla="*/ 4 h 6"/>
                <a:gd name="T4" fmla="*/ 0 w 3"/>
                <a:gd name="T5" fmla="*/ 6 h 6"/>
                <a:gd name="T6" fmla="*/ 1 w 3"/>
                <a:gd name="T7" fmla="*/ 4 h 6"/>
                <a:gd name="T8" fmla="*/ 3 w 3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3" y="0"/>
                  </a:moveTo>
                  <a:lnTo>
                    <a:pt x="1" y="4"/>
                  </a:lnTo>
                  <a:lnTo>
                    <a:pt x="0" y="6"/>
                  </a:lnTo>
                  <a:lnTo>
                    <a:pt x="1" y="4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34" name="Freeform 868">
              <a:extLst>
                <a:ext uri="{FF2B5EF4-FFF2-40B4-BE49-F238E27FC236}">
                  <a16:creationId xmlns:a16="http://schemas.microsoft.com/office/drawing/2014/main" id="{615D4D11-22A1-40EB-AF6E-75AEE3D97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3409" y="5461410"/>
              <a:ext cx="15875" cy="9524"/>
            </a:xfrm>
            <a:custGeom>
              <a:avLst/>
              <a:gdLst>
                <a:gd name="T0" fmla="*/ 2 w 10"/>
                <a:gd name="T1" fmla="*/ 6 h 6"/>
                <a:gd name="T2" fmla="*/ 4 w 10"/>
                <a:gd name="T3" fmla="*/ 4 h 6"/>
                <a:gd name="T4" fmla="*/ 10 w 10"/>
                <a:gd name="T5" fmla="*/ 0 h 6"/>
                <a:gd name="T6" fmla="*/ 4 w 10"/>
                <a:gd name="T7" fmla="*/ 4 h 6"/>
                <a:gd name="T8" fmla="*/ 2 w 10"/>
                <a:gd name="T9" fmla="*/ 6 h 6"/>
                <a:gd name="T10" fmla="*/ 0 w 10"/>
                <a:gd name="T11" fmla="*/ 6 h 6"/>
                <a:gd name="T12" fmla="*/ 0 w 10"/>
                <a:gd name="T13" fmla="*/ 6 h 6"/>
                <a:gd name="T14" fmla="*/ 2 w 10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6">
                  <a:moveTo>
                    <a:pt x="2" y="6"/>
                  </a:moveTo>
                  <a:lnTo>
                    <a:pt x="4" y="4"/>
                  </a:lnTo>
                  <a:lnTo>
                    <a:pt x="10" y="0"/>
                  </a:lnTo>
                  <a:lnTo>
                    <a:pt x="4" y="4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35" name="Freeform 869">
              <a:extLst>
                <a:ext uri="{FF2B5EF4-FFF2-40B4-BE49-F238E27FC236}">
                  <a16:creationId xmlns:a16="http://schemas.microsoft.com/office/drawing/2014/main" id="{18A75AEA-866D-4502-A193-235340661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359" y="5461410"/>
              <a:ext cx="15875" cy="6349"/>
            </a:xfrm>
            <a:custGeom>
              <a:avLst/>
              <a:gdLst>
                <a:gd name="T0" fmla="*/ 6 w 10"/>
                <a:gd name="T1" fmla="*/ 0 h 4"/>
                <a:gd name="T2" fmla="*/ 10 w 10"/>
                <a:gd name="T3" fmla="*/ 4 h 4"/>
                <a:gd name="T4" fmla="*/ 6 w 10"/>
                <a:gd name="T5" fmla="*/ 0 h 4"/>
                <a:gd name="T6" fmla="*/ 2 w 10"/>
                <a:gd name="T7" fmla="*/ 0 h 4"/>
                <a:gd name="T8" fmla="*/ 0 w 10"/>
                <a:gd name="T9" fmla="*/ 2 h 4"/>
                <a:gd name="T10" fmla="*/ 2 w 10"/>
                <a:gd name="T11" fmla="*/ 0 h 4"/>
                <a:gd name="T12" fmla="*/ 6 w 1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6" y="0"/>
                  </a:moveTo>
                  <a:lnTo>
                    <a:pt x="10" y="4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36" name="Freeform 870">
              <a:extLst>
                <a:ext uri="{FF2B5EF4-FFF2-40B4-BE49-F238E27FC236}">
                  <a16:creationId xmlns:a16="http://schemas.microsoft.com/office/drawing/2014/main" id="{8AF4AA54-7015-4ECE-9748-4C3A82C13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1021" y="5493155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37" name="Freeform 871">
              <a:extLst>
                <a:ext uri="{FF2B5EF4-FFF2-40B4-BE49-F238E27FC236}">
                  <a16:creationId xmlns:a16="http://schemas.microsoft.com/office/drawing/2014/main" id="{DFC0CB7F-A6F8-432E-BFAB-BD0F9573E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2034" y="4150327"/>
              <a:ext cx="1588" cy="9524"/>
            </a:xfrm>
            <a:custGeom>
              <a:avLst/>
              <a:gdLst>
                <a:gd name="T0" fmla="*/ 0 w 1"/>
                <a:gd name="T1" fmla="*/ 6 h 6"/>
                <a:gd name="T2" fmla="*/ 0 w 1"/>
                <a:gd name="T3" fmla="*/ 6 h 6"/>
                <a:gd name="T4" fmla="*/ 1 w 1"/>
                <a:gd name="T5" fmla="*/ 0 h 6"/>
                <a:gd name="T6" fmla="*/ 1 w 1"/>
                <a:gd name="T7" fmla="*/ 0 h 6"/>
                <a:gd name="T8" fmla="*/ 0 w 1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6">
                  <a:moveTo>
                    <a:pt x="0" y="6"/>
                  </a:moveTo>
                  <a:lnTo>
                    <a:pt x="0" y="6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38" name="Rectangle 872">
              <a:extLst>
                <a:ext uri="{FF2B5EF4-FFF2-40B4-BE49-F238E27FC236}">
                  <a16:creationId xmlns:a16="http://schemas.microsoft.com/office/drawing/2014/main" id="{45BAA7E2-179E-4C48-AC64-7C67BE6AD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7846" y="4123343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39" name="Freeform 873">
              <a:extLst>
                <a:ext uri="{FF2B5EF4-FFF2-40B4-BE49-F238E27FC236}">
                  <a16:creationId xmlns:a16="http://schemas.microsoft.com/office/drawing/2014/main" id="{4E8E6B43-6B41-46CB-AEF3-BC39052698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3759" y="4175723"/>
              <a:ext cx="9525" cy="6349"/>
            </a:xfrm>
            <a:custGeom>
              <a:avLst/>
              <a:gdLst>
                <a:gd name="T0" fmla="*/ 6 w 6"/>
                <a:gd name="T1" fmla="*/ 0 h 4"/>
                <a:gd name="T2" fmla="*/ 2 w 6"/>
                <a:gd name="T3" fmla="*/ 4 h 4"/>
                <a:gd name="T4" fmla="*/ 0 w 6"/>
                <a:gd name="T5" fmla="*/ 4 h 4"/>
                <a:gd name="T6" fmla="*/ 2 w 6"/>
                <a:gd name="T7" fmla="*/ 4 h 4"/>
                <a:gd name="T8" fmla="*/ 6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40" name="Freeform 874">
              <a:extLst>
                <a:ext uri="{FF2B5EF4-FFF2-40B4-BE49-F238E27FC236}">
                  <a16:creationId xmlns:a16="http://schemas.microsoft.com/office/drawing/2014/main" id="{6F371BAE-EC1B-40FE-AC44-6A807B255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5672" y="4188421"/>
              <a:ext cx="6350" cy="30158"/>
            </a:xfrm>
            <a:custGeom>
              <a:avLst/>
              <a:gdLst>
                <a:gd name="T0" fmla="*/ 4 w 4"/>
                <a:gd name="T1" fmla="*/ 17 h 19"/>
                <a:gd name="T2" fmla="*/ 4 w 4"/>
                <a:gd name="T3" fmla="*/ 19 h 19"/>
                <a:gd name="T4" fmla="*/ 4 w 4"/>
                <a:gd name="T5" fmla="*/ 17 h 19"/>
                <a:gd name="T6" fmla="*/ 0 w 4"/>
                <a:gd name="T7" fmla="*/ 2 h 19"/>
                <a:gd name="T8" fmla="*/ 0 w 4"/>
                <a:gd name="T9" fmla="*/ 0 h 19"/>
                <a:gd name="T10" fmla="*/ 0 w 4"/>
                <a:gd name="T11" fmla="*/ 2 h 19"/>
                <a:gd name="T12" fmla="*/ 4 w 4"/>
                <a:gd name="T13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9">
                  <a:moveTo>
                    <a:pt x="4" y="17"/>
                  </a:moveTo>
                  <a:lnTo>
                    <a:pt x="4" y="19"/>
                  </a:lnTo>
                  <a:lnTo>
                    <a:pt x="4" y="17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41" name="Freeform 875">
              <a:extLst>
                <a:ext uri="{FF2B5EF4-FFF2-40B4-BE49-F238E27FC236}">
                  <a16:creationId xmlns:a16="http://schemas.microsoft.com/office/drawing/2014/main" id="{271F4B22-0042-4315-AEE3-364404215A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9322" y="4175723"/>
              <a:ext cx="6350" cy="6349"/>
            </a:xfrm>
            <a:custGeom>
              <a:avLst/>
              <a:gdLst>
                <a:gd name="T0" fmla="*/ 4 w 4"/>
                <a:gd name="T1" fmla="*/ 4 h 4"/>
                <a:gd name="T2" fmla="*/ 2 w 4"/>
                <a:gd name="T3" fmla="*/ 2 h 4"/>
                <a:gd name="T4" fmla="*/ 0 w 4"/>
                <a:gd name="T5" fmla="*/ 0 h 4"/>
                <a:gd name="T6" fmla="*/ 2 w 4"/>
                <a:gd name="T7" fmla="*/ 2 h 4"/>
                <a:gd name="T8" fmla="*/ 4 w 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42" name="Freeform 876">
              <a:extLst>
                <a:ext uri="{FF2B5EF4-FFF2-40B4-BE49-F238E27FC236}">
                  <a16:creationId xmlns:a16="http://schemas.microsoft.com/office/drawing/2014/main" id="{9A11B03C-5FA8-4063-B85C-0F14534ED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0422" y="4147152"/>
              <a:ext cx="4763" cy="12698"/>
            </a:xfrm>
            <a:custGeom>
              <a:avLst/>
              <a:gdLst>
                <a:gd name="T0" fmla="*/ 0 w 3"/>
                <a:gd name="T1" fmla="*/ 2 h 8"/>
                <a:gd name="T2" fmla="*/ 1 w 3"/>
                <a:gd name="T3" fmla="*/ 6 h 8"/>
                <a:gd name="T4" fmla="*/ 3 w 3"/>
                <a:gd name="T5" fmla="*/ 8 h 8"/>
                <a:gd name="T6" fmla="*/ 3 w 3"/>
                <a:gd name="T7" fmla="*/ 8 h 8"/>
                <a:gd name="T8" fmla="*/ 1 w 3"/>
                <a:gd name="T9" fmla="*/ 6 h 8"/>
                <a:gd name="T10" fmla="*/ 0 w 3"/>
                <a:gd name="T11" fmla="*/ 2 h 8"/>
                <a:gd name="T12" fmla="*/ 0 w 3"/>
                <a:gd name="T13" fmla="*/ 0 h 8"/>
                <a:gd name="T14" fmla="*/ 0 w 3"/>
                <a:gd name="T15" fmla="*/ 0 h 8"/>
                <a:gd name="T16" fmla="*/ 0 w 3"/>
                <a:gd name="T17" fmla="*/ 0 h 8"/>
                <a:gd name="T18" fmla="*/ 0 w 3"/>
                <a:gd name="T1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8">
                  <a:moveTo>
                    <a:pt x="0" y="2"/>
                  </a:moveTo>
                  <a:lnTo>
                    <a:pt x="1" y="6"/>
                  </a:lnTo>
                  <a:lnTo>
                    <a:pt x="3" y="8"/>
                  </a:lnTo>
                  <a:lnTo>
                    <a:pt x="3" y="8"/>
                  </a:lnTo>
                  <a:lnTo>
                    <a:pt x="1" y="6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43" name="Freeform 877">
              <a:extLst>
                <a:ext uri="{FF2B5EF4-FFF2-40B4-BE49-F238E27FC236}">
                  <a16:creationId xmlns:a16="http://schemas.microsoft.com/office/drawing/2014/main" id="{23958BF9-B9DA-4EFD-A600-A507DD657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184" y="4156676"/>
              <a:ext cx="6350" cy="12698"/>
            </a:xfrm>
            <a:custGeom>
              <a:avLst/>
              <a:gdLst>
                <a:gd name="T0" fmla="*/ 4 w 4"/>
                <a:gd name="T1" fmla="*/ 0 h 8"/>
                <a:gd name="T2" fmla="*/ 4 w 4"/>
                <a:gd name="T3" fmla="*/ 0 h 8"/>
                <a:gd name="T4" fmla="*/ 2 w 4"/>
                <a:gd name="T5" fmla="*/ 4 h 8"/>
                <a:gd name="T6" fmla="*/ 0 w 4"/>
                <a:gd name="T7" fmla="*/ 8 h 8"/>
                <a:gd name="T8" fmla="*/ 2 w 4"/>
                <a:gd name="T9" fmla="*/ 4 h 8"/>
                <a:gd name="T10" fmla="*/ 4 w 4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4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44" name="Freeform 878">
              <a:extLst>
                <a:ext uri="{FF2B5EF4-FFF2-40B4-BE49-F238E27FC236}">
                  <a16:creationId xmlns:a16="http://schemas.microsoft.com/office/drawing/2014/main" id="{3AD4659B-D73A-46CE-8A37-1EAA63D0F3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4709" y="4169374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0 w 2"/>
                <a:gd name="T7" fmla="*/ 0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45" name="Freeform 879">
              <a:extLst>
                <a:ext uri="{FF2B5EF4-FFF2-40B4-BE49-F238E27FC236}">
                  <a16:creationId xmlns:a16="http://schemas.microsoft.com/office/drawing/2014/main" id="{0534E5AC-BE10-4EC1-B1F3-37464518C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1372" y="4136041"/>
              <a:ext cx="15875" cy="4762"/>
            </a:xfrm>
            <a:custGeom>
              <a:avLst/>
              <a:gdLst>
                <a:gd name="T0" fmla="*/ 6 w 10"/>
                <a:gd name="T1" fmla="*/ 0 h 3"/>
                <a:gd name="T2" fmla="*/ 10 w 10"/>
                <a:gd name="T3" fmla="*/ 0 h 3"/>
                <a:gd name="T4" fmla="*/ 10 w 10"/>
                <a:gd name="T5" fmla="*/ 2 h 3"/>
                <a:gd name="T6" fmla="*/ 10 w 10"/>
                <a:gd name="T7" fmla="*/ 0 h 3"/>
                <a:gd name="T8" fmla="*/ 6 w 10"/>
                <a:gd name="T9" fmla="*/ 0 h 3"/>
                <a:gd name="T10" fmla="*/ 2 w 10"/>
                <a:gd name="T11" fmla="*/ 2 h 3"/>
                <a:gd name="T12" fmla="*/ 0 w 10"/>
                <a:gd name="T13" fmla="*/ 3 h 3"/>
                <a:gd name="T14" fmla="*/ 2 w 10"/>
                <a:gd name="T15" fmla="*/ 2 h 3"/>
                <a:gd name="T16" fmla="*/ 6 w 10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3">
                  <a:moveTo>
                    <a:pt x="6" y="0"/>
                  </a:moveTo>
                  <a:lnTo>
                    <a:pt x="10" y="0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46" name="Rectangle 880">
              <a:extLst>
                <a:ext uri="{FF2B5EF4-FFF2-40B4-BE49-F238E27FC236}">
                  <a16:creationId xmlns:a16="http://schemas.microsoft.com/office/drawing/2014/main" id="{D5BE72CC-59DF-405D-BE3D-879029A100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2797" y="4175723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47" name="Freeform 881">
              <a:extLst>
                <a:ext uri="{FF2B5EF4-FFF2-40B4-BE49-F238E27FC236}">
                  <a16:creationId xmlns:a16="http://schemas.microsoft.com/office/drawing/2014/main" id="{7074DC7D-D243-4DD2-A615-BBC61E6E7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459" y="4172548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2 h 2"/>
                <a:gd name="T4" fmla="*/ 0 w 4"/>
                <a:gd name="T5" fmla="*/ 0 h 2"/>
                <a:gd name="T6" fmla="*/ 2 w 4"/>
                <a:gd name="T7" fmla="*/ 2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48" name="Freeform 882">
              <a:extLst>
                <a:ext uri="{FF2B5EF4-FFF2-40B4-BE49-F238E27FC236}">
                  <a16:creationId xmlns:a16="http://schemas.microsoft.com/office/drawing/2014/main" id="{E3DA9138-DF7B-4A42-8EBB-73D181D82A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5497" y="4147152"/>
              <a:ext cx="9525" cy="19047"/>
            </a:xfrm>
            <a:custGeom>
              <a:avLst/>
              <a:gdLst>
                <a:gd name="T0" fmla="*/ 6 w 6"/>
                <a:gd name="T1" fmla="*/ 0 h 12"/>
                <a:gd name="T2" fmla="*/ 4 w 6"/>
                <a:gd name="T3" fmla="*/ 2 h 12"/>
                <a:gd name="T4" fmla="*/ 0 w 6"/>
                <a:gd name="T5" fmla="*/ 12 h 12"/>
                <a:gd name="T6" fmla="*/ 4 w 6"/>
                <a:gd name="T7" fmla="*/ 2 h 12"/>
                <a:gd name="T8" fmla="*/ 6 w 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4" y="2"/>
                  </a:lnTo>
                  <a:lnTo>
                    <a:pt x="0" y="12"/>
                  </a:lnTo>
                  <a:lnTo>
                    <a:pt x="4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49" name="Rectangle 883">
              <a:extLst>
                <a:ext uri="{FF2B5EF4-FFF2-40B4-BE49-F238E27FC236}">
                  <a16:creationId xmlns:a16="http://schemas.microsoft.com/office/drawing/2014/main" id="{546434F8-FA33-48B8-8DC1-6547CE7799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5972" y="4172548"/>
              <a:ext cx="3175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50" name="Freeform 884">
              <a:extLst>
                <a:ext uri="{FF2B5EF4-FFF2-40B4-BE49-F238E27FC236}">
                  <a16:creationId xmlns:a16="http://schemas.microsoft.com/office/drawing/2014/main" id="{3D788951-5041-45FD-9D1C-0ED1EB033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5984" y="4169374"/>
              <a:ext cx="9525" cy="0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0 w 6"/>
                <a:gd name="T4" fmla="*/ 0 w 6"/>
                <a:gd name="T5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51" name="Freeform 885">
              <a:extLst>
                <a:ext uri="{FF2B5EF4-FFF2-40B4-BE49-F238E27FC236}">
                  <a16:creationId xmlns:a16="http://schemas.microsoft.com/office/drawing/2014/main" id="{33F92CDD-D323-4EF7-A428-C5282B19F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2984" y="4172548"/>
              <a:ext cx="9525" cy="0"/>
            </a:xfrm>
            <a:custGeom>
              <a:avLst/>
              <a:gdLst>
                <a:gd name="T0" fmla="*/ 6 w 6"/>
                <a:gd name="T1" fmla="*/ 4 w 6"/>
                <a:gd name="T2" fmla="*/ 0 w 6"/>
                <a:gd name="T3" fmla="*/ 4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52" name="Rectangle 886">
              <a:extLst>
                <a:ext uri="{FF2B5EF4-FFF2-40B4-BE49-F238E27FC236}">
                  <a16:creationId xmlns:a16="http://schemas.microsoft.com/office/drawing/2014/main" id="{83F1FAEB-A6D3-41CF-AA70-EB1E287780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34059" y="4150327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53" name="Rectangle 887">
              <a:extLst>
                <a:ext uri="{FF2B5EF4-FFF2-40B4-BE49-F238E27FC236}">
                  <a16:creationId xmlns:a16="http://schemas.microsoft.com/office/drawing/2014/main" id="{33EFA70B-76D8-466A-A1B6-9392CE6CD4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3059" y="4051916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54" name="Freeform 888">
              <a:extLst>
                <a:ext uri="{FF2B5EF4-FFF2-40B4-BE49-F238E27FC236}">
                  <a16:creationId xmlns:a16="http://schemas.microsoft.com/office/drawing/2014/main" id="{E4EEF511-C072-434D-897E-5ABB05C06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3608" y="4147152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0 w 4"/>
                <a:gd name="T3" fmla="*/ 0 h 2"/>
                <a:gd name="T4" fmla="*/ 4 w 4"/>
                <a:gd name="T5" fmla="*/ 2 h 2"/>
                <a:gd name="T6" fmla="*/ 4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0" y="0"/>
                  </a:lnTo>
                  <a:lnTo>
                    <a:pt x="4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55" name="Freeform 889">
              <a:extLst>
                <a:ext uri="{FF2B5EF4-FFF2-40B4-BE49-F238E27FC236}">
                  <a16:creationId xmlns:a16="http://schemas.microsoft.com/office/drawing/2014/main" id="{C1619047-E88D-40E7-A31D-31D2DEB80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4409" y="4178897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0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56" name="Freeform 890">
              <a:extLst>
                <a:ext uri="{FF2B5EF4-FFF2-40B4-BE49-F238E27FC236}">
                  <a16:creationId xmlns:a16="http://schemas.microsoft.com/office/drawing/2014/main" id="{A4621AF7-7FF5-4FDF-AB42-BCBB470A86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7422" y="4234452"/>
              <a:ext cx="6350" cy="9524"/>
            </a:xfrm>
            <a:custGeom>
              <a:avLst/>
              <a:gdLst>
                <a:gd name="T0" fmla="*/ 4 w 4"/>
                <a:gd name="T1" fmla="*/ 2 h 6"/>
                <a:gd name="T2" fmla="*/ 4 w 4"/>
                <a:gd name="T3" fmla="*/ 0 h 6"/>
                <a:gd name="T4" fmla="*/ 4 w 4"/>
                <a:gd name="T5" fmla="*/ 2 h 6"/>
                <a:gd name="T6" fmla="*/ 0 w 4"/>
                <a:gd name="T7" fmla="*/ 6 h 6"/>
                <a:gd name="T8" fmla="*/ 0 w 4"/>
                <a:gd name="T9" fmla="*/ 6 h 6"/>
                <a:gd name="T10" fmla="*/ 4 w 4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4" y="2"/>
                  </a:moveTo>
                  <a:lnTo>
                    <a:pt x="4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57" name="Rectangle 891">
              <a:extLst>
                <a:ext uri="{FF2B5EF4-FFF2-40B4-BE49-F238E27FC236}">
                  <a16:creationId xmlns:a16="http://schemas.microsoft.com/office/drawing/2014/main" id="{96A6269E-E29F-4F87-B3BD-0E96B3B2A1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4247" y="4237626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58" name="Freeform 892">
              <a:extLst>
                <a:ext uri="{FF2B5EF4-FFF2-40B4-BE49-F238E27FC236}">
                  <a16:creationId xmlns:a16="http://schemas.microsoft.com/office/drawing/2014/main" id="{DADB9638-A2B6-4652-85FA-D0B583B70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3772" y="4201119"/>
              <a:ext cx="1588" cy="30158"/>
            </a:xfrm>
            <a:custGeom>
              <a:avLst/>
              <a:gdLst>
                <a:gd name="T0" fmla="*/ 0 w 1"/>
                <a:gd name="T1" fmla="*/ 9 h 19"/>
                <a:gd name="T2" fmla="*/ 0 w 1"/>
                <a:gd name="T3" fmla="*/ 3 h 19"/>
                <a:gd name="T4" fmla="*/ 1 w 1"/>
                <a:gd name="T5" fmla="*/ 0 h 19"/>
                <a:gd name="T6" fmla="*/ 0 w 1"/>
                <a:gd name="T7" fmla="*/ 3 h 19"/>
                <a:gd name="T8" fmla="*/ 0 w 1"/>
                <a:gd name="T9" fmla="*/ 9 h 19"/>
                <a:gd name="T10" fmla="*/ 0 w 1"/>
                <a:gd name="T11" fmla="*/ 19 h 19"/>
                <a:gd name="T12" fmla="*/ 0 w 1"/>
                <a:gd name="T13" fmla="*/ 19 h 19"/>
                <a:gd name="T14" fmla="*/ 0 w 1"/>
                <a:gd name="T15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" h="19">
                  <a:moveTo>
                    <a:pt x="0" y="9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59" name="Rectangle 893">
              <a:extLst>
                <a:ext uri="{FF2B5EF4-FFF2-40B4-BE49-F238E27FC236}">
                  <a16:creationId xmlns:a16="http://schemas.microsoft.com/office/drawing/2014/main" id="{C87D0B3B-6573-4156-8ABB-EC8320DF46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8520" y="4194770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60" name="Freeform 894">
              <a:extLst>
                <a:ext uri="{FF2B5EF4-FFF2-40B4-BE49-F238E27FC236}">
                  <a16:creationId xmlns:a16="http://schemas.microsoft.com/office/drawing/2014/main" id="{C9B22D63-88DA-4A7A-87E8-01D314BB8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5197" y="4224928"/>
              <a:ext cx="9525" cy="3175"/>
            </a:xfrm>
            <a:custGeom>
              <a:avLst/>
              <a:gdLst>
                <a:gd name="T0" fmla="*/ 4 w 6"/>
                <a:gd name="T1" fmla="*/ 2 h 2"/>
                <a:gd name="T2" fmla="*/ 6 w 6"/>
                <a:gd name="T3" fmla="*/ 2 h 2"/>
                <a:gd name="T4" fmla="*/ 4 w 6"/>
                <a:gd name="T5" fmla="*/ 2 h 2"/>
                <a:gd name="T6" fmla="*/ 0 w 6"/>
                <a:gd name="T7" fmla="*/ 0 h 2"/>
                <a:gd name="T8" fmla="*/ 0 w 6"/>
                <a:gd name="T9" fmla="*/ 0 h 2"/>
                <a:gd name="T10" fmla="*/ 0 w 6"/>
                <a:gd name="T11" fmla="*/ 0 h 2"/>
                <a:gd name="T12" fmla="*/ 4 w 6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">
                  <a:moveTo>
                    <a:pt x="4" y="2"/>
                  </a:moveTo>
                  <a:lnTo>
                    <a:pt x="6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61" name="Freeform 895">
              <a:extLst>
                <a:ext uri="{FF2B5EF4-FFF2-40B4-BE49-F238E27FC236}">
                  <a16:creationId xmlns:a16="http://schemas.microsoft.com/office/drawing/2014/main" id="{A70C17F3-3E1D-4AA9-BB33-8E4F3040A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4722" y="4224928"/>
              <a:ext cx="6350" cy="3175"/>
            </a:xfrm>
            <a:custGeom>
              <a:avLst/>
              <a:gdLst>
                <a:gd name="T0" fmla="*/ 2 w 4"/>
                <a:gd name="T1" fmla="*/ 0 h 2"/>
                <a:gd name="T2" fmla="*/ 4 w 4"/>
                <a:gd name="T3" fmla="*/ 0 h 2"/>
                <a:gd name="T4" fmla="*/ 4 w 4"/>
                <a:gd name="T5" fmla="*/ 0 h 2"/>
                <a:gd name="T6" fmla="*/ 2 w 4"/>
                <a:gd name="T7" fmla="*/ 0 h 2"/>
                <a:gd name="T8" fmla="*/ 0 w 4"/>
                <a:gd name="T9" fmla="*/ 2 h 2"/>
                <a:gd name="T10" fmla="*/ 0 w 4"/>
                <a:gd name="T11" fmla="*/ 2 h 2"/>
                <a:gd name="T12" fmla="*/ 2 w 4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62" name="Freeform 896">
              <a:extLst>
                <a:ext uri="{FF2B5EF4-FFF2-40B4-BE49-F238E27FC236}">
                  <a16:creationId xmlns:a16="http://schemas.microsoft.com/office/drawing/2014/main" id="{1591002F-5551-4789-90AC-704E9346E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971" y="4045567"/>
              <a:ext cx="61913" cy="6349"/>
            </a:xfrm>
            <a:custGeom>
              <a:avLst/>
              <a:gdLst>
                <a:gd name="T0" fmla="*/ 39 w 39"/>
                <a:gd name="T1" fmla="*/ 4 h 4"/>
                <a:gd name="T2" fmla="*/ 0 w 39"/>
                <a:gd name="T3" fmla="*/ 2 h 4"/>
                <a:gd name="T4" fmla="*/ 0 w 39"/>
                <a:gd name="T5" fmla="*/ 0 h 4"/>
                <a:gd name="T6" fmla="*/ 0 w 39"/>
                <a:gd name="T7" fmla="*/ 2 h 4"/>
                <a:gd name="T8" fmla="*/ 39 w 39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">
                  <a:moveTo>
                    <a:pt x="39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39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63" name="Freeform 897">
              <a:extLst>
                <a:ext uri="{FF2B5EF4-FFF2-40B4-BE49-F238E27FC236}">
                  <a16:creationId xmlns:a16="http://schemas.microsoft.com/office/drawing/2014/main" id="{F63B247F-3161-45A2-B5DB-2640E43AC4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6346" y="4010647"/>
              <a:ext cx="22225" cy="9524"/>
            </a:xfrm>
            <a:custGeom>
              <a:avLst/>
              <a:gdLst>
                <a:gd name="T0" fmla="*/ 14 w 14"/>
                <a:gd name="T1" fmla="*/ 0 h 6"/>
                <a:gd name="T2" fmla="*/ 10 w 14"/>
                <a:gd name="T3" fmla="*/ 0 h 6"/>
                <a:gd name="T4" fmla="*/ 0 w 14"/>
                <a:gd name="T5" fmla="*/ 6 h 6"/>
                <a:gd name="T6" fmla="*/ 10 w 14"/>
                <a:gd name="T7" fmla="*/ 0 h 6"/>
                <a:gd name="T8" fmla="*/ 14 w 1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10" y="0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64" name="Freeform 898">
              <a:extLst>
                <a:ext uri="{FF2B5EF4-FFF2-40B4-BE49-F238E27FC236}">
                  <a16:creationId xmlns:a16="http://schemas.microsoft.com/office/drawing/2014/main" id="{463F68CA-7AA4-432F-AE64-FDF7B956C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1271" y="4009060"/>
              <a:ext cx="85725" cy="11111"/>
            </a:xfrm>
            <a:custGeom>
              <a:avLst/>
              <a:gdLst>
                <a:gd name="T0" fmla="*/ 31 w 54"/>
                <a:gd name="T1" fmla="*/ 7 h 7"/>
                <a:gd name="T2" fmla="*/ 54 w 54"/>
                <a:gd name="T3" fmla="*/ 7 h 7"/>
                <a:gd name="T4" fmla="*/ 31 w 54"/>
                <a:gd name="T5" fmla="*/ 7 h 7"/>
                <a:gd name="T6" fmla="*/ 4 w 54"/>
                <a:gd name="T7" fmla="*/ 0 h 7"/>
                <a:gd name="T8" fmla="*/ 0 w 54"/>
                <a:gd name="T9" fmla="*/ 0 h 7"/>
                <a:gd name="T10" fmla="*/ 4 w 54"/>
                <a:gd name="T11" fmla="*/ 0 h 7"/>
                <a:gd name="T12" fmla="*/ 31 w 5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7">
                  <a:moveTo>
                    <a:pt x="31" y="7"/>
                  </a:moveTo>
                  <a:lnTo>
                    <a:pt x="54" y="7"/>
                  </a:lnTo>
                  <a:lnTo>
                    <a:pt x="31" y="7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31" y="7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65" name="Freeform 899">
              <a:extLst>
                <a:ext uri="{FF2B5EF4-FFF2-40B4-BE49-F238E27FC236}">
                  <a16:creationId xmlns:a16="http://schemas.microsoft.com/office/drawing/2014/main" id="{1EEF6DBF-6EB3-4C1C-B14E-ECEA97FD7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608" y="4016996"/>
              <a:ext cx="57150" cy="9524"/>
            </a:xfrm>
            <a:custGeom>
              <a:avLst/>
              <a:gdLst>
                <a:gd name="T0" fmla="*/ 36 w 36"/>
                <a:gd name="T1" fmla="*/ 6 h 6"/>
                <a:gd name="T2" fmla="*/ 0 w 36"/>
                <a:gd name="T3" fmla="*/ 0 h 6"/>
                <a:gd name="T4" fmla="*/ 0 w 36"/>
                <a:gd name="T5" fmla="*/ 0 h 6"/>
                <a:gd name="T6" fmla="*/ 36 w 36"/>
                <a:gd name="T7" fmla="*/ 6 h 6"/>
                <a:gd name="T8" fmla="*/ 36 w 3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6">
                  <a:moveTo>
                    <a:pt x="36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6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166" name="Freeform 900">
              <a:extLst>
                <a:ext uri="{FF2B5EF4-FFF2-40B4-BE49-F238E27FC236}">
                  <a16:creationId xmlns:a16="http://schemas.microsoft.com/office/drawing/2014/main" id="{6FA2D102-A6E3-41EA-BFE7-AC048636D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3620" y="4067789"/>
              <a:ext cx="17463" cy="42856"/>
            </a:xfrm>
            <a:custGeom>
              <a:avLst/>
              <a:gdLst>
                <a:gd name="T0" fmla="*/ 5 w 11"/>
                <a:gd name="T1" fmla="*/ 19 h 27"/>
                <a:gd name="T2" fmla="*/ 11 w 11"/>
                <a:gd name="T3" fmla="*/ 2 h 27"/>
                <a:gd name="T4" fmla="*/ 11 w 11"/>
                <a:gd name="T5" fmla="*/ 0 h 27"/>
                <a:gd name="T6" fmla="*/ 11 w 11"/>
                <a:gd name="T7" fmla="*/ 2 h 27"/>
                <a:gd name="T8" fmla="*/ 5 w 11"/>
                <a:gd name="T9" fmla="*/ 19 h 27"/>
                <a:gd name="T10" fmla="*/ 1 w 11"/>
                <a:gd name="T11" fmla="*/ 25 h 27"/>
                <a:gd name="T12" fmla="*/ 0 w 11"/>
                <a:gd name="T13" fmla="*/ 27 h 27"/>
                <a:gd name="T14" fmla="*/ 1 w 11"/>
                <a:gd name="T15" fmla="*/ 25 h 27"/>
                <a:gd name="T16" fmla="*/ 5 w 11"/>
                <a:gd name="T17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27">
                  <a:moveTo>
                    <a:pt x="5" y="19"/>
                  </a:moveTo>
                  <a:lnTo>
                    <a:pt x="11" y="2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5" y="19"/>
                  </a:lnTo>
                  <a:lnTo>
                    <a:pt x="1" y="25"/>
                  </a:lnTo>
                  <a:lnTo>
                    <a:pt x="0" y="27"/>
                  </a:lnTo>
                  <a:lnTo>
                    <a:pt x="1" y="25"/>
                  </a:lnTo>
                  <a:lnTo>
                    <a:pt x="5" y="1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22" name="Freeform 901">
              <a:extLst>
                <a:ext uri="{FF2B5EF4-FFF2-40B4-BE49-F238E27FC236}">
                  <a16:creationId xmlns:a16="http://schemas.microsoft.com/office/drawing/2014/main" id="{B2750D37-4C7F-4111-AFAF-1B22E98E9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6958" y="4032869"/>
              <a:ext cx="74613" cy="9524"/>
            </a:xfrm>
            <a:custGeom>
              <a:avLst/>
              <a:gdLst>
                <a:gd name="T0" fmla="*/ 6 w 47"/>
                <a:gd name="T1" fmla="*/ 4 h 6"/>
                <a:gd name="T2" fmla="*/ 47 w 47"/>
                <a:gd name="T3" fmla="*/ 0 h 6"/>
                <a:gd name="T4" fmla="*/ 47 w 47"/>
                <a:gd name="T5" fmla="*/ 0 h 6"/>
                <a:gd name="T6" fmla="*/ 6 w 47"/>
                <a:gd name="T7" fmla="*/ 4 h 6"/>
                <a:gd name="T8" fmla="*/ 2 w 47"/>
                <a:gd name="T9" fmla="*/ 4 h 6"/>
                <a:gd name="T10" fmla="*/ 0 w 47"/>
                <a:gd name="T11" fmla="*/ 6 h 6"/>
                <a:gd name="T12" fmla="*/ 2 w 47"/>
                <a:gd name="T13" fmla="*/ 4 h 6"/>
                <a:gd name="T14" fmla="*/ 6 w 47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6">
                  <a:moveTo>
                    <a:pt x="6" y="4"/>
                  </a:moveTo>
                  <a:lnTo>
                    <a:pt x="47" y="0"/>
                  </a:lnTo>
                  <a:lnTo>
                    <a:pt x="47" y="0"/>
                  </a:lnTo>
                  <a:lnTo>
                    <a:pt x="6" y="4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4"/>
                  </a:lnTo>
                  <a:lnTo>
                    <a:pt x="6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23" name="Freeform 902">
              <a:extLst>
                <a:ext uri="{FF2B5EF4-FFF2-40B4-BE49-F238E27FC236}">
                  <a16:creationId xmlns:a16="http://schemas.microsoft.com/office/drawing/2014/main" id="{3F2CC316-9934-40B2-A0F5-EE173588BD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9958" y="4150327"/>
              <a:ext cx="15875" cy="15873"/>
            </a:xfrm>
            <a:custGeom>
              <a:avLst/>
              <a:gdLst>
                <a:gd name="T0" fmla="*/ 10 w 10"/>
                <a:gd name="T1" fmla="*/ 10 h 10"/>
                <a:gd name="T2" fmla="*/ 10 w 10"/>
                <a:gd name="T3" fmla="*/ 10 h 10"/>
                <a:gd name="T4" fmla="*/ 10 w 10"/>
                <a:gd name="T5" fmla="*/ 10 h 10"/>
                <a:gd name="T6" fmla="*/ 6 w 10"/>
                <a:gd name="T7" fmla="*/ 4 h 10"/>
                <a:gd name="T8" fmla="*/ 0 w 10"/>
                <a:gd name="T9" fmla="*/ 0 h 10"/>
                <a:gd name="T10" fmla="*/ 6 w 10"/>
                <a:gd name="T11" fmla="*/ 4 h 10"/>
                <a:gd name="T12" fmla="*/ 10 w 10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0" y="10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6" y="4"/>
                  </a:lnTo>
                  <a:lnTo>
                    <a:pt x="0" y="0"/>
                  </a:lnTo>
                  <a:lnTo>
                    <a:pt x="6" y="4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36" name="Freeform 903">
              <a:extLst>
                <a:ext uri="{FF2B5EF4-FFF2-40B4-BE49-F238E27FC236}">
                  <a16:creationId xmlns:a16="http://schemas.microsoft.com/office/drawing/2014/main" id="{20130D7D-CA4A-4F91-A688-F4852819E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8520" y="4169374"/>
              <a:ext cx="3175" cy="19047"/>
            </a:xfrm>
            <a:custGeom>
              <a:avLst/>
              <a:gdLst>
                <a:gd name="T0" fmla="*/ 2 w 2"/>
                <a:gd name="T1" fmla="*/ 8 h 12"/>
                <a:gd name="T2" fmla="*/ 0 w 2"/>
                <a:gd name="T3" fmla="*/ 0 h 12"/>
                <a:gd name="T4" fmla="*/ 2 w 2"/>
                <a:gd name="T5" fmla="*/ 8 h 12"/>
                <a:gd name="T6" fmla="*/ 2 w 2"/>
                <a:gd name="T7" fmla="*/ 12 h 12"/>
                <a:gd name="T8" fmla="*/ 2 w 2"/>
                <a:gd name="T9" fmla="*/ 12 h 12"/>
                <a:gd name="T10" fmla="*/ 2 w 2"/>
                <a:gd name="T11" fmla="*/ 12 h 12"/>
                <a:gd name="T12" fmla="*/ 2 w 2"/>
                <a:gd name="T1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2">
                  <a:moveTo>
                    <a:pt x="2" y="8"/>
                  </a:moveTo>
                  <a:lnTo>
                    <a:pt x="0" y="0"/>
                  </a:lnTo>
                  <a:lnTo>
                    <a:pt x="2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37" name="Freeform 904">
              <a:extLst>
                <a:ext uri="{FF2B5EF4-FFF2-40B4-BE49-F238E27FC236}">
                  <a16:creationId xmlns:a16="http://schemas.microsoft.com/office/drawing/2014/main" id="{8E954957-49C5-46DE-87AE-9534E3769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2170" y="4150327"/>
              <a:ext cx="6350" cy="6349"/>
            </a:xfrm>
            <a:custGeom>
              <a:avLst/>
              <a:gdLst>
                <a:gd name="T0" fmla="*/ 2 w 4"/>
                <a:gd name="T1" fmla="*/ 0 h 4"/>
                <a:gd name="T2" fmla="*/ 4 w 4"/>
                <a:gd name="T3" fmla="*/ 0 h 4"/>
                <a:gd name="T4" fmla="*/ 2 w 4"/>
                <a:gd name="T5" fmla="*/ 0 h 4"/>
                <a:gd name="T6" fmla="*/ 0 w 4"/>
                <a:gd name="T7" fmla="*/ 4 h 4"/>
                <a:gd name="T8" fmla="*/ 0 w 4"/>
                <a:gd name="T9" fmla="*/ 4 h 4"/>
                <a:gd name="T10" fmla="*/ 0 w 4"/>
                <a:gd name="T11" fmla="*/ 4 h 4"/>
                <a:gd name="T12" fmla="*/ 2 w 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38" name="Freeform 905">
              <a:extLst>
                <a:ext uri="{FF2B5EF4-FFF2-40B4-BE49-F238E27FC236}">
                  <a16:creationId xmlns:a16="http://schemas.microsoft.com/office/drawing/2014/main" id="{44E50D6F-DED4-4E0E-B72C-07CC193A9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1858" y="4139216"/>
              <a:ext cx="19050" cy="4762"/>
            </a:xfrm>
            <a:custGeom>
              <a:avLst/>
              <a:gdLst>
                <a:gd name="T0" fmla="*/ 12 w 12"/>
                <a:gd name="T1" fmla="*/ 3 h 3"/>
                <a:gd name="T2" fmla="*/ 2 w 12"/>
                <a:gd name="T3" fmla="*/ 0 h 3"/>
                <a:gd name="T4" fmla="*/ 0 w 12"/>
                <a:gd name="T5" fmla="*/ 0 h 3"/>
                <a:gd name="T6" fmla="*/ 2 w 12"/>
                <a:gd name="T7" fmla="*/ 0 h 3"/>
                <a:gd name="T8" fmla="*/ 12 w 1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3">
                  <a:moveTo>
                    <a:pt x="1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2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39" name="Freeform 906">
              <a:extLst>
                <a:ext uri="{FF2B5EF4-FFF2-40B4-BE49-F238E27FC236}">
                  <a16:creationId xmlns:a16="http://schemas.microsoft.com/office/drawing/2014/main" id="{A4CFB0FC-6D90-40CF-A3B5-FBC68323E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1671" y="4159850"/>
              <a:ext cx="9525" cy="0"/>
            </a:xfrm>
            <a:custGeom>
              <a:avLst/>
              <a:gdLst>
                <a:gd name="T0" fmla="*/ 6 w 6"/>
                <a:gd name="T1" fmla="*/ 4 w 6"/>
                <a:gd name="T2" fmla="*/ 0 w 6"/>
                <a:gd name="T3" fmla="*/ 4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40" name="Freeform 907">
              <a:extLst>
                <a:ext uri="{FF2B5EF4-FFF2-40B4-BE49-F238E27FC236}">
                  <a16:creationId xmlns:a16="http://schemas.microsoft.com/office/drawing/2014/main" id="{DE3F99FB-8929-4BB8-A223-ED9CC40FD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6584" y="4147152"/>
              <a:ext cx="19050" cy="12698"/>
            </a:xfrm>
            <a:custGeom>
              <a:avLst/>
              <a:gdLst>
                <a:gd name="T0" fmla="*/ 4 w 12"/>
                <a:gd name="T1" fmla="*/ 8 h 8"/>
                <a:gd name="T2" fmla="*/ 8 w 12"/>
                <a:gd name="T3" fmla="*/ 2 h 8"/>
                <a:gd name="T4" fmla="*/ 12 w 12"/>
                <a:gd name="T5" fmla="*/ 0 h 8"/>
                <a:gd name="T6" fmla="*/ 12 w 12"/>
                <a:gd name="T7" fmla="*/ 0 h 8"/>
                <a:gd name="T8" fmla="*/ 12 w 12"/>
                <a:gd name="T9" fmla="*/ 0 h 8"/>
                <a:gd name="T10" fmla="*/ 8 w 12"/>
                <a:gd name="T11" fmla="*/ 2 h 8"/>
                <a:gd name="T12" fmla="*/ 4 w 12"/>
                <a:gd name="T13" fmla="*/ 8 h 8"/>
                <a:gd name="T14" fmla="*/ 0 w 12"/>
                <a:gd name="T15" fmla="*/ 8 h 8"/>
                <a:gd name="T16" fmla="*/ 0 w 12"/>
                <a:gd name="T17" fmla="*/ 8 h 8"/>
                <a:gd name="T18" fmla="*/ 0 w 12"/>
                <a:gd name="T19" fmla="*/ 8 h 8"/>
                <a:gd name="T20" fmla="*/ 4 w 12"/>
                <a:gd name="T2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8">
                  <a:moveTo>
                    <a:pt x="4" y="8"/>
                  </a:moveTo>
                  <a:lnTo>
                    <a:pt x="8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2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41" name="Freeform 908">
              <a:extLst>
                <a:ext uri="{FF2B5EF4-FFF2-40B4-BE49-F238E27FC236}">
                  <a16:creationId xmlns:a16="http://schemas.microsoft.com/office/drawing/2014/main" id="{A510A2C7-5D21-4733-B3D1-8FF41050F3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1184" y="4159850"/>
              <a:ext cx="9525" cy="0"/>
            </a:xfrm>
            <a:custGeom>
              <a:avLst/>
              <a:gdLst>
                <a:gd name="T0" fmla="*/ 6 w 6"/>
                <a:gd name="T1" fmla="*/ 2 w 6"/>
                <a:gd name="T2" fmla="*/ 0 w 6"/>
                <a:gd name="T3" fmla="*/ 2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42" name="Freeform 909">
              <a:extLst>
                <a:ext uri="{FF2B5EF4-FFF2-40B4-BE49-F238E27FC236}">
                  <a16:creationId xmlns:a16="http://schemas.microsoft.com/office/drawing/2014/main" id="{F7B107BF-361E-4138-8BAB-4832F8C49A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5309" y="4136041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4 w 4"/>
                <a:gd name="T3" fmla="*/ 0 h 2"/>
                <a:gd name="T4" fmla="*/ 0 w 4"/>
                <a:gd name="T5" fmla="*/ 0 h 2"/>
                <a:gd name="T6" fmla="*/ 4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43" name="Freeform 910">
              <a:extLst>
                <a:ext uri="{FF2B5EF4-FFF2-40B4-BE49-F238E27FC236}">
                  <a16:creationId xmlns:a16="http://schemas.microsoft.com/office/drawing/2014/main" id="{E3D13689-8E33-4C7A-8FAC-3780306819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4371" y="4194770"/>
              <a:ext cx="23813" cy="20634"/>
            </a:xfrm>
            <a:custGeom>
              <a:avLst/>
              <a:gdLst>
                <a:gd name="T0" fmla="*/ 2 w 15"/>
                <a:gd name="T1" fmla="*/ 13 h 13"/>
                <a:gd name="T2" fmla="*/ 6 w 15"/>
                <a:gd name="T3" fmla="*/ 13 h 13"/>
                <a:gd name="T4" fmla="*/ 8 w 15"/>
                <a:gd name="T5" fmla="*/ 11 h 13"/>
                <a:gd name="T6" fmla="*/ 15 w 15"/>
                <a:gd name="T7" fmla="*/ 2 h 13"/>
                <a:gd name="T8" fmla="*/ 15 w 15"/>
                <a:gd name="T9" fmla="*/ 0 h 13"/>
                <a:gd name="T10" fmla="*/ 15 w 15"/>
                <a:gd name="T11" fmla="*/ 2 h 13"/>
                <a:gd name="T12" fmla="*/ 8 w 15"/>
                <a:gd name="T13" fmla="*/ 11 h 13"/>
                <a:gd name="T14" fmla="*/ 6 w 15"/>
                <a:gd name="T15" fmla="*/ 13 h 13"/>
                <a:gd name="T16" fmla="*/ 2 w 15"/>
                <a:gd name="T17" fmla="*/ 13 h 13"/>
                <a:gd name="T18" fmla="*/ 0 w 15"/>
                <a:gd name="T19" fmla="*/ 11 h 13"/>
                <a:gd name="T20" fmla="*/ 0 w 15"/>
                <a:gd name="T21" fmla="*/ 11 h 13"/>
                <a:gd name="T22" fmla="*/ 0 w 15"/>
                <a:gd name="T23" fmla="*/ 11 h 13"/>
                <a:gd name="T24" fmla="*/ 2 w 15"/>
                <a:gd name="T2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13">
                  <a:moveTo>
                    <a:pt x="2" y="13"/>
                  </a:moveTo>
                  <a:lnTo>
                    <a:pt x="6" y="13"/>
                  </a:lnTo>
                  <a:lnTo>
                    <a:pt x="8" y="11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5" y="2"/>
                  </a:lnTo>
                  <a:lnTo>
                    <a:pt x="8" y="11"/>
                  </a:lnTo>
                  <a:lnTo>
                    <a:pt x="6" y="13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44" name="Rectangle 911">
              <a:extLst>
                <a:ext uri="{FF2B5EF4-FFF2-40B4-BE49-F238E27FC236}">
                  <a16:creationId xmlns:a16="http://schemas.microsoft.com/office/drawing/2014/main" id="{11B141BA-B504-4D7A-8E87-5CD98666B4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4846" y="4204294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45" name="Freeform 912">
              <a:extLst>
                <a:ext uri="{FF2B5EF4-FFF2-40B4-BE49-F238E27FC236}">
                  <a16:creationId xmlns:a16="http://schemas.microsoft.com/office/drawing/2014/main" id="{581395BD-0A31-410E-876D-35688AAC1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1496" y="4091598"/>
              <a:ext cx="6350" cy="9524"/>
            </a:xfrm>
            <a:custGeom>
              <a:avLst/>
              <a:gdLst>
                <a:gd name="T0" fmla="*/ 4 w 4"/>
                <a:gd name="T1" fmla="*/ 6 h 6"/>
                <a:gd name="T2" fmla="*/ 2 w 4"/>
                <a:gd name="T3" fmla="*/ 2 h 6"/>
                <a:gd name="T4" fmla="*/ 0 w 4"/>
                <a:gd name="T5" fmla="*/ 0 h 6"/>
                <a:gd name="T6" fmla="*/ 2 w 4"/>
                <a:gd name="T7" fmla="*/ 2 h 6"/>
                <a:gd name="T8" fmla="*/ 4 w 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46" name="Freeform 913">
              <a:extLst>
                <a:ext uri="{FF2B5EF4-FFF2-40B4-BE49-F238E27FC236}">
                  <a16:creationId xmlns:a16="http://schemas.microsoft.com/office/drawing/2014/main" id="{693CABBF-6C75-4BE1-8BEF-C4876FE19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2759" y="4088423"/>
              <a:ext cx="39688" cy="6349"/>
            </a:xfrm>
            <a:custGeom>
              <a:avLst/>
              <a:gdLst>
                <a:gd name="T0" fmla="*/ 25 w 25"/>
                <a:gd name="T1" fmla="*/ 0 h 4"/>
                <a:gd name="T2" fmla="*/ 13 w 25"/>
                <a:gd name="T3" fmla="*/ 0 h 4"/>
                <a:gd name="T4" fmla="*/ 0 w 25"/>
                <a:gd name="T5" fmla="*/ 4 h 4"/>
                <a:gd name="T6" fmla="*/ 13 w 25"/>
                <a:gd name="T7" fmla="*/ 0 h 4"/>
                <a:gd name="T8" fmla="*/ 25 w 2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4">
                  <a:moveTo>
                    <a:pt x="25" y="0"/>
                  </a:moveTo>
                  <a:lnTo>
                    <a:pt x="13" y="0"/>
                  </a:lnTo>
                  <a:lnTo>
                    <a:pt x="0" y="4"/>
                  </a:lnTo>
                  <a:lnTo>
                    <a:pt x="13" y="0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47" name="Freeform 914">
              <a:extLst>
                <a:ext uri="{FF2B5EF4-FFF2-40B4-BE49-F238E27FC236}">
                  <a16:creationId xmlns:a16="http://schemas.microsoft.com/office/drawing/2014/main" id="{86269793-B85D-4210-A938-C2AFD9560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6234" y="4067789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0 w 2"/>
                <a:gd name="T7" fmla="*/ 0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48" name="Freeform 915">
              <a:extLst>
                <a:ext uri="{FF2B5EF4-FFF2-40B4-BE49-F238E27FC236}">
                  <a16:creationId xmlns:a16="http://schemas.microsoft.com/office/drawing/2014/main" id="{EFC4B2C7-C55E-4D48-A74A-E656024DB3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3059" y="4058265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0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49" name="Freeform 916">
              <a:extLst>
                <a:ext uri="{FF2B5EF4-FFF2-40B4-BE49-F238E27FC236}">
                  <a16:creationId xmlns:a16="http://schemas.microsoft.com/office/drawing/2014/main" id="{31BA7D04-0F02-4ED1-A54C-5C422DB32A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7846" y="4126518"/>
              <a:ext cx="12700" cy="9524"/>
            </a:xfrm>
            <a:custGeom>
              <a:avLst/>
              <a:gdLst>
                <a:gd name="T0" fmla="*/ 4 w 8"/>
                <a:gd name="T1" fmla="*/ 6 h 6"/>
                <a:gd name="T2" fmla="*/ 6 w 8"/>
                <a:gd name="T3" fmla="*/ 6 h 6"/>
                <a:gd name="T4" fmla="*/ 8 w 8"/>
                <a:gd name="T5" fmla="*/ 6 h 6"/>
                <a:gd name="T6" fmla="*/ 6 w 8"/>
                <a:gd name="T7" fmla="*/ 6 h 6"/>
                <a:gd name="T8" fmla="*/ 4 w 8"/>
                <a:gd name="T9" fmla="*/ 6 h 6"/>
                <a:gd name="T10" fmla="*/ 0 w 8"/>
                <a:gd name="T11" fmla="*/ 4 h 6"/>
                <a:gd name="T12" fmla="*/ 0 w 8"/>
                <a:gd name="T13" fmla="*/ 0 h 6"/>
                <a:gd name="T14" fmla="*/ 0 w 8"/>
                <a:gd name="T15" fmla="*/ 4 h 6"/>
                <a:gd name="T16" fmla="*/ 4 w 8"/>
                <a:gd name="T1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6">
                  <a:moveTo>
                    <a:pt x="4" y="6"/>
                  </a:moveTo>
                  <a:lnTo>
                    <a:pt x="6" y="6"/>
                  </a:lnTo>
                  <a:lnTo>
                    <a:pt x="8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50" name="Freeform 917">
              <a:extLst>
                <a:ext uri="{FF2B5EF4-FFF2-40B4-BE49-F238E27FC236}">
                  <a16:creationId xmlns:a16="http://schemas.microsoft.com/office/drawing/2014/main" id="{4C817BDB-F7CE-4062-B5B7-C5FF58A3A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184" y="4175723"/>
              <a:ext cx="0" cy="9524"/>
            </a:xfrm>
            <a:custGeom>
              <a:avLst/>
              <a:gdLst>
                <a:gd name="T0" fmla="*/ 2 h 6"/>
                <a:gd name="T1" fmla="*/ 0 h 6"/>
                <a:gd name="T2" fmla="*/ 2 h 6"/>
                <a:gd name="T3" fmla="*/ 4 h 6"/>
                <a:gd name="T4" fmla="*/ 6 h 6"/>
                <a:gd name="T5" fmla="*/ 4 h 6"/>
                <a:gd name="T6" fmla="*/ 2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6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51" name="Freeform 918">
              <a:extLst>
                <a:ext uri="{FF2B5EF4-FFF2-40B4-BE49-F238E27FC236}">
                  <a16:creationId xmlns:a16="http://schemas.microsoft.com/office/drawing/2014/main" id="{D7A6E501-F760-4D99-9D4B-016C9FFB1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3667" y="5409030"/>
              <a:ext cx="1779590" cy="647605"/>
            </a:xfrm>
            <a:custGeom>
              <a:avLst/>
              <a:gdLst>
                <a:gd name="T0" fmla="*/ 961 w 1121"/>
                <a:gd name="T1" fmla="*/ 51 h 408"/>
                <a:gd name="T2" fmla="*/ 924 w 1121"/>
                <a:gd name="T3" fmla="*/ 55 h 408"/>
                <a:gd name="T4" fmla="*/ 894 w 1121"/>
                <a:gd name="T5" fmla="*/ 18 h 408"/>
                <a:gd name="T6" fmla="*/ 877 w 1121"/>
                <a:gd name="T7" fmla="*/ 2 h 408"/>
                <a:gd name="T8" fmla="*/ 853 w 1121"/>
                <a:gd name="T9" fmla="*/ 16 h 408"/>
                <a:gd name="T10" fmla="*/ 826 w 1121"/>
                <a:gd name="T11" fmla="*/ 20 h 408"/>
                <a:gd name="T12" fmla="*/ 781 w 1121"/>
                <a:gd name="T13" fmla="*/ 6 h 408"/>
                <a:gd name="T14" fmla="*/ 720 w 1121"/>
                <a:gd name="T15" fmla="*/ 16 h 408"/>
                <a:gd name="T16" fmla="*/ 718 w 1121"/>
                <a:gd name="T17" fmla="*/ 25 h 408"/>
                <a:gd name="T18" fmla="*/ 697 w 1121"/>
                <a:gd name="T19" fmla="*/ 66 h 408"/>
                <a:gd name="T20" fmla="*/ 677 w 1121"/>
                <a:gd name="T21" fmla="*/ 76 h 408"/>
                <a:gd name="T22" fmla="*/ 660 w 1121"/>
                <a:gd name="T23" fmla="*/ 82 h 408"/>
                <a:gd name="T24" fmla="*/ 646 w 1121"/>
                <a:gd name="T25" fmla="*/ 98 h 408"/>
                <a:gd name="T26" fmla="*/ 613 w 1121"/>
                <a:gd name="T27" fmla="*/ 104 h 408"/>
                <a:gd name="T28" fmla="*/ 601 w 1121"/>
                <a:gd name="T29" fmla="*/ 100 h 408"/>
                <a:gd name="T30" fmla="*/ 582 w 1121"/>
                <a:gd name="T31" fmla="*/ 88 h 408"/>
                <a:gd name="T32" fmla="*/ 552 w 1121"/>
                <a:gd name="T33" fmla="*/ 109 h 408"/>
                <a:gd name="T34" fmla="*/ 521 w 1121"/>
                <a:gd name="T35" fmla="*/ 121 h 408"/>
                <a:gd name="T36" fmla="*/ 468 w 1121"/>
                <a:gd name="T37" fmla="*/ 127 h 408"/>
                <a:gd name="T38" fmla="*/ 431 w 1121"/>
                <a:gd name="T39" fmla="*/ 146 h 408"/>
                <a:gd name="T40" fmla="*/ 429 w 1121"/>
                <a:gd name="T41" fmla="*/ 174 h 408"/>
                <a:gd name="T42" fmla="*/ 433 w 1121"/>
                <a:gd name="T43" fmla="*/ 187 h 408"/>
                <a:gd name="T44" fmla="*/ 363 w 1121"/>
                <a:gd name="T45" fmla="*/ 197 h 408"/>
                <a:gd name="T46" fmla="*/ 257 w 1121"/>
                <a:gd name="T47" fmla="*/ 199 h 408"/>
                <a:gd name="T48" fmla="*/ 234 w 1121"/>
                <a:gd name="T49" fmla="*/ 186 h 408"/>
                <a:gd name="T50" fmla="*/ 218 w 1121"/>
                <a:gd name="T51" fmla="*/ 172 h 408"/>
                <a:gd name="T52" fmla="*/ 162 w 1121"/>
                <a:gd name="T53" fmla="*/ 141 h 408"/>
                <a:gd name="T54" fmla="*/ 152 w 1121"/>
                <a:gd name="T55" fmla="*/ 162 h 408"/>
                <a:gd name="T56" fmla="*/ 144 w 1121"/>
                <a:gd name="T57" fmla="*/ 184 h 408"/>
                <a:gd name="T58" fmla="*/ 134 w 1121"/>
                <a:gd name="T59" fmla="*/ 219 h 408"/>
                <a:gd name="T60" fmla="*/ 89 w 1121"/>
                <a:gd name="T61" fmla="*/ 217 h 408"/>
                <a:gd name="T62" fmla="*/ 48 w 1121"/>
                <a:gd name="T63" fmla="*/ 219 h 408"/>
                <a:gd name="T64" fmla="*/ 56 w 1121"/>
                <a:gd name="T65" fmla="*/ 230 h 408"/>
                <a:gd name="T66" fmla="*/ 84 w 1121"/>
                <a:gd name="T67" fmla="*/ 264 h 408"/>
                <a:gd name="T68" fmla="*/ 43 w 1121"/>
                <a:gd name="T69" fmla="*/ 301 h 408"/>
                <a:gd name="T70" fmla="*/ 48 w 1121"/>
                <a:gd name="T71" fmla="*/ 324 h 408"/>
                <a:gd name="T72" fmla="*/ 44 w 1121"/>
                <a:gd name="T73" fmla="*/ 348 h 408"/>
                <a:gd name="T74" fmla="*/ 46 w 1121"/>
                <a:gd name="T75" fmla="*/ 373 h 408"/>
                <a:gd name="T76" fmla="*/ 52 w 1121"/>
                <a:gd name="T77" fmla="*/ 391 h 408"/>
                <a:gd name="T78" fmla="*/ 19 w 1121"/>
                <a:gd name="T79" fmla="*/ 389 h 408"/>
                <a:gd name="T80" fmla="*/ 7 w 1121"/>
                <a:gd name="T81" fmla="*/ 404 h 408"/>
                <a:gd name="T82" fmla="*/ 310 w 1121"/>
                <a:gd name="T83" fmla="*/ 379 h 408"/>
                <a:gd name="T84" fmla="*/ 324 w 1121"/>
                <a:gd name="T85" fmla="*/ 402 h 408"/>
                <a:gd name="T86" fmla="*/ 920 w 1121"/>
                <a:gd name="T87" fmla="*/ 391 h 408"/>
                <a:gd name="T88" fmla="*/ 912 w 1121"/>
                <a:gd name="T89" fmla="*/ 385 h 408"/>
                <a:gd name="T90" fmla="*/ 939 w 1121"/>
                <a:gd name="T91" fmla="*/ 353 h 408"/>
                <a:gd name="T92" fmla="*/ 945 w 1121"/>
                <a:gd name="T93" fmla="*/ 334 h 408"/>
                <a:gd name="T94" fmla="*/ 963 w 1121"/>
                <a:gd name="T95" fmla="*/ 301 h 408"/>
                <a:gd name="T96" fmla="*/ 976 w 1121"/>
                <a:gd name="T97" fmla="*/ 262 h 408"/>
                <a:gd name="T98" fmla="*/ 1002 w 1121"/>
                <a:gd name="T99" fmla="*/ 246 h 408"/>
                <a:gd name="T100" fmla="*/ 1008 w 1121"/>
                <a:gd name="T101" fmla="*/ 225 h 408"/>
                <a:gd name="T102" fmla="*/ 1013 w 1121"/>
                <a:gd name="T103" fmla="*/ 219 h 408"/>
                <a:gd name="T104" fmla="*/ 1039 w 1121"/>
                <a:gd name="T105" fmla="*/ 209 h 408"/>
                <a:gd name="T106" fmla="*/ 1074 w 1121"/>
                <a:gd name="T107" fmla="*/ 201 h 408"/>
                <a:gd name="T108" fmla="*/ 1101 w 1121"/>
                <a:gd name="T109" fmla="*/ 184 h 408"/>
                <a:gd name="T110" fmla="*/ 1111 w 1121"/>
                <a:gd name="T111" fmla="*/ 168 h 408"/>
                <a:gd name="T112" fmla="*/ 1119 w 1121"/>
                <a:gd name="T113" fmla="*/ 135 h 408"/>
                <a:gd name="T114" fmla="*/ 1078 w 1121"/>
                <a:gd name="T115" fmla="*/ 117 h 408"/>
                <a:gd name="T116" fmla="*/ 1049 w 1121"/>
                <a:gd name="T117" fmla="*/ 84 h 408"/>
                <a:gd name="T118" fmla="*/ 1025 w 1121"/>
                <a:gd name="T119" fmla="*/ 68 h 408"/>
                <a:gd name="T120" fmla="*/ 1008 w 1121"/>
                <a:gd name="T121" fmla="*/ 37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21" h="408">
                  <a:moveTo>
                    <a:pt x="996" y="41"/>
                  </a:moveTo>
                  <a:lnTo>
                    <a:pt x="994" y="43"/>
                  </a:lnTo>
                  <a:lnTo>
                    <a:pt x="994" y="45"/>
                  </a:lnTo>
                  <a:lnTo>
                    <a:pt x="990" y="47"/>
                  </a:lnTo>
                  <a:lnTo>
                    <a:pt x="988" y="49"/>
                  </a:lnTo>
                  <a:lnTo>
                    <a:pt x="982" y="49"/>
                  </a:lnTo>
                  <a:lnTo>
                    <a:pt x="976" y="47"/>
                  </a:lnTo>
                  <a:lnTo>
                    <a:pt x="974" y="47"/>
                  </a:lnTo>
                  <a:lnTo>
                    <a:pt x="970" y="49"/>
                  </a:lnTo>
                  <a:lnTo>
                    <a:pt x="963" y="49"/>
                  </a:lnTo>
                  <a:lnTo>
                    <a:pt x="961" y="51"/>
                  </a:lnTo>
                  <a:lnTo>
                    <a:pt x="959" y="51"/>
                  </a:lnTo>
                  <a:lnTo>
                    <a:pt x="955" y="53"/>
                  </a:lnTo>
                  <a:lnTo>
                    <a:pt x="949" y="55"/>
                  </a:lnTo>
                  <a:lnTo>
                    <a:pt x="947" y="55"/>
                  </a:lnTo>
                  <a:lnTo>
                    <a:pt x="943" y="57"/>
                  </a:lnTo>
                  <a:lnTo>
                    <a:pt x="939" y="59"/>
                  </a:lnTo>
                  <a:lnTo>
                    <a:pt x="933" y="59"/>
                  </a:lnTo>
                  <a:lnTo>
                    <a:pt x="929" y="57"/>
                  </a:lnTo>
                  <a:lnTo>
                    <a:pt x="927" y="57"/>
                  </a:lnTo>
                  <a:lnTo>
                    <a:pt x="924" y="55"/>
                  </a:lnTo>
                  <a:lnTo>
                    <a:pt x="924" y="55"/>
                  </a:lnTo>
                  <a:lnTo>
                    <a:pt x="920" y="49"/>
                  </a:lnTo>
                  <a:lnTo>
                    <a:pt x="914" y="39"/>
                  </a:lnTo>
                  <a:lnTo>
                    <a:pt x="910" y="35"/>
                  </a:lnTo>
                  <a:lnTo>
                    <a:pt x="910" y="31"/>
                  </a:lnTo>
                  <a:lnTo>
                    <a:pt x="908" y="29"/>
                  </a:lnTo>
                  <a:lnTo>
                    <a:pt x="908" y="22"/>
                  </a:lnTo>
                  <a:lnTo>
                    <a:pt x="906" y="20"/>
                  </a:lnTo>
                  <a:lnTo>
                    <a:pt x="902" y="18"/>
                  </a:lnTo>
                  <a:lnTo>
                    <a:pt x="900" y="18"/>
                  </a:lnTo>
                  <a:lnTo>
                    <a:pt x="896" y="18"/>
                  </a:lnTo>
                  <a:lnTo>
                    <a:pt x="894" y="18"/>
                  </a:lnTo>
                  <a:lnTo>
                    <a:pt x="892" y="16"/>
                  </a:lnTo>
                  <a:lnTo>
                    <a:pt x="892" y="12"/>
                  </a:lnTo>
                  <a:lnTo>
                    <a:pt x="892" y="10"/>
                  </a:lnTo>
                  <a:lnTo>
                    <a:pt x="890" y="8"/>
                  </a:lnTo>
                  <a:lnTo>
                    <a:pt x="888" y="8"/>
                  </a:lnTo>
                  <a:lnTo>
                    <a:pt x="886" y="6"/>
                  </a:lnTo>
                  <a:lnTo>
                    <a:pt x="883" y="4"/>
                  </a:lnTo>
                  <a:lnTo>
                    <a:pt x="881" y="2"/>
                  </a:lnTo>
                  <a:lnTo>
                    <a:pt x="879" y="2"/>
                  </a:lnTo>
                  <a:lnTo>
                    <a:pt x="879" y="2"/>
                  </a:lnTo>
                  <a:lnTo>
                    <a:pt x="877" y="2"/>
                  </a:lnTo>
                  <a:lnTo>
                    <a:pt x="869" y="4"/>
                  </a:lnTo>
                  <a:lnTo>
                    <a:pt x="865" y="4"/>
                  </a:lnTo>
                  <a:lnTo>
                    <a:pt x="863" y="4"/>
                  </a:lnTo>
                  <a:lnTo>
                    <a:pt x="861" y="6"/>
                  </a:lnTo>
                  <a:lnTo>
                    <a:pt x="859" y="6"/>
                  </a:lnTo>
                  <a:lnTo>
                    <a:pt x="857" y="8"/>
                  </a:lnTo>
                  <a:lnTo>
                    <a:pt x="857" y="8"/>
                  </a:lnTo>
                  <a:lnTo>
                    <a:pt x="855" y="10"/>
                  </a:lnTo>
                  <a:lnTo>
                    <a:pt x="855" y="12"/>
                  </a:lnTo>
                  <a:lnTo>
                    <a:pt x="853" y="16"/>
                  </a:lnTo>
                  <a:lnTo>
                    <a:pt x="853" y="16"/>
                  </a:lnTo>
                  <a:lnTo>
                    <a:pt x="851" y="16"/>
                  </a:lnTo>
                  <a:lnTo>
                    <a:pt x="849" y="16"/>
                  </a:lnTo>
                  <a:lnTo>
                    <a:pt x="849" y="16"/>
                  </a:lnTo>
                  <a:lnTo>
                    <a:pt x="849" y="16"/>
                  </a:lnTo>
                  <a:lnTo>
                    <a:pt x="849" y="16"/>
                  </a:lnTo>
                  <a:lnTo>
                    <a:pt x="849" y="16"/>
                  </a:lnTo>
                  <a:lnTo>
                    <a:pt x="847" y="14"/>
                  </a:lnTo>
                  <a:lnTo>
                    <a:pt x="843" y="12"/>
                  </a:lnTo>
                  <a:lnTo>
                    <a:pt x="842" y="14"/>
                  </a:lnTo>
                  <a:lnTo>
                    <a:pt x="838" y="14"/>
                  </a:lnTo>
                  <a:lnTo>
                    <a:pt x="826" y="20"/>
                  </a:lnTo>
                  <a:lnTo>
                    <a:pt x="822" y="20"/>
                  </a:lnTo>
                  <a:lnTo>
                    <a:pt x="820" y="20"/>
                  </a:lnTo>
                  <a:lnTo>
                    <a:pt x="818" y="16"/>
                  </a:lnTo>
                  <a:lnTo>
                    <a:pt x="818" y="16"/>
                  </a:lnTo>
                  <a:lnTo>
                    <a:pt x="812" y="14"/>
                  </a:lnTo>
                  <a:lnTo>
                    <a:pt x="808" y="12"/>
                  </a:lnTo>
                  <a:lnTo>
                    <a:pt x="804" y="14"/>
                  </a:lnTo>
                  <a:lnTo>
                    <a:pt x="799" y="12"/>
                  </a:lnTo>
                  <a:lnTo>
                    <a:pt x="789" y="8"/>
                  </a:lnTo>
                  <a:lnTo>
                    <a:pt x="783" y="6"/>
                  </a:lnTo>
                  <a:lnTo>
                    <a:pt x="781" y="6"/>
                  </a:lnTo>
                  <a:lnTo>
                    <a:pt x="777" y="4"/>
                  </a:lnTo>
                  <a:lnTo>
                    <a:pt x="775" y="2"/>
                  </a:lnTo>
                  <a:lnTo>
                    <a:pt x="773" y="0"/>
                  </a:lnTo>
                  <a:lnTo>
                    <a:pt x="771" y="0"/>
                  </a:lnTo>
                  <a:lnTo>
                    <a:pt x="750" y="4"/>
                  </a:lnTo>
                  <a:lnTo>
                    <a:pt x="736" y="8"/>
                  </a:lnTo>
                  <a:lnTo>
                    <a:pt x="726" y="8"/>
                  </a:lnTo>
                  <a:lnTo>
                    <a:pt x="724" y="8"/>
                  </a:lnTo>
                  <a:lnTo>
                    <a:pt x="720" y="10"/>
                  </a:lnTo>
                  <a:lnTo>
                    <a:pt x="720" y="12"/>
                  </a:lnTo>
                  <a:lnTo>
                    <a:pt x="720" y="16"/>
                  </a:lnTo>
                  <a:lnTo>
                    <a:pt x="720" y="16"/>
                  </a:lnTo>
                  <a:lnTo>
                    <a:pt x="720" y="20"/>
                  </a:lnTo>
                  <a:lnTo>
                    <a:pt x="720" y="20"/>
                  </a:lnTo>
                  <a:lnTo>
                    <a:pt x="720" y="20"/>
                  </a:lnTo>
                  <a:lnTo>
                    <a:pt x="720" y="22"/>
                  </a:lnTo>
                  <a:lnTo>
                    <a:pt x="720" y="22"/>
                  </a:lnTo>
                  <a:lnTo>
                    <a:pt x="720" y="23"/>
                  </a:lnTo>
                  <a:lnTo>
                    <a:pt x="720" y="23"/>
                  </a:lnTo>
                  <a:lnTo>
                    <a:pt x="720" y="23"/>
                  </a:lnTo>
                  <a:lnTo>
                    <a:pt x="718" y="25"/>
                  </a:lnTo>
                  <a:lnTo>
                    <a:pt x="718" y="25"/>
                  </a:lnTo>
                  <a:lnTo>
                    <a:pt x="717" y="25"/>
                  </a:lnTo>
                  <a:lnTo>
                    <a:pt x="713" y="31"/>
                  </a:lnTo>
                  <a:lnTo>
                    <a:pt x="713" y="31"/>
                  </a:lnTo>
                  <a:lnTo>
                    <a:pt x="711" y="33"/>
                  </a:lnTo>
                  <a:lnTo>
                    <a:pt x="711" y="35"/>
                  </a:lnTo>
                  <a:lnTo>
                    <a:pt x="709" y="37"/>
                  </a:lnTo>
                  <a:lnTo>
                    <a:pt x="709" y="39"/>
                  </a:lnTo>
                  <a:lnTo>
                    <a:pt x="703" y="53"/>
                  </a:lnTo>
                  <a:lnTo>
                    <a:pt x="701" y="59"/>
                  </a:lnTo>
                  <a:lnTo>
                    <a:pt x="701" y="61"/>
                  </a:lnTo>
                  <a:lnTo>
                    <a:pt x="697" y="66"/>
                  </a:lnTo>
                  <a:lnTo>
                    <a:pt x="693" y="72"/>
                  </a:lnTo>
                  <a:lnTo>
                    <a:pt x="689" y="76"/>
                  </a:lnTo>
                  <a:lnTo>
                    <a:pt x="689" y="78"/>
                  </a:lnTo>
                  <a:lnTo>
                    <a:pt x="689" y="78"/>
                  </a:lnTo>
                  <a:lnTo>
                    <a:pt x="689" y="78"/>
                  </a:lnTo>
                  <a:lnTo>
                    <a:pt x="685" y="80"/>
                  </a:lnTo>
                  <a:lnTo>
                    <a:pt x="683" y="78"/>
                  </a:lnTo>
                  <a:lnTo>
                    <a:pt x="681" y="76"/>
                  </a:lnTo>
                  <a:lnTo>
                    <a:pt x="679" y="76"/>
                  </a:lnTo>
                  <a:lnTo>
                    <a:pt x="677" y="74"/>
                  </a:lnTo>
                  <a:lnTo>
                    <a:pt x="677" y="76"/>
                  </a:lnTo>
                  <a:lnTo>
                    <a:pt x="675" y="76"/>
                  </a:lnTo>
                  <a:lnTo>
                    <a:pt x="674" y="78"/>
                  </a:lnTo>
                  <a:lnTo>
                    <a:pt x="672" y="80"/>
                  </a:lnTo>
                  <a:lnTo>
                    <a:pt x="668" y="82"/>
                  </a:lnTo>
                  <a:lnTo>
                    <a:pt x="668" y="82"/>
                  </a:lnTo>
                  <a:lnTo>
                    <a:pt x="666" y="82"/>
                  </a:lnTo>
                  <a:lnTo>
                    <a:pt x="664" y="80"/>
                  </a:lnTo>
                  <a:lnTo>
                    <a:pt x="664" y="80"/>
                  </a:lnTo>
                  <a:lnTo>
                    <a:pt x="664" y="80"/>
                  </a:lnTo>
                  <a:lnTo>
                    <a:pt x="662" y="80"/>
                  </a:lnTo>
                  <a:lnTo>
                    <a:pt x="660" y="82"/>
                  </a:lnTo>
                  <a:lnTo>
                    <a:pt x="660" y="84"/>
                  </a:lnTo>
                  <a:lnTo>
                    <a:pt x="660" y="84"/>
                  </a:lnTo>
                  <a:lnTo>
                    <a:pt x="660" y="86"/>
                  </a:lnTo>
                  <a:lnTo>
                    <a:pt x="658" y="90"/>
                  </a:lnTo>
                  <a:lnTo>
                    <a:pt x="658" y="92"/>
                  </a:lnTo>
                  <a:lnTo>
                    <a:pt x="658" y="92"/>
                  </a:lnTo>
                  <a:lnTo>
                    <a:pt x="656" y="94"/>
                  </a:lnTo>
                  <a:lnTo>
                    <a:pt x="654" y="94"/>
                  </a:lnTo>
                  <a:lnTo>
                    <a:pt x="652" y="94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2" y="100"/>
                  </a:lnTo>
                  <a:lnTo>
                    <a:pt x="638" y="102"/>
                  </a:lnTo>
                  <a:lnTo>
                    <a:pt x="634" y="104"/>
                  </a:lnTo>
                  <a:lnTo>
                    <a:pt x="631" y="107"/>
                  </a:lnTo>
                  <a:lnTo>
                    <a:pt x="627" y="109"/>
                  </a:lnTo>
                  <a:lnTo>
                    <a:pt x="623" y="111"/>
                  </a:lnTo>
                  <a:lnTo>
                    <a:pt x="621" y="109"/>
                  </a:lnTo>
                  <a:lnTo>
                    <a:pt x="613" y="104"/>
                  </a:lnTo>
                  <a:lnTo>
                    <a:pt x="611" y="104"/>
                  </a:lnTo>
                  <a:lnTo>
                    <a:pt x="609" y="104"/>
                  </a:lnTo>
                  <a:lnTo>
                    <a:pt x="607" y="104"/>
                  </a:lnTo>
                  <a:lnTo>
                    <a:pt x="603" y="105"/>
                  </a:lnTo>
                  <a:lnTo>
                    <a:pt x="603" y="105"/>
                  </a:lnTo>
                  <a:lnTo>
                    <a:pt x="601" y="105"/>
                  </a:lnTo>
                  <a:lnTo>
                    <a:pt x="601" y="104"/>
                  </a:lnTo>
                  <a:lnTo>
                    <a:pt x="601" y="104"/>
                  </a:lnTo>
                  <a:lnTo>
                    <a:pt x="601" y="102"/>
                  </a:lnTo>
                  <a:lnTo>
                    <a:pt x="601" y="102"/>
                  </a:lnTo>
                  <a:lnTo>
                    <a:pt x="601" y="100"/>
                  </a:lnTo>
                  <a:lnTo>
                    <a:pt x="601" y="98"/>
                  </a:lnTo>
                  <a:lnTo>
                    <a:pt x="601" y="98"/>
                  </a:lnTo>
                  <a:lnTo>
                    <a:pt x="601" y="96"/>
                  </a:lnTo>
                  <a:lnTo>
                    <a:pt x="599" y="94"/>
                  </a:lnTo>
                  <a:lnTo>
                    <a:pt x="599" y="92"/>
                  </a:lnTo>
                  <a:lnTo>
                    <a:pt x="595" y="92"/>
                  </a:lnTo>
                  <a:lnTo>
                    <a:pt x="595" y="92"/>
                  </a:lnTo>
                  <a:lnTo>
                    <a:pt x="588" y="94"/>
                  </a:lnTo>
                  <a:lnTo>
                    <a:pt x="586" y="92"/>
                  </a:lnTo>
                  <a:lnTo>
                    <a:pt x="584" y="90"/>
                  </a:lnTo>
                  <a:lnTo>
                    <a:pt x="582" y="88"/>
                  </a:lnTo>
                  <a:lnTo>
                    <a:pt x="580" y="86"/>
                  </a:lnTo>
                  <a:lnTo>
                    <a:pt x="578" y="86"/>
                  </a:lnTo>
                  <a:lnTo>
                    <a:pt x="578" y="86"/>
                  </a:lnTo>
                  <a:lnTo>
                    <a:pt x="576" y="86"/>
                  </a:lnTo>
                  <a:lnTo>
                    <a:pt x="570" y="88"/>
                  </a:lnTo>
                  <a:lnTo>
                    <a:pt x="560" y="90"/>
                  </a:lnTo>
                  <a:lnTo>
                    <a:pt x="558" y="92"/>
                  </a:lnTo>
                  <a:lnTo>
                    <a:pt x="556" y="96"/>
                  </a:lnTo>
                  <a:lnTo>
                    <a:pt x="554" y="105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11"/>
                  </a:lnTo>
                  <a:lnTo>
                    <a:pt x="552" y="111"/>
                  </a:lnTo>
                  <a:lnTo>
                    <a:pt x="552" y="113"/>
                  </a:lnTo>
                  <a:lnTo>
                    <a:pt x="552" y="115"/>
                  </a:lnTo>
                  <a:lnTo>
                    <a:pt x="545" y="121"/>
                  </a:lnTo>
                  <a:lnTo>
                    <a:pt x="521" y="121"/>
                  </a:lnTo>
                  <a:lnTo>
                    <a:pt x="515" y="125"/>
                  </a:lnTo>
                  <a:lnTo>
                    <a:pt x="511" y="127"/>
                  </a:lnTo>
                  <a:lnTo>
                    <a:pt x="509" y="127"/>
                  </a:lnTo>
                  <a:lnTo>
                    <a:pt x="509" y="127"/>
                  </a:lnTo>
                  <a:lnTo>
                    <a:pt x="494" y="125"/>
                  </a:lnTo>
                  <a:lnTo>
                    <a:pt x="488" y="125"/>
                  </a:lnTo>
                  <a:lnTo>
                    <a:pt x="478" y="127"/>
                  </a:lnTo>
                  <a:lnTo>
                    <a:pt x="476" y="127"/>
                  </a:lnTo>
                  <a:lnTo>
                    <a:pt x="472" y="125"/>
                  </a:lnTo>
                  <a:lnTo>
                    <a:pt x="470" y="127"/>
                  </a:lnTo>
                  <a:lnTo>
                    <a:pt x="468" y="127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45" y="133"/>
                  </a:lnTo>
                  <a:lnTo>
                    <a:pt x="443" y="135"/>
                  </a:lnTo>
                  <a:lnTo>
                    <a:pt x="441" y="137"/>
                  </a:lnTo>
                  <a:lnTo>
                    <a:pt x="437" y="145"/>
                  </a:lnTo>
                  <a:lnTo>
                    <a:pt x="437" y="145"/>
                  </a:lnTo>
                  <a:lnTo>
                    <a:pt x="435" y="146"/>
                  </a:lnTo>
                  <a:lnTo>
                    <a:pt x="433" y="146"/>
                  </a:lnTo>
                  <a:lnTo>
                    <a:pt x="431" y="146"/>
                  </a:lnTo>
                  <a:lnTo>
                    <a:pt x="431" y="146"/>
                  </a:lnTo>
                  <a:lnTo>
                    <a:pt x="429" y="150"/>
                  </a:lnTo>
                  <a:lnTo>
                    <a:pt x="429" y="150"/>
                  </a:lnTo>
                  <a:lnTo>
                    <a:pt x="429" y="150"/>
                  </a:lnTo>
                  <a:lnTo>
                    <a:pt x="431" y="152"/>
                  </a:lnTo>
                  <a:lnTo>
                    <a:pt x="431" y="154"/>
                  </a:lnTo>
                  <a:lnTo>
                    <a:pt x="431" y="154"/>
                  </a:lnTo>
                  <a:lnTo>
                    <a:pt x="429" y="160"/>
                  </a:lnTo>
                  <a:lnTo>
                    <a:pt x="429" y="164"/>
                  </a:lnTo>
                  <a:lnTo>
                    <a:pt x="429" y="170"/>
                  </a:lnTo>
                  <a:lnTo>
                    <a:pt x="429" y="172"/>
                  </a:lnTo>
                  <a:lnTo>
                    <a:pt x="429" y="174"/>
                  </a:lnTo>
                  <a:lnTo>
                    <a:pt x="431" y="176"/>
                  </a:lnTo>
                  <a:lnTo>
                    <a:pt x="435" y="180"/>
                  </a:lnTo>
                  <a:lnTo>
                    <a:pt x="437" y="180"/>
                  </a:lnTo>
                  <a:lnTo>
                    <a:pt x="441" y="184"/>
                  </a:lnTo>
                  <a:lnTo>
                    <a:pt x="441" y="184"/>
                  </a:lnTo>
                  <a:lnTo>
                    <a:pt x="441" y="184"/>
                  </a:lnTo>
                  <a:lnTo>
                    <a:pt x="441" y="184"/>
                  </a:lnTo>
                  <a:lnTo>
                    <a:pt x="441" y="184"/>
                  </a:lnTo>
                  <a:lnTo>
                    <a:pt x="437" y="186"/>
                  </a:lnTo>
                  <a:lnTo>
                    <a:pt x="435" y="186"/>
                  </a:lnTo>
                  <a:lnTo>
                    <a:pt x="433" y="187"/>
                  </a:lnTo>
                  <a:lnTo>
                    <a:pt x="431" y="189"/>
                  </a:lnTo>
                  <a:lnTo>
                    <a:pt x="425" y="195"/>
                  </a:lnTo>
                  <a:lnTo>
                    <a:pt x="423" y="197"/>
                  </a:lnTo>
                  <a:lnTo>
                    <a:pt x="422" y="197"/>
                  </a:lnTo>
                  <a:lnTo>
                    <a:pt x="416" y="197"/>
                  </a:lnTo>
                  <a:lnTo>
                    <a:pt x="414" y="197"/>
                  </a:lnTo>
                  <a:lnTo>
                    <a:pt x="412" y="197"/>
                  </a:lnTo>
                  <a:lnTo>
                    <a:pt x="408" y="195"/>
                  </a:lnTo>
                  <a:lnTo>
                    <a:pt x="404" y="195"/>
                  </a:lnTo>
                  <a:lnTo>
                    <a:pt x="398" y="193"/>
                  </a:lnTo>
                  <a:lnTo>
                    <a:pt x="363" y="197"/>
                  </a:lnTo>
                  <a:lnTo>
                    <a:pt x="351" y="203"/>
                  </a:lnTo>
                  <a:lnTo>
                    <a:pt x="343" y="203"/>
                  </a:lnTo>
                  <a:lnTo>
                    <a:pt x="343" y="203"/>
                  </a:lnTo>
                  <a:lnTo>
                    <a:pt x="343" y="203"/>
                  </a:lnTo>
                  <a:lnTo>
                    <a:pt x="324" y="201"/>
                  </a:lnTo>
                  <a:lnTo>
                    <a:pt x="300" y="203"/>
                  </a:lnTo>
                  <a:lnTo>
                    <a:pt x="285" y="203"/>
                  </a:lnTo>
                  <a:lnTo>
                    <a:pt x="279" y="205"/>
                  </a:lnTo>
                  <a:lnTo>
                    <a:pt x="275" y="205"/>
                  </a:lnTo>
                  <a:lnTo>
                    <a:pt x="261" y="201"/>
                  </a:lnTo>
                  <a:lnTo>
                    <a:pt x="257" y="199"/>
                  </a:lnTo>
                  <a:lnTo>
                    <a:pt x="252" y="195"/>
                  </a:lnTo>
                  <a:lnTo>
                    <a:pt x="250" y="193"/>
                  </a:lnTo>
                  <a:lnTo>
                    <a:pt x="248" y="191"/>
                  </a:lnTo>
                  <a:lnTo>
                    <a:pt x="248" y="189"/>
                  </a:lnTo>
                  <a:lnTo>
                    <a:pt x="244" y="187"/>
                  </a:lnTo>
                  <a:lnTo>
                    <a:pt x="242" y="186"/>
                  </a:lnTo>
                  <a:lnTo>
                    <a:pt x="240" y="186"/>
                  </a:lnTo>
                  <a:lnTo>
                    <a:pt x="238" y="184"/>
                  </a:lnTo>
                  <a:lnTo>
                    <a:pt x="236" y="184"/>
                  </a:lnTo>
                  <a:lnTo>
                    <a:pt x="236" y="186"/>
                  </a:lnTo>
                  <a:lnTo>
                    <a:pt x="234" y="186"/>
                  </a:lnTo>
                  <a:lnTo>
                    <a:pt x="234" y="186"/>
                  </a:lnTo>
                  <a:lnTo>
                    <a:pt x="234" y="186"/>
                  </a:lnTo>
                  <a:lnTo>
                    <a:pt x="232" y="184"/>
                  </a:lnTo>
                  <a:lnTo>
                    <a:pt x="226" y="174"/>
                  </a:lnTo>
                  <a:lnTo>
                    <a:pt x="224" y="174"/>
                  </a:lnTo>
                  <a:lnTo>
                    <a:pt x="224" y="174"/>
                  </a:lnTo>
                  <a:lnTo>
                    <a:pt x="222" y="174"/>
                  </a:lnTo>
                  <a:lnTo>
                    <a:pt x="220" y="172"/>
                  </a:lnTo>
                  <a:lnTo>
                    <a:pt x="218" y="172"/>
                  </a:lnTo>
                  <a:lnTo>
                    <a:pt x="218" y="172"/>
                  </a:lnTo>
                  <a:lnTo>
                    <a:pt x="218" y="172"/>
                  </a:lnTo>
                  <a:lnTo>
                    <a:pt x="218" y="172"/>
                  </a:lnTo>
                  <a:lnTo>
                    <a:pt x="216" y="170"/>
                  </a:lnTo>
                  <a:lnTo>
                    <a:pt x="207" y="156"/>
                  </a:lnTo>
                  <a:lnTo>
                    <a:pt x="199" y="146"/>
                  </a:lnTo>
                  <a:lnTo>
                    <a:pt x="195" y="145"/>
                  </a:lnTo>
                  <a:lnTo>
                    <a:pt x="195" y="143"/>
                  </a:lnTo>
                  <a:lnTo>
                    <a:pt x="183" y="141"/>
                  </a:lnTo>
                  <a:lnTo>
                    <a:pt x="181" y="141"/>
                  </a:lnTo>
                  <a:lnTo>
                    <a:pt x="175" y="139"/>
                  </a:lnTo>
                  <a:lnTo>
                    <a:pt x="168" y="137"/>
                  </a:lnTo>
                  <a:lnTo>
                    <a:pt x="162" y="141"/>
                  </a:lnTo>
                  <a:lnTo>
                    <a:pt x="152" y="150"/>
                  </a:lnTo>
                  <a:lnTo>
                    <a:pt x="154" y="152"/>
                  </a:lnTo>
                  <a:lnTo>
                    <a:pt x="154" y="154"/>
                  </a:lnTo>
                  <a:lnTo>
                    <a:pt x="152" y="154"/>
                  </a:lnTo>
                  <a:lnTo>
                    <a:pt x="152" y="156"/>
                  </a:lnTo>
                  <a:lnTo>
                    <a:pt x="152" y="158"/>
                  </a:lnTo>
                  <a:lnTo>
                    <a:pt x="150" y="158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52" y="162"/>
                  </a:lnTo>
                  <a:lnTo>
                    <a:pt x="152" y="162"/>
                  </a:lnTo>
                  <a:lnTo>
                    <a:pt x="152" y="166"/>
                  </a:lnTo>
                  <a:lnTo>
                    <a:pt x="150" y="170"/>
                  </a:lnTo>
                  <a:lnTo>
                    <a:pt x="148" y="172"/>
                  </a:lnTo>
                  <a:lnTo>
                    <a:pt x="146" y="174"/>
                  </a:lnTo>
                  <a:lnTo>
                    <a:pt x="140" y="176"/>
                  </a:lnTo>
                  <a:lnTo>
                    <a:pt x="138" y="176"/>
                  </a:lnTo>
                  <a:lnTo>
                    <a:pt x="138" y="180"/>
                  </a:lnTo>
                  <a:lnTo>
                    <a:pt x="138" y="180"/>
                  </a:lnTo>
                  <a:lnTo>
                    <a:pt x="142" y="182"/>
                  </a:lnTo>
                  <a:lnTo>
                    <a:pt x="144" y="184"/>
                  </a:lnTo>
                  <a:lnTo>
                    <a:pt x="146" y="187"/>
                  </a:lnTo>
                  <a:lnTo>
                    <a:pt x="146" y="189"/>
                  </a:lnTo>
                  <a:lnTo>
                    <a:pt x="144" y="191"/>
                  </a:lnTo>
                  <a:lnTo>
                    <a:pt x="144" y="195"/>
                  </a:lnTo>
                  <a:lnTo>
                    <a:pt x="146" y="201"/>
                  </a:lnTo>
                  <a:lnTo>
                    <a:pt x="146" y="209"/>
                  </a:lnTo>
                  <a:lnTo>
                    <a:pt x="146" y="211"/>
                  </a:lnTo>
                  <a:lnTo>
                    <a:pt x="148" y="213"/>
                  </a:lnTo>
                  <a:lnTo>
                    <a:pt x="150" y="215"/>
                  </a:lnTo>
                  <a:lnTo>
                    <a:pt x="146" y="217"/>
                  </a:lnTo>
                  <a:lnTo>
                    <a:pt x="134" y="219"/>
                  </a:lnTo>
                  <a:lnTo>
                    <a:pt x="121" y="221"/>
                  </a:lnTo>
                  <a:lnTo>
                    <a:pt x="115" y="221"/>
                  </a:lnTo>
                  <a:lnTo>
                    <a:pt x="113" y="215"/>
                  </a:lnTo>
                  <a:lnTo>
                    <a:pt x="111" y="215"/>
                  </a:lnTo>
                  <a:lnTo>
                    <a:pt x="107" y="221"/>
                  </a:lnTo>
                  <a:lnTo>
                    <a:pt x="105" y="223"/>
                  </a:lnTo>
                  <a:lnTo>
                    <a:pt x="103" y="223"/>
                  </a:lnTo>
                  <a:lnTo>
                    <a:pt x="93" y="221"/>
                  </a:lnTo>
                  <a:lnTo>
                    <a:pt x="93" y="221"/>
                  </a:lnTo>
                  <a:lnTo>
                    <a:pt x="91" y="219"/>
                  </a:lnTo>
                  <a:lnTo>
                    <a:pt x="89" y="217"/>
                  </a:lnTo>
                  <a:lnTo>
                    <a:pt x="89" y="213"/>
                  </a:lnTo>
                  <a:lnTo>
                    <a:pt x="87" y="211"/>
                  </a:lnTo>
                  <a:lnTo>
                    <a:pt x="86" y="209"/>
                  </a:lnTo>
                  <a:lnTo>
                    <a:pt x="72" y="205"/>
                  </a:lnTo>
                  <a:lnTo>
                    <a:pt x="66" y="203"/>
                  </a:lnTo>
                  <a:lnTo>
                    <a:pt x="58" y="207"/>
                  </a:lnTo>
                  <a:lnTo>
                    <a:pt x="58" y="209"/>
                  </a:lnTo>
                  <a:lnTo>
                    <a:pt x="58" y="213"/>
                  </a:lnTo>
                  <a:lnTo>
                    <a:pt x="58" y="215"/>
                  </a:lnTo>
                  <a:lnTo>
                    <a:pt x="56" y="215"/>
                  </a:lnTo>
                  <a:lnTo>
                    <a:pt x="48" y="219"/>
                  </a:lnTo>
                  <a:lnTo>
                    <a:pt x="46" y="221"/>
                  </a:lnTo>
                  <a:lnTo>
                    <a:pt x="46" y="221"/>
                  </a:lnTo>
                  <a:lnTo>
                    <a:pt x="46" y="221"/>
                  </a:lnTo>
                  <a:lnTo>
                    <a:pt x="44" y="221"/>
                  </a:lnTo>
                  <a:lnTo>
                    <a:pt x="44" y="219"/>
                  </a:lnTo>
                  <a:lnTo>
                    <a:pt x="43" y="221"/>
                  </a:lnTo>
                  <a:lnTo>
                    <a:pt x="41" y="225"/>
                  </a:lnTo>
                  <a:lnTo>
                    <a:pt x="39" y="227"/>
                  </a:lnTo>
                  <a:lnTo>
                    <a:pt x="41" y="228"/>
                  </a:lnTo>
                  <a:lnTo>
                    <a:pt x="50" y="232"/>
                  </a:lnTo>
                  <a:lnTo>
                    <a:pt x="56" y="230"/>
                  </a:lnTo>
                  <a:lnTo>
                    <a:pt x="66" y="236"/>
                  </a:lnTo>
                  <a:lnTo>
                    <a:pt x="72" y="234"/>
                  </a:lnTo>
                  <a:lnTo>
                    <a:pt x="76" y="236"/>
                  </a:lnTo>
                  <a:lnTo>
                    <a:pt x="78" y="240"/>
                  </a:lnTo>
                  <a:lnTo>
                    <a:pt x="80" y="246"/>
                  </a:lnTo>
                  <a:lnTo>
                    <a:pt x="80" y="250"/>
                  </a:lnTo>
                  <a:lnTo>
                    <a:pt x="82" y="252"/>
                  </a:lnTo>
                  <a:lnTo>
                    <a:pt x="84" y="254"/>
                  </a:lnTo>
                  <a:lnTo>
                    <a:pt x="86" y="258"/>
                  </a:lnTo>
                  <a:lnTo>
                    <a:pt x="86" y="262"/>
                  </a:lnTo>
                  <a:lnTo>
                    <a:pt x="84" y="264"/>
                  </a:lnTo>
                  <a:lnTo>
                    <a:pt x="78" y="266"/>
                  </a:lnTo>
                  <a:lnTo>
                    <a:pt x="78" y="268"/>
                  </a:lnTo>
                  <a:lnTo>
                    <a:pt x="78" y="277"/>
                  </a:lnTo>
                  <a:lnTo>
                    <a:pt x="76" y="279"/>
                  </a:lnTo>
                  <a:lnTo>
                    <a:pt x="68" y="285"/>
                  </a:lnTo>
                  <a:lnTo>
                    <a:pt x="50" y="293"/>
                  </a:lnTo>
                  <a:lnTo>
                    <a:pt x="48" y="289"/>
                  </a:lnTo>
                  <a:lnTo>
                    <a:pt x="46" y="289"/>
                  </a:lnTo>
                  <a:lnTo>
                    <a:pt x="44" y="289"/>
                  </a:lnTo>
                  <a:lnTo>
                    <a:pt x="43" y="291"/>
                  </a:lnTo>
                  <a:lnTo>
                    <a:pt x="43" y="301"/>
                  </a:lnTo>
                  <a:lnTo>
                    <a:pt x="43" y="303"/>
                  </a:lnTo>
                  <a:lnTo>
                    <a:pt x="43" y="303"/>
                  </a:lnTo>
                  <a:lnTo>
                    <a:pt x="41" y="303"/>
                  </a:lnTo>
                  <a:lnTo>
                    <a:pt x="41" y="305"/>
                  </a:lnTo>
                  <a:lnTo>
                    <a:pt x="43" y="305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4" y="307"/>
                  </a:lnTo>
                  <a:lnTo>
                    <a:pt x="48" y="318"/>
                  </a:lnTo>
                  <a:lnTo>
                    <a:pt x="50" y="322"/>
                  </a:lnTo>
                  <a:lnTo>
                    <a:pt x="48" y="324"/>
                  </a:lnTo>
                  <a:lnTo>
                    <a:pt x="46" y="326"/>
                  </a:lnTo>
                  <a:lnTo>
                    <a:pt x="41" y="330"/>
                  </a:lnTo>
                  <a:lnTo>
                    <a:pt x="41" y="330"/>
                  </a:lnTo>
                  <a:lnTo>
                    <a:pt x="41" y="334"/>
                  </a:lnTo>
                  <a:lnTo>
                    <a:pt x="39" y="340"/>
                  </a:lnTo>
                  <a:lnTo>
                    <a:pt x="39" y="344"/>
                  </a:lnTo>
                  <a:lnTo>
                    <a:pt x="41" y="344"/>
                  </a:lnTo>
                  <a:lnTo>
                    <a:pt x="43" y="344"/>
                  </a:lnTo>
                  <a:lnTo>
                    <a:pt x="43" y="344"/>
                  </a:lnTo>
                  <a:lnTo>
                    <a:pt x="44" y="346"/>
                  </a:lnTo>
                  <a:lnTo>
                    <a:pt x="44" y="348"/>
                  </a:lnTo>
                  <a:lnTo>
                    <a:pt x="43" y="351"/>
                  </a:lnTo>
                  <a:lnTo>
                    <a:pt x="43" y="353"/>
                  </a:lnTo>
                  <a:lnTo>
                    <a:pt x="44" y="355"/>
                  </a:lnTo>
                  <a:lnTo>
                    <a:pt x="50" y="351"/>
                  </a:lnTo>
                  <a:lnTo>
                    <a:pt x="54" y="353"/>
                  </a:lnTo>
                  <a:lnTo>
                    <a:pt x="56" y="355"/>
                  </a:lnTo>
                  <a:lnTo>
                    <a:pt x="54" y="359"/>
                  </a:lnTo>
                  <a:lnTo>
                    <a:pt x="50" y="363"/>
                  </a:lnTo>
                  <a:lnTo>
                    <a:pt x="46" y="365"/>
                  </a:lnTo>
                  <a:lnTo>
                    <a:pt x="46" y="369"/>
                  </a:lnTo>
                  <a:lnTo>
                    <a:pt x="46" y="373"/>
                  </a:lnTo>
                  <a:lnTo>
                    <a:pt x="50" y="373"/>
                  </a:lnTo>
                  <a:lnTo>
                    <a:pt x="52" y="375"/>
                  </a:lnTo>
                  <a:lnTo>
                    <a:pt x="54" y="377"/>
                  </a:lnTo>
                  <a:lnTo>
                    <a:pt x="52" y="377"/>
                  </a:lnTo>
                  <a:lnTo>
                    <a:pt x="50" y="379"/>
                  </a:lnTo>
                  <a:lnTo>
                    <a:pt x="43" y="381"/>
                  </a:lnTo>
                  <a:lnTo>
                    <a:pt x="41" y="383"/>
                  </a:lnTo>
                  <a:lnTo>
                    <a:pt x="46" y="385"/>
                  </a:lnTo>
                  <a:lnTo>
                    <a:pt x="48" y="385"/>
                  </a:lnTo>
                  <a:lnTo>
                    <a:pt x="50" y="387"/>
                  </a:lnTo>
                  <a:lnTo>
                    <a:pt x="52" y="391"/>
                  </a:lnTo>
                  <a:lnTo>
                    <a:pt x="48" y="391"/>
                  </a:lnTo>
                  <a:lnTo>
                    <a:pt x="44" y="391"/>
                  </a:lnTo>
                  <a:lnTo>
                    <a:pt x="41" y="391"/>
                  </a:lnTo>
                  <a:lnTo>
                    <a:pt x="41" y="392"/>
                  </a:lnTo>
                  <a:lnTo>
                    <a:pt x="41" y="392"/>
                  </a:lnTo>
                  <a:lnTo>
                    <a:pt x="39" y="392"/>
                  </a:lnTo>
                  <a:lnTo>
                    <a:pt x="39" y="391"/>
                  </a:lnTo>
                  <a:lnTo>
                    <a:pt x="35" y="389"/>
                  </a:lnTo>
                  <a:lnTo>
                    <a:pt x="31" y="389"/>
                  </a:lnTo>
                  <a:lnTo>
                    <a:pt x="25" y="389"/>
                  </a:lnTo>
                  <a:lnTo>
                    <a:pt x="19" y="389"/>
                  </a:lnTo>
                  <a:lnTo>
                    <a:pt x="15" y="389"/>
                  </a:lnTo>
                  <a:lnTo>
                    <a:pt x="15" y="391"/>
                  </a:lnTo>
                  <a:lnTo>
                    <a:pt x="13" y="394"/>
                  </a:lnTo>
                  <a:lnTo>
                    <a:pt x="13" y="396"/>
                  </a:lnTo>
                  <a:lnTo>
                    <a:pt x="11" y="396"/>
                  </a:lnTo>
                  <a:lnTo>
                    <a:pt x="9" y="398"/>
                  </a:lnTo>
                  <a:lnTo>
                    <a:pt x="9" y="398"/>
                  </a:lnTo>
                  <a:lnTo>
                    <a:pt x="9" y="400"/>
                  </a:lnTo>
                  <a:lnTo>
                    <a:pt x="9" y="402"/>
                  </a:lnTo>
                  <a:lnTo>
                    <a:pt x="7" y="404"/>
                  </a:lnTo>
                  <a:lnTo>
                    <a:pt x="7" y="404"/>
                  </a:lnTo>
                  <a:lnTo>
                    <a:pt x="3" y="406"/>
                  </a:lnTo>
                  <a:lnTo>
                    <a:pt x="0" y="408"/>
                  </a:lnTo>
                  <a:lnTo>
                    <a:pt x="287" y="408"/>
                  </a:lnTo>
                  <a:lnTo>
                    <a:pt x="285" y="406"/>
                  </a:lnTo>
                  <a:lnTo>
                    <a:pt x="283" y="404"/>
                  </a:lnTo>
                  <a:lnTo>
                    <a:pt x="283" y="402"/>
                  </a:lnTo>
                  <a:lnTo>
                    <a:pt x="298" y="394"/>
                  </a:lnTo>
                  <a:lnTo>
                    <a:pt x="304" y="389"/>
                  </a:lnTo>
                  <a:lnTo>
                    <a:pt x="306" y="387"/>
                  </a:lnTo>
                  <a:lnTo>
                    <a:pt x="308" y="383"/>
                  </a:lnTo>
                  <a:lnTo>
                    <a:pt x="310" y="379"/>
                  </a:lnTo>
                  <a:lnTo>
                    <a:pt x="310" y="375"/>
                  </a:lnTo>
                  <a:lnTo>
                    <a:pt x="312" y="375"/>
                  </a:lnTo>
                  <a:lnTo>
                    <a:pt x="316" y="375"/>
                  </a:lnTo>
                  <a:lnTo>
                    <a:pt x="324" y="377"/>
                  </a:lnTo>
                  <a:lnTo>
                    <a:pt x="326" y="379"/>
                  </a:lnTo>
                  <a:lnTo>
                    <a:pt x="330" y="383"/>
                  </a:lnTo>
                  <a:lnTo>
                    <a:pt x="334" y="387"/>
                  </a:lnTo>
                  <a:lnTo>
                    <a:pt x="334" y="389"/>
                  </a:lnTo>
                  <a:lnTo>
                    <a:pt x="332" y="392"/>
                  </a:lnTo>
                  <a:lnTo>
                    <a:pt x="328" y="400"/>
                  </a:lnTo>
                  <a:lnTo>
                    <a:pt x="324" y="402"/>
                  </a:lnTo>
                  <a:lnTo>
                    <a:pt x="318" y="406"/>
                  </a:lnTo>
                  <a:lnTo>
                    <a:pt x="314" y="408"/>
                  </a:lnTo>
                  <a:lnTo>
                    <a:pt x="910" y="408"/>
                  </a:lnTo>
                  <a:lnTo>
                    <a:pt x="914" y="404"/>
                  </a:lnTo>
                  <a:lnTo>
                    <a:pt x="916" y="402"/>
                  </a:lnTo>
                  <a:lnTo>
                    <a:pt x="918" y="391"/>
                  </a:lnTo>
                  <a:lnTo>
                    <a:pt x="918" y="391"/>
                  </a:lnTo>
                  <a:lnTo>
                    <a:pt x="918" y="391"/>
                  </a:lnTo>
                  <a:lnTo>
                    <a:pt x="920" y="391"/>
                  </a:lnTo>
                  <a:lnTo>
                    <a:pt x="920" y="391"/>
                  </a:lnTo>
                  <a:lnTo>
                    <a:pt x="920" y="391"/>
                  </a:lnTo>
                  <a:lnTo>
                    <a:pt x="920" y="391"/>
                  </a:lnTo>
                  <a:lnTo>
                    <a:pt x="918" y="389"/>
                  </a:lnTo>
                  <a:lnTo>
                    <a:pt x="916" y="387"/>
                  </a:lnTo>
                  <a:lnTo>
                    <a:pt x="916" y="387"/>
                  </a:lnTo>
                  <a:lnTo>
                    <a:pt x="914" y="387"/>
                  </a:lnTo>
                  <a:lnTo>
                    <a:pt x="914" y="387"/>
                  </a:lnTo>
                  <a:lnTo>
                    <a:pt x="914" y="387"/>
                  </a:lnTo>
                  <a:lnTo>
                    <a:pt x="914" y="385"/>
                  </a:lnTo>
                  <a:lnTo>
                    <a:pt x="914" y="385"/>
                  </a:lnTo>
                  <a:lnTo>
                    <a:pt x="912" y="385"/>
                  </a:lnTo>
                  <a:lnTo>
                    <a:pt x="912" y="385"/>
                  </a:lnTo>
                  <a:lnTo>
                    <a:pt x="920" y="377"/>
                  </a:lnTo>
                  <a:lnTo>
                    <a:pt x="924" y="373"/>
                  </a:lnTo>
                  <a:lnTo>
                    <a:pt x="929" y="367"/>
                  </a:lnTo>
                  <a:lnTo>
                    <a:pt x="931" y="367"/>
                  </a:lnTo>
                  <a:lnTo>
                    <a:pt x="935" y="363"/>
                  </a:lnTo>
                  <a:lnTo>
                    <a:pt x="935" y="361"/>
                  </a:lnTo>
                  <a:lnTo>
                    <a:pt x="935" y="361"/>
                  </a:lnTo>
                  <a:lnTo>
                    <a:pt x="937" y="357"/>
                  </a:lnTo>
                  <a:lnTo>
                    <a:pt x="937" y="355"/>
                  </a:lnTo>
                  <a:lnTo>
                    <a:pt x="937" y="355"/>
                  </a:lnTo>
                  <a:lnTo>
                    <a:pt x="939" y="353"/>
                  </a:lnTo>
                  <a:lnTo>
                    <a:pt x="939" y="351"/>
                  </a:lnTo>
                  <a:lnTo>
                    <a:pt x="939" y="351"/>
                  </a:lnTo>
                  <a:lnTo>
                    <a:pt x="943" y="350"/>
                  </a:lnTo>
                  <a:lnTo>
                    <a:pt x="943" y="348"/>
                  </a:lnTo>
                  <a:lnTo>
                    <a:pt x="945" y="344"/>
                  </a:lnTo>
                  <a:lnTo>
                    <a:pt x="945" y="342"/>
                  </a:lnTo>
                  <a:lnTo>
                    <a:pt x="945" y="342"/>
                  </a:lnTo>
                  <a:lnTo>
                    <a:pt x="945" y="340"/>
                  </a:lnTo>
                  <a:lnTo>
                    <a:pt x="945" y="336"/>
                  </a:lnTo>
                  <a:lnTo>
                    <a:pt x="945" y="336"/>
                  </a:lnTo>
                  <a:lnTo>
                    <a:pt x="945" y="334"/>
                  </a:lnTo>
                  <a:lnTo>
                    <a:pt x="947" y="330"/>
                  </a:lnTo>
                  <a:lnTo>
                    <a:pt x="949" y="328"/>
                  </a:lnTo>
                  <a:lnTo>
                    <a:pt x="949" y="324"/>
                  </a:lnTo>
                  <a:lnTo>
                    <a:pt x="951" y="318"/>
                  </a:lnTo>
                  <a:lnTo>
                    <a:pt x="951" y="318"/>
                  </a:lnTo>
                  <a:lnTo>
                    <a:pt x="951" y="316"/>
                  </a:lnTo>
                  <a:lnTo>
                    <a:pt x="957" y="307"/>
                  </a:lnTo>
                  <a:lnTo>
                    <a:pt x="961" y="303"/>
                  </a:lnTo>
                  <a:lnTo>
                    <a:pt x="961" y="303"/>
                  </a:lnTo>
                  <a:lnTo>
                    <a:pt x="961" y="303"/>
                  </a:lnTo>
                  <a:lnTo>
                    <a:pt x="963" y="301"/>
                  </a:lnTo>
                  <a:lnTo>
                    <a:pt x="970" y="299"/>
                  </a:lnTo>
                  <a:lnTo>
                    <a:pt x="972" y="299"/>
                  </a:lnTo>
                  <a:lnTo>
                    <a:pt x="974" y="293"/>
                  </a:lnTo>
                  <a:lnTo>
                    <a:pt x="974" y="291"/>
                  </a:lnTo>
                  <a:lnTo>
                    <a:pt x="974" y="285"/>
                  </a:lnTo>
                  <a:lnTo>
                    <a:pt x="972" y="275"/>
                  </a:lnTo>
                  <a:lnTo>
                    <a:pt x="972" y="268"/>
                  </a:lnTo>
                  <a:lnTo>
                    <a:pt x="974" y="266"/>
                  </a:lnTo>
                  <a:lnTo>
                    <a:pt x="976" y="262"/>
                  </a:lnTo>
                  <a:lnTo>
                    <a:pt x="976" y="262"/>
                  </a:lnTo>
                  <a:lnTo>
                    <a:pt x="976" y="262"/>
                  </a:lnTo>
                  <a:lnTo>
                    <a:pt x="976" y="262"/>
                  </a:lnTo>
                  <a:lnTo>
                    <a:pt x="980" y="256"/>
                  </a:lnTo>
                  <a:lnTo>
                    <a:pt x="980" y="256"/>
                  </a:lnTo>
                  <a:lnTo>
                    <a:pt x="980" y="256"/>
                  </a:lnTo>
                  <a:lnTo>
                    <a:pt x="990" y="250"/>
                  </a:lnTo>
                  <a:lnTo>
                    <a:pt x="990" y="248"/>
                  </a:lnTo>
                  <a:lnTo>
                    <a:pt x="994" y="248"/>
                  </a:lnTo>
                  <a:lnTo>
                    <a:pt x="1000" y="246"/>
                  </a:lnTo>
                  <a:lnTo>
                    <a:pt x="1000" y="246"/>
                  </a:lnTo>
                  <a:lnTo>
                    <a:pt x="1000" y="246"/>
                  </a:lnTo>
                  <a:lnTo>
                    <a:pt x="1002" y="246"/>
                  </a:lnTo>
                  <a:lnTo>
                    <a:pt x="1002" y="244"/>
                  </a:lnTo>
                  <a:lnTo>
                    <a:pt x="1002" y="242"/>
                  </a:lnTo>
                  <a:lnTo>
                    <a:pt x="1002" y="242"/>
                  </a:lnTo>
                  <a:lnTo>
                    <a:pt x="1002" y="240"/>
                  </a:lnTo>
                  <a:lnTo>
                    <a:pt x="1004" y="238"/>
                  </a:lnTo>
                  <a:lnTo>
                    <a:pt x="1006" y="234"/>
                  </a:lnTo>
                  <a:lnTo>
                    <a:pt x="1008" y="232"/>
                  </a:lnTo>
                  <a:lnTo>
                    <a:pt x="1008" y="230"/>
                  </a:lnTo>
                  <a:lnTo>
                    <a:pt x="1008" y="230"/>
                  </a:lnTo>
                  <a:lnTo>
                    <a:pt x="1008" y="227"/>
                  </a:lnTo>
                  <a:lnTo>
                    <a:pt x="1008" y="225"/>
                  </a:lnTo>
                  <a:lnTo>
                    <a:pt x="1008" y="225"/>
                  </a:lnTo>
                  <a:lnTo>
                    <a:pt x="1008" y="225"/>
                  </a:lnTo>
                  <a:lnTo>
                    <a:pt x="1010" y="223"/>
                  </a:lnTo>
                  <a:lnTo>
                    <a:pt x="1010" y="223"/>
                  </a:lnTo>
                  <a:lnTo>
                    <a:pt x="1010" y="223"/>
                  </a:lnTo>
                  <a:lnTo>
                    <a:pt x="1010" y="223"/>
                  </a:lnTo>
                  <a:lnTo>
                    <a:pt x="1010" y="223"/>
                  </a:lnTo>
                  <a:lnTo>
                    <a:pt x="1011" y="221"/>
                  </a:lnTo>
                  <a:lnTo>
                    <a:pt x="1013" y="221"/>
                  </a:lnTo>
                  <a:lnTo>
                    <a:pt x="1013" y="219"/>
                  </a:lnTo>
                  <a:lnTo>
                    <a:pt x="1013" y="219"/>
                  </a:lnTo>
                  <a:lnTo>
                    <a:pt x="1017" y="213"/>
                  </a:lnTo>
                  <a:lnTo>
                    <a:pt x="1019" y="213"/>
                  </a:lnTo>
                  <a:lnTo>
                    <a:pt x="1019" y="211"/>
                  </a:lnTo>
                  <a:lnTo>
                    <a:pt x="1021" y="211"/>
                  </a:lnTo>
                  <a:lnTo>
                    <a:pt x="1023" y="209"/>
                  </a:lnTo>
                  <a:lnTo>
                    <a:pt x="1025" y="209"/>
                  </a:lnTo>
                  <a:lnTo>
                    <a:pt x="1027" y="209"/>
                  </a:lnTo>
                  <a:lnTo>
                    <a:pt x="1031" y="209"/>
                  </a:lnTo>
                  <a:lnTo>
                    <a:pt x="1035" y="209"/>
                  </a:lnTo>
                  <a:lnTo>
                    <a:pt x="1039" y="209"/>
                  </a:lnTo>
                  <a:lnTo>
                    <a:pt x="1039" y="209"/>
                  </a:lnTo>
                  <a:lnTo>
                    <a:pt x="1041" y="209"/>
                  </a:lnTo>
                  <a:lnTo>
                    <a:pt x="1041" y="207"/>
                  </a:lnTo>
                  <a:lnTo>
                    <a:pt x="1043" y="207"/>
                  </a:lnTo>
                  <a:lnTo>
                    <a:pt x="1045" y="197"/>
                  </a:lnTo>
                  <a:lnTo>
                    <a:pt x="1049" y="195"/>
                  </a:lnTo>
                  <a:lnTo>
                    <a:pt x="1051" y="195"/>
                  </a:lnTo>
                  <a:lnTo>
                    <a:pt x="1051" y="195"/>
                  </a:lnTo>
                  <a:lnTo>
                    <a:pt x="1051" y="195"/>
                  </a:lnTo>
                  <a:lnTo>
                    <a:pt x="1062" y="201"/>
                  </a:lnTo>
                  <a:lnTo>
                    <a:pt x="1068" y="203"/>
                  </a:lnTo>
                  <a:lnTo>
                    <a:pt x="1074" y="201"/>
                  </a:lnTo>
                  <a:lnTo>
                    <a:pt x="1080" y="199"/>
                  </a:lnTo>
                  <a:lnTo>
                    <a:pt x="1082" y="197"/>
                  </a:lnTo>
                  <a:lnTo>
                    <a:pt x="1086" y="195"/>
                  </a:lnTo>
                  <a:lnTo>
                    <a:pt x="1090" y="189"/>
                  </a:lnTo>
                  <a:lnTo>
                    <a:pt x="1092" y="189"/>
                  </a:lnTo>
                  <a:lnTo>
                    <a:pt x="1092" y="187"/>
                  </a:lnTo>
                  <a:lnTo>
                    <a:pt x="1096" y="187"/>
                  </a:lnTo>
                  <a:lnTo>
                    <a:pt x="1096" y="186"/>
                  </a:lnTo>
                  <a:lnTo>
                    <a:pt x="1099" y="186"/>
                  </a:lnTo>
                  <a:lnTo>
                    <a:pt x="1099" y="186"/>
                  </a:lnTo>
                  <a:lnTo>
                    <a:pt x="1101" y="184"/>
                  </a:lnTo>
                  <a:lnTo>
                    <a:pt x="1101" y="182"/>
                  </a:lnTo>
                  <a:lnTo>
                    <a:pt x="1101" y="182"/>
                  </a:lnTo>
                  <a:lnTo>
                    <a:pt x="1101" y="182"/>
                  </a:lnTo>
                  <a:lnTo>
                    <a:pt x="1099" y="180"/>
                  </a:lnTo>
                  <a:lnTo>
                    <a:pt x="1099" y="178"/>
                  </a:lnTo>
                  <a:lnTo>
                    <a:pt x="1101" y="176"/>
                  </a:lnTo>
                  <a:lnTo>
                    <a:pt x="1101" y="174"/>
                  </a:lnTo>
                  <a:lnTo>
                    <a:pt x="1105" y="172"/>
                  </a:lnTo>
                  <a:lnTo>
                    <a:pt x="1109" y="170"/>
                  </a:lnTo>
                  <a:lnTo>
                    <a:pt x="1111" y="170"/>
                  </a:lnTo>
                  <a:lnTo>
                    <a:pt x="1111" y="168"/>
                  </a:lnTo>
                  <a:lnTo>
                    <a:pt x="1113" y="166"/>
                  </a:lnTo>
                  <a:lnTo>
                    <a:pt x="1117" y="160"/>
                  </a:lnTo>
                  <a:lnTo>
                    <a:pt x="1119" y="158"/>
                  </a:lnTo>
                  <a:lnTo>
                    <a:pt x="1121" y="156"/>
                  </a:lnTo>
                  <a:lnTo>
                    <a:pt x="1121" y="156"/>
                  </a:lnTo>
                  <a:lnTo>
                    <a:pt x="1115" y="150"/>
                  </a:lnTo>
                  <a:lnTo>
                    <a:pt x="1113" y="148"/>
                  </a:lnTo>
                  <a:lnTo>
                    <a:pt x="1117" y="145"/>
                  </a:lnTo>
                  <a:lnTo>
                    <a:pt x="1117" y="141"/>
                  </a:lnTo>
                  <a:lnTo>
                    <a:pt x="1117" y="139"/>
                  </a:lnTo>
                  <a:lnTo>
                    <a:pt x="1119" y="135"/>
                  </a:lnTo>
                  <a:lnTo>
                    <a:pt x="1117" y="131"/>
                  </a:lnTo>
                  <a:lnTo>
                    <a:pt x="1115" y="127"/>
                  </a:lnTo>
                  <a:lnTo>
                    <a:pt x="1113" y="125"/>
                  </a:lnTo>
                  <a:lnTo>
                    <a:pt x="1109" y="119"/>
                  </a:lnTo>
                  <a:lnTo>
                    <a:pt x="1101" y="117"/>
                  </a:lnTo>
                  <a:lnTo>
                    <a:pt x="1101" y="115"/>
                  </a:lnTo>
                  <a:lnTo>
                    <a:pt x="1099" y="113"/>
                  </a:lnTo>
                  <a:lnTo>
                    <a:pt x="1096" y="113"/>
                  </a:lnTo>
                  <a:lnTo>
                    <a:pt x="1094" y="115"/>
                  </a:lnTo>
                  <a:lnTo>
                    <a:pt x="1090" y="117"/>
                  </a:lnTo>
                  <a:lnTo>
                    <a:pt x="1078" y="117"/>
                  </a:lnTo>
                  <a:lnTo>
                    <a:pt x="1076" y="119"/>
                  </a:lnTo>
                  <a:lnTo>
                    <a:pt x="1076" y="119"/>
                  </a:lnTo>
                  <a:lnTo>
                    <a:pt x="1074" y="117"/>
                  </a:lnTo>
                  <a:lnTo>
                    <a:pt x="1072" y="111"/>
                  </a:lnTo>
                  <a:lnTo>
                    <a:pt x="1070" y="104"/>
                  </a:lnTo>
                  <a:lnTo>
                    <a:pt x="1066" y="98"/>
                  </a:lnTo>
                  <a:lnTo>
                    <a:pt x="1054" y="82"/>
                  </a:lnTo>
                  <a:lnTo>
                    <a:pt x="1054" y="82"/>
                  </a:lnTo>
                  <a:lnTo>
                    <a:pt x="1053" y="82"/>
                  </a:lnTo>
                  <a:lnTo>
                    <a:pt x="1053" y="82"/>
                  </a:lnTo>
                  <a:lnTo>
                    <a:pt x="1049" y="84"/>
                  </a:lnTo>
                  <a:lnTo>
                    <a:pt x="1047" y="84"/>
                  </a:lnTo>
                  <a:lnTo>
                    <a:pt x="1045" y="82"/>
                  </a:lnTo>
                  <a:lnTo>
                    <a:pt x="1041" y="82"/>
                  </a:lnTo>
                  <a:lnTo>
                    <a:pt x="1041" y="82"/>
                  </a:lnTo>
                  <a:lnTo>
                    <a:pt x="1039" y="82"/>
                  </a:lnTo>
                  <a:lnTo>
                    <a:pt x="1039" y="82"/>
                  </a:lnTo>
                  <a:lnTo>
                    <a:pt x="1037" y="82"/>
                  </a:lnTo>
                  <a:lnTo>
                    <a:pt x="1037" y="84"/>
                  </a:lnTo>
                  <a:lnTo>
                    <a:pt x="1035" y="82"/>
                  </a:lnTo>
                  <a:lnTo>
                    <a:pt x="1033" y="82"/>
                  </a:lnTo>
                  <a:lnTo>
                    <a:pt x="1025" y="68"/>
                  </a:lnTo>
                  <a:lnTo>
                    <a:pt x="1023" y="64"/>
                  </a:lnTo>
                  <a:lnTo>
                    <a:pt x="1023" y="61"/>
                  </a:lnTo>
                  <a:lnTo>
                    <a:pt x="1023" y="59"/>
                  </a:lnTo>
                  <a:lnTo>
                    <a:pt x="1023" y="55"/>
                  </a:lnTo>
                  <a:lnTo>
                    <a:pt x="1023" y="53"/>
                  </a:lnTo>
                  <a:lnTo>
                    <a:pt x="1021" y="53"/>
                  </a:lnTo>
                  <a:lnTo>
                    <a:pt x="1017" y="53"/>
                  </a:lnTo>
                  <a:lnTo>
                    <a:pt x="1017" y="49"/>
                  </a:lnTo>
                  <a:lnTo>
                    <a:pt x="1019" y="41"/>
                  </a:lnTo>
                  <a:lnTo>
                    <a:pt x="1013" y="39"/>
                  </a:lnTo>
                  <a:lnTo>
                    <a:pt x="1008" y="37"/>
                  </a:lnTo>
                  <a:lnTo>
                    <a:pt x="1002" y="39"/>
                  </a:lnTo>
                  <a:lnTo>
                    <a:pt x="1002" y="41"/>
                  </a:lnTo>
                  <a:lnTo>
                    <a:pt x="1000" y="41"/>
                  </a:lnTo>
                  <a:lnTo>
                    <a:pt x="1000" y="41"/>
                  </a:lnTo>
                  <a:lnTo>
                    <a:pt x="996" y="41"/>
                  </a:lnTo>
                  <a:lnTo>
                    <a:pt x="996" y="41"/>
                  </a:lnTo>
                  <a:lnTo>
                    <a:pt x="996" y="4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52" name="Freeform 919">
              <a:extLst>
                <a:ext uri="{FF2B5EF4-FFF2-40B4-BE49-F238E27FC236}">
                  <a16:creationId xmlns:a16="http://schemas.microsoft.com/office/drawing/2014/main" id="{E97AD15C-1784-4127-AC7B-1737B472E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669" y="5440776"/>
              <a:ext cx="0" cy="4762"/>
            </a:xfrm>
            <a:custGeom>
              <a:avLst/>
              <a:gdLst>
                <a:gd name="T0" fmla="*/ 2 h 3"/>
                <a:gd name="T1" fmla="*/ 2 h 3"/>
                <a:gd name="T2" fmla="*/ 0 h 3"/>
                <a:gd name="T3" fmla="*/ 0 h 3"/>
                <a:gd name="T4" fmla="*/ 0 h 3"/>
                <a:gd name="T5" fmla="*/ 2 h 3"/>
                <a:gd name="T6" fmla="*/ 2 h 3"/>
                <a:gd name="T7" fmla="*/ 3 h 3"/>
                <a:gd name="T8" fmla="*/ 3 h 3"/>
                <a:gd name="T9" fmla="*/ 2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</a:cxnLst>
              <a:rect l="0" t="0" r="r" b="b"/>
              <a:pathLst>
                <a:path h="3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53" name="Rectangle 920">
              <a:extLst>
                <a:ext uri="{FF2B5EF4-FFF2-40B4-BE49-F238E27FC236}">
                  <a16:creationId xmlns:a16="http://schemas.microsoft.com/office/drawing/2014/main" id="{41A5618D-26D9-4502-96B8-B6491E6C8C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7881" y="5640771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54" name="Freeform 921">
              <a:extLst>
                <a:ext uri="{FF2B5EF4-FFF2-40B4-BE49-F238E27FC236}">
                  <a16:creationId xmlns:a16="http://schemas.microsoft.com/office/drawing/2014/main" id="{6B674C27-9E92-480C-89E7-0E37E90920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4294" y="5409030"/>
              <a:ext cx="42863" cy="6349"/>
            </a:xfrm>
            <a:custGeom>
              <a:avLst/>
              <a:gdLst>
                <a:gd name="T0" fmla="*/ 23 w 27"/>
                <a:gd name="T1" fmla="*/ 0 h 4"/>
                <a:gd name="T2" fmla="*/ 25 w 27"/>
                <a:gd name="T3" fmla="*/ 2 h 4"/>
                <a:gd name="T4" fmla="*/ 27 w 27"/>
                <a:gd name="T5" fmla="*/ 4 h 4"/>
                <a:gd name="T6" fmla="*/ 25 w 27"/>
                <a:gd name="T7" fmla="*/ 2 h 4"/>
                <a:gd name="T8" fmla="*/ 23 w 27"/>
                <a:gd name="T9" fmla="*/ 0 h 4"/>
                <a:gd name="T10" fmla="*/ 21 w 27"/>
                <a:gd name="T11" fmla="*/ 0 h 4"/>
                <a:gd name="T12" fmla="*/ 0 w 27"/>
                <a:gd name="T13" fmla="*/ 4 h 4"/>
                <a:gd name="T14" fmla="*/ 21 w 27"/>
                <a:gd name="T15" fmla="*/ 0 h 4"/>
                <a:gd name="T16" fmla="*/ 23 w 27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">
                  <a:moveTo>
                    <a:pt x="23" y="0"/>
                  </a:moveTo>
                  <a:lnTo>
                    <a:pt x="25" y="2"/>
                  </a:lnTo>
                  <a:lnTo>
                    <a:pt x="27" y="4"/>
                  </a:lnTo>
                  <a:lnTo>
                    <a:pt x="25" y="2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0" y="4"/>
                  </a:lnTo>
                  <a:lnTo>
                    <a:pt x="21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55" name="Freeform 922">
              <a:extLst>
                <a:ext uri="{FF2B5EF4-FFF2-40B4-BE49-F238E27FC236}">
                  <a16:creationId xmlns:a16="http://schemas.microsoft.com/office/drawing/2014/main" id="{8585A47B-FECB-4AA8-8CA0-DEA6DC0656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669" y="5424903"/>
              <a:ext cx="0" cy="9524"/>
            </a:xfrm>
            <a:custGeom>
              <a:avLst/>
              <a:gdLst>
                <a:gd name="T0" fmla="*/ 2 h 6"/>
                <a:gd name="T1" fmla="*/ 0 h 6"/>
                <a:gd name="T2" fmla="*/ 0 h 6"/>
                <a:gd name="T3" fmla="*/ 2 h 6"/>
                <a:gd name="T4" fmla="*/ 6 h 6"/>
                <a:gd name="T5" fmla="*/ 6 h 6"/>
                <a:gd name="T6" fmla="*/ 6 h 6"/>
                <a:gd name="T7" fmla="*/ 2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</a:cxnLst>
              <a:rect l="0" t="0" r="r" b="b"/>
              <a:pathLst>
                <a:path h="6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56" name="Rectangle 923">
              <a:extLst>
                <a:ext uri="{FF2B5EF4-FFF2-40B4-BE49-F238E27FC236}">
                  <a16:creationId xmlns:a16="http://schemas.microsoft.com/office/drawing/2014/main" id="{22B98AA3-F84B-414C-B4E9-76D1166786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1457" y="5434427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57" name="Freeform 924">
              <a:extLst>
                <a:ext uri="{FF2B5EF4-FFF2-40B4-BE49-F238E27FC236}">
                  <a16:creationId xmlns:a16="http://schemas.microsoft.com/office/drawing/2014/main" id="{3C83B8A1-163C-49A8-8827-5A8B323193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8594" y="5431252"/>
              <a:ext cx="31750" cy="9524"/>
            </a:xfrm>
            <a:custGeom>
              <a:avLst/>
              <a:gdLst>
                <a:gd name="T0" fmla="*/ 16 w 20"/>
                <a:gd name="T1" fmla="*/ 0 h 6"/>
                <a:gd name="T2" fmla="*/ 20 w 20"/>
                <a:gd name="T3" fmla="*/ 0 h 6"/>
                <a:gd name="T4" fmla="*/ 16 w 20"/>
                <a:gd name="T5" fmla="*/ 0 h 6"/>
                <a:gd name="T6" fmla="*/ 4 w 20"/>
                <a:gd name="T7" fmla="*/ 6 h 6"/>
                <a:gd name="T8" fmla="*/ 0 w 20"/>
                <a:gd name="T9" fmla="*/ 6 h 6"/>
                <a:gd name="T10" fmla="*/ 4 w 20"/>
                <a:gd name="T11" fmla="*/ 6 h 6"/>
                <a:gd name="T12" fmla="*/ 16 w 20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6">
                  <a:moveTo>
                    <a:pt x="16" y="0"/>
                  </a:moveTo>
                  <a:lnTo>
                    <a:pt x="20" y="0"/>
                  </a:lnTo>
                  <a:lnTo>
                    <a:pt x="16" y="0"/>
                  </a:lnTo>
                  <a:lnTo>
                    <a:pt x="4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58" name="Freeform 925">
              <a:extLst>
                <a:ext uri="{FF2B5EF4-FFF2-40B4-BE49-F238E27FC236}">
                  <a16:creationId xmlns:a16="http://schemas.microsoft.com/office/drawing/2014/main" id="{5EA26145-26C3-44ED-94EF-E15C517F6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231" y="5582042"/>
              <a:ext cx="58738" cy="25396"/>
            </a:xfrm>
            <a:custGeom>
              <a:avLst/>
              <a:gdLst>
                <a:gd name="T0" fmla="*/ 30 w 37"/>
                <a:gd name="T1" fmla="*/ 12 h 16"/>
                <a:gd name="T2" fmla="*/ 37 w 37"/>
                <a:gd name="T3" fmla="*/ 6 h 16"/>
                <a:gd name="T4" fmla="*/ 37 w 37"/>
                <a:gd name="T5" fmla="*/ 4 h 16"/>
                <a:gd name="T6" fmla="*/ 37 w 37"/>
                <a:gd name="T7" fmla="*/ 2 h 16"/>
                <a:gd name="T8" fmla="*/ 37 w 37"/>
                <a:gd name="T9" fmla="*/ 2 h 16"/>
                <a:gd name="T10" fmla="*/ 37 w 37"/>
                <a:gd name="T11" fmla="*/ 0 h 16"/>
                <a:gd name="T12" fmla="*/ 37 w 37"/>
                <a:gd name="T13" fmla="*/ 0 h 16"/>
                <a:gd name="T14" fmla="*/ 37 w 37"/>
                <a:gd name="T15" fmla="*/ 0 h 16"/>
                <a:gd name="T16" fmla="*/ 37 w 37"/>
                <a:gd name="T17" fmla="*/ 2 h 16"/>
                <a:gd name="T18" fmla="*/ 37 w 37"/>
                <a:gd name="T19" fmla="*/ 2 h 16"/>
                <a:gd name="T20" fmla="*/ 37 w 37"/>
                <a:gd name="T21" fmla="*/ 4 h 16"/>
                <a:gd name="T22" fmla="*/ 37 w 37"/>
                <a:gd name="T23" fmla="*/ 6 h 16"/>
                <a:gd name="T24" fmla="*/ 30 w 37"/>
                <a:gd name="T25" fmla="*/ 12 h 16"/>
                <a:gd name="T26" fmla="*/ 6 w 37"/>
                <a:gd name="T27" fmla="*/ 12 h 16"/>
                <a:gd name="T28" fmla="*/ 0 w 37"/>
                <a:gd name="T29" fmla="*/ 16 h 16"/>
                <a:gd name="T30" fmla="*/ 6 w 37"/>
                <a:gd name="T31" fmla="*/ 12 h 16"/>
                <a:gd name="T32" fmla="*/ 30 w 37"/>
                <a:gd name="T33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" h="16">
                  <a:moveTo>
                    <a:pt x="30" y="12"/>
                  </a:moveTo>
                  <a:lnTo>
                    <a:pt x="37" y="6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0" y="12"/>
                  </a:lnTo>
                  <a:lnTo>
                    <a:pt x="6" y="12"/>
                  </a:lnTo>
                  <a:lnTo>
                    <a:pt x="0" y="16"/>
                  </a:lnTo>
                  <a:lnTo>
                    <a:pt x="6" y="12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59" name="Freeform 926">
              <a:extLst>
                <a:ext uri="{FF2B5EF4-FFF2-40B4-BE49-F238E27FC236}">
                  <a16:creationId xmlns:a16="http://schemas.microsoft.com/office/drawing/2014/main" id="{BE89FE07-DAE5-408A-AD82-896E017215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6857" y="5412205"/>
              <a:ext cx="19050" cy="3175"/>
            </a:xfrm>
            <a:custGeom>
              <a:avLst/>
              <a:gdLst>
                <a:gd name="T0" fmla="*/ 12 w 12"/>
                <a:gd name="T1" fmla="*/ 0 h 2"/>
                <a:gd name="T2" fmla="*/ 4 w 12"/>
                <a:gd name="T3" fmla="*/ 2 h 2"/>
                <a:gd name="T4" fmla="*/ 0 w 12"/>
                <a:gd name="T5" fmla="*/ 2 h 2"/>
                <a:gd name="T6" fmla="*/ 4 w 12"/>
                <a:gd name="T7" fmla="*/ 2 h 2"/>
                <a:gd name="T8" fmla="*/ 12 w 1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">
                  <a:moveTo>
                    <a:pt x="12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4" y="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60" name="Freeform 927">
              <a:extLst>
                <a:ext uri="{FF2B5EF4-FFF2-40B4-BE49-F238E27FC236}">
                  <a16:creationId xmlns:a16="http://schemas.microsoft.com/office/drawing/2014/main" id="{F6194673-269F-46D3-9287-ADCBC8201A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1644" y="5474108"/>
              <a:ext cx="3175" cy="317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2 w 2"/>
                <a:gd name="T5" fmla="*/ 0 h 2"/>
                <a:gd name="T6" fmla="*/ 2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61" name="Freeform 928">
              <a:extLst>
                <a:ext uri="{FF2B5EF4-FFF2-40B4-BE49-F238E27FC236}">
                  <a16:creationId xmlns:a16="http://schemas.microsoft.com/office/drawing/2014/main" id="{16DB5987-FD59-48E8-97D8-0912E9571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9082" y="5412205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0 h 2"/>
                <a:gd name="T4" fmla="*/ 0 w 4"/>
                <a:gd name="T5" fmla="*/ 0 h 2"/>
                <a:gd name="T6" fmla="*/ 2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62" name="Rectangle 929">
              <a:extLst>
                <a:ext uri="{FF2B5EF4-FFF2-40B4-BE49-F238E27FC236}">
                  <a16:creationId xmlns:a16="http://schemas.microsoft.com/office/drawing/2014/main" id="{565518C8-C860-4054-BE2E-3F3CFD3475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2244" y="5434427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63" name="Freeform 930">
              <a:extLst>
                <a:ext uri="{FF2B5EF4-FFF2-40B4-BE49-F238E27FC236}">
                  <a16:creationId xmlns:a16="http://schemas.microsoft.com/office/drawing/2014/main" id="{74776410-60C3-40AA-B50D-8E2E447E54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0682" y="5496330"/>
              <a:ext cx="9525" cy="3175"/>
            </a:xfrm>
            <a:custGeom>
              <a:avLst/>
              <a:gdLst>
                <a:gd name="T0" fmla="*/ 6 w 6"/>
                <a:gd name="T1" fmla="*/ 0 h 2"/>
                <a:gd name="T2" fmla="*/ 4 w 6"/>
                <a:gd name="T3" fmla="*/ 0 h 2"/>
                <a:gd name="T4" fmla="*/ 0 w 6"/>
                <a:gd name="T5" fmla="*/ 2 h 2"/>
                <a:gd name="T6" fmla="*/ 4 w 6"/>
                <a:gd name="T7" fmla="*/ 0 h 2"/>
                <a:gd name="T8" fmla="*/ 6 w 6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6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64" name="Freeform 931">
              <a:extLst>
                <a:ext uri="{FF2B5EF4-FFF2-40B4-BE49-F238E27FC236}">
                  <a16:creationId xmlns:a16="http://schemas.microsoft.com/office/drawing/2014/main" id="{2C9D2BBE-25F3-4700-AAB1-3AAA3EDB5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6082" y="5483632"/>
              <a:ext cx="36513" cy="6349"/>
            </a:xfrm>
            <a:custGeom>
              <a:avLst/>
              <a:gdLst>
                <a:gd name="T0" fmla="*/ 4 w 23"/>
                <a:gd name="T1" fmla="*/ 2 h 4"/>
                <a:gd name="T2" fmla="*/ 11 w 23"/>
                <a:gd name="T3" fmla="*/ 2 h 4"/>
                <a:gd name="T4" fmla="*/ 15 w 23"/>
                <a:gd name="T5" fmla="*/ 0 h 4"/>
                <a:gd name="T6" fmla="*/ 17 w 23"/>
                <a:gd name="T7" fmla="*/ 0 h 4"/>
                <a:gd name="T8" fmla="*/ 23 w 23"/>
                <a:gd name="T9" fmla="*/ 2 h 4"/>
                <a:gd name="T10" fmla="*/ 17 w 23"/>
                <a:gd name="T11" fmla="*/ 0 h 4"/>
                <a:gd name="T12" fmla="*/ 15 w 23"/>
                <a:gd name="T13" fmla="*/ 0 h 4"/>
                <a:gd name="T14" fmla="*/ 11 w 23"/>
                <a:gd name="T15" fmla="*/ 2 h 4"/>
                <a:gd name="T16" fmla="*/ 4 w 23"/>
                <a:gd name="T17" fmla="*/ 2 h 4"/>
                <a:gd name="T18" fmla="*/ 2 w 23"/>
                <a:gd name="T19" fmla="*/ 4 h 4"/>
                <a:gd name="T20" fmla="*/ 0 w 23"/>
                <a:gd name="T21" fmla="*/ 4 h 4"/>
                <a:gd name="T22" fmla="*/ 2 w 23"/>
                <a:gd name="T23" fmla="*/ 4 h 4"/>
                <a:gd name="T24" fmla="*/ 4 w 23"/>
                <a:gd name="T2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4">
                  <a:moveTo>
                    <a:pt x="4" y="2"/>
                  </a:moveTo>
                  <a:lnTo>
                    <a:pt x="11" y="2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1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65" name="Freeform 932">
              <a:extLst>
                <a:ext uri="{FF2B5EF4-FFF2-40B4-BE49-F238E27FC236}">
                  <a16:creationId xmlns:a16="http://schemas.microsoft.com/office/drawing/2014/main" id="{67D33F6F-1778-423F-8B58-AE7E977C4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9719" y="5428077"/>
              <a:ext cx="12700" cy="9524"/>
            </a:xfrm>
            <a:custGeom>
              <a:avLst/>
              <a:gdLst>
                <a:gd name="T0" fmla="*/ 2 w 8"/>
                <a:gd name="T1" fmla="*/ 6 h 6"/>
                <a:gd name="T2" fmla="*/ 4 w 8"/>
                <a:gd name="T3" fmla="*/ 6 h 6"/>
                <a:gd name="T4" fmla="*/ 8 w 8"/>
                <a:gd name="T5" fmla="*/ 6 h 6"/>
                <a:gd name="T6" fmla="*/ 4 w 8"/>
                <a:gd name="T7" fmla="*/ 6 h 6"/>
                <a:gd name="T8" fmla="*/ 2 w 8"/>
                <a:gd name="T9" fmla="*/ 6 h 6"/>
                <a:gd name="T10" fmla="*/ 0 w 8"/>
                <a:gd name="T11" fmla="*/ 4 h 6"/>
                <a:gd name="T12" fmla="*/ 0 w 8"/>
                <a:gd name="T13" fmla="*/ 0 h 6"/>
                <a:gd name="T14" fmla="*/ 0 w 8"/>
                <a:gd name="T15" fmla="*/ 4 h 6"/>
                <a:gd name="T16" fmla="*/ 2 w 8"/>
                <a:gd name="T1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6">
                  <a:moveTo>
                    <a:pt x="2" y="6"/>
                  </a:moveTo>
                  <a:lnTo>
                    <a:pt x="4" y="6"/>
                  </a:lnTo>
                  <a:lnTo>
                    <a:pt x="8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66" name="Freeform 933">
              <a:extLst>
                <a:ext uri="{FF2B5EF4-FFF2-40B4-BE49-F238E27FC236}">
                  <a16:creationId xmlns:a16="http://schemas.microsoft.com/office/drawing/2014/main" id="{312B624C-BF4A-41B0-BE34-1A94793B1E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7893" y="5607439"/>
              <a:ext cx="23813" cy="3175"/>
            </a:xfrm>
            <a:custGeom>
              <a:avLst/>
              <a:gdLst>
                <a:gd name="T0" fmla="*/ 15 w 15"/>
                <a:gd name="T1" fmla="*/ 2 h 2"/>
                <a:gd name="T2" fmla="*/ 15 w 15"/>
                <a:gd name="T3" fmla="*/ 2 h 2"/>
                <a:gd name="T4" fmla="*/ 0 w 15"/>
                <a:gd name="T5" fmla="*/ 0 h 2"/>
                <a:gd name="T6" fmla="*/ 15 w 15"/>
                <a:gd name="T7" fmla="*/ 2 h 2"/>
                <a:gd name="T8" fmla="*/ 15 w 15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">
                  <a:moveTo>
                    <a:pt x="15" y="2"/>
                  </a:moveTo>
                  <a:lnTo>
                    <a:pt x="15" y="2"/>
                  </a:lnTo>
                  <a:lnTo>
                    <a:pt x="0" y="0"/>
                  </a:lnTo>
                  <a:lnTo>
                    <a:pt x="15" y="2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67" name="Freeform 934">
              <a:extLst>
                <a:ext uri="{FF2B5EF4-FFF2-40B4-BE49-F238E27FC236}">
                  <a16:creationId xmlns:a16="http://schemas.microsoft.com/office/drawing/2014/main" id="{278DCB6C-2D19-4972-A73D-806D7C942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8231" y="5555059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4 w 4"/>
                <a:gd name="T3" fmla="*/ 0 h 2"/>
                <a:gd name="T4" fmla="*/ 0 w 4"/>
                <a:gd name="T5" fmla="*/ 0 h 2"/>
                <a:gd name="T6" fmla="*/ 4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68" name="Freeform 935">
              <a:extLst>
                <a:ext uri="{FF2B5EF4-FFF2-40B4-BE49-F238E27FC236}">
                  <a16:creationId xmlns:a16="http://schemas.microsoft.com/office/drawing/2014/main" id="{A634760F-3D1E-4005-A4A4-B2750A24D3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3019" y="5421728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69" name="Freeform 936">
              <a:extLst>
                <a:ext uri="{FF2B5EF4-FFF2-40B4-BE49-F238E27FC236}">
                  <a16:creationId xmlns:a16="http://schemas.microsoft.com/office/drawing/2014/main" id="{DE64C72B-86EB-4ED0-9BEF-F3C589F456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457" y="5434427"/>
              <a:ext cx="6350" cy="0"/>
            </a:xfrm>
            <a:custGeom>
              <a:avLst/>
              <a:gdLst>
                <a:gd name="T0" fmla="*/ 4 w 4"/>
                <a:gd name="T1" fmla="*/ 4 w 4"/>
                <a:gd name="T2" fmla="*/ 4 w 4"/>
                <a:gd name="T3" fmla="*/ 2 w 4"/>
                <a:gd name="T4" fmla="*/ 0 w 4"/>
                <a:gd name="T5" fmla="*/ 2 w 4"/>
                <a:gd name="T6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70" name="Freeform 937">
              <a:extLst>
                <a:ext uri="{FF2B5EF4-FFF2-40B4-BE49-F238E27FC236}">
                  <a16:creationId xmlns:a16="http://schemas.microsoft.com/office/drawing/2014/main" id="{D096F35C-739A-438F-BC38-AAF8B2E7B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456" y="5574106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71" name="Freeform 938">
              <a:extLst>
                <a:ext uri="{FF2B5EF4-FFF2-40B4-BE49-F238E27FC236}">
                  <a16:creationId xmlns:a16="http://schemas.microsoft.com/office/drawing/2014/main" id="{015D098F-9809-41D9-84FA-E6B1E18C2F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519" y="5496330"/>
              <a:ext cx="4763" cy="3175"/>
            </a:xfrm>
            <a:custGeom>
              <a:avLst/>
              <a:gdLst>
                <a:gd name="T0" fmla="*/ 3 w 3"/>
                <a:gd name="T1" fmla="*/ 2 h 2"/>
                <a:gd name="T2" fmla="*/ 0 w 3"/>
                <a:gd name="T3" fmla="*/ 0 h 2"/>
                <a:gd name="T4" fmla="*/ 0 w 3"/>
                <a:gd name="T5" fmla="*/ 0 h 2"/>
                <a:gd name="T6" fmla="*/ 0 w 3"/>
                <a:gd name="T7" fmla="*/ 0 h 2"/>
                <a:gd name="T8" fmla="*/ 3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72" name="Freeform 939">
              <a:extLst>
                <a:ext uri="{FF2B5EF4-FFF2-40B4-BE49-F238E27FC236}">
                  <a16:creationId xmlns:a16="http://schemas.microsoft.com/office/drawing/2014/main" id="{A68E71F4-D8CD-4557-926A-56CEA3A1B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8681" y="5610613"/>
              <a:ext cx="11113" cy="3175"/>
            </a:xfrm>
            <a:custGeom>
              <a:avLst/>
              <a:gdLst>
                <a:gd name="T0" fmla="*/ 7 w 7"/>
                <a:gd name="T1" fmla="*/ 0 h 2"/>
                <a:gd name="T2" fmla="*/ 5 w 7"/>
                <a:gd name="T3" fmla="*/ 0 h 2"/>
                <a:gd name="T4" fmla="*/ 0 w 7"/>
                <a:gd name="T5" fmla="*/ 2 h 2"/>
                <a:gd name="T6" fmla="*/ 5 w 7"/>
                <a:gd name="T7" fmla="*/ 0 h 2"/>
                <a:gd name="T8" fmla="*/ 7 w 7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">
                  <a:moveTo>
                    <a:pt x="7" y="0"/>
                  </a:moveTo>
                  <a:lnTo>
                    <a:pt x="5" y="0"/>
                  </a:lnTo>
                  <a:lnTo>
                    <a:pt x="0" y="2"/>
                  </a:lnTo>
                  <a:lnTo>
                    <a:pt x="5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73" name="Rectangle 940">
              <a:extLst>
                <a:ext uri="{FF2B5EF4-FFF2-40B4-BE49-F238E27FC236}">
                  <a16:creationId xmlns:a16="http://schemas.microsoft.com/office/drawing/2014/main" id="{C2C1270D-84D8-4E5C-A1E9-8DFB3A8A01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7769" y="5536012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74" name="Freeform 941">
              <a:extLst>
                <a:ext uri="{FF2B5EF4-FFF2-40B4-BE49-F238E27FC236}">
                  <a16:creationId xmlns:a16="http://schemas.microsoft.com/office/drawing/2014/main" id="{A18A1BD0-FCBC-4A42-B3F2-3150B426DD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4157" y="5418554"/>
              <a:ext cx="3175" cy="317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0 w 2"/>
                <a:gd name="T5" fmla="*/ 2 h 2"/>
                <a:gd name="T6" fmla="*/ 0 w 2"/>
                <a:gd name="T7" fmla="*/ 2 h 2"/>
                <a:gd name="T8" fmla="*/ 2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75" name="Freeform 942">
              <a:extLst>
                <a:ext uri="{FF2B5EF4-FFF2-40B4-BE49-F238E27FC236}">
                  <a16:creationId xmlns:a16="http://schemas.microsoft.com/office/drawing/2014/main" id="{E3838C70-8443-421A-BBE8-C2A44C766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5119" y="5455061"/>
              <a:ext cx="9525" cy="15873"/>
            </a:xfrm>
            <a:custGeom>
              <a:avLst/>
              <a:gdLst>
                <a:gd name="T0" fmla="*/ 2 w 6"/>
                <a:gd name="T1" fmla="*/ 6 h 10"/>
                <a:gd name="T2" fmla="*/ 6 w 6"/>
                <a:gd name="T3" fmla="*/ 10 h 10"/>
                <a:gd name="T4" fmla="*/ 2 w 6"/>
                <a:gd name="T5" fmla="*/ 6 h 10"/>
                <a:gd name="T6" fmla="*/ 2 w 6"/>
                <a:gd name="T7" fmla="*/ 2 h 10"/>
                <a:gd name="T8" fmla="*/ 0 w 6"/>
                <a:gd name="T9" fmla="*/ 0 h 10"/>
                <a:gd name="T10" fmla="*/ 2 w 6"/>
                <a:gd name="T11" fmla="*/ 2 h 10"/>
                <a:gd name="T12" fmla="*/ 2 w 6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0">
                  <a:moveTo>
                    <a:pt x="2" y="6"/>
                  </a:moveTo>
                  <a:lnTo>
                    <a:pt x="6" y="10"/>
                  </a:lnTo>
                  <a:lnTo>
                    <a:pt x="2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76" name="Rectangle 943">
              <a:extLst>
                <a:ext uri="{FF2B5EF4-FFF2-40B4-BE49-F238E27FC236}">
                  <a16:creationId xmlns:a16="http://schemas.microsoft.com/office/drawing/2014/main" id="{A1234C09-D1AD-4417-A8B1-F43961ED0C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3756" y="5701088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77" name="Freeform 944">
              <a:extLst>
                <a:ext uri="{FF2B5EF4-FFF2-40B4-BE49-F238E27FC236}">
                  <a16:creationId xmlns:a16="http://schemas.microsoft.com/office/drawing/2014/main" id="{38B26287-78FF-4F04-B44A-80DA50E83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556" y="5448712"/>
              <a:ext cx="7938" cy="9524"/>
            </a:xfrm>
            <a:custGeom>
              <a:avLst/>
              <a:gdLst>
                <a:gd name="T0" fmla="*/ 5 w 5"/>
                <a:gd name="T1" fmla="*/ 0 h 6"/>
                <a:gd name="T2" fmla="*/ 4 w 5"/>
                <a:gd name="T3" fmla="*/ 0 h 6"/>
                <a:gd name="T4" fmla="*/ 0 w 5"/>
                <a:gd name="T5" fmla="*/ 6 h 6"/>
                <a:gd name="T6" fmla="*/ 4 w 5"/>
                <a:gd name="T7" fmla="*/ 0 h 6"/>
                <a:gd name="T8" fmla="*/ 5 w 5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5" y="0"/>
                  </a:moveTo>
                  <a:lnTo>
                    <a:pt x="4" y="0"/>
                  </a:lnTo>
                  <a:lnTo>
                    <a:pt x="0" y="6"/>
                  </a:lnTo>
                  <a:lnTo>
                    <a:pt x="4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78" name="Freeform 945">
              <a:extLst>
                <a:ext uri="{FF2B5EF4-FFF2-40B4-BE49-F238E27FC236}">
                  <a16:creationId xmlns:a16="http://schemas.microsoft.com/office/drawing/2014/main" id="{2F5103AD-46C7-4EA6-8082-FA1612DD8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7756" y="5564583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0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79" name="Freeform 946">
              <a:extLst>
                <a:ext uri="{FF2B5EF4-FFF2-40B4-BE49-F238E27FC236}">
                  <a16:creationId xmlns:a16="http://schemas.microsoft.com/office/drawing/2014/main" id="{37563C40-70E5-4CC5-A63D-7C71E8242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30" y="5639184"/>
              <a:ext cx="19050" cy="17460"/>
            </a:xfrm>
            <a:custGeom>
              <a:avLst/>
              <a:gdLst>
                <a:gd name="T0" fmla="*/ 12 w 12"/>
                <a:gd name="T1" fmla="*/ 11 h 11"/>
                <a:gd name="T2" fmla="*/ 4 w 12"/>
                <a:gd name="T3" fmla="*/ 1 h 11"/>
                <a:gd name="T4" fmla="*/ 0 w 12"/>
                <a:gd name="T5" fmla="*/ 0 h 11"/>
                <a:gd name="T6" fmla="*/ 4 w 12"/>
                <a:gd name="T7" fmla="*/ 1 h 11"/>
                <a:gd name="T8" fmla="*/ 12 w 12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">
                  <a:moveTo>
                    <a:pt x="12" y="11"/>
                  </a:moveTo>
                  <a:lnTo>
                    <a:pt x="4" y="1"/>
                  </a:lnTo>
                  <a:lnTo>
                    <a:pt x="0" y="0"/>
                  </a:lnTo>
                  <a:lnTo>
                    <a:pt x="4" y="1"/>
                  </a:lnTo>
                  <a:lnTo>
                    <a:pt x="12" y="1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80" name="Rectangle 947">
              <a:extLst>
                <a:ext uri="{FF2B5EF4-FFF2-40B4-BE49-F238E27FC236}">
                  <a16:creationId xmlns:a16="http://schemas.microsoft.com/office/drawing/2014/main" id="{7A88E8BA-DA1A-42DF-8201-9D323D35F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9743" y="5682040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81" name="Freeform 948">
              <a:extLst>
                <a:ext uri="{FF2B5EF4-FFF2-40B4-BE49-F238E27FC236}">
                  <a16:creationId xmlns:a16="http://schemas.microsoft.com/office/drawing/2014/main" id="{EE27D9FE-865A-4A08-BED4-D1115B904C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181" y="5704262"/>
              <a:ext cx="19050" cy="17460"/>
            </a:xfrm>
            <a:custGeom>
              <a:avLst/>
              <a:gdLst>
                <a:gd name="T0" fmla="*/ 8 w 12"/>
                <a:gd name="T1" fmla="*/ 3 h 11"/>
                <a:gd name="T2" fmla="*/ 10 w 12"/>
                <a:gd name="T3" fmla="*/ 1 h 11"/>
                <a:gd name="T4" fmla="*/ 12 w 12"/>
                <a:gd name="T5" fmla="*/ 0 h 11"/>
                <a:gd name="T6" fmla="*/ 10 w 12"/>
                <a:gd name="T7" fmla="*/ 1 h 11"/>
                <a:gd name="T8" fmla="*/ 8 w 12"/>
                <a:gd name="T9" fmla="*/ 3 h 11"/>
                <a:gd name="T10" fmla="*/ 2 w 12"/>
                <a:gd name="T11" fmla="*/ 9 h 11"/>
                <a:gd name="T12" fmla="*/ 0 w 12"/>
                <a:gd name="T13" fmla="*/ 11 h 11"/>
                <a:gd name="T14" fmla="*/ 2 w 12"/>
                <a:gd name="T15" fmla="*/ 9 h 11"/>
                <a:gd name="T16" fmla="*/ 8 w 12"/>
                <a:gd name="T17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1">
                  <a:moveTo>
                    <a:pt x="8" y="3"/>
                  </a:moveTo>
                  <a:lnTo>
                    <a:pt x="10" y="1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2" y="9"/>
                  </a:lnTo>
                  <a:lnTo>
                    <a:pt x="0" y="11"/>
                  </a:lnTo>
                  <a:lnTo>
                    <a:pt x="2" y="9"/>
                  </a:lnTo>
                  <a:lnTo>
                    <a:pt x="8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82" name="Freeform 949">
              <a:extLst>
                <a:ext uri="{FF2B5EF4-FFF2-40B4-BE49-F238E27FC236}">
                  <a16:creationId xmlns:a16="http://schemas.microsoft.com/office/drawing/2014/main" id="{E635E79A-D7B4-458A-854A-27CCE4CEAD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7756" y="5570932"/>
              <a:ext cx="0" cy="3175"/>
            </a:xfrm>
            <a:custGeom>
              <a:avLst/>
              <a:gdLst>
                <a:gd name="T0" fmla="*/ 2 h 2"/>
                <a:gd name="T1" fmla="*/ 2 h 2"/>
                <a:gd name="T2" fmla="*/ 0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83" name="Freeform 950">
              <a:extLst>
                <a:ext uri="{FF2B5EF4-FFF2-40B4-BE49-F238E27FC236}">
                  <a16:creationId xmlns:a16="http://schemas.microsoft.com/office/drawing/2014/main" id="{DDC1EDFE-BC09-4D2A-9D75-2BAD0B6DC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3144" y="5555059"/>
              <a:ext cx="6350" cy="20634"/>
            </a:xfrm>
            <a:custGeom>
              <a:avLst/>
              <a:gdLst>
                <a:gd name="T0" fmla="*/ 4 w 4"/>
                <a:gd name="T1" fmla="*/ 0 h 13"/>
                <a:gd name="T2" fmla="*/ 4 w 4"/>
                <a:gd name="T3" fmla="*/ 0 h 13"/>
                <a:gd name="T4" fmla="*/ 2 w 4"/>
                <a:gd name="T5" fmla="*/ 4 h 13"/>
                <a:gd name="T6" fmla="*/ 0 w 4"/>
                <a:gd name="T7" fmla="*/ 13 h 13"/>
                <a:gd name="T8" fmla="*/ 2 w 4"/>
                <a:gd name="T9" fmla="*/ 4 h 13"/>
                <a:gd name="T10" fmla="*/ 4 w 4"/>
                <a:gd name="T1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3">
                  <a:moveTo>
                    <a:pt x="4" y="0"/>
                  </a:moveTo>
                  <a:lnTo>
                    <a:pt x="4" y="0"/>
                  </a:lnTo>
                  <a:lnTo>
                    <a:pt x="2" y="4"/>
                  </a:lnTo>
                  <a:lnTo>
                    <a:pt x="0" y="13"/>
                  </a:lnTo>
                  <a:lnTo>
                    <a:pt x="2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84" name="Freeform 951">
              <a:extLst>
                <a:ext uri="{FF2B5EF4-FFF2-40B4-BE49-F238E27FC236}">
                  <a16:creationId xmlns:a16="http://schemas.microsoft.com/office/drawing/2014/main" id="{AE195ABA-A75F-4F9E-907A-802D47B2F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7881" y="5688389"/>
              <a:ext cx="9525" cy="6349"/>
            </a:xfrm>
            <a:custGeom>
              <a:avLst/>
              <a:gdLst>
                <a:gd name="T0" fmla="*/ 0 w 6"/>
                <a:gd name="T1" fmla="*/ 0 h 4"/>
                <a:gd name="T2" fmla="*/ 4 w 6"/>
                <a:gd name="T3" fmla="*/ 4 h 4"/>
                <a:gd name="T4" fmla="*/ 6 w 6"/>
                <a:gd name="T5" fmla="*/ 4 h 4"/>
                <a:gd name="T6" fmla="*/ 4 w 6"/>
                <a:gd name="T7" fmla="*/ 4 h 4"/>
                <a:gd name="T8" fmla="*/ 0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4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85" name="Freeform 952">
              <a:extLst>
                <a:ext uri="{FF2B5EF4-FFF2-40B4-BE49-F238E27FC236}">
                  <a16:creationId xmlns:a16="http://schemas.microsoft.com/office/drawing/2014/main" id="{7C0DA6EE-44AA-4D7A-B907-452A26F4E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119" y="5532837"/>
              <a:ext cx="9525" cy="6349"/>
            </a:xfrm>
            <a:custGeom>
              <a:avLst/>
              <a:gdLst>
                <a:gd name="T0" fmla="*/ 4 w 6"/>
                <a:gd name="T1" fmla="*/ 2 h 4"/>
                <a:gd name="T2" fmla="*/ 6 w 6"/>
                <a:gd name="T3" fmla="*/ 0 h 4"/>
                <a:gd name="T4" fmla="*/ 4 w 6"/>
                <a:gd name="T5" fmla="*/ 2 h 4"/>
                <a:gd name="T6" fmla="*/ 0 w 6"/>
                <a:gd name="T7" fmla="*/ 4 h 4"/>
                <a:gd name="T8" fmla="*/ 0 w 6"/>
                <a:gd name="T9" fmla="*/ 4 h 4"/>
                <a:gd name="T10" fmla="*/ 0 w 6"/>
                <a:gd name="T11" fmla="*/ 4 h 4"/>
                <a:gd name="T12" fmla="*/ 4 w 6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4" y="2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86" name="Freeform 953">
              <a:extLst>
                <a:ext uri="{FF2B5EF4-FFF2-40B4-BE49-F238E27FC236}">
                  <a16:creationId xmlns:a16="http://schemas.microsoft.com/office/drawing/2014/main" id="{4D1B346E-9034-4DD1-A054-02163E79F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8406" y="5526488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2 h 2"/>
                <a:gd name="T6" fmla="*/ 0 w 2"/>
                <a:gd name="T7" fmla="*/ 0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87" name="Freeform 954">
              <a:extLst>
                <a:ext uri="{FF2B5EF4-FFF2-40B4-BE49-F238E27FC236}">
                  <a16:creationId xmlns:a16="http://schemas.microsoft.com/office/drawing/2014/main" id="{BBCF7C22-C936-476E-9CDF-C362F24C5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9918" y="5728071"/>
              <a:ext cx="68263" cy="3175"/>
            </a:xfrm>
            <a:custGeom>
              <a:avLst/>
              <a:gdLst>
                <a:gd name="T0" fmla="*/ 43 w 43"/>
                <a:gd name="T1" fmla="*/ 2 h 2"/>
                <a:gd name="T2" fmla="*/ 43 w 43"/>
                <a:gd name="T3" fmla="*/ 2 h 2"/>
                <a:gd name="T4" fmla="*/ 24 w 43"/>
                <a:gd name="T5" fmla="*/ 0 h 2"/>
                <a:gd name="T6" fmla="*/ 0 w 43"/>
                <a:gd name="T7" fmla="*/ 2 h 2"/>
                <a:gd name="T8" fmla="*/ 24 w 43"/>
                <a:gd name="T9" fmla="*/ 0 h 2"/>
                <a:gd name="T10" fmla="*/ 43 w 43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2">
                  <a:moveTo>
                    <a:pt x="43" y="2"/>
                  </a:moveTo>
                  <a:lnTo>
                    <a:pt x="43" y="2"/>
                  </a:lnTo>
                  <a:lnTo>
                    <a:pt x="24" y="0"/>
                  </a:lnTo>
                  <a:lnTo>
                    <a:pt x="0" y="2"/>
                  </a:lnTo>
                  <a:lnTo>
                    <a:pt x="24" y="0"/>
                  </a:lnTo>
                  <a:lnTo>
                    <a:pt x="43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88" name="Freeform 955">
              <a:extLst>
                <a:ext uri="{FF2B5EF4-FFF2-40B4-BE49-F238E27FC236}">
                  <a16:creationId xmlns:a16="http://schemas.microsoft.com/office/drawing/2014/main" id="{760428DE-50A8-4613-8E91-8A7D4D595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6" y="5493155"/>
              <a:ext cx="3175" cy="12698"/>
            </a:xfrm>
            <a:custGeom>
              <a:avLst/>
              <a:gdLst>
                <a:gd name="T0" fmla="*/ 2 w 2"/>
                <a:gd name="T1" fmla="*/ 0 h 8"/>
                <a:gd name="T2" fmla="*/ 0 w 2"/>
                <a:gd name="T3" fmla="*/ 6 h 8"/>
                <a:gd name="T4" fmla="*/ 0 w 2"/>
                <a:gd name="T5" fmla="*/ 8 h 8"/>
                <a:gd name="T6" fmla="*/ 0 w 2"/>
                <a:gd name="T7" fmla="*/ 6 h 8"/>
                <a:gd name="T8" fmla="*/ 2 w 2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8">
                  <a:moveTo>
                    <a:pt x="2" y="0"/>
                  </a:moveTo>
                  <a:lnTo>
                    <a:pt x="0" y="6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89" name="Rectangle 956">
              <a:extLst>
                <a:ext uri="{FF2B5EF4-FFF2-40B4-BE49-F238E27FC236}">
                  <a16:creationId xmlns:a16="http://schemas.microsoft.com/office/drawing/2014/main" id="{DBA51771-C691-4544-B02B-20930C1BA9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7456" y="5529663"/>
              <a:ext cx="1588" cy="3175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90" name="Freeform 957">
              <a:extLst>
                <a:ext uri="{FF2B5EF4-FFF2-40B4-BE49-F238E27FC236}">
                  <a16:creationId xmlns:a16="http://schemas.microsoft.com/office/drawing/2014/main" id="{CDEF8777-EC63-4F52-B197-9DF86ABB6A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368" y="5712198"/>
              <a:ext cx="49213" cy="22222"/>
            </a:xfrm>
            <a:custGeom>
              <a:avLst/>
              <a:gdLst>
                <a:gd name="T0" fmla="*/ 4 w 31"/>
                <a:gd name="T1" fmla="*/ 4 h 14"/>
                <a:gd name="T2" fmla="*/ 9 w 31"/>
                <a:gd name="T3" fmla="*/ 8 h 14"/>
                <a:gd name="T4" fmla="*/ 13 w 31"/>
                <a:gd name="T5" fmla="*/ 10 h 14"/>
                <a:gd name="T6" fmla="*/ 27 w 31"/>
                <a:gd name="T7" fmla="*/ 14 h 14"/>
                <a:gd name="T8" fmla="*/ 31 w 31"/>
                <a:gd name="T9" fmla="*/ 14 h 14"/>
                <a:gd name="T10" fmla="*/ 27 w 31"/>
                <a:gd name="T11" fmla="*/ 14 h 14"/>
                <a:gd name="T12" fmla="*/ 13 w 31"/>
                <a:gd name="T13" fmla="*/ 10 h 14"/>
                <a:gd name="T14" fmla="*/ 9 w 31"/>
                <a:gd name="T15" fmla="*/ 8 h 14"/>
                <a:gd name="T16" fmla="*/ 4 w 31"/>
                <a:gd name="T17" fmla="*/ 4 h 14"/>
                <a:gd name="T18" fmla="*/ 2 w 31"/>
                <a:gd name="T19" fmla="*/ 2 h 14"/>
                <a:gd name="T20" fmla="*/ 0 w 31"/>
                <a:gd name="T21" fmla="*/ 0 h 14"/>
                <a:gd name="T22" fmla="*/ 2 w 31"/>
                <a:gd name="T23" fmla="*/ 2 h 14"/>
                <a:gd name="T24" fmla="*/ 4 w 31"/>
                <a:gd name="T2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" h="14">
                  <a:moveTo>
                    <a:pt x="4" y="4"/>
                  </a:moveTo>
                  <a:lnTo>
                    <a:pt x="9" y="8"/>
                  </a:lnTo>
                  <a:lnTo>
                    <a:pt x="13" y="10"/>
                  </a:lnTo>
                  <a:lnTo>
                    <a:pt x="27" y="14"/>
                  </a:lnTo>
                  <a:lnTo>
                    <a:pt x="31" y="14"/>
                  </a:lnTo>
                  <a:lnTo>
                    <a:pt x="27" y="14"/>
                  </a:lnTo>
                  <a:lnTo>
                    <a:pt x="13" y="10"/>
                  </a:lnTo>
                  <a:lnTo>
                    <a:pt x="9" y="8"/>
                  </a:ln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91" name="Freeform 958">
              <a:extLst>
                <a:ext uri="{FF2B5EF4-FFF2-40B4-BE49-F238E27FC236}">
                  <a16:creationId xmlns:a16="http://schemas.microsoft.com/office/drawing/2014/main" id="{C0BCACC2-16A3-4E55-BF33-9E6995969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1368" y="5718548"/>
              <a:ext cx="9525" cy="3175"/>
            </a:xfrm>
            <a:custGeom>
              <a:avLst/>
              <a:gdLst>
                <a:gd name="T0" fmla="*/ 6 w 6"/>
                <a:gd name="T1" fmla="*/ 2 h 2"/>
                <a:gd name="T2" fmla="*/ 4 w 6"/>
                <a:gd name="T3" fmla="*/ 2 h 2"/>
                <a:gd name="T4" fmla="*/ 0 w 6"/>
                <a:gd name="T5" fmla="*/ 0 h 2"/>
                <a:gd name="T6" fmla="*/ 4 w 6"/>
                <a:gd name="T7" fmla="*/ 2 h 2"/>
                <a:gd name="T8" fmla="*/ 6 w 6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6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4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92" name="Freeform 959">
              <a:extLst>
                <a:ext uri="{FF2B5EF4-FFF2-40B4-BE49-F238E27FC236}">
                  <a16:creationId xmlns:a16="http://schemas.microsoft.com/office/drawing/2014/main" id="{02952F34-1B4C-4782-9604-725143FD72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8544" y="5545535"/>
              <a:ext cx="12700" cy="3175"/>
            </a:xfrm>
            <a:custGeom>
              <a:avLst/>
              <a:gdLst>
                <a:gd name="T0" fmla="*/ 8 w 8"/>
                <a:gd name="T1" fmla="*/ 0 h 2"/>
                <a:gd name="T2" fmla="*/ 6 w 8"/>
                <a:gd name="T3" fmla="*/ 0 h 2"/>
                <a:gd name="T4" fmla="*/ 0 w 8"/>
                <a:gd name="T5" fmla="*/ 2 h 2"/>
                <a:gd name="T6" fmla="*/ 6 w 8"/>
                <a:gd name="T7" fmla="*/ 0 h 2"/>
                <a:gd name="T8" fmla="*/ 8 w 8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8" y="0"/>
                  </a:moveTo>
                  <a:lnTo>
                    <a:pt x="6" y="0"/>
                  </a:lnTo>
                  <a:lnTo>
                    <a:pt x="0" y="2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93" name="Freeform 960">
              <a:extLst>
                <a:ext uri="{FF2B5EF4-FFF2-40B4-BE49-F238E27FC236}">
                  <a16:creationId xmlns:a16="http://schemas.microsoft.com/office/drawing/2014/main" id="{A10A7DAB-AB89-46AB-ADCE-C22C31D73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9206" y="5461410"/>
              <a:ext cx="3175" cy="6349"/>
            </a:xfrm>
            <a:custGeom>
              <a:avLst/>
              <a:gdLst>
                <a:gd name="T0" fmla="*/ 2 w 2"/>
                <a:gd name="T1" fmla="*/ 0 h 4"/>
                <a:gd name="T2" fmla="*/ 2 w 2"/>
                <a:gd name="T3" fmla="*/ 2 h 4"/>
                <a:gd name="T4" fmla="*/ 0 w 2"/>
                <a:gd name="T5" fmla="*/ 4 h 4"/>
                <a:gd name="T6" fmla="*/ 2 w 2"/>
                <a:gd name="T7" fmla="*/ 2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2" y="2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94" name="Freeform 961">
              <a:extLst>
                <a:ext uri="{FF2B5EF4-FFF2-40B4-BE49-F238E27FC236}">
                  <a16:creationId xmlns:a16="http://schemas.microsoft.com/office/drawing/2014/main" id="{F7E159DB-9D07-48FB-8B2C-4B27E40F1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6093" y="5685215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95" name="Freeform 962">
              <a:extLst>
                <a:ext uri="{FF2B5EF4-FFF2-40B4-BE49-F238E27FC236}">
                  <a16:creationId xmlns:a16="http://schemas.microsoft.com/office/drawing/2014/main" id="{F12F5BB1-1412-4F76-9E1D-684028E6A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969" y="5575693"/>
              <a:ext cx="3175" cy="6349"/>
            </a:xfrm>
            <a:custGeom>
              <a:avLst/>
              <a:gdLst>
                <a:gd name="T0" fmla="*/ 2 w 2"/>
                <a:gd name="T1" fmla="*/ 0 h 4"/>
                <a:gd name="T2" fmla="*/ 0 w 2"/>
                <a:gd name="T3" fmla="*/ 4 h 4"/>
                <a:gd name="T4" fmla="*/ 0 w 2"/>
                <a:gd name="T5" fmla="*/ 4 h 4"/>
                <a:gd name="T6" fmla="*/ 0 w 2"/>
                <a:gd name="T7" fmla="*/ 4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96" name="Freeform 963">
              <a:extLst>
                <a:ext uri="{FF2B5EF4-FFF2-40B4-BE49-F238E27FC236}">
                  <a16:creationId xmlns:a16="http://schemas.microsoft.com/office/drawing/2014/main" id="{1830A1EF-5F58-431F-81D6-64C2AEDEE0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143" y="5701088"/>
              <a:ext cx="9525" cy="3175"/>
            </a:xfrm>
            <a:custGeom>
              <a:avLst/>
              <a:gdLst>
                <a:gd name="T0" fmla="*/ 2 w 6"/>
                <a:gd name="T1" fmla="*/ 2 h 2"/>
                <a:gd name="T2" fmla="*/ 2 w 6"/>
                <a:gd name="T3" fmla="*/ 0 h 2"/>
                <a:gd name="T4" fmla="*/ 4 w 6"/>
                <a:gd name="T5" fmla="*/ 0 h 2"/>
                <a:gd name="T6" fmla="*/ 6 w 6"/>
                <a:gd name="T7" fmla="*/ 2 h 2"/>
                <a:gd name="T8" fmla="*/ 4 w 6"/>
                <a:gd name="T9" fmla="*/ 0 h 2"/>
                <a:gd name="T10" fmla="*/ 2 w 6"/>
                <a:gd name="T11" fmla="*/ 0 h 2"/>
                <a:gd name="T12" fmla="*/ 2 w 6"/>
                <a:gd name="T13" fmla="*/ 2 h 2"/>
                <a:gd name="T14" fmla="*/ 0 w 6"/>
                <a:gd name="T15" fmla="*/ 2 h 2"/>
                <a:gd name="T16" fmla="*/ 0 w 6"/>
                <a:gd name="T17" fmla="*/ 2 h 2"/>
                <a:gd name="T18" fmla="*/ 2 w 6"/>
                <a:gd name="T1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">
                  <a:moveTo>
                    <a:pt x="2" y="2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97" name="Freeform 964">
              <a:extLst>
                <a:ext uri="{FF2B5EF4-FFF2-40B4-BE49-F238E27FC236}">
                  <a16:creationId xmlns:a16="http://schemas.microsoft.com/office/drawing/2014/main" id="{1FE0628D-674B-4FE1-9F0B-C564BB660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4706" y="5662993"/>
              <a:ext cx="0" cy="19047"/>
            </a:xfrm>
            <a:custGeom>
              <a:avLst/>
              <a:gdLst>
                <a:gd name="T0" fmla="*/ 4 h 12"/>
                <a:gd name="T1" fmla="*/ 0 h 12"/>
                <a:gd name="T2" fmla="*/ 4 h 12"/>
                <a:gd name="T3" fmla="*/ 10 h 12"/>
                <a:gd name="T4" fmla="*/ 12 h 12"/>
                <a:gd name="T5" fmla="*/ 10 h 12"/>
                <a:gd name="T6" fmla="*/ 4 h 1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12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98" name="Freeform 965">
              <a:extLst>
                <a:ext uri="{FF2B5EF4-FFF2-40B4-BE49-F238E27FC236}">
                  <a16:creationId xmlns:a16="http://schemas.microsoft.com/office/drawing/2014/main" id="{DA223275-9AB9-4924-BF37-FDE4C7573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2844" y="5564583"/>
              <a:ext cx="6350" cy="3175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2 h 2"/>
                <a:gd name="T4" fmla="*/ 4 w 4"/>
                <a:gd name="T5" fmla="*/ 0 h 2"/>
                <a:gd name="T6" fmla="*/ 4 w 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299" name="Freeform 966">
              <a:extLst>
                <a:ext uri="{FF2B5EF4-FFF2-40B4-BE49-F238E27FC236}">
                  <a16:creationId xmlns:a16="http://schemas.microsoft.com/office/drawing/2014/main" id="{0183C03C-C2A9-4EF1-B3EB-D290DE9FD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1419" y="5536012"/>
              <a:ext cx="6350" cy="3175"/>
            </a:xfrm>
            <a:custGeom>
              <a:avLst/>
              <a:gdLst>
                <a:gd name="T0" fmla="*/ 4 w 4"/>
                <a:gd name="T1" fmla="*/ 0 h 2"/>
                <a:gd name="T2" fmla="*/ 2 w 4"/>
                <a:gd name="T3" fmla="*/ 0 h 2"/>
                <a:gd name="T4" fmla="*/ 0 w 4"/>
                <a:gd name="T5" fmla="*/ 2 h 2"/>
                <a:gd name="T6" fmla="*/ 2 w 4"/>
                <a:gd name="T7" fmla="*/ 0 h 2"/>
                <a:gd name="T8" fmla="*/ 4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00" name="Freeform 967">
              <a:extLst>
                <a:ext uri="{FF2B5EF4-FFF2-40B4-BE49-F238E27FC236}">
                  <a16:creationId xmlns:a16="http://schemas.microsoft.com/office/drawing/2014/main" id="{EA1E1889-17CE-4900-A948-33BFE04847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0931" y="5574106"/>
              <a:ext cx="6350" cy="1587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1 h 1"/>
                <a:gd name="T4" fmla="*/ 0 w 4"/>
                <a:gd name="T5" fmla="*/ 1 h 1"/>
                <a:gd name="T6" fmla="*/ 0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01" name="Freeform 968">
              <a:extLst>
                <a:ext uri="{FF2B5EF4-FFF2-40B4-BE49-F238E27FC236}">
                  <a16:creationId xmlns:a16="http://schemas.microsoft.com/office/drawing/2014/main" id="{F4E128A3-8404-44A7-8A16-7EEC7DB37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4706" y="5647120"/>
              <a:ext cx="3175" cy="6349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0 h 4"/>
                <a:gd name="T4" fmla="*/ 0 w 2"/>
                <a:gd name="T5" fmla="*/ 0 h 4"/>
                <a:gd name="T6" fmla="*/ 2 w 2"/>
                <a:gd name="T7" fmla="*/ 2 h 4"/>
                <a:gd name="T8" fmla="*/ 2 w 2"/>
                <a:gd name="T9" fmla="*/ 4 h 4"/>
                <a:gd name="T10" fmla="*/ 2 w 2"/>
                <a:gd name="T11" fmla="*/ 2 h 4"/>
                <a:gd name="T12" fmla="*/ 0 w 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02" name="Freeform 969">
              <a:extLst>
                <a:ext uri="{FF2B5EF4-FFF2-40B4-BE49-F238E27FC236}">
                  <a16:creationId xmlns:a16="http://schemas.microsoft.com/office/drawing/2014/main" id="{0CD0B85A-0663-45F8-BC00-6191C9D36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8244" y="5542361"/>
              <a:ext cx="3175" cy="12698"/>
            </a:xfrm>
            <a:custGeom>
              <a:avLst/>
              <a:gdLst>
                <a:gd name="T0" fmla="*/ 2 w 2"/>
                <a:gd name="T1" fmla="*/ 2 h 8"/>
                <a:gd name="T2" fmla="*/ 2 w 2"/>
                <a:gd name="T3" fmla="*/ 0 h 8"/>
                <a:gd name="T4" fmla="*/ 2 w 2"/>
                <a:gd name="T5" fmla="*/ 2 h 8"/>
                <a:gd name="T6" fmla="*/ 0 w 2"/>
                <a:gd name="T7" fmla="*/ 6 h 8"/>
                <a:gd name="T8" fmla="*/ 0 w 2"/>
                <a:gd name="T9" fmla="*/ 8 h 8"/>
                <a:gd name="T10" fmla="*/ 0 w 2"/>
                <a:gd name="T11" fmla="*/ 6 h 8"/>
                <a:gd name="T12" fmla="*/ 2 w 2"/>
                <a:gd name="T13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">
                  <a:moveTo>
                    <a:pt x="2" y="2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03" name="Freeform 970">
              <a:extLst>
                <a:ext uri="{FF2B5EF4-FFF2-40B4-BE49-F238E27FC236}">
                  <a16:creationId xmlns:a16="http://schemas.microsoft.com/office/drawing/2014/main" id="{07220839-471D-4557-828D-10A162306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194" y="5558233"/>
              <a:ext cx="12700" cy="6349"/>
            </a:xfrm>
            <a:custGeom>
              <a:avLst/>
              <a:gdLst>
                <a:gd name="T0" fmla="*/ 6 w 8"/>
                <a:gd name="T1" fmla="*/ 0 h 4"/>
                <a:gd name="T2" fmla="*/ 8 w 8"/>
                <a:gd name="T3" fmla="*/ 0 h 4"/>
                <a:gd name="T4" fmla="*/ 6 w 8"/>
                <a:gd name="T5" fmla="*/ 0 h 4"/>
                <a:gd name="T6" fmla="*/ 0 w 8"/>
                <a:gd name="T7" fmla="*/ 4 h 4"/>
                <a:gd name="T8" fmla="*/ 0 w 8"/>
                <a:gd name="T9" fmla="*/ 4 h 4"/>
                <a:gd name="T10" fmla="*/ 0 w 8"/>
                <a:gd name="T11" fmla="*/ 4 h 4"/>
                <a:gd name="T12" fmla="*/ 6 w 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04" name="Freeform 971">
              <a:extLst>
                <a:ext uri="{FF2B5EF4-FFF2-40B4-BE49-F238E27FC236}">
                  <a16:creationId xmlns:a16="http://schemas.microsoft.com/office/drawing/2014/main" id="{EE7A9AE0-3FDB-4B66-A2E1-DA6FA6AC1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5381" y="5570932"/>
              <a:ext cx="11113" cy="7936"/>
            </a:xfrm>
            <a:custGeom>
              <a:avLst/>
              <a:gdLst>
                <a:gd name="T0" fmla="*/ 7 w 7"/>
                <a:gd name="T1" fmla="*/ 0 h 5"/>
                <a:gd name="T2" fmla="*/ 7 w 7"/>
                <a:gd name="T3" fmla="*/ 0 h 5"/>
                <a:gd name="T4" fmla="*/ 3 w 7"/>
                <a:gd name="T5" fmla="*/ 2 h 5"/>
                <a:gd name="T6" fmla="*/ 0 w 7"/>
                <a:gd name="T7" fmla="*/ 5 h 5"/>
                <a:gd name="T8" fmla="*/ 3 w 7"/>
                <a:gd name="T9" fmla="*/ 2 h 5"/>
                <a:gd name="T10" fmla="*/ 7 w 7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7" y="0"/>
                  </a:moveTo>
                  <a:lnTo>
                    <a:pt x="7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3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05" name="Freeform 972">
              <a:extLst>
                <a:ext uri="{FF2B5EF4-FFF2-40B4-BE49-F238E27FC236}">
                  <a16:creationId xmlns:a16="http://schemas.microsoft.com/office/drawing/2014/main" id="{9BAEDB23-E69E-45EA-8234-76E9DE420C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0769" y="5551884"/>
              <a:ext cx="17463" cy="6349"/>
            </a:xfrm>
            <a:custGeom>
              <a:avLst/>
              <a:gdLst>
                <a:gd name="T0" fmla="*/ 4 w 11"/>
                <a:gd name="T1" fmla="*/ 4 h 4"/>
                <a:gd name="T2" fmla="*/ 11 w 11"/>
                <a:gd name="T3" fmla="*/ 2 h 4"/>
                <a:gd name="T4" fmla="*/ 11 w 11"/>
                <a:gd name="T5" fmla="*/ 2 h 4"/>
                <a:gd name="T6" fmla="*/ 4 w 11"/>
                <a:gd name="T7" fmla="*/ 4 h 4"/>
                <a:gd name="T8" fmla="*/ 2 w 11"/>
                <a:gd name="T9" fmla="*/ 2 h 4"/>
                <a:gd name="T10" fmla="*/ 0 w 11"/>
                <a:gd name="T11" fmla="*/ 0 h 4"/>
                <a:gd name="T12" fmla="*/ 2 w 11"/>
                <a:gd name="T13" fmla="*/ 2 h 4"/>
                <a:gd name="T14" fmla="*/ 4 w 11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4" y="4"/>
                  </a:moveTo>
                  <a:lnTo>
                    <a:pt x="11" y="2"/>
                  </a:lnTo>
                  <a:lnTo>
                    <a:pt x="11" y="2"/>
                  </a:ln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06" name="Freeform 973">
              <a:extLst>
                <a:ext uri="{FF2B5EF4-FFF2-40B4-BE49-F238E27FC236}">
                  <a16:creationId xmlns:a16="http://schemas.microsoft.com/office/drawing/2014/main" id="{40DEDBD8-5272-4A4D-828F-B9DB3ACAE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7406" y="5626486"/>
              <a:ext cx="6350" cy="12698"/>
            </a:xfrm>
            <a:custGeom>
              <a:avLst/>
              <a:gdLst>
                <a:gd name="T0" fmla="*/ 4 w 4"/>
                <a:gd name="T1" fmla="*/ 0 h 8"/>
                <a:gd name="T2" fmla="*/ 0 w 4"/>
                <a:gd name="T3" fmla="*/ 8 h 8"/>
                <a:gd name="T4" fmla="*/ 0 w 4"/>
                <a:gd name="T5" fmla="*/ 8 h 8"/>
                <a:gd name="T6" fmla="*/ 0 w 4"/>
                <a:gd name="T7" fmla="*/ 8 h 8"/>
                <a:gd name="T8" fmla="*/ 4 w 4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07" name="Rectangle 974">
              <a:extLst>
                <a:ext uri="{FF2B5EF4-FFF2-40B4-BE49-F238E27FC236}">
                  <a16:creationId xmlns:a16="http://schemas.microsoft.com/office/drawing/2014/main" id="{0573B2F5-54AE-4D83-BD9A-EAE9121D57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1944" y="6062985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08" name="Freeform 975">
              <a:extLst>
                <a:ext uri="{FF2B5EF4-FFF2-40B4-BE49-F238E27FC236}">
                  <a16:creationId xmlns:a16="http://schemas.microsoft.com/office/drawing/2014/main" id="{EC0C2EB7-4A02-4E01-8B06-7AA7459DA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44" y="6056636"/>
              <a:ext cx="6350" cy="6349"/>
            </a:xfrm>
            <a:custGeom>
              <a:avLst/>
              <a:gdLst>
                <a:gd name="T0" fmla="*/ 0 w 4"/>
                <a:gd name="T1" fmla="*/ 4 h 4"/>
                <a:gd name="T2" fmla="*/ 0 w 4"/>
                <a:gd name="T3" fmla="*/ 4 h 4"/>
                <a:gd name="T4" fmla="*/ 4 w 4"/>
                <a:gd name="T5" fmla="*/ 0 h 4"/>
                <a:gd name="T6" fmla="*/ 4 w 4"/>
                <a:gd name="T7" fmla="*/ 0 h 4"/>
                <a:gd name="T8" fmla="*/ 0 w 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09" name="Freeform 976">
              <a:extLst>
                <a:ext uri="{FF2B5EF4-FFF2-40B4-BE49-F238E27FC236}">
                  <a16:creationId xmlns:a16="http://schemas.microsoft.com/office/drawing/2014/main" id="{BE10F4CA-2671-4670-8FAD-44AA902DF7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3069" y="5815371"/>
              <a:ext cx="6350" cy="9524"/>
            </a:xfrm>
            <a:custGeom>
              <a:avLst/>
              <a:gdLst>
                <a:gd name="T0" fmla="*/ 0 w 4"/>
                <a:gd name="T1" fmla="*/ 6 h 6"/>
                <a:gd name="T2" fmla="*/ 4 w 4"/>
                <a:gd name="T3" fmla="*/ 0 h 6"/>
                <a:gd name="T4" fmla="*/ 4 w 4"/>
                <a:gd name="T5" fmla="*/ 0 h 6"/>
                <a:gd name="T6" fmla="*/ 0 w 4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0" y="6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10" name="Rectangle 977">
              <a:extLst>
                <a:ext uri="{FF2B5EF4-FFF2-40B4-BE49-F238E27FC236}">
                  <a16:creationId xmlns:a16="http://schemas.microsoft.com/office/drawing/2014/main" id="{D5D0BA40-C6A9-4D6E-A3AC-1552051046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3257" y="5656644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11" name="Freeform 978">
              <a:extLst>
                <a:ext uri="{FF2B5EF4-FFF2-40B4-BE49-F238E27FC236}">
                  <a16:creationId xmlns:a16="http://schemas.microsoft.com/office/drawing/2014/main" id="{8E2F4B53-45E0-499B-884C-D5EF0AAB7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9894" y="5824895"/>
              <a:ext cx="3175" cy="6349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0 h 4"/>
                <a:gd name="T4" fmla="*/ 2 w 2"/>
                <a:gd name="T5" fmla="*/ 0 h 4"/>
                <a:gd name="T6" fmla="*/ 0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12" name="Freeform 979">
              <a:extLst>
                <a:ext uri="{FF2B5EF4-FFF2-40B4-BE49-F238E27FC236}">
                  <a16:creationId xmlns:a16="http://schemas.microsoft.com/office/drawing/2014/main" id="{934914C1-1F82-4B43-9217-F0661E934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4207" y="5678866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13" name="Freeform 980">
              <a:extLst>
                <a:ext uri="{FF2B5EF4-FFF2-40B4-BE49-F238E27FC236}">
                  <a16:creationId xmlns:a16="http://schemas.microsoft.com/office/drawing/2014/main" id="{1735AEBD-2211-41C9-99B9-17BD56E072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8457" y="5982034"/>
              <a:ext cx="9525" cy="9524"/>
            </a:xfrm>
            <a:custGeom>
              <a:avLst/>
              <a:gdLst>
                <a:gd name="T0" fmla="*/ 2 w 6"/>
                <a:gd name="T1" fmla="*/ 6 h 6"/>
                <a:gd name="T2" fmla="*/ 0 w 6"/>
                <a:gd name="T3" fmla="*/ 6 h 6"/>
                <a:gd name="T4" fmla="*/ 2 w 6"/>
                <a:gd name="T5" fmla="*/ 6 h 6"/>
                <a:gd name="T6" fmla="*/ 6 w 6"/>
                <a:gd name="T7" fmla="*/ 2 h 6"/>
                <a:gd name="T8" fmla="*/ 6 w 6"/>
                <a:gd name="T9" fmla="*/ 0 h 6"/>
                <a:gd name="T10" fmla="*/ 6 w 6"/>
                <a:gd name="T11" fmla="*/ 0 h 6"/>
                <a:gd name="T12" fmla="*/ 6 w 6"/>
                <a:gd name="T13" fmla="*/ 2 h 6"/>
                <a:gd name="T14" fmla="*/ 2 w 6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2" y="6"/>
                  </a:moveTo>
                  <a:lnTo>
                    <a:pt x="0" y="6"/>
                  </a:lnTo>
                  <a:lnTo>
                    <a:pt x="2" y="6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14" name="Freeform 981">
              <a:extLst>
                <a:ext uri="{FF2B5EF4-FFF2-40B4-BE49-F238E27FC236}">
                  <a16:creationId xmlns:a16="http://schemas.microsoft.com/office/drawing/2014/main" id="{60A6C33B-7D40-4BD4-856E-0AA02B79F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8332" y="5688389"/>
              <a:ext cx="3175" cy="9524"/>
            </a:xfrm>
            <a:custGeom>
              <a:avLst/>
              <a:gdLst>
                <a:gd name="T0" fmla="*/ 0 w 2"/>
                <a:gd name="T1" fmla="*/ 4 h 6"/>
                <a:gd name="T2" fmla="*/ 2 w 2"/>
                <a:gd name="T3" fmla="*/ 6 h 6"/>
                <a:gd name="T4" fmla="*/ 2 w 2"/>
                <a:gd name="T5" fmla="*/ 6 h 6"/>
                <a:gd name="T6" fmla="*/ 2 w 2"/>
                <a:gd name="T7" fmla="*/ 6 h 6"/>
                <a:gd name="T8" fmla="*/ 0 w 2"/>
                <a:gd name="T9" fmla="*/ 4 h 6"/>
                <a:gd name="T10" fmla="*/ 0 w 2"/>
                <a:gd name="T11" fmla="*/ 2 h 6"/>
                <a:gd name="T12" fmla="*/ 2 w 2"/>
                <a:gd name="T13" fmla="*/ 0 h 6"/>
                <a:gd name="T14" fmla="*/ 0 w 2"/>
                <a:gd name="T15" fmla="*/ 2 h 6"/>
                <a:gd name="T16" fmla="*/ 0 w 2"/>
                <a:gd name="T1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6">
                  <a:moveTo>
                    <a:pt x="0" y="4"/>
                  </a:move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15" name="Freeform 982">
              <a:extLst>
                <a:ext uri="{FF2B5EF4-FFF2-40B4-BE49-F238E27FC236}">
                  <a16:creationId xmlns:a16="http://schemas.microsoft.com/office/drawing/2014/main" id="{33162524-EE8B-499A-9369-4716059E4F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9894" y="5870925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16" name="Freeform 983">
              <a:extLst>
                <a:ext uri="{FF2B5EF4-FFF2-40B4-BE49-F238E27FC236}">
                  <a16:creationId xmlns:a16="http://schemas.microsoft.com/office/drawing/2014/main" id="{6BCE7CBF-3C26-406B-A83E-A810DBC7F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5294" y="5802673"/>
              <a:ext cx="6350" cy="3175"/>
            </a:xfrm>
            <a:custGeom>
              <a:avLst/>
              <a:gdLst>
                <a:gd name="T0" fmla="*/ 0 w 4"/>
                <a:gd name="T1" fmla="*/ 2 h 2"/>
                <a:gd name="T2" fmla="*/ 0 w 4"/>
                <a:gd name="T3" fmla="*/ 0 h 2"/>
                <a:gd name="T4" fmla="*/ 4 w 4"/>
                <a:gd name="T5" fmla="*/ 0 h 2"/>
                <a:gd name="T6" fmla="*/ 0 w 4"/>
                <a:gd name="T7" fmla="*/ 0 h 2"/>
                <a:gd name="T8" fmla="*/ 0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17" name="Freeform 984">
              <a:extLst>
                <a:ext uri="{FF2B5EF4-FFF2-40B4-BE49-F238E27FC236}">
                  <a16:creationId xmlns:a16="http://schemas.microsoft.com/office/drawing/2014/main" id="{57C3F7AB-9342-4CB3-8658-A01770F1CD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0207" y="5913782"/>
              <a:ext cx="3175" cy="9524"/>
            </a:xfrm>
            <a:custGeom>
              <a:avLst/>
              <a:gdLst>
                <a:gd name="T0" fmla="*/ 0 w 2"/>
                <a:gd name="T1" fmla="*/ 6 h 6"/>
                <a:gd name="T2" fmla="*/ 2 w 2"/>
                <a:gd name="T3" fmla="*/ 0 h 6"/>
                <a:gd name="T4" fmla="*/ 2 w 2"/>
                <a:gd name="T5" fmla="*/ 0 h 6"/>
                <a:gd name="T6" fmla="*/ 2 w 2"/>
                <a:gd name="T7" fmla="*/ 0 h 6"/>
                <a:gd name="T8" fmla="*/ 0 w 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18" name="Freeform 985">
              <a:extLst>
                <a:ext uri="{FF2B5EF4-FFF2-40B4-BE49-F238E27FC236}">
                  <a16:creationId xmlns:a16="http://schemas.microsoft.com/office/drawing/2014/main" id="{22AA2911-8D5B-482D-B8E4-B8822D1B9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4169" y="602965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19" name="Freeform 986">
              <a:extLst>
                <a:ext uri="{FF2B5EF4-FFF2-40B4-BE49-F238E27FC236}">
                  <a16:creationId xmlns:a16="http://schemas.microsoft.com/office/drawing/2014/main" id="{FF60C12D-8FAE-4E94-80B2-1C74B2D39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982" y="5972510"/>
              <a:ext cx="3175" cy="9524"/>
            </a:xfrm>
            <a:custGeom>
              <a:avLst/>
              <a:gdLst>
                <a:gd name="T0" fmla="*/ 0 w 2"/>
                <a:gd name="T1" fmla="*/ 6 h 6"/>
                <a:gd name="T2" fmla="*/ 2 w 2"/>
                <a:gd name="T3" fmla="*/ 2 h 6"/>
                <a:gd name="T4" fmla="*/ 2 w 2"/>
                <a:gd name="T5" fmla="*/ 0 h 6"/>
                <a:gd name="T6" fmla="*/ 2 w 2"/>
                <a:gd name="T7" fmla="*/ 2 h 6"/>
                <a:gd name="T8" fmla="*/ 0 w 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20" name="Freeform 987">
              <a:extLst>
                <a:ext uri="{FF2B5EF4-FFF2-40B4-BE49-F238E27FC236}">
                  <a16:creationId xmlns:a16="http://schemas.microsoft.com/office/drawing/2014/main" id="{7A47988E-D229-4567-B917-A506B7E1F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3857" y="5942352"/>
              <a:ext cx="0" cy="9524"/>
            </a:xfrm>
            <a:custGeom>
              <a:avLst/>
              <a:gdLst>
                <a:gd name="T0" fmla="*/ 6 h 6"/>
                <a:gd name="T1" fmla="*/ 6 h 6"/>
                <a:gd name="T2" fmla="*/ 6 h 6"/>
                <a:gd name="T3" fmla="*/ 4 h 6"/>
                <a:gd name="T4" fmla="*/ 0 h 6"/>
                <a:gd name="T5" fmla="*/ 4 h 6"/>
                <a:gd name="T6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21" name="Freeform 988">
              <a:extLst>
                <a:ext uri="{FF2B5EF4-FFF2-40B4-BE49-F238E27FC236}">
                  <a16:creationId xmlns:a16="http://schemas.microsoft.com/office/drawing/2014/main" id="{DFC6A576-C508-45EE-8D2C-F4A748031E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0994" y="6029652"/>
              <a:ext cx="3175" cy="0"/>
            </a:xfrm>
            <a:custGeom>
              <a:avLst/>
              <a:gdLst>
                <a:gd name="T0" fmla="*/ 0 w 2"/>
                <a:gd name="T1" fmla="*/ 2 w 2"/>
                <a:gd name="T2" fmla="*/ 0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22" name="Freeform 989">
              <a:extLst>
                <a:ext uri="{FF2B5EF4-FFF2-40B4-BE49-F238E27FC236}">
                  <a16:creationId xmlns:a16="http://schemas.microsoft.com/office/drawing/2014/main" id="{16959D8D-0569-4A7D-A3DE-F50381D65D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7382" y="5662993"/>
              <a:ext cx="9525" cy="12698"/>
            </a:xfrm>
            <a:custGeom>
              <a:avLst/>
              <a:gdLst>
                <a:gd name="T0" fmla="*/ 0 w 6"/>
                <a:gd name="T1" fmla="*/ 8 h 8"/>
                <a:gd name="T2" fmla="*/ 2 w 6"/>
                <a:gd name="T3" fmla="*/ 6 h 8"/>
                <a:gd name="T4" fmla="*/ 6 w 6"/>
                <a:gd name="T5" fmla="*/ 0 h 8"/>
                <a:gd name="T6" fmla="*/ 2 w 6"/>
                <a:gd name="T7" fmla="*/ 6 h 8"/>
                <a:gd name="T8" fmla="*/ 0 w 6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0" y="8"/>
                  </a:moveTo>
                  <a:lnTo>
                    <a:pt x="2" y="6"/>
                  </a:lnTo>
                  <a:lnTo>
                    <a:pt x="6" y="0"/>
                  </a:lnTo>
                  <a:lnTo>
                    <a:pt x="2" y="6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23" name="Freeform 990">
              <a:extLst>
                <a:ext uri="{FF2B5EF4-FFF2-40B4-BE49-F238E27FC236}">
                  <a16:creationId xmlns:a16="http://schemas.microsoft.com/office/drawing/2014/main" id="{FA7CD085-690A-4C2B-A7A5-BF2BAAAD9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9257" y="5883623"/>
              <a:ext cx="17463" cy="6349"/>
            </a:xfrm>
            <a:custGeom>
              <a:avLst/>
              <a:gdLst>
                <a:gd name="T0" fmla="*/ 2 w 11"/>
                <a:gd name="T1" fmla="*/ 2 h 4"/>
                <a:gd name="T2" fmla="*/ 0 w 11"/>
                <a:gd name="T3" fmla="*/ 4 h 4"/>
                <a:gd name="T4" fmla="*/ 0 w 11"/>
                <a:gd name="T5" fmla="*/ 4 h 4"/>
                <a:gd name="T6" fmla="*/ 2 w 11"/>
                <a:gd name="T7" fmla="*/ 2 h 4"/>
                <a:gd name="T8" fmla="*/ 9 w 11"/>
                <a:gd name="T9" fmla="*/ 0 h 4"/>
                <a:gd name="T10" fmla="*/ 11 w 11"/>
                <a:gd name="T11" fmla="*/ 0 h 4"/>
                <a:gd name="T12" fmla="*/ 9 w 11"/>
                <a:gd name="T13" fmla="*/ 0 h 4"/>
                <a:gd name="T14" fmla="*/ 2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2" y="2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2" y="2"/>
                  </a:lnTo>
                  <a:lnTo>
                    <a:pt x="9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24" name="Freeform 991">
              <a:extLst>
                <a:ext uri="{FF2B5EF4-FFF2-40B4-BE49-F238E27FC236}">
                  <a16:creationId xmlns:a16="http://schemas.microsoft.com/office/drawing/2014/main" id="{78FB74A7-8FEA-4AAF-A769-C4FA0552BC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4644" y="6023303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0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25" name="Freeform 992">
              <a:extLst>
                <a:ext uri="{FF2B5EF4-FFF2-40B4-BE49-F238E27FC236}">
                  <a16:creationId xmlns:a16="http://schemas.microsoft.com/office/drawing/2014/main" id="{534B4F3E-C91A-4817-B931-F01112F9E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4507" y="5740769"/>
              <a:ext cx="15875" cy="3175"/>
            </a:xfrm>
            <a:custGeom>
              <a:avLst/>
              <a:gdLst>
                <a:gd name="T0" fmla="*/ 4 w 10"/>
                <a:gd name="T1" fmla="*/ 0 h 2"/>
                <a:gd name="T2" fmla="*/ 2 w 10"/>
                <a:gd name="T3" fmla="*/ 0 h 2"/>
                <a:gd name="T4" fmla="*/ 0 w 10"/>
                <a:gd name="T5" fmla="*/ 2 h 2"/>
                <a:gd name="T6" fmla="*/ 2 w 10"/>
                <a:gd name="T7" fmla="*/ 0 h 2"/>
                <a:gd name="T8" fmla="*/ 4 w 10"/>
                <a:gd name="T9" fmla="*/ 0 h 2"/>
                <a:gd name="T10" fmla="*/ 6 w 10"/>
                <a:gd name="T11" fmla="*/ 0 h 2"/>
                <a:gd name="T12" fmla="*/ 10 w 10"/>
                <a:gd name="T13" fmla="*/ 0 h 2"/>
                <a:gd name="T14" fmla="*/ 6 w 10"/>
                <a:gd name="T15" fmla="*/ 0 h 2"/>
                <a:gd name="T16" fmla="*/ 4 w 10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26" name="Freeform 993">
              <a:extLst>
                <a:ext uri="{FF2B5EF4-FFF2-40B4-BE49-F238E27FC236}">
                  <a16:creationId xmlns:a16="http://schemas.microsoft.com/office/drawing/2014/main" id="{6705AE97-1839-420D-BDCF-4881327D97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8294" y="6047112"/>
              <a:ext cx="9525" cy="9524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4 w 6"/>
                <a:gd name="T5" fmla="*/ 2 h 6"/>
                <a:gd name="T6" fmla="*/ 0 w 6"/>
                <a:gd name="T7" fmla="*/ 6 h 6"/>
                <a:gd name="T8" fmla="*/ 0 w 6"/>
                <a:gd name="T9" fmla="*/ 6 h 6"/>
                <a:gd name="T10" fmla="*/ 4 w 6"/>
                <a:gd name="T11" fmla="*/ 2 h 6"/>
                <a:gd name="T12" fmla="*/ 6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27" name="Freeform 994">
              <a:extLst>
                <a:ext uri="{FF2B5EF4-FFF2-40B4-BE49-F238E27FC236}">
                  <a16:creationId xmlns:a16="http://schemas.microsoft.com/office/drawing/2014/main" id="{F530A4E3-E713-4661-9EEA-D302B7020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1807" y="5747118"/>
              <a:ext cx="9525" cy="9524"/>
            </a:xfrm>
            <a:custGeom>
              <a:avLst/>
              <a:gdLst>
                <a:gd name="T0" fmla="*/ 0 w 6"/>
                <a:gd name="T1" fmla="*/ 6 h 6"/>
                <a:gd name="T2" fmla="*/ 0 w 6"/>
                <a:gd name="T3" fmla="*/ 6 h 6"/>
                <a:gd name="T4" fmla="*/ 0 w 6"/>
                <a:gd name="T5" fmla="*/ 6 h 6"/>
                <a:gd name="T6" fmla="*/ 4 w 6"/>
                <a:gd name="T7" fmla="*/ 0 h 6"/>
                <a:gd name="T8" fmla="*/ 6 w 6"/>
                <a:gd name="T9" fmla="*/ 0 h 6"/>
                <a:gd name="T10" fmla="*/ 4 w 6"/>
                <a:gd name="T11" fmla="*/ 0 h 6"/>
                <a:gd name="T12" fmla="*/ 0 w 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4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28" name="Freeform 995">
              <a:extLst>
                <a:ext uri="{FF2B5EF4-FFF2-40B4-BE49-F238E27FC236}">
                  <a16:creationId xmlns:a16="http://schemas.microsoft.com/office/drawing/2014/main" id="{B1A6B2FD-0524-4C43-8D1A-A70C2D1E0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7819" y="6023303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2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29" name="Freeform 996">
              <a:extLst>
                <a:ext uri="{FF2B5EF4-FFF2-40B4-BE49-F238E27FC236}">
                  <a16:creationId xmlns:a16="http://schemas.microsoft.com/office/drawing/2014/main" id="{A7968ABD-A33A-4FC3-B611-3BFF60CD1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3082" y="5737595"/>
              <a:ext cx="3175" cy="3175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2 h 2"/>
                <a:gd name="T4" fmla="*/ 2 w 2"/>
                <a:gd name="T5" fmla="*/ 0 h 2"/>
                <a:gd name="T6" fmla="*/ 2 w 2"/>
                <a:gd name="T7" fmla="*/ 2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30" name="Freeform 997">
              <a:extLst>
                <a:ext uri="{FF2B5EF4-FFF2-40B4-BE49-F238E27FC236}">
                  <a16:creationId xmlns:a16="http://schemas.microsoft.com/office/drawing/2014/main" id="{9D4FF221-CC5D-4042-8B09-D9A85C16D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1345" y="5709024"/>
              <a:ext cx="15875" cy="12698"/>
            </a:xfrm>
            <a:custGeom>
              <a:avLst/>
              <a:gdLst>
                <a:gd name="T0" fmla="*/ 4 w 10"/>
                <a:gd name="T1" fmla="*/ 6 h 8"/>
                <a:gd name="T2" fmla="*/ 0 w 10"/>
                <a:gd name="T3" fmla="*/ 8 h 8"/>
                <a:gd name="T4" fmla="*/ 4 w 10"/>
                <a:gd name="T5" fmla="*/ 6 h 8"/>
                <a:gd name="T6" fmla="*/ 8 w 10"/>
                <a:gd name="T7" fmla="*/ 0 h 8"/>
                <a:gd name="T8" fmla="*/ 10 w 10"/>
                <a:gd name="T9" fmla="*/ 0 h 8"/>
                <a:gd name="T10" fmla="*/ 8 w 10"/>
                <a:gd name="T11" fmla="*/ 0 h 8"/>
                <a:gd name="T12" fmla="*/ 4 w 10"/>
                <a:gd name="T13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8">
                  <a:moveTo>
                    <a:pt x="4" y="6"/>
                  </a:moveTo>
                  <a:lnTo>
                    <a:pt x="0" y="8"/>
                  </a:lnTo>
                  <a:lnTo>
                    <a:pt x="4" y="6"/>
                  </a:lnTo>
                  <a:lnTo>
                    <a:pt x="8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31" name="Rectangle 998">
              <a:extLst>
                <a:ext uri="{FF2B5EF4-FFF2-40B4-BE49-F238E27FC236}">
                  <a16:creationId xmlns:a16="http://schemas.microsoft.com/office/drawing/2014/main" id="{D75A99F3-A00A-4D0F-BD1F-82643DF6A7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8957" y="5718548"/>
              <a:ext cx="3175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32" name="Freeform 999">
              <a:extLst>
                <a:ext uri="{FF2B5EF4-FFF2-40B4-BE49-F238E27FC236}">
                  <a16:creationId xmlns:a16="http://schemas.microsoft.com/office/drawing/2014/main" id="{022417B3-2BE9-41DF-883C-A245DB313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70" y="5762991"/>
              <a:ext cx="3175" cy="3175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33" name="Freeform 1000">
              <a:extLst>
                <a:ext uri="{FF2B5EF4-FFF2-40B4-BE49-F238E27FC236}">
                  <a16:creationId xmlns:a16="http://schemas.microsoft.com/office/drawing/2014/main" id="{94BEAC33-BD27-4E95-A07B-D048D53CE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9" y="5780451"/>
              <a:ext cx="9525" cy="19047"/>
            </a:xfrm>
            <a:custGeom>
              <a:avLst/>
              <a:gdLst>
                <a:gd name="T0" fmla="*/ 2 w 6"/>
                <a:gd name="T1" fmla="*/ 6 h 12"/>
                <a:gd name="T2" fmla="*/ 2 w 6"/>
                <a:gd name="T3" fmla="*/ 8 h 12"/>
                <a:gd name="T4" fmla="*/ 2 w 6"/>
                <a:gd name="T5" fmla="*/ 8 h 12"/>
                <a:gd name="T6" fmla="*/ 2 w 6"/>
                <a:gd name="T7" fmla="*/ 10 h 12"/>
                <a:gd name="T8" fmla="*/ 2 w 6"/>
                <a:gd name="T9" fmla="*/ 12 h 12"/>
                <a:gd name="T10" fmla="*/ 0 w 6"/>
                <a:gd name="T11" fmla="*/ 12 h 12"/>
                <a:gd name="T12" fmla="*/ 2 w 6"/>
                <a:gd name="T13" fmla="*/ 12 h 12"/>
                <a:gd name="T14" fmla="*/ 2 w 6"/>
                <a:gd name="T15" fmla="*/ 10 h 12"/>
                <a:gd name="T16" fmla="*/ 2 w 6"/>
                <a:gd name="T17" fmla="*/ 8 h 12"/>
                <a:gd name="T18" fmla="*/ 2 w 6"/>
                <a:gd name="T19" fmla="*/ 8 h 12"/>
                <a:gd name="T20" fmla="*/ 2 w 6"/>
                <a:gd name="T21" fmla="*/ 6 h 12"/>
                <a:gd name="T22" fmla="*/ 4 w 6"/>
                <a:gd name="T23" fmla="*/ 4 h 12"/>
                <a:gd name="T24" fmla="*/ 6 w 6"/>
                <a:gd name="T25" fmla="*/ 0 h 12"/>
                <a:gd name="T26" fmla="*/ 4 w 6"/>
                <a:gd name="T27" fmla="*/ 4 h 12"/>
                <a:gd name="T28" fmla="*/ 2 w 6"/>
                <a:gd name="T2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" h="12">
                  <a:moveTo>
                    <a:pt x="2" y="6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0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4" y="4"/>
                  </a:lnTo>
                  <a:lnTo>
                    <a:pt x="6" y="0"/>
                  </a:lnTo>
                  <a:lnTo>
                    <a:pt x="4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34" name="Freeform 1001">
              <a:extLst>
                <a:ext uri="{FF2B5EF4-FFF2-40B4-BE49-F238E27FC236}">
                  <a16:creationId xmlns:a16="http://schemas.microsoft.com/office/drawing/2014/main" id="{241DC469-B935-48FA-9458-8C06FD3AE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70" y="5769340"/>
              <a:ext cx="0" cy="4762"/>
            </a:xfrm>
            <a:custGeom>
              <a:avLst/>
              <a:gdLst>
                <a:gd name="T0" fmla="*/ 3 h 3"/>
                <a:gd name="T1" fmla="*/ 3 h 3"/>
                <a:gd name="T2" fmla="*/ 0 h 3"/>
                <a:gd name="T3" fmla="*/ 3 h 3"/>
                <a:gd name="T4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35" name="Freeform 1002">
              <a:extLst>
                <a:ext uri="{FF2B5EF4-FFF2-40B4-BE49-F238E27FC236}">
                  <a16:creationId xmlns:a16="http://schemas.microsoft.com/office/drawing/2014/main" id="{64BABAA4-9BCB-4DF3-B557-417E99784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32" y="5966161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0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36" name="Freeform 1003">
              <a:extLst>
                <a:ext uri="{FF2B5EF4-FFF2-40B4-BE49-F238E27FC236}">
                  <a16:creationId xmlns:a16="http://schemas.microsoft.com/office/drawing/2014/main" id="{B8367832-B601-40CB-88F7-B4DA44465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3570" y="5701088"/>
              <a:ext cx="7938" cy="4762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2 h 3"/>
                <a:gd name="T4" fmla="*/ 0 w 5"/>
                <a:gd name="T5" fmla="*/ 3 h 3"/>
                <a:gd name="T6" fmla="*/ 0 w 5"/>
                <a:gd name="T7" fmla="*/ 2 h 3"/>
                <a:gd name="T8" fmla="*/ 3 w 5"/>
                <a:gd name="T9" fmla="*/ 2 h 3"/>
                <a:gd name="T10" fmla="*/ 3 w 5"/>
                <a:gd name="T11" fmla="*/ 2 h 3"/>
                <a:gd name="T12" fmla="*/ 5 w 5"/>
                <a:gd name="T13" fmla="*/ 0 h 3"/>
                <a:gd name="T14" fmla="*/ 3 w 5"/>
                <a:gd name="T15" fmla="*/ 2 h 3"/>
                <a:gd name="T16" fmla="*/ 3 w 5"/>
                <a:gd name="T1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37" name="Freeform 1004">
              <a:extLst>
                <a:ext uri="{FF2B5EF4-FFF2-40B4-BE49-F238E27FC236}">
                  <a16:creationId xmlns:a16="http://schemas.microsoft.com/office/drawing/2014/main" id="{17714416-1C9D-45C3-BEC1-4EFBF709A1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1469" y="6020128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38" name="Freeform 1005">
              <a:extLst>
                <a:ext uri="{FF2B5EF4-FFF2-40B4-BE49-F238E27FC236}">
                  <a16:creationId xmlns:a16="http://schemas.microsoft.com/office/drawing/2014/main" id="{13FE407C-DE64-4743-ABB7-1F2872396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7045" y="5759817"/>
              <a:ext cx="1588" cy="3175"/>
            </a:xfrm>
            <a:custGeom>
              <a:avLst/>
              <a:gdLst>
                <a:gd name="T0" fmla="*/ 0 w 1"/>
                <a:gd name="T1" fmla="*/ 2 h 2"/>
                <a:gd name="T2" fmla="*/ 0 w 1"/>
                <a:gd name="T3" fmla="*/ 2 h 2"/>
                <a:gd name="T4" fmla="*/ 1 w 1"/>
                <a:gd name="T5" fmla="*/ 0 h 2"/>
                <a:gd name="T6" fmla="*/ 0 w 1"/>
                <a:gd name="T7" fmla="*/ 2 h 2"/>
                <a:gd name="T8" fmla="*/ 0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39" name="Freeform 1006">
              <a:extLst>
                <a:ext uri="{FF2B5EF4-FFF2-40B4-BE49-F238E27FC236}">
                  <a16:creationId xmlns:a16="http://schemas.microsoft.com/office/drawing/2014/main" id="{DD5A58CA-3F05-4F9F-A4E2-AF1D868E4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466" y="5994732"/>
              <a:ext cx="290513" cy="61903"/>
            </a:xfrm>
            <a:custGeom>
              <a:avLst/>
              <a:gdLst>
                <a:gd name="T0" fmla="*/ 172 w 183"/>
                <a:gd name="T1" fmla="*/ 35 h 39"/>
                <a:gd name="T2" fmla="*/ 170 w 183"/>
                <a:gd name="T3" fmla="*/ 33 h 39"/>
                <a:gd name="T4" fmla="*/ 170 w 183"/>
                <a:gd name="T5" fmla="*/ 27 h 39"/>
                <a:gd name="T6" fmla="*/ 168 w 183"/>
                <a:gd name="T7" fmla="*/ 23 h 39"/>
                <a:gd name="T8" fmla="*/ 168 w 183"/>
                <a:gd name="T9" fmla="*/ 22 h 39"/>
                <a:gd name="T10" fmla="*/ 170 w 183"/>
                <a:gd name="T11" fmla="*/ 18 h 39"/>
                <a:gd name="T12" fmla="*/ 179 w 183"/>
                <a:gd name="T13" fmla="*/ 12 h 39"/>
                <a:gd name="T14" fmla="*/ 183 w 183"/>
                <a:gd name="T15" fmla="*/ 8 h 39"/>
                <a:gd name="T16" fmla="*/ 183 w 183"/>
                <a:gd name="T17" fmla="*/ 4 h 39"/>
                <a:gd name="T18" fmla="*/ 183 w 183"/>
                <a:gd name="T19" fmla="*/ 0 h 39"/>
                <a:gd name="T20" fmla="*/ 179 w 183"/>
                <a:gd name="T21" fmla="*/ 0 h 39"/>
                <a:gd name="T22" fmla="*/ 172 w 183"/>
                <a:gd name="T23" fmla="*/ 0 h 39"/>
                <a:gd name="T24" fmla="*/ 168 w 183"/>
                <a:gd name="T25" fmla="*/ 2 h 39"/>
                <a:gd name="T26" fmla="*/ 152 w 183"/>
                <a:gd name="T27" fmla="*/ 10 h 39"/>
                <a:gd name="T28" fmla="*/ 140 w 183"/>
                <a:gd name="T29" fmla="*/ 12 h 39"/>
                <a:gd name="T30" fmla="*/ 133 w 183"/>
                <a:gd name="T31" fmla="*/ 14 h 39"/>
                <a:gd name="T32" fmla="*/ 125 w 183"/>
                <a:gd name="T33" fmla="*/ 18 h 39"/>
                <a:gd name="T34" fmla="*/ 119 w 183"/>
                <a:gd name="T35" fmla="*/ 22 h 39"/>
                <a:gd name="T36" fmla="*/ 111 w 183"/>
                <a:gd name="T37" fmla="*/ 23 h 39"/>
                <a:gd name="T38" fmla="*/ 109 w 183"/>
                <a:gd name="T39" fmla="*/ 23 h 39"/>
                <a:gd name="T40" fmla="*/ 107 w 183"/>
                <a:gd name="T41" fmla="*/ 27 h 39"/>
                <a:gd name="T42" fmla="*/ 105 w 183"/>
                <a:gd name="T43" fmla="*/ 27 h 39"/>
                <a:gd name="T44" fmla="*/ 101 w 183"/>
                <a:gd name="T45" fmla="*/ 25 h 39"/>
                <a:gd name="T46" fmla="*/ 95 w 183"/>
                <a:gd name="T47" fmla="*/ 22 h 39"/>
                <a:gd name="T48" fmla="*/ 93 w 183"/>
                <a:gd name="T49" fmla="*/ 22 h 39"/>
                <a:gd name="T50" fmla="*/ 92 w 183"/>
                <a:gd name="T51" fmla="*/ 22 h 39"/>
                <a:gd name="T52" fmla="*/ 90 w 183"/>
                <a:gd name="T53" fmla="*/ 22 h 39"/>
                <a:gd name="T54" fmla="*/ 90 w 183"/>
                <a:gd name="T55" fmla="*/ 22 h 39"/>
                <a:gd name="T56" fmla="*/ 90 w 183"/>
                <a:gd name="T57" fmla="*/ 22 h 39"/>
                <a:gd name="T58" fmla="*/ 82 w 183"/>
                <a:gd name="T59" fmla="*/ 20 h 39"/>
                <a:gd name="T60" fmla="*/ 78 w 183"/>
                <a:gd name="T61" fmla="*/ 20 h 39"/>
                <a:gd name="T62" fmla="*/ 72 w 183"/>
                <a:gd name="T63" fmla="*/ 22 h 39"/>
                <a:gd name="T64" fmla="*/ 72 w 183"/>
                <a:gd name="T65" fmla="*/ 22 h 39"/>
                <a:gd name="T66" fmla="*/ 70 w 183"/>
                <a:gd name="T67" fmla="*/ 23 h 39"/>
                <a:gd name="T68" fmla="*/ 70 w 183"/>
                <a:gd name="T69" fmla="*/ 23 h 39"/>
                <a:gd name="T70" fmla="*/ 68 w 183"/>
                <a:gd name="T71" fmla="*/ 23 h 39"/>
                <a:gd name="T72" fmla="*/ 66 w 183"/>
                <a:gd name="T73" fmla="*/ 22 h 39"/>
                <a:gd name="T74" fmla="*/ 66 w 183"/>
                <a:gd name="T75" fmla="*/ 22 h 39"/>
                <a:gd name="T76" fmla="*/ 64 w 183"/>
                <a:gd name="T77" fmla="*/ 20 h 39"/>
                <a:gd name="T78" fmla="*/ 64 w 183"/>
                <a:gd name="T79" fmla="*/ 20 h 39"/>
                <a:gd name="T80" fmla="*/ 60 w 183"/>
                <a:gd name="T81" fmla="*/ 18 h 39"/>
                <a:gd name="T82" fmla="*/ 58 w 183"/>
                <a:gd name="T83" fmla="*/ 20 h 39"/>
                <a:gd name="T84" fmla="*/ 58 w 183"/>
                <a:gd name="T85" fmla="*/ 20 h 39"/>
                <a:gd name="T86" fmla="*/ 56 w 183"/>
                <a:gd name="T87" fmla="*/ 22 h 39"/>
                <a:gd name="T88" fmla="*/ 51 w 183"/>
                <a:gd name="T89" fmla="*/ 27 h 39"/>
                <a:gd name="T90" fmla="*/ 45 w 183"/>
                <a:gd name="T91" fmla="*/ 27 h 39"/>
                <a:gd name="T92" fmla="*/ 41 w 183"/>
                <a:gd name="T93" fmla="*/ 25 h 39"/>
                <a:gd name="T94" fmla="*/ 35 w 183"/>
                <a:gd name="T95" fmla="*/ 23 h 39"/>
                <a:gd name="T96" fmla="*/ 23 w 183"/>
                <a:gd name="T97" fmla="*/ 25 h 39"/>
                <a:gd name="T98" fmla="*/ 11 w 183"/>
                <a:gd name="T99" fmla="*/ 29 h 39"/>
                <a:gd name="T100" fmla="*/ 8 w 183"/>
                <a:gd name="T101" fmla="*/ 31 h 39"/>
                <a:gd name="T102" fmla="*/ 0 w 183"/>
                <a:gd name="T103" fmla="*/ 39 h 39"/>
                <a:gd name="T104" fmla="*/ 172 w 183"/>
                <a:gd name="T105" fmla="*/ 39 h 39"/>
                <a:gd name="T106" fmla="*/ 172 w 183"/>
                <a:gd name="T107" fmla="*/ 37 h 39"/>
                <a:gd name="T108" fmla="*/ 172 w 183"/>
                <a:gd name="T109" fmla="*/ 3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3" h="39">
                  <a:moveTo>
                    <a:pt x="172" y="35"/>
                  </a:moveTo>
                  <a:lnTo>
                    <a:pt x="170" y="33"/>
                  </a:lnTo>
                  <a:lnTo>
                    <a:pt x="170" y="27"/>
                  </a:lnTo>
                  <a:lnTo>
                    <a:pt x="168" y="23"/>
                  </a:lnTo>
                  <a:lnTo>
                    <a:pt x="168" y="22"/>
                  </a:lnTo>
                  <a:lnTo>
                    <a:pt x="170" y="18"/>
                  </a:lnTo>
                  <a:lnTo>
                    <a:pt x="179" y="12"/>
                  </a:lnTo>
                  <a:lnTo>
                    <a:pt x="183" y="8"/>
                  </a:lnTo>
                  <a:lnTo>
                    <a:pt x="183" y="4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2" y="0"/>
                  </a:lnTo>
                  <a:lnTo>
                    <a:pt x="168" y="2"/>
                  </a:lnTo>
                  <a:lnTo>
                    <a:pt x="152" y="10"/>
                  </a:lnTo>
                  <a:lnTo>
                    <a:pt x="140" y="12"/>
                  </a:lnTo>
                  <a:lnTo>
                    <a:pt x="133" y="14"/>
                  </a:lnTo>
                  <a:lnTo>
                    <a:pt x="125" y="18"/>
                  </a:lnTo>
                  <a:lnTo>
                    <a:pt x="119" y="22"/>
                  </a:lnTo>
                  <a:lnTo>
                    <a:pt x="111" y="23"/>
                  </a:lnTo>
                  <a:lnTo>
                    <a:pt x="109" y="23"/>
                  </a:lnTo>
                  <a:lnTo>
                    <a:pt x="107" y="27"/>
                  </a:lnTo>
                  <a:lnTo>
                    <a:pt x="105" y="27"/>
                  </a:lnTo>
                  <a:lnTo>
                    <a:pt x="101" y="25"/>
                  </a:lnTo>
                  <a:lnTo>
                    <a:pt x="95" y="22"/>
                  </a:lnTo>
                  <a:lnTo>
                    <a:pt x="93" y="22"/>
                  </a:lnTo>
                  <a:lnTo>
                    <a:pt x="92" y="22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82" y="20"/>
                  </a:lnTo>
                  <a:lnTo>
                    <a:pt x="78" y="20"/>
                  </a:lnTo>
                  <a:lnTo>
                    <a:pt x="72" y="22"/>
                  </a:lnTo>
                  <a:lnTo>
                    <a:pt x="72" y="22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68" y="23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0" y="18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6" y="22"/>
                  </a:lnTo>
                  <a:lnTo>
                    <a:pt x="51" y="27"/>
                  </a:lnTo>
                  <a:lnTo>
                    <a:pt x="45" y="27"/>
                  </a:lnTo>
                  <a:lnTo>
                    <a:pt x="41" y="25"/>
                  </a:lnTo>
                  <a:lnTo>
                    <a:pt x="35" y="23"/>
                  </a:lnTo>
                  <a:lnTo>
                    <a:pt x="23" y="25"/>
                  </a:lnTo>
                  <a:lnTo>
                    <a:pt x="11" y="29"/>
                  </a:lnTo>
                  <a:lnTo>
                    <a:pt x="8" y="31"/>
                  </a:lnTo>
                  <a:lnTo>
                    <a:pt x="0" y="39"/>
                  </a:lnTo>
                  <a:lnTo>
                    <a:pt x="172" y="39"/>
                  </a:lnTo>
                  <a:lnTo>
                    <a:pt x="172" y="37"/>
                  </a:lnTo>
                  <a:lnTo>
                    <a:pt x="172" y="35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40" name="Freeform 1007">
              <a:extLst>
                <a:ext uri="{FF2B5EF4-FFF2-40B4-BE49-F238E27FC236}">
                  <a16:creationId xmlns:a16="http://schemas.microsoft.com/office/drawing/2014/main" id="{83EBBD77-3FF9-490A-9A19-3F1FB5423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5" y="2851941"/>
              <a:ext cx="26988" cy="31745"/>
            </a:xfrm>
            <a:custGeom>
              <a:avLst/>
              <a:gdLst>
                <a:gd name="T0" fmla="*/ 6 w 17"/>
                <a:gd name="T1" fmla="*/ 6 h 20"/>
                <a:gd name="T2" fmla="*/ 4 w 17"/>
                <a:gd name="T3" fmla="*/ 6 h 20"/>
                <a:gd name="T4" fmla="*/ 0 w 17"/>
                <a:gd name="T5" fmla="*/ 8 h 20"/>
                <a:gd name="T6" fmla="*/ 0 w 17"/>
                <a:gd name="T7" fmla="*/ 14 h 20"/>
                <a:gd name="T8" fmla="*/ 2 w 17"/>
                <a:gd name="T9" fmla="*/ 18 h 20"/>
                <a:gd name="T10" fmla="*/ 4 w 17"/>
                <a:gd name="T11" fmla="*/ 20 h 20"/>
                <a:gd name="T12" fmla="*/ 8 w 17"/>
                <a:gd name="T13" fmla="*/ 20 h 20"/>
                <a:gd name="T14" fmla="*/ 11 w 17"/>
                <a:gd name="T15" fmla="*/ 18 h 20"/>
                <a:gd name="T16" fmla="*/ 15 w 17"/>
                <a:gd name="T17" fmla="*/ 10 h 20"/>
                <a:gd name="T18" fmla="*/ 17 w 17"/>
                <a:gd name="T19" fmla="*/ 4 h 20"/>
                <a:gd name="T20" fmla="*/ 17 w 17"/>
                <a:gd name="T21" fmla="*/ 0 h 20"/>
                <a:gd name="T22" fmla="*/ 6 w 17"/>
                <a:gd name="T23" fmla="*/ 6 h 20"/>
                <a:gd name="T24" fmla="*/ 6 w 17"/>
                <a:gd name="T25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20">
                  <a:moveTo>
                    <a:pt x="6" y="6"/>
                  </a:moveTo>
                  <a:lnTo>
                    <a:pt x="4" y="6"/>
                  </a:lnTo>
                  <a:lnTo>
                    <a:pt x="0" y="8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1" y="18"/>
                  </a:lnTo>
                  <a:lnTo>
                    <a:pt x="15" y="10"/>
                  </a:lnTo>
                  <a:lnTo>
                    <a:pt x="17" y="4"/>
                  </a:lnTo>
                  <a:lnTo>
                    <a:pt x="17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41" name="Freeform 1008">
              <a:extLst>
                <a:ext uri="{FF2B5EF4-FFF2-40B4-BE49-F238E27FC236}">
                  <a16:creationId xmlns:a16="http://schemas.microsoft.com/office/drawing/2014/main" id="{17D28184-56AF-4B4F-A334-94622DD7C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402" y="2620200"/>
              <a:ext cx="101600" cy="149203"/>
            </a:xfrm>
            <a:custGeom>
              <a:avLst/>
              <a:gdLst>
                <a:gd name="T0" fmla="*/ 2 w 64"/>
                <a:gd name="T1" fmla="*/ 94 h 94"/>
                <a:gd name="T2" fmla="*/ 4 w 64"/>
                <a:gd name="T3" fmla="*/ 94 h 94"/>
                <a:gd name="T4" fmla="*/ 4 w 64"/>
                <a:gd name="T5" fmla="*/ 90 h 94"/>
                <a:gd name="T6" fmla="*/ 4 w 64"/>
                <a:gd name="T7" fmla="*/ 84 h 94"/>
                <a:gd name="T8" fmla="*/ 4 w 64"/>
                <a:gd name="T9" fmla="*/ 68 h 94"/>
                <a:gd name="T10" fmla="*/ 4 w 64"/>
                <a:gd name="T11" fmla="*/ 66 h 94"/>
                <a:gd name="T12" fmla="*/ 4 w 64"/>
                <a:gd name="T13" fmla="*/ 60 h 94"/>
                <a:gd name="T14" fmla="*/ 6 w 64"/>
                <a:gd name="T15" fmla="*/ 58 h 94"/>
                <a:gd name="T16" fmla="*/ 6 w 64"/>
                <a:gd name="T17" fmla="*/ 58 h 94"/>
                <a:gd name="T18" fmla="*/ 12 w 64"/>
                <a:gd name="T19" fmla="*/ 54 h 94"/>
                <a:gd name="T20" fmla="*/ 12 w 64"/>
                <a:gd name="T21" fmla="*/ 54 h 94"/>
                <a:gd name="T22" fmla="*/ 14 w 64"/>
                <a:gd name="T23" fmla="*/ 54 h 94"/>
                <a:gd name="T24" fmla="*/ 16 w 64"/>
                <a:gd name="T25" fmla="*/ 54 h 94"/>
                <a:gd name="T26" fmla="*/ 18 w 64"/>
                <a:gd name="T27" fmla="*/ 56 h 94"/>
                <a:gd name="T28" fmla="*/ 18 w 64"/>
                <a:gd name="T29" fmla="*/ 58 h 94"/>
                <a:gd name="T30" fmla="*/ 29 w 64"/>
                <a:gd name="T31" fmla="*/ 58 h 94"/>
                <a:gd name="T32" fmla="*/ 31 w 64"/>
                <a:gd name="T33" fmla="*/ 56 h 94"/>
                <a:gd name="T34" fmla="*/ 37 w 64"/>
                <a:gd name="T35" fmla="*/ 54 h 94"/>
                <a:gd name="T36" fmla="*/ 39 w 64"/>
                <a:gd name="T37" fmla="*/ 53 h 94"/>
                <a:gd name="T38" fmla="*/ 61 w 64"/>
                <a:gd name="T39" fmla="*/ 53 h 94"/>
                <a:gd name="T40" fmla="*/ 64 w 64"/>
                <a:gd name="T41" fmla="*/ 51 h 94"/>
                <a:gd name="T42" fmla="*/ 27 w 64"/>
                <a:gd name="T43" fmla="*/ 53 h 94"/>
                <a:gd name="T44" fmla="*/ 20 w 64"/>
                <a:gd name="T45" fmla="*/ 51 h 94"/>
                <a:gd name="T46" fmla="*/ 14 w 64"/>
                <a:gd name="T47" fmla="*/ 45 h 94"/>
                <a:gd name="T48" fmla="*/ 16 w 64"/>
                <a:gd name="T49" fmla="*/ 35 h 94"/>
                <a:gd name="T50" fmla="*/ 14 w 64"/>
                <a:gd name="T51" fmla="*/ 29 h 94"/>
                <a:gd name="T52" fmla="*/ 16 w 64"/>
                <a:gd name="T53" fmla="*/ 23 h 94"/>
                <a:gd name="T54" fmla="*/ 18 w 64"/>
                <a:gd name="T55" fmla="*/ 17 h 94"/>
                <a:gd name="T56" fmla="*/ 25 w 64"/>
                <a:gd name="T57" fmla="*/ 13 h 94"/>
                <a:gd name="T58" fmla="*/ 27 w 64"/>
                <a:gd name="T59" fmla="*/ 10 h 94"/>
                <a:gd name="T60" fmla="*/ 25 w 64"/>
                <a:gd name="T61" fmla="*/ 8 h 94"/>
                <a:gd name="T62" fmla="*/ 21 w 64"/>
                <a:gd name="T63" fmla="*/ 6 h 94"/>
                <a:gd name="T64" fmla="*/ 21 w 64"/>
                <a:gd name="T65" fmla="*/ 6 h 94"/>
                <a:gd name="T66" fmla="*/ 31 w 64"/>
                <a:gd name="T67" fmla="*/ 4 h 94"/>
                <a:gd name="T68" fmla="*/ 23 w 64"/>
                <a:gd name="T69" fmla="*/ 0 h 94"/>
                <a:gd name="T70" fmla="*/ 18 w 64"/>
                <a:gd name="T71" fmla="*/ 10 h 94"/>
                <a:gd name="T72" fmla="*/ 4 w 64"/>
                <a:gd name="T73" fmla="*/ 45 h 94"/>
                <a:gd name="T74" fmla="*/ 2 w 64"/>
                <a:gd name="T75" fmla="*/ 51 h 94"/>
                <a:gd name="T76" fmla="*/ 0 w 64"/>
                <a:gd name="T77" fmla="*/ 82 h 94"/>
                <a:gd name="T78" fmla="*/ 2 w 64"/>
                <a:gd name="T79" fmla="*/ 90 h 94"/>
                <a:gd name="T80" fmla="*/ 2 w 64"/>
                <a:gd name="T81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" h="94">
                  <a:moveTo>
                    <a:pt x="2" y="94"/>
                  </a:moveTo>
                  <a:lnTo>
                    <a:pt x="4" y="94"/>
                  </a:lnTo>
                  <a:lnTo>
                    <a:pt x="4" y="90"/>
                  </a:lnTo>
                  <a:lnTo>
                    <a:pt x="4" y="84"/>
                  </a:lnTo>
                  <a:lnTo>
                    <a:pt x="4" y="68"/>
                  </a:lnTo>
                  <a:lnTo>
                    <a:pt x="4" y="66"/>
                  </a:lnTo>
                  <a:lnTo>
                    <a:pt x="4" y="60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4" y="54"/>
                  </a:lnTo>
                  <a:lnTo>
                    <a:pt x="16" y="54"/>
                  </a:lnTo>
                  <a:lnTo>
                    <a:pt x="18" y="56"/>
                  </a:lnTo>
                  <a:lnTo>
                    <a:pt x="18" y="58"/>
                  </a:lnTo>
                  <a:lnTo>
                    <a:pt x="29" y="58"/>
                  </a:lnTo>
                  <a:lnTo>
                    <a:pt x="31" y="56"/>
                  </a:lnTo>
                  <a:lnTo>
                    <a:pt x="37" y="54"/>
                  </a:lnTo>
                  <a:lnTo>
                    <a:pt x="39" y="53"/>
                  </a:lnTo>
                  <a:lnTo>
                    <a:pt x="61" y="53"/>
                  </a:lnTo>
                  <a:lnTo>
                    <a:pt x="64" y="51"/>
                  </a:lnTo>
                  <a:lnTo>
                    <a:pt x="27" y="53"/>
                  </a:lnTo>
                  <a:lnTo>
                    <a:pt x="20" y="51"/>
                  </a:lnTo>
                  <a:lnTo>
                    <a:pt x="14" y="45"/>
                  </a:lnTo>
                  <a:lnTo>
                    <a:pt x="16" y="35"/>
                  </a:lnTo>
                  <a:lnTo>
                    <a:pt x="14" y="29"/>
                  </a:lnTo>
                  <a:lnTo>
                    <a:pt x="16" y="23"/>
                  </a:lnTo>
                  <a:lnTo>
                    <a:pt x="18" y="17"/>
                  </a:lnTo>
                  <a:lnTo>
                    <a:pt x="25" y="13"/>
                  </a:lnTo>
                  <a:lnTo>
                    <a:pt x="27" y="10"/>
                  </a:lnTo>
                  <a:lnTo>
                    <a:pt x="25" y="8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31" y="4"/>
                  </a:lnTo>
                  <a:lnTo>
                    <a:pt x="23" y="0"/>
                  </a:lnTo>
                  <a:lnTo>
                    <a:pt x="18" y="10"/>
                  </a:lnTo>
                  <a:lnTo>
                    <a:pt x="4" y="45"/>
                  </a:lnTo>
                  <a:lnTo>
                    <a:pt x="2" y="51"/>
                  </a:lnTo>
                  <a:lnTo>
                    <a:pt x="0" y="82"/>
                  </a:lnTo>
                  <a:lnTo>
                    <a:pt x="2" y="90"/>
                  </a:lnTo>
                  <a:lnTo>
                    <a:pt x="2" y="9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grpSp>
          <p:nvGrpSpPr>
            <p:cNvPr id="342" name="Group 205">
              <a:extLst>
                <a:ext uri="{FF2B5EF4-FFF2-40B4-BE49-F238E27FC236}">
                  <a16:creationId xmlns:a16="http://schemas.microsoft.com/office/drawing/2014/main" id="{02910FFB-A2DF-4959-837E-0EDF117BCDC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240407" y="2509568"/>
              <a:ext cx="2451103" cy="3542828"/>
              <a:chOff x="1412" y="1584"/>
              <a:chExt cx="1544" cy="2232"/>
            </a:xfrm>
            <a:grpFill/>
          </p:grpSpPr>
          <p:sp>
            <p:nvSpPr>
              <p:cNvPr id="1508" name="Freeform 5">
                <a:extLst>
                  <a:ext uri="{FF2B5EF4-FFF2-40B4-BE49-F238E27FC236}">
                    <a16:creationId xmlns:a16="http://schemas.microsoft.com/office/drawing/2014/main" id="{275FDEA7-1500-474B-8004-7D6855583B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6" y="2978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09" name="Freeform 6">
                <a:extLst>
                  <a:ext uri="{FF2B5EF4-FFF2-40B4-BE49-F238E27FC236}">
                    <a16:creationId xmlns:a16="http://schemas.microsoft.com/office/drawing/2014/main" id="{B377F22A-07A8-4F34-A949-E6465B948E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6" y="2980"/>
                <a:ext cx="6" cy="12"/>
              </a:xfrm>
              <a:custGeom>
                <a:avLst/>
                <a:gdLst>
                  <a:gd name="T0" fmla="*/ 4 w 6"/>
                  <a:gd name="T1" fmla="*/ 10 h 12"/>
                  <a:gd name="T2" fmla="*/ 0 w 6"/>
                  <a:gd name="T3" fmla="*/ 12 h 12"/>
                  <a:gd name="T4" fmla="*/ 4 w 6"/>
                  <a:gd name="T5" fmla="*/ 10 h 12"/>
                  <a:gd name="T6" fmla="*/ 6 w 6"/>
                  <a:gd name="T7" fmla="*/ 6 h 12"/>
                  <a:gd name="T8" fmla="*/ 2 w 6"/>
                  <a:gd name="T9" fmla="*/ 0 h 12"/>
                  <a:gd name="T10" fmla="*/ 6 w 6"/>
                  <a:gd name="T11" fmla="*/ 6 h 12"/>
                  <a:gd name="T12" fmla="*/ 4 w 6"/>
                  <a:gd name="T13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2">
                    <a:moveTo>
                      <a:pt x="4" y="10"/>
                    </a:moveTo>
                    <a:lnTo>
                      <a:pt x="0" y="12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2" y="0"/>
                    </a:lnTo>
                    <a:lnTo>
                      <a:pt x="6" y="6"/>
                    </a:lnTo>
                    <a:lnTo>
                      <a:pt x="4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10" name="Freeform 7">
                <a:extLst>
                  <a:ext uri="{FF2B5EF4-FFF2-40B4-BE49-F238E27FC236}">
                    <a16:creationId xmlns:a16="http://schemas.microsoft.com/office/drawing/2014/main" id="{D0629684-BD3F-4DD7-BD3E-54AE20D2D7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4" y="2246"/>
                <a:ext cx="0" cy="4"/>
              </a:xfrm>
              <a:custGeom>
                <a:avLst/>
                <a:gdLst>
                  <a:gd name="T0" fmla="*/ 4 h 4"/>
                  <a:gd name="T1" fmla="*/ 4 h 4"/>
                  <a:gd name="T2" fmla="*/ 0 h 4"/>
                  <a:gd name="T3" fmla="*/ 4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11" name="Freeform 8">
                <a:extLst>
                  <a:ext uri="{FF2B5EF4-FFF2-40B4-BE49-F238E27FC236}">
                    <a16:creationId xmlns:a16="http://schemas.microsoft.com/office/drawing/2014/main" id="{6A279FB9-EDD8-4B63-87EF-1E3ED765F4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8" y="2151"/>
                <a:ext cx="10" cy="25"/>
              </a:xfrm>
              <a:custGeom>
                <a:avLst/>
                <a:gdLst>
                  <a:gd name="T0" fmla="*/ 6 w 10"/>
                  <a:gd name="T1" fmla="*/ 19 h 25"/>
                  <a:gd name="T2" fmla="*/ 10 w 10"/>
                  <a:gd name="T3" fmla="*/ 23 h 25"/>
                  <a:gd name="T4" fmla="*/ 10 w 10"/>
                  <a:gd name="T5" fmla="*/ 25 h 25"/>
                  <a:gd name="T6" fmla="*/ 10 w 10"/>
                  <a:gd name="T7" fmla="*/ 23 h 25"/>
                  <a:gd name="T8" fmla="*/ 6 w 10"/>
                  <a:gd name="T9" fmla="*/ 19 h 25"/>
                  <a:gd name="T10" fmla="*/ 4 w 10"/>
                  <a:gd name="T11" fmla="*/ 11 h 25"/>
                  <a:gd name="T12" fmla="*/ 0 w 10"/>
                  <a:gd name="T13" fmla="*/ 0 h 25"/>
                  <a:gd name="T14" fmla="*/ 4 w 10"/>
                  <a:gd name="T15" fmla="*/ 11 h 25"/>
                  <a:gd name="T16" fmla="*/ 6 w 10"/>
                  <a:gd name="T17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25">
                    <a:moveTo>
                      <a:pt x="6" y="19"/>
                    </a:moveTo>
                    <a:lnTo>
                      <a:pt x="10" y="23"/>
                    </a:lnTo>
                    <a:lnTo>
                      <a:pt x="10" y="25"/>
                    </a:lnTo>
                    <a:lnTo>
                      <a:pt x="10" y="23"/>
                    </a:lnTo>
                    <a:lnTo>
                      <a:pt x="6" y="19"/>
                    </a:lnTo>
                    <a:lnTo>
                      <a:pt x="4" y="11"/>
                    </a:lnTo>
                    <a:lnTo>
                      <a:pt x="0" y="0"/>
                    </a:lnTo>
                    <a:lnTo>
                      <a:pt x="4" y="11"/>
                    </a:lnTo>
                    <a:lnTo>
                      <a:pt x="6" y="1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12" name="Freeform 9">
                <a:extLst>
                  <a:ext uri="{FF2B5EF4-FFF2-40B4-BE49-F238E27FC236}">
                    <a16:creationId xmlns:a16="http://schemas.microsoft.com/office/drawing/2014/main" id="{D64D9D55-C320-4703-BF22-3FD49AEB05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7" y="3205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13" name="Freeform 10">
                <a:extLst>
                  <a:ext uri="{FF2B5EF4-FFF2-40B4-BE49-F238E27FC236}">
                    <a16:creationId xmlns:a16="http://schemas.microsoft.com/office/drawing/2014/main" id="{3BB2278F-25CA-458E-8FB4-7DB893CC7B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" y="2030"/>
                <a:ext cx="28" cy="101"/>
              </a:xfrm>
              <a:custGeom>
                <a:avLst/>
                <a:gdLst>
                  <a:gd name="T0" fmla="*/ 4 w 28"/>
                  <a:gd name="T1" fmla="*/ 37 h 101"/>
                  <a:gd name="T2" fmla="*/ 18 w 28"/>
                  <a:gd name="T3" fmla="*/ 82 h 101"/>
                  <a:gd name="T4" fmla="*/ 26 w 28"/>
                  <a:gd name="T5" fmla="*/ 97 h 101"/>
                  <a:gd name="T6" fmla="*/ 28 w 28"/>
                  <a:gd name="T7" fmla="*/ 101 h 101"/>
                  <a:gd name="T8" fmla="*/ 26 w 28"/>
                  <a:gd name="T9" fmla="*/ 97 h 101"/>
                  <a:gd name="T10" fmla="*/ 18 w 28"/>
                  <a:gd name="T11" fmla="*/ 82 h 101"/>
                  <a:gd name="T12" fmla="*/ 4 w 28"/>
                  <a:gd name="T13" fmla="*/ 37 h 101"/>
                  <a:gd name="T14" fmla="*/ 0 w 28"/>
                  <a:gd name="T15" fmla="*/ 17 h 101"/>
                  <a:gd name="T16" fmla="*/ 0 w 28"/>
                  <a:gd name="T17" fmla="*/ 0 h 101"/>
                  <a:gd name="T18" fmla="*/ 0 w 28"/>
                  <a:gd name="T19" fmla="*/ 0 h 101"/>
                  <a:gd name="T20" fmla="*/ 0 w 28"/>
                  <a:gd name="T21" fmla="*/ 17 h 101"/>
                  <a:gd name="T22" fmla="*/ 4 w 28"/>
                  <a:gd name="T23" fmla="*/ 37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" h="101">
                    <a:moveTo>
                      <a:pt x="4" y="37"/>
                    </a:moveTo>
                    <a:lnTo>
                      <a:pt x="18" y="82"/>
                    </a:lnTo>
                    <a:lnTo>
                      <a:pt x="26" y="97"/>
                    </a:lnTo>
                    <a:lnTo>
                      <a:pt x="28" y="101"/>
                    </a:lnTo>
                    <a:lnTo>
                      <a:pt x="26" y="97"/>
                    </a:lnTo>
                    <a:lnTo>
                      <a:pt x="18" y="82"/>
                    </a:lnTo>
                    <a:lnTo>
                      <a:pt x="4" y="37"/>
                    </a:lnTo>
                    <a:lnTo>
                      <a:pt x="0" y="17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" y="3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14" name="Freeform 11">
                <a:extLst>
                  <a:ext uri="{FF2B5EF4-FFF2-40B4-BE49-F238E27FC236}">
                    <a16:creationId xmlns:a16="http://schemas.microsoft.com/office/drawing/2014/main" id="{6B2B9AE0-7E4C-4E14-A040-4E90FA9F31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5" y="3799"/>
                <a:ext cx="2" cy="11"/>
              </a:xfrm>
              <a:custGeom>
                <a:avLst/>
                <a:gdLst>
                  <a:gd name="T0" fmla="*/ 0 w 2"/>
                  <a:gd name="T1" fmla="*/ 11 h 11"/>
                  <a:gd name="T2" fmla="*/ 0 w 2"/>
                  <a:gd name="T3" fmla="*/ 11 h 11"/>
                  <a:gd name="T4" fmla="*/ 2 w 2"/>
                  <a:gd name="T5" fmla="*/ 0 h 11"/>
                  <a:gd name="T6" fmla="*/ 2 w 2"/>
                  <a:gd name="T7" fmla="*/ 0 h 11"/>
                  <a:gd name="T8" fmla="*/ 0 w 2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1">
                    <a:moveTo>
                      <a:pt x="0" y="11"/>
                    </a:moveTo>
                    <a:lnTo>
                      <a:pt x="0" y="1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15" name="Freeform 12">
                <a:extLst>
                  <a:ext uri="{FF2B5EF4-FFF2-40B4-BE49-F238E27FC236}">
                    <a16:creationId xmlns:a16="http://schemas.microsoft.com/office/drawing/2014/main" id="{29F41002-6C35-46CA-A000-52F269DF7D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8" y="3224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2 w 4"/>
                  <a:gd name="T4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16" name="Freeform 13">
                <a:extLst>
                  <a:ext uri="{FF2B5EF4-FFF2-40B4-BE49-F238E27FC236}">
                    <a16:creationId xmlns:a16="http://schemas.microsoft.com/office/drawing/2014/main" id="{7D8AC5CC-57E7-4BB5-8B7E-86CAFDED94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0" y="2264"/>
                <a:ext cx="6" cy="60"/>
              </a:xfrm>
              <a:custGeom>
                <a:avLst/>
                <a:gdLst>
                  <a:gd name="T0" fmla="*/ 4 w 6"/>
                  <a:gd name="T1" fmla="*/ 4 h 60"/>
                  <a:gd name="T2" fmla="*/ 4 w 6"/>
                  <a:gd name="T3" fmla="*/ 37 h 60"/>
                  <a:gd name="T4" fmla="*/ 6 w 6"/>
                  <a:gd name="T5" fmla="*/ 45 h 60"/>
                  <a:gd name="T6" fmla="*/ 2 w 6"/>
                  <a:gd name="T7" fmla="*/ 57 h 60"/>
                  <a:gd name="T8" fmla="*/ 0 w 6"/>
                  <a:gd name="T9" fmla="*/ 60 h 60"/>
                  <a:gd name="T10" fmla="*/ 2 w 6"/>
                  <a:gd name="T11" fmla="*/ 57 h 60"/>
                  <a:gd name="T12" fmla="*/ 6 w 6"/>
                  <a:gd name="T13" fmla="*/ 45 h 60"/>
                  <a:gd name="T14" fmla="*/ 4 w 6"/>
                  <a:gd name="T15" fmla="*/ 37 h 60"/>
                  <a:gd name="T16" fmla="*/ 4 w 6"/>
                  <a:gd name="T17" fmla="*/ 4 h 60"/>
                  <a:gd name="T18" fmla="*/ 2 w 6"/>
                  <a:gd name="T19" fmla="*/ 2 h 60"/>
                  <a:gd name="T20" fmla="*/ 2 w 6"/>
                  <a:gd name="T21" fmla="*/ 0 h 60"/>
                  <a:gd name="T22" fmla="*/ 2 w 6"/>
                  <a:gd name="T23" fmla="*/ 2 h 60"/>
                  <a:gd name="T24" fmla="*/ 4 w 6"/>
                  <a:gd name="T25" fmla="*/ 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60">
                    <a:moveTo>
                      <a:pt x="4" y="4"/>
                    </a:moveTo>
                    <a:lnTo>
                      <a:pt x="4" y="37"/>
                    </a:lnTo>
                    <a:lnTo>
                      <a:pt x="6" y="45"/>
                    </a:lnTo>
                    <a:lnTo>
                      <a:pt x="2" y="57"/>
                    </a:lnTo>
                    <a:lnTo>
                      <a:pt x="0" y="60"/>
                    </a:lnTo>
                    <a:lnTo>
                      <a:pt x="2" y="57"/>
                    </a:lnTo>
                    <a:lnTo>
                      <a:pt x="6" y="45"/>
                    </a:lnTo>
                    <a:lnTo>
                      <a:pt x="4" y="37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17" name="Freeform 14">
                <a:extLst>
                  <a:ext uri="{FF2B5EF4-FFF2-40B4-BE49-F238E27FC236}">
                    <a16:creationId xmlns:a16="http://schemas.microsoft.com/office/drawing/2014/main" id="{605C4C47-DDAC-4EF5-B47E-9B87BE4904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9" y="3594"/>
                <a:ext cx="8" cy="5"/>
              </a:xfrm>
              <a:custGeom>
                <a:avLst/>
                <a:gdLst>
                  <a:gd name="T0" fmla="*/ 4 w 8"/>
                  <a:gd name="T1" fmla="*/ 1 h 5"/>
                  <a:gd name="T2" fmla="*/ 8 w 8"/>
                  <a:gd name="T3" fmla="*/ 3 h 5"/>
                  <a:gd name="T4" fmla="*/ 8 w 8"/>
                  <a:gd name="T5" fmla="*/ 5 h 5"/>
                  <a:gd name="T6" fmla="*/ 8 w 8"/>
                  <a:gd name="T7" fmla="*/ 3 h 5"/>
                  <a:gd name="T8" fmla="*/ 4 w 8"/>
                  <a:gd name="T9" fmla="*/ 1 h 5"/>
                  <a:gd name="T10" fmla="*/ 2 w 8"/>
                  <a:gd name="T11" fmla="*/ 0 h 5"/>
                  <a:gd name="T12" fmla="*/ 0 w 8"/>
                  <a:gd name="T13" fmla="*/ 0 h 5"/>
                  <a:gd name="T14" fmla="*/ 2 w 8"/>
                  <a:gd name="T15" fmla="*/ 0 h 5"/>
                  <a:gd name="T16" fmla="*/ 4 w 8"/>
                  <a:gd name="T1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5">
                    <a:moveTo>
                      <a:pt x="4" y="1"/>
                    </a:moveTo>
                    <a:lnTo>
                      <a:pt x="8" y="3"/>
                    </a:lnTo>
                    <a:lnTo>
                      <a:pt x="8" y="5"/>
                    </a:lnTo>
                    <a:lnTo>
                      <a:pt x="8" y="3"/>
                    </a:lnTo>
                    <a:lnTo>
                      <a:pt x="4" y="1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18" name="Freeform 15">
                <a:extLst>
                  <a:ext uri="{FF2B5EF4-FFF2-40B4-BE49-F238E27FC236}">
                    <a16:creationId xmlns:a16="http://schemas.microsoft.com/office/drawing/2014/main" id="{ED8F4474-F162-4D6A-BDEF-BA31173787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9" y="3191"/>
                <a:ext cx="6" cy="4"/>
              </a:xfrm>
              <a:custGeom>
                <a:avLst/>
                <a:gdLst>
                  <a:gd name="T0" fmla="*/ 6 w 6"/>
                  <a:gd name="T1" fmla="*/ 4 h 4"/>
                  <a:gd name="T2" fmla="*/ 2 w 6"/>
                  <a:gd name="T3" fmla="*/ 0 h 4"/>
                  <a:gd name="T4" fmla="*/ 0 w 6"/>
                  <a:gd name="T5" fmla="*/ 0 h 4"/>
                  <a:gd name="T6" fmla="*/ 2 w 6"/>
                  <a:gd name="T7" fmla="*/ 0 h 4"/>
                  <a:gd name="T8" fmla="*/ 6 w 6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6" y="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19" name="Freeform 16">
                <a:extLst>
                  <a:ext uri="{FF2B5EF4-FFF2-40B4-BE49-F238E27FC236}">
                    <a16:creationId xmlns:a16="http://schemas.microsoft.com/office/drawing/2014/main" id="{A91D24B8-DE2F-43A8-8AF8-84AD7E088D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2" y="2252"/>
                <a:ext cx="2" cy="6"/>
              </a:xfrm>
              <a:custGeom>
                <a:avLst/>
                <a:gdLst>
                  <a:gd name="T0" fmla="*/ 0 w 2"/>
                  <a:gd name="T1" fmla="*/ 4 h 6"/>
                  <a:gd name="T2" fmla="*/ 0 w 2"/>
                  <a:gd name="T3" fmla="*/ 6 h 6"/>
                  <a:gd name="T4" fmla="*/ 0 w 2"/>
                  <a:gd name="T5" fmla="*/ 4 h 6"/>
                  <a:gd name="T6" fmla="*/ 2 w 2"/>
                  <a:gd name="T7" fmla="*/ 2 h 6"/>
                  <a:gd name="T8" fmla="*/ 2 w 2"/>
                  <a:gd name="T9" fmla="*/ 0 h 6"/>
                  <a:gd name="T10" fmla="*/ 2 w 2"/>
                  <a:gd name="T11" fmla="*/ 2 h 6"/>
                  <a:gd name="T12" fmla="*/ 0 w 2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0" y="4"/>
                    </a:moveTo>
                    <a:lnTo>
                      <a:pt x="0" y="6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20" name="Freeform 17">
                <a:extLst>
                  <a:ext uri="{FF2B5EF4-FFF2-40B4-BE49-F238E27FC236}">
                    <a16:creationId xmlns:a16="http://schemas.microsoft.com/office/drawing/2014/main" id="{3B01FC07-95E0-4F16-B101-224CC0D937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5" y="3185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21" name="Freeform 18">
                <a:extLst>
                  <a:ext uri="{FF2B5EF4-FFF2-40B4-BE49-F238E27FC236}">
                    <a16:creationId xmlns:a16="http://schemas.microsoft.com/office/drawing/2014/main" id="{22F0C462-FB15-4DFC-AB4E-91AE1053E9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1" y="3209"/>
                <a:ext cx="10" cy="10"/>
              </a:xfrm>
              <a:custGeom>
                <a:avLst/>
                <a:gdLst>
                  <a:gd name="T0" fmla="*/ 8 w 10"/>
                  <a:gd name="T1" fmla="*/ 0 h 10"/>
                  <a:gd name="T2" fmla="*/ 10 w 10"/>
                  <a:gd name="T3" fmla="*/ 0 h 10"/>
                  <a:gd name="T4" fmla="*/ 8 w 10"/>
                  <a:gd name="T5" fmla="*/ 0 h 10"/>
                  <a:gd name="T6" fmla="*/ 4 w 10"/>
                  <a:gd name="T7" fmla="*/ 4 h 10"/>
                  <a:gd name="T8" fmla="*/ 0 w 10"/>
                  <a:gd name="T9" fmla="*/ 10 h 10"/>
                  <a:gd name="T10" fmla="*/ 4 w 10"/>
                  <a:gd name="T11" fmla="*/ 4 h 10"/>
                  <a:gd name="T12" fmla="*/ 8 w 10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0">
                    <a:moveTo>
                      <a:pt x="8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4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22" name="Freeform 19">
                <a:extLst>
                  <a:ext uri="{FF2B5EF4-FFF2-40B4-BE49-F238E27FC236}">
                    <a16:creationId xmlns:a16="http://schemas.microsoft.com/office/drawing/2014/main" id="{1D3DEB05-C842-44CD-906A-5D8E94B74C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7" y="2963"/>
                <a:ext cx="4" cy="8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2 h 8"/>
                  <a:gd name="T4" fmla="*/ 0 w 4"/>
                  <a:gd name="T5" fmla="*/ 8 h 8"/>
                  <a:gd name="T6" fmla="*/ 4 w 4"/>
                  <a:gd name="T7" fmla="*/ 2 h 8"/>
                  <a:gd name="T8" fmla="*/ 4 w 4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4" y="0"/>
                    </a:moveTo>
                    <a:lnTo>
                      <a:pt x="4" y="2"/>
                    </a:lnTo>
                    <a:lnTo>
                      <a:pt x="0" y="8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23" name="Freeform 20">
                <a:extLst>
                  <a:ext uri="{FF2B5EF4-FFF2-40B4-BE49-F238E27FC236}">
                    <a16:creationId xmlns:a16="http://schemas.microsoft.com/office/drawing/2014/main" id="{DC3EAD60-6B3F-4C9A-8029-8EB403C249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1" y="3195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2 h 2"/>
                  <a:gd name="T4" fmla="*/ 4 w 4"/>
                  <a:gd name="T5" fmla="*/ 2 h 2"/>
                  <a:gd name="T6" fmla="*/ 2 w 4"/>
                  <a:gd name="T7" fmla="*/ 0 h 2"/>
                  <a:gd name="T8" fmla="*/ 0 w 4"/>
                  <a:gd name="T9" fmla="*/ 0 h 2"/>
                  <a:gd name="T10" fmla="*/ 2 w 4"/>
                  <a:gd name="T11" fmla="*/ 0 h 2"/>
                  <a:gd name="T12" fmla="*/ 4 w 4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24" name="Freeform 21">
                <a:extLst>
                  <a:ext uri="{FF2B5EF4-FFF2-40B4-BE49-F238E27FC236}">
                    <a16:creationId xmlns:a16="http://schemas.microsoft.com/office/drawing/2014/main" id="{E1B3E52B-5A50-46CB-823A-4D0FBBF7AE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6" y="3217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2 w 4"/>
                  <a:gd name="T4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25" name="Freeform 22">
                <a:extLst>
                  <a:ext uri="{FF2B5EF4-FFF2-40B4-BE49-F238E27FC236}">
                    <a16:creationId xmlns:a16="http://schemas.microsoft.com/office/drawing/2014/main" id="{C8215F6D-F0BF-4B6B-8C70-8F137A9F2D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3191"/>
                <a:ext cx="12" cy="2"/>
              </a:xfrm>
              <a:custGeom>
                <a:avLst/>
                <a:gdLst>
                  <a:gd name="T0" fmla="*/ 10 w 12"/>
                  <a:gd name="T1" fmla="*/ 0 h 2"/>
                  <a:gd name="T2" fmla="*/ 12 w 12"/>
                  <a:gd name="T3" fmla="*/ 0 h 2"/>
                  <a:gd name="T4" fmla="*/ 12 w 12"/>
                  <a:gd name="T5" fmla="*/ 0 h 2"/>
                  <a:gd name="T6" fmla="*/ 12 w 12"/>
                  <a:gd name="T7" fmla="*/ 0 h 2"/>
                  <a:gd name="T8" fmla="*/ 10 w 12"/>
                  <a:gd name="T9" fmla="*/ 0 h 2"/>
                  <a:gd name="T10" fmla="*/ 2 w 12"/>
                  <a:gd name="T11" fmla="*/ 0 h 2"/>
                  <a:gd name="T12" fmla="*/ 0 w 12"/>
                  <a:gd name="T13" fmla="*/ 2 h 2"/>
                  <a:gd name="T14" fmla="*/ 2 w 12"/>
                  <a:gd name="T15" fmla="*/ 0 h 2"/>
                  <a:gd name="T16" fmla="*/ 10 w 12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2">
                    <a:moveTo>
                      <a:pt x="10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26" name="Freeform 23">
                <a:extLst>
                  <a:ext uri="{FF2B5EF4-FFF2-40B4-BE49-F238E27FC236}">
                    <a16:creationId xmlns:a16="http://schemas.microsoft.com/office/drawing/2014/main" id="{D6F30C29-12B1-432A-B19D-644AF6DB6F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9" y="3191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2 h 2"/>
                  <a:gd name="T4" fmla="*/ 0 w 4"/>
                  <a:gd name="T5" fmla="*/ 2 h 2"/>
                  <a:gd name="T6" fmla="*/ 2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27" name="Freeform 24">
                <a:extLst>
                  <a:ext uri="{FF2B5EF4-FFF2-40B4-BE49-F238E27FC236}">
                    <a16:creationId xmlns:a16="http://schemas.microsoft.com/office/drawing/2014/main" id="{CC4B351A-2EDC-4565-9021-531E4CF1AE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6" y="2969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0 w 2"/>
                  <a:gd name="T3" fmla="*/ 6 h 6"/>
                  <a:gd name="T4" fmla="*/ 0 w 2"/>
                  <a:gd name="T5" fmla="*/ 6 h 6"/>
                  <a:gd name="T6" fmla="*/ 2 w 2"/>
                  <a:gd name="T7" fmla="*/ 0 h 6"/>
                  <a:gd name="T8" fmla="*/ 2 w 2"/>
                  <a:gd name="T9" fmla="*/ 0 h 6"/>
                  <a:gd name="T10" fmla="*/ 2 w 2"/>
                  <a:gd name="T11" fmla="*/ 0 h 6"/>
                  <a:gd name="T12" fmla="*/ 0 w 2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28" name="Freeform 25">
                <a:extLst>
                  <a:ext uri="{FF2B5EF4-FFF2-40B4-BE49-F238E27FC236}">
                    <a16:creationId xmlns:a16="http://schemas.microsoft.com/office/drawing/2014/main" id="{A2346345-577A-4396-968E-C64EDC863A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9" y="3537"/>
                <a:ext cx="45" cy="16"/>
              </a:xfrm>
              <a:custGeom>
                <a:avLst/>
                <a:gdLst>
                  <a:gd name="T0" fmla="*/ 25 w 45"/>
                  <a:gd name="T1" fmla="*/ 10 h 16"/>
                  <a:gd name="T2" fmla="*/ 31 w 45"/>
                  <a:gd name="T3" fmla="*/ 12 h 16"/>
                  <a:gd name="T4" fmla="*/ 33 w 45"/>
                  <a:gd name="T5" fmla="*/ 12 h 16"/>
                  <a:gd name="T6" fmla="*/ 45 w 45"/>
                  <a:gd name="T7" fmla="*/ 14 h 16"/>
                  <a:gd name="T8" fmla="*/ 45 w 45"/>
                  <a:gd name="T9" fmla="*/ 16 h 16"/>
                  <a:gd name="T10" fmla="*/ 45 w 45"/>
                  <a:gd name="T11" fmla="*/ 14 h 16"/>
                  <a:gd name="T12" fmla="*/ 33 w 45"/>
                  <a:gd name="T13" fmla="*/ 12 h 16"/>
                  <a:gd name="T14" fmla="*/ 31 w 45"/>
                  <a:gd name="T15" fmla="*/ 12 h 16"/>
                  <a:gd name="T16" fmla="*/ 25 w 45"/>
                  <a:gd name="T17" fmla="*/ 10 h 16"/>
                  <a:gd name="T18" fmla="*/ 18 w 45"/>
                  <a:gd name="T19" fmla="*/ 8 h 16"/>
                  <a:gd name="T20" fmla="*/ 12 w 45"/>
                  <a:gd name="T21" fmla="*/ 12 h 16"/>
                  <a:gd name="T22" fmla="*/ 8 w 45"/>
                  <a:gd name="T23" fmla="*/ 8 h 16"/>
                  <a:gd name="T24" fmla="*/ 4 w 45"/>
                  <a:gd name="T25" fmla="*/ 6 h 16"/>
                  <a:gd name="T26" fmla="*/ 0 w 45"/>
                  <a:gd name="T27" fmla="*/ 4 h 16"/>
                  <a:gd name="T28" fmla="*/ 0 w 45"/>
                  <a:gd name="T29" fmla="*/ 0 h 16"/>
                  <a:gd name="T30" fmla="*/ 0 w 45"/>
                  <a:gd name="T31" fmla="*/ 0 h 16"/>
                  <a:gd name="T32" fmla="*/ 0 w 45"/>
                  <a:gd name="T33" fmla="*/ 0 h 16"/>
                  <a:gd name="T34" fmla="*/ 0 w 45"/>
                  <a:gd name="T35" fmla="*/ 4 h 16"/>
                  <a:gd name="T36" fmla="*/ 4 w 45"/>
                  <a:gd name="T37" fmla="*/ 6 h 16"/>
                  <a:gd name="T38" fmla="*/ 8 w 45"/>
                  <a:gd name="T39" fmla="*/ 8 h 16"/>
                  <a:gd name="T40" fmla="*/ 12 w 45"/>
                  <a:gd name="T41" fmla="*/ 12 h 16"/>
                  <a:gd name="T42" fmla="*/ 18 w 45"/>
                  <a:gd name="T43" fmla="*/ 8 h 16"/>
                  <a:gd name="T44" fmla="*/ 25 w 45"/>
                  <a:gd name="T45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" h="16">
                    <a:moveTo>
                      <a:pt x="25" y="10"/>
                    </a:moveTo>
                    <a:lnTo>
                      <a:pt x="31" y="12"/>
                    </a:lnTo>
                    <a:lnTo>
                      <a:pt x="33" y="12"/>
                    </a:lnTo>
                    <a:lnTo>
                      <a:pt x="45" y="14"/>
                    </a:lnTo>
                    <a:lnTo>
                      <a:pt x="45" y="16"/>
                    </a:lnTo>
                    <a:lnTo>
                      <a:pt x="45" y="14"/>
                    </a:lnTo>
                    <a:lnTo>
                      <a:pt x="33" y="12"/>
                    </a:lnTo>
                    <a:lnTo>
                      <a:pt x="31" y="12"/>
                    </a:lnTo>
                    <a:lnTo>
                      <a:pt x="25" y="10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8" y="8"/>
                    </a:lnTo>
                    <a:lnTo>
                      <a:pt x="4" y="6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4" y="6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18" y="8"/>
                    </a:lnTo>
                    <a:lnTo>
                      <a:pt x="25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29" name="Freeform 26">
                <a:extLst>
                  <a:ext uri="{FF2B5EF4-FFF2-40B4-BE49-F238E27FC236}">
                    <a16:creationId xmlns:a16="http://schemas.microsoft.com/office/drawing/2014/main" id="{61E3B714-AF48-4114-93F7-DD395F5D00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7" y="3580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4 w 4"/>
                  <a:gd name="T3" fmla="*/ 2 h 2"/>
                  <a:gd name="T4" fmla="*/ 2 w 4"/>
                  <a:gd name="T5" fmla="*/ 0 h 2"/>
                  <a:gd name="T6" fmla="*/ 0 w 4"/>
                  <a:gd name="T7" fmla="*/ 0 h 2"/>
                  <a:gd name="T8" fmla="*/ 0 w 4"/>
                  <a:gd name="T9" fmla="*/ 0 h 2"/>
                  <a:gd name="T10" fmla="*/ 2 w 4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30" name="Freeform 27">
                <a:extLst>
                  <a:ext uri="{FF2B5EF4-FFF2-40B4-BE49-F238E27FC236}">
                    <a16:creationId xmlns:a16="http://schemas.microsoft.com/office/drawing/2014/main" id="{77795471-ADC2-4656-B128-03F1F5E8D2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1" y="3193"/>
                <a:ext cx="4" cy="8"/>
              </a:xfrm>
              <a:custGeom>
                <a:avLst/>
                <a:gdLst>
                  <a:gd name="T0" fmla="*/ 0 w 4"/>
                  <a:gd name="T1" fmla="*/ 4 h 8"/>
                  <a:gd name="T2" fmla="*/ 2 w 4"/>
                  <a:gd name="T3" fmla="*/ 0 h 8"/>
                  <a:gd name="T4" fmla="*/ 0 w 4"/>
                  <a:gd name="T5" fmla="*/ 4 h 8"/>
                  <a:gd name="T6" fmla="*/ 2 w 4"/>
                  <a:gd name="T7" fmla="*/ 6 h 8"/>
                  <a:gd name="T8" fmla="*/ 4 w 4"/>
                  <a:gd name="T9" fmla="*/ 8 h 8"/>
                  <a:gd name="T10" fmla="*/ 2 w 4"/>
                  <a:gd name="T11" fmla="*/ 6 h 8"/>
                  <a:gd name="T12" fmla="*/ 0 w 4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0" y="4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2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31" name="Freeform 28">
                <a:extLst>
                  <a:ext uri="{FF2B5EF4-FFF2-40B4-BE49-F238E27FC236}">
                    <a16:creationId xmlns:a16="http://schemas.microsoft.com/office/drawing/2014/main" id="{10F49703-4C11-4781-A2AB-9A7CBA65EB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2" y="3783"/>
                <a:ext cx="51" cy="33"/>
              </a:xfrm>
              <a:custGeom>
                <a:avLst/>
                <a:gdLst>
                  <a:gd name="T0" fmla="*/ 41 w 51"/>
                  <a:gd name="T1" fmla="*/ 27 h 33"/>
                  <a:gd name="T2" fmla="*/ 45 w 51"/>
                  <a:gd name="T3" fmla="*/ 25 h 33"/>
                  <a:gd name="T4" fmla="*/ 49 w 51"/>
                  <a:gd name="T5" fmla="*/ 17 h 33"/>
                  <a:gd name="T6" fmla="*/ 51 w 51"/>
                  <a:gd name="T7" fmla="*/ 14 h 33"/>
                  <a:gd name="T8" fmla="*/ 51 w 51"/>
                  <a:gd name="T9" fmla="*/ 12 h 33"/>
                  <a:gd name="T10" fmla="*/ 47 w 51"/>
                  <a:gd name="T11" fmla="*/ 8 h 33"/>
                  <a:gd name="T12" fmla="*/ 43 w 51"/>
                  <a:gd name="T13" fmla="*/ 4 h 33"/>
                  <a:gd name="T14" fmla="*/ 41 w 51"/>
                  <a:gd name="T15" fmla="*/ 2 h 33"/>
                  <a:gd name="T16" fmla="*/ 33 w 51"/>
                  <a:gd name="T17" fmla="*/ 0 h 33"/>
                  <a:gd name="T18" fmla="*/ 29 w 51"/>
                  <a:gd name="T19" fmla="*/ 0 h 33"/>
                  <a:gd name="T20" fmla="*/ 27 w 51"/>
                  <a:gd name="T21" fmla="*/ 0 h 33"/>
                  <a:gd name="T22" fmla="*/ 27 w 51"/>
                  <a:gd name="T23" fmla="*/ 4 h 33"/>
                  <a:gd name="T24" fmla="*/ 25 w 51"/>
                  <a:gd name="T25" fmla="*/ 8 h 33"/>
                  <a:gd name="T26" fmla="*/ 23 w 51"/>
                  <a:gd name="T27" fmla="*/ 12 h 33"/>
                  <a:gd name="T28" fmla="*/ 21 w 51"/>
                  <a:gd name="T29" fmla="*/ 14 h 33"/>
                  <a:gd name="T30" fmla="*/ 15 w 51"/>
                  <a:gd name="T31" fmla="*/ 19 h 33"/>
                  <a:gd name="T32" fmla="*/ 0 w 51"/>
                  <a:gd name="T33" fmla="*/ 27 h 33"/>
                  <a:gd name="T34" fmla="*/ 0 w 51"/>
                  <a:gd name="T35" fmla="*/ 29 h 33"/>
                  <a:gd name="T36" fmla="*/ 2 w 51"/>
                  <a:gd name="T37" fmla="*/ 31 h 33"/>
                  <a:gd name="T38" fmla="*/ 4 w 51"/>
                  <a:gd name="T39" fmla="*/ 33 h 33"/>
                  <a:gd name="T40" fmla="*/ 31 w 51"/>
                  <a:gd name="T41" fmla="*/ 33 h 33"/>
                  <a:gd name="T42" fmla="*/ 35 w 51"/>
                  <a:gd name="T43" fmla="*/ 31 h 33"/>
                  <a:gd name="T44" fmla="*/ 41 w 51"/>
                  <a:gd name="T45" fmla="*/ 2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1" h="33">
                    <a:moveTo>
                      <a:pt x="41" y="27"/>
                    </a:moveTo>
                    <a:lnTo>
                      <a:pt x="45" y="25"/>
                    </a:lnTo>
                    <a:lnTo>
                      <a:pt x="49" y="17"/>
                    </a:lnTo>
                    <a:lnTo>
                      <a:pt x="51" y="14"/>
                    </a:lnTo>
                    <a:lnTo>
                      <a:pt x="51" y="12"/>
                    </a:lnTo>
                    <a:lnTo>
                      <a:pt x="47" y="8"/>
                    </a:lnTo>
                    <a:lnTo>
                      <a:pt x="43" y="4"/>
                    </a:lnTo>
                    <a:lnTo>
                      <a:pt x="41" y="2"/>
                    </a:lnTo>
                    <a:lnTo>
                      <a:pt x="33" y="0"/>
                    </a:lnTo>
                    <a:lnTo>
                      <a:pt x="29" y="0"/>
                    </a:lnTo>
                    <a:lnTo>
                      <a:pt x="27" y="0"/>
                    </a:lnTo>
                    <a:lnTo>
                      <a:pt x="27" y="4"/>
                    </a:lnTo>
                    <a:lnTo>
                      <a:pt x="25" y="8"/>
                    </a:lnTo>
                    <a:lnTo>
                      <a:pt x="23" y="12"/>
                    </a:lnTo>
                    <a:lnTo>
                      <a:pt x="21" y="14"/>
                    </a:lnTo>
                    <a:lnTo>
                      <a:pt x="15" y="19"/>
                    </a:lnTo>
                    <a:lnTo>
                      <a:pt x="0" y="27"/>
                    </a:lnTo>
                    <a:lnTo>
                      <a:pt x="0" y="29"/>
                    </a:lnTo>
                    <a:lnTo>
                      <a:pt x="2" y="31"/>
                    </a:lnTo>
                    <a:lnTo>
                      <a:pt x="4" y="33"/>
                    </a:lnTo>
                    <a:lnTo>
                      <a:pt x="31" y="33"/>
                    </a:lnTo>
                    <a:lnTo>
                      <a:pt x="35" y="31"/>
                    </a:lnTo>
                    <a:lnTo>
                      <a:pt x="41" y="2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32" name="Freeform 29">
                <a:extLst>
                  <a:ext uri="{FF2B5EF4-FFF2-40B4-BE49-F238E27FC236}">
                    <a16:creationId xmlns:a16="http://schemas.microsoft.com/office/drawing/2014/main" id="{7D87DB20-0F54-47E2-825C-58D52EAF0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4" y="2221"/>
                <a:ext cx="6" cy="8"/>
              </a:xfrm>
              <a:custGeom>
                <a:avLst/>
                <a:gdLst>
                  <a:gd name="T0" fmla="*/ 6 w 6"/>
                  <a:gd name="T1" fmla="*/ 8 h 8"/>
                  <a:gd name="T2" fmla="*/ 2 w 6"/>
                  <a:gd name="T3" fmla="*/ 2 h 8"/>
                  <a:gd name="T4" fmla="*/ 0 w 6"/>
                  <a:gd name="T5" fmla="*/ 0 h 8"/>
                  <a:gd name="T6" fmla="*/ 2 w 6"/>
                  <a:gd name="T7" fmla="*/ 2 h 8"/>
                  <a:gd name="T8" fmla="*/ 6 w 6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8">
                    <a:moveTo>
                      <a:pt x="6" y="8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33" name="Freeform 30">
                <a:extLst>
                  <a:ext uri="{FF2B5EF4-FFF2-40B4-BE49-F238E27FC236}">
                    <a16:creationId xmlns:a16="http://schemas.microsoft.com/office/drawing/2014/main" id="{C8DDD79E-01FF-40FE-A85B-3651F18AD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8" y="2965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34" name="Freeform 31">
                <a:extLst>
                  <a:ext uri="{FF2B5EF4-FFF2-40B4-BE49-F238E27FC236}">
                    <a16:creationId xmlns:a16="http://schemas.microsoft.com/office/drawing/2014/main" id="{2E324EA1-D644-45BD-A5FD-D665A14CC2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2" y="2231"/>
                <a:ext cx="2" cy="6"/>
              </a:xfrm>
              <a:custGeom>
                <a:avLst/>
                <a:gdLst>
                  <a:gd name="T0" fmla="*/ 2 w 2"/>
                  <a:gd name="T1" fmla="*/ 6 h 6"/>
                  <a:gd name="T2" fmla="*/ 2 w 2"/>
                  <a:gd name="T3" fmla="*/ 6 h 6"/>
                  <a:gd name="T4" fmla="*/ 2 w 2"/>
                  <a:gd name="T5" fmla="*/ 6 h 6"/>
                  <a:gd name="T6" fmla="*/ 0 w 2"/>
                  <a:gd name="T7" fmla="*/ 4 h 6"/>
                  <a:gd name="T8" fmla="*/ 0 w 2"/>
                  <a:gd name="T9" fmla="*/ 0 h 6"/>
                  <a:gd name="T10" fmla="*/ 0 w 2"/>
                  <a:gd name="T11" fmla="*/ 4 h 6"/>
                  <a:gd name="T12" fmla="*/ 2 w 2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2" y="6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35" name="Freeform 32">
                <a:extLst>
                  <a:ext uri="{FF2B5EF4-FFF2-40B4-BE49-F238E27FC236}">
                    <a16:creationId xmlns:a16="http://schemas.microsoft.com/office/drawing/2014/main" id="{69E311AB-5E11-4CDB-8570-D5322A00AD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0" y="2180"/>
                <a:ext cx="4" cy="10"/>
              </a:xfrm>
              <a:custGeom>
                <a:avLst/>
                <a:gdLst>
                  <a:gd name="T0" fmla="*/ 2 w 4"/>
                  <a:gd name="T1" fmla="*/ 8 h 10"/>
                  <a:gd name="T2" fmla="*/ 4 w 4"/>
                  <a:gd name="T3" fmla="*/ 10 h 10"/>
                  <a:gd name="T4" fmla="*/ 2 w 4"/>
                  <a:gd name="T5" fmla="*/ 8 h 10"/>
                  <a:gd name="T6" fmla="*/ 0 w 4"/>
                  <a:gd name="T7" fmla="*/ 2 h 10"/>
                  <a:gd name="T8" fmla="*/ 0 w 4"/>
                  <a:gd name="T9" fmla="*/ 0 h 10"/>
                  <a:gd name="T10" fmla="*/ 0 w 4"/>
                  <a:gd name="T11" fmla="*/ 2 h 10"/>
                  <a:gd name="T12" fmla="*/ 2 w 4"/>
                  <a:gd name="T13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0">
                    <a:moveTo>
                      <a:pt x="2" y="8"/>
                    </a:moveTo>
                    <a:lnTo>
                      <a:pt x="4" y="10"/>
                    </a:lnTo>
                    <a:lnTo>
                      <a:pt x="2" y="8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36" name="Rectangle 33">
                <a:extLst>
                  <a:ext uri="{FF2B5EF4-FFF2-40B4-BE49-F238E27FC236}">
                    <a16:creationId xmlns:a16="http://schemas.microsoft.com/office/drawing/2014/main" id="{DF13DDFB-58E1-448D-90D1-EA3A873026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1" y="2961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37" name="Freeform 34">
                <a:extLst>
                  <a:ext uri="{FF2B5EF4-FFF2-40B4-BE49-F238E27FC236}">
                    <a16:creationId xmlns:a16="http://schemas.microsoft.com/office/drawing/2014/main" id="{D628F0DF-E141-4651-8E71-3419A56C93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3" y="3582"/>
                <a:ext cx="10" cy="12"/>
              </a:xfrm>
              <a:custGeom>
                <a:avLst/>
                <a:gdLst>
                  <a:gd name="T0" fmla="*/ 8 w 10"/>
                  <a:gd name="T1" fmla="*/ 10 h 12"/>
                  <a:gd name="T2" fmla="*/ 10 w 10"/>
                  <a:gd name="T3" fmla="*/ 12 h 12"/>
                  <a:gd name="T4" fmla="*/ 10 w 10"/>
                  <a:gd name="T5" fmla="*/ 12 h 12"/>
                  <a:gd name="T6" fmla="*/ 8 w 10"/>
                  <a:gd name="T7" fmla="*/ 10 h 12"/>
                  <a:gd name="T8" fmla="*/ 2 w 10"/>
                  <a:gd name="T9" fmla="*/ 0 h 12"/>
                  <a:gd name="T10" fmla="*/ 0 w 10"/>
                  <a:gd name="T11" fmla="*/ 0 h 12"/>
                  <a:gd name="T12" fmla="*/ 2 w 10"/>
                  <a:gd name="T13" fmla="*/ 0 h 12"/>
                  <a:gd name="T14" fmla="*/ 8 w 10"/>
                  <a:gd name="T15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2">
                    <a:moveTo>
                      <a:pt x="8" y="10"/>
                    </a:moveTo>
                    <a:lnTo>
                      <a:pt x="10" y="12"/>
                    </a:lnTo>
                    <a:lnTo>
                      <a:pt x="10" y="12"/>
                    </a:lnTo>
                    <a:lnTo>
                      <a:pt x="8" y="1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38" name="Freeform 35">
                <a:extLst>
                  <a:ext uri="{FF2B5EF4-FFF2-40B4-BE49-F238E27FC236}">
                    <a16:creationId xmlns:a16="http://schemas.microsoft.com/office/drawing/2014/main" id="{AED40C2D-037B-4E9A-8F31-7B586CF9F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2" y="3185"/>
                <a:ext cx="20" cy="8"/>
              </a:xfrm>
              <a:custGeom>
                <a:avLst/>
                <a:gdLst>
                  <a:gd name="T0" fmla="*/ 20 w 20"/>
                  <a:gd name="T1" fmla="*/ 8 h 8"/>
                  <a:gd name="T2" fmla="*/ 8 w 20"/>
                  <a:gd name="T3" fmla="*/ 4 h 8"/>
                  <a:gd name="T4" fmla="*/ 0 w 20"/>
                  <a:gd name="T5" fmla="*/ 0 h 8"/>
                  <a:gd name="T6" fmla="*/ 8 w 20"/>
                  <a:gd name="T7" fmla="*/ 4 h 8"/>
                  <a:gd name="T8" fmla="*/ 20 w 20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8">
                    <a:moveTo>
                      <a:pt x="20" y="8"/>
                    </a:moveTo>
                    <a:lnTo>
                      <a:pt x="8" y="4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2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39" name="Freeform 36">
                <a:extLst>
                  <a:ext uri="{FF2B5EF4-FFF2-40B4-BE49-F238E27FC236}">
                    <a16:creationId xmlns:a16="http://schemas.microsoft.com/office/drawing/2014/main" id="{C029270B-B266-41C3-91CD-72DE48022E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4" y="2211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0 w 2"/>
                  <a:gd name="T3" fmla="*/ 2 h 6"/>
                  <a:gd name="T4" fmla="*/ 2 w 2"/>
                  <a:gd name="T5" fmla="*/ 0 h 6"/>
                  <a:gd name="T6" fmla="*/ 0 w 2"/>
                  <a:gd name="T7" fmla="*/ 2 h 6"/>
                  <a:gd name="T8" fmla="*/ 0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40" name="Freeform 37">
                <a:extLst>
                  <a:ext uri="{FF2B5EF4-FFF2-40B4-BE49-F238E27FC236}">
                    <a16:creationId xmlns:a16="http://schemas.microsoft.com/office/drawing/2014/main" id="{1DD83E17-8E84-4DCC-B44D-AD51992F3D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6" y="2203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2 w 4"/>
                  <a:gd name="T3" fmla="*/ 4 h 6"/>
                  <a:gd name="T4" fmla="*/ 4 w 4"/>
                  <a:gd name="T5" fmla="*/ 0 h 6"/>
                  <a:gd name="T6" fmla="*/ 2 w 4"/>
                  <a:gd name="T7" fmla="*/ 4 h 6"/>
                  <a:gd name="T8" fmla="*/ 0 w 4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2" y="4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41" name="Rectangle 38">
                <a:extLst>
                  <a:ext uri="{FF2B5EF4-FFF2-40B4-BE49-F238E27FC236}">
                    <a16:creationId xmlns:a16="http://schemas.microsoft.com/office/drawing/2014/main" id="{7272F9AD-94F9-40FC-BD6F-88A48B019F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1" y="319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42" name="Freeform 39">
                <a:extLst>
                  <a:ext uri="{FF2B5EF4-FFF2-40B4-BE49-F238E27FC236}">
                    <a16:creationId xmlns:a16="http://schemas.microsoft.com/office/drawing/2014/main" id="{E14EC6EF-8495-42B3-A551-14AD64C4E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6" y="3564"/>
                <a:ext cx="11" cy="16"/>
              </a:xfrm>
              <a:custGeom>
                <a:avLst/>
                <a:gdLst>
                  <a:gd name="T0" fmla="*/ 11 w 11"/>
                  <a:gd name="T1" fmla="*/ 16 h 16"/>
                  <a:gd name="T2" fmla="*/ 9 w 11"/>
                  <a:gd name="T3" fmla="*/ 14 h 16"/>
                  <a:gd name="T4" fmla="*/ 0 w 11"/>
                  <a:gd name="T5" fmla="*/ 0 h 16"/>
                  <a:gd name="T6" fmla="*/ 9 w 11"/>
                  <a:gd name="T7" fmla="*/ 14 h 16"/>
                  <a:gd name="T8" fmla="*/ 11 w 11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6">
                    <a:moveTo>
                      <a:pt x="11" y="16"/>
                    </a:moveTo>
                    <a:lnTo>
                      <a:pt x="9" y="14"/>
                    </a:lnTo>
                    <a:lnTo>
                      <a:pt x="0" y="0"/>
                    </a:lnTo>
                    <a:lnTo>
                      <a:pt x="9" y="14"/>
                    </a:lnTo>
                    <a:lnTo>
                      <a:pt x="11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43" name="Rectangle 40">
                <a:extLst>
                  <a:ext uri="{FF2B5EF4-FFF2-40B4-BE49-F238E27FC236}">
                    <a16:creationId xmlns:a16="http://schemas.microsoft.com/office/drawing/2014/main" id="{D0821D09-1359-43F1-AC60-0ABDB96427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32" y="295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44" name="Freeform 41">
                <a:extLst>
                  <a:ext uri="{FF2B5EF4-FFF2-40B4-BE49-F238E27FC236}">
                    <a16:creationId xmlns:a16="http://schemas.microsoft.com/office/drawing/2014/main" id="{08B05553-96E3-4F9F-B0E3-1CE8EA2C12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8" y="3580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2 h 4"/>
                  <a:gd name="T4" fmla="*/ 2 w 2"/>
                  <a:gd name="T5" fmla="*/ 4 h 4"/>
                  <a:gd name="T6" fmla="*/ 0 w 2"/>
                  <a:gd name="T7" fmla="*/ 2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45" name="Freeform 42">
                <a:extLst>
                  <a:ext uri="{FF2B5EF4-FFF2-40B4-BE49-F238E27FC236}">
                    <a16:creationId xmlns:a16="http://schemas.microsoft.com/office/drawing/2014/main" id="{25211ED4-E216-40DE-8D92-B4F5510582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0" y="2961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46" name="Freeform 43">
                <a:extLst>
                  <a:ext uri="{FF2B5EF4-FFF2-40B4-BE49-F238E27FC236}">
                    <a16:creationId xmlns:a16="http://schemas.microsoft.com/office/drawing/2014/main" id="{BA05BE7C-8EBD-4F78-AFBA-E68C4CBBF7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0" y="3265"/>
                <a:ext cx="8" cy="0"/>
              </a:xfrm>
              <a:custGeom>
                <a:avLst/>
                <a:gdLst>
                  <a:gd name="T0" fmla="*/ 8 w 8"/>
                  <a:gd name="T1" fmla="*/ 6 w 8"/>
                  <a:gd name="T2" fmla="*/ 0 w 8"/>
                  <a:gd name="T3" fmla="*/ 6 w 8"/>
                  <a:gd name="T4" fmla="*/ 8 w 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8">
                    <a:moveTo>
                      <a:pt x="8" y="0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47" name="Freeform 44">
                <a:extLst>
                  <a:ext uri="{FF2B5EF4-FFF2-40B4-BE49-F238E27FC236}">
                    <a16:creationId xmlns:a16="http://schemas.microsoft.com/office/drawing/2014/main" id="{37BBC750-9E79-4A4A-9FDF-6FF8DA0F9C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8" y="3562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0 h 6"/>
                  <a:gd name="T4" fmla="*/ 0 w 2"/>
                  <a:gd name="T5" fmla="*/ 6 h 6"/>
                  <a:gd name="T6" fmla="*/ 2 w 2"/>
                  <a:gd name="T7" fmla="*/ 0 h 6"/>
                  <a:gd name="T8" fmla="*/ 2 w 2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6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48" name="Freeform 45">
                <a:extLst>
                  <a:ext uri="{FF2B5EF4-FFF2-40B4-BE49-F238E27FC236}">
                    <a16:creationId xmlns:a16="http://schemas.microsoft.com/office/drawing/2014/main" id="{045DE83F-E38A-456C-8570-D9FF69418E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4" y="1590"/>
                <a:ext cx="27" cy="24"/>
              </a:xfrm>
              <a:custGeom>
                <a:avLst/>
                <a:gdLst>
                  <a:gd name="T0" fmla="*/ 10 w 27"/>
                  <a:gd name="T1" fmla="*/ 18 h 24"/>
                  <a:gd name="T2" fmla="*/ 0 w 27"/>
                  <a:gd name="T3" fmla="*/ 0 h 24"/>
                  <a:gd name="T4" fmla="*/ 0 w 27"/>
                  <a:gd name="T5" fmla="*/ 0 h 24"/>
                  <a:gd name="T6" fmla="*/ 10 w 27"/>
                  <a:gd name="T7" fmla="*/ 18 h 24"/>
                  <a:gd name="T8" fmla="*/ 15 w 27"/>
                  <a:gd name="T9" fmla="*/ 24 h 24"/>
                  <a:gd name="T10" fmla="*/ 27 w 27"/>
                  <a:gd name="T11" fmla="*/ 24 h 24"/>
                  <a:gd name="T12" fmla="*/ 15 w 27"/>
                  <a:gd name="T13" fmla="*/ 24 h 24"/>
                  <a:gd name="T14" fmla="*/ 10 w 27"/>
                  <a:gd name="T15" fmla="*/ 1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24">
                    <a:moveTo>
                      <a:pt x="10" y="18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0" y="18"/>
                    </a:lnTo>
                    <a:lnTo>
                      <a:pt x="15" y="24"/>
                    </a:lnTo>
                    <a:lnTo>
                      <a:pt x="27" y="24"/>
                    </a:lnTo>
                    <a:lnTo>
                      <a:pt x="15" y="24"/>
                    </a:lnTo>
                    <a:lnTo>
                      <a:pt x="10" y="1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49" name="Freeform 46">
                <a:extLst>
                  <a:ext uri="{FF2B5EF4-FFF2-40B4-BE49-F238E27FC236}">
                    <a16:creationId xmlns:a16="http://schemas.microsoft.com/office/drawing/2014/main" id="{F94940BF-A13D-44CB-99E8-204A19F98F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9" y="2945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2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50" name="Freeform 47">
                <a:extLst>
                  <a:ext uri="{FF2B5EF4-FFF2-40B4-BE49-F238E27FC236}">
                    <a16:creationId xmlns:a16="http://schemas.microsoft.com/office/drawing/2014/main" id="{3C291047-1C7D-4F3D-B4ED-AA05D348E2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9" y="3256"/>
                <a:ext cx="0" cy="6"/>
              </a:xfrm>
              <a:custGeom>
                <a:avLst/>
                <a:gdLst>
                  <a:gd name="T0" fmla="*/ 4 h 6"/>
                  <a:gd name="T1" fmla="*/ 4 h 6"/>
                  <a:gd name="T2" fmla="*/ 6 h 6"/>
                  <a:gd name="T3" fmla="*/ 4 h 6"/>
                  <a:gd name="T4" fmla="*/ 4 h 6"/>
                  <a:gd name="T5" fmla="*/ 2 h 6"/>
                  <a:gd name="T6" fmla="*/ 0 h 6"/>
                  <a:gd name="T7" fmla="*/ 2 h 6"/>
                  <a:gd name="T8" fmla="*/ 4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6">
                    <a:moveTo>
                      <a:pt x="0" y="4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51" name="Freeform 48">
                <a:extLst>
                  <a:ext uri="{FF2B5EF4-FFF2-40B4-BE49-F238E27FC236}">
                    <a16:creationId xmlns:a16="http://schemas.microsoft.com/office/drawing/2014/main" id="{2FF67E8D-E11F-45C7-8E46-3B8C329C8C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6" y="1584"/>
                <a:ext cx="8" cy="6"/>
              </a:xfrm>
              <a:custGeom>
                <a:avLst/>
                <a:gdLst>
                  <a:gd name="T0" fmla="*/ 0 w 8"/>
                  <a:gd name="T1" fmla="*/ 2 h 6"/>
                  <a:gd name="T2" fmla="*/ 2 w 8"/>
                  <a:gd name="T3" fmla="*/ 0 h 6"/>
                  <a:gd name="T4" fmla="*/ 8 w 8"/>
                  <a:gd name="T5" fmla="*/ 6 h 6"/>
                  <a:gd name="T6" fmla="*/ 2 w 8"/>
                  <a:gd name="T7" fmla="*/ 0 h 6"/>
                  <a:gd name="T8" fmla="*/ 0 w 8"/>
                  <a:gd name="T9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6">
                    <a:moveTo>
                      <a:pt x="0" y="2"/>
                    </a:moveTo>
                    <a:lnTo>
                      <a:pt x="2" y="0"/>
                    </a:lnTo>
                    <a:lnTo>
                      <a:pt x="8" y="6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52" name="Freeform 49">
                <a:extLst>
                  <a:ext uri="{FF2B5EF4-FFF2-40B4-BE49-F238E27FC236}">
                    <a16:creationId xmlns:a16="http://schemas.microsoft.com/office/drawing/2014/main" id="{82CF4F24-3DE2-40D2-80D0-E3BA3E2DA6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3252"/>
                <a:ext cx="6" cy="4"/>
              </a:xfrm>
              <a:custGeom>
                <a:avLst/>
                <a:gdLst>
                  <a:gd name="T0" fmla="*/ 4 w 6"/>
                  <a:gd name="T1" fmla="*/ 4 h 4"/>
                  <a:gd name="T2" fmla="*/ 6 w 6"/>
                  <a:gd name="T3" fmla="*/ 4 h 4"/>
                  <a:gd name="T4" fmla="*/ 4 w 6"/>
                  <a:gd name="T5" fmla="*/ 4 h 4"/>
                  <a:gd name="T6" fmla="*/ 2 w 6"/>
                  <a:gd name="T7" fmla="*/ 2 h 4"/>
                  <a:gd name="T8" fmla="*/ 0 w 6"/>
                  <a:gd name="T9" fmla="*/ 0 h 4"/>
                  <a:gd name="T10" fmla="*/ 2 w 6"/>
                  <a:gd name="T11" fmla="*/ 2 h 4"/>
                  <a:gd name="T12" fmla="*/ 4 w 6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4" y="4"/>
                    </a:moveTo>
                    <a:lnTo>
                      <a:pt x="6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53" name="Rectangle 50">
                <a:extLst>
                  <a:ext uri="{FF2B5EF4-FFF2-40B4-BE49-F238E27FC236}">
                    <a16:creationId xmlns:a16="http://schemas.microsoft.com/office/drawing/2014/main" id="{96FDC56F-8C3C-429D-9655-C4D9368452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52" y="297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54" name="Freeform 51">
                <a:extLst>
                  <a:ext uri="{FF2B5EF4-FFF2-40B4-BE49-F238E27FC236}">
                    <a16:creationId xmlns:a16="http://schemas.microsoft.com/office/drawing/2014/main" id="{E6FEC709-D62D-4507-8245-070E954989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9" y="3262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3 w 3"/>
                  <a:gd name="T3" fmla="*/ 2 h 2"/>
                  <a:gd name="T4" fmla="*/ 0 w 3"/>
                  <a:gd name="T5" fmla="*/ 2 h 2"/>
                  <a:gd name="T6" fmla="*/ 0 w 3"/>
                  <a:gd name="T7" fmla="*/ 0 h 2"/>
                  <a:gd name="T8" fmla="*/ 0 w 3"/>
                  <a:gd name="T9" fmla="*/ 0 h 2"/>
                  <a:gd name="T10" fmla="*/ 0 w 3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3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55" name="Freeform 52">
                <a:extLst>
                  <a:ext uri="{FF2B5EF4-FFF2-40B4-BE49-F238E27FC236}">
                    <a16:creationId xmlns:a16="http://schemas.microsoft.com/office/drawing/2014/main" id="{1E8A24EB-C460-484D-818F-AE35DFC99F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6" y="3588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4 h 4"/>
                  <a:gd name="T4" fmla="*/ 4 w 4"/>
                  <a:gd name="T5" fmla="*/ 4 h 4"/>
                  <a:gd name="T6" fmla="*/ 0 w 4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56" name="Freeform 53">
                <a:extLst>
                  <a:ext uri="{FF2B5EF4-FFF2-40B4-BE49-F238E27FC236}">
                    <a16:creationId xmlns:a16="http://schemas.microsoft.com/office/drawing/2014/main" id="{B539299D-DB7F-4F80-A74D-1DE7B98B00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8" y="3533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2 w 6"/>
                  <a:gd name="T3" fmla="*/ 2 h 2"/>
                  <a:gd name="T4" fmla="*/ 0 w 6"/>
                  <a:gd name="T5" fmla="*/ 2 h 2"/>
                  <a:gd name="T6" fmla="*/ 2 w 6"/>
                  <a:gd name="T7" fmla="*/ 2 h 2"/>
                  <a:gd name="T8" fmla="*/ 6 w 6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57" name="Freeform 54">
                <a:extLst>
                  <a:ext uri="{FF2B5EF4-FFF2-40B4-BE49-F238E27FC236}">
                    <a16:creationId xmlns:a16="http://schemas.microsoft.com/office/drawing/2014/main" id="{DB2FFF28-FDBC-43F9-BEBE-FA2FC70F89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4" y="1633"/>
                <a:ext cx="41" cy="14"/>
              </a:xfrm>
              <a:custGeom>
                <a:avLst/>
                <a:gdLst>
                  <a:gd name="T0" fmla="*/ 39 w 41"/>
                  <a:gd name="T1" fmla="*/ 10 h 14"/>
                  <a:gd name="T2" fmla="*/ 35 w 41"/>
                  <a:gd name="T3" fmla="*/ 10 h 14"/>
                  <a:gd name="T4" fmla="*/ 32 w 41"/>
                  <a:gd name="T5" fmla="*/ 14 h 14"/>
                  <a:gd name="T6" fmla="*/ 30 w 41"/>
                  <a:gd name="T7" fmla="*/ 14 h 14"/>
                  <a:gd name="T8" fmla="*/ 28 w 41"/>
                  <a:gd name="T9" fmla="*/ 14 h 14"/>
                  <a:gd name="T10" fmla="*/ 24 w 41"/>
                  <a:gd name="T11" fmla="*/ 10 h 14"/>
                  <a:gd name="T12" fmla="*/ 18 w 41"/>
                  <a:gd name="T13" fmla="*/ 10 h 14"/>
                  <a:gd name="T14" fmla="*/ 14 w 41"/>
                  <a:gd name="T15" fmla="*/ 8 h 14"/>
                  <a:gd name="T16" fmla="*/ 8 w 41"/>
                  <a:gd name="T17" fmla="*/ 2 h 14"/>
                  <a:gd name="T18" fmla="*/ 0 w 41"/>
                  <a:gd name="T19" fmla="*/ 0 h 14"/>
                  <a:gd name="T20" fmla="*/ 8 w 41"/>
                  <a:gd name="T21" fmla="*/ 2 h 14"/>
                  <a:gd name="T22" fmla="*/ 14 w 41"/>
                  <a:gd name="T23" fmla="*/ 8 h 14"/>
                  <a:gd name="T24" fmla="*/ 18 w 41"/>
                  <a:gd name="T25" fmla="*/ 10 h 14"/>
                  <a:gd name="T26" fmla="*/ 24 w 41"/>
                  <a:gd name="T27" fmla="*/ 10 h 14"/>
                  <a:gd name="T28" fmla="*/ 28 w 41"/>
                  <a:gd name="T29" fmla="*/ 14 h 14"/>
                  <a:gd name="T30" fmla="*/ 30 w 41"/>
                  <a:gd name="T31" fmla="*/ 14 h 14"/>
                  <a:gd name="T32" fmla="*/ 32 w 41"/>
                  <a:gd name="T33" fmla="*/ 14 h 14"/>
                  <a:gd name="T34" fmla="*/ 35 w 41"/>
                  <a:gd name="T35" fmla="*/ 10 h 14"/>
                  <a:gd name="T36" fmla="*/ 39 w 41"/>
                  <a:gd name="T37" fmla="*/ 10 h 14"/>
                  <a:gd name="T38" fmla="*/ 41 w 41"/>
                  <a:gd name="T39" fmla="*/ 12 h 14"/>
                  <a:gd name="T40" fmla="*/ 41 w 41"/>
                  <a:gd name="T41" fmla="*/ 12 h 14"/>
                  <a:gd name="T42" fmla="*/ 41 w 41"/>
                  <a:gd name="T43" fmla="*/ 12 h 14"/>
                  <a:gd name="T44" fmla="*/ 39 w 41"/>
                  <a:gd name="T45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1" h="14">
                    <a:moveTo>
                      <a:pt x="39" y="10"/>
                    </a:moveTo>
                    <a:lnTo>
                      <a:pt x="35" y="10"/>
                    </a:lnTo>
                    <a:lnTo>
                      <a:pt x="32" y="14"/>
                    </a:lnTo>
                    <a:lnTo>
                      <a:pt x="30" y="14"/>
                    </a:lnTo>
                    <a:lnTo>
                      <a:pt x="28" y="14"/>
                    </a:lnTo>
                    <a:lnTo>
                      <a:pt x="24" y="10"/>
                    </a:lnTo>
                    <a:lnTo>
                      <a:pt x="18" y="10"/>
                    </a:lnTo>
                    <a:lnTo>
                      <a:pt x="14" y="8"/>
                    </a:lnTo>
                    <a:lnTo>
                      <a:pt x="8" y="2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4" y="8"/>
                    </a:lnTo>
                    <a:lnTo>
                      <a:pt x="18" y="10"/>
                    </a:lnTo>
                    <a:lnTo>
                      <a:pt x="24" y="10"/>
                    </a:lnTo>
                    <a:lnTo>
                      <a:pt x="28" y="14"/>
                    </a:lnTo>
                    <a:lnTo>
                      <a:pt x="30" y="14"/>
                    </a:lnTo>
                    <a:lnTo>
                      <a:pt x="32" y="14"/>
                    </a:lnTo>
                    <a:lnTo>
                      <a:pt x="35" y="10"/>
                    </a:lnTo>
                    <a:lnTo>
                      <a:pt x="39" y="10"/>
                    </a:lnTo>
                    <a:lnTo>
                      <a:pt x="41" y="12"/>
                    </a:lnTo>
                    <a:lnTo>
                      <a:pt x="41" y="12"/>
                    </a:lnTo>
                    <a:lnTo>
                      <a:pt x="41" y="12"/>
                    </a:lnTo>
                    <a:lnTo>
                      <a:pt x="39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58" name="Freeform 55">
                <a:extLst>
                  <a:ext uri="{FF2B5EF4-FFF2-40B4-BE49-F238E27FC236}">
                    <a16:creationId xmlns:a16="http://schemas.microsoft.com/office/drawing/2014/main" id="{D17C3867-2400-4EC2-9941-8736D363B2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8" y="3554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4 h 4"/>
                  <a:gd name="T4" fmla="*/ 0 w 2"/>
                  <a:gd name="T5" fmla="*/ 4 h 4"/>
                  <a:gd name="T6" fmla="*/ 0 w 2"/>
                  <a:gd name="T7" fmla="*/ 4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59" name="Freeform 56">
                <a:extLst>
                  <a:ext uri="{FF2B5EF4-FFF2-40B4-BE49-F238E27FC236}">
                    <a16:creationId xmlns:a16="http://schemas.microsoft.com/office/drawing/2014/main" id="{75C4B03A-AFA8-4555-A8F3-820716104C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2" y="3267"/>
                <a:ext cx="12" cy="10"/>
              </a:xfrm>
              <a:custGeom>
                <a:avLst/>
                <a:gdLst>
                  <a:gd name="T0" fmla="*/ 12 w 12"/>
                  <a:gd name="T1" fmla="*/ 10 h 10"/>
                  <a:gd name="T2" fmla="*/ 6 w 12"/>
                  <a:gd name="T3" fmla="*/ 8 h 10"/>
                  <a:gd name="T4" fmla="*/ 0 w 12"/>
                  <a:gd name="T5" fmla="*/ 0 h 10"/>
                  <a:gd name="T6" fmla="*/ 6 w 12"/>
                  <a:gd name="T7" fmla="*/ 8 h 10"/>
                  <a:gd name="T8" fmla="*/ 12 w 12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0">
                    <a:moveTo>
                      <a:pt x="12" y="10"/>
                    </a:moveTo>
                    <a:lnTo>
                      <a:pt x="6" y="8"/>
                    </a:lnTo>
                    <a:lnTo>
                      <a:pt x="0" y="0"/>
                    </a:lnTo>
                    <a:lnTo>
                      <a:pt x="6" y="8"/>
                    </a:lnTo>
                    <a:lnTo>
                      <a:pt x="1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60" name="Freeform 57">
                <a:extLst>
                  <a:ext uri="{FF2B5EF4-FFF2-40B4-BE49-F238E27FC236}">
                    <a16:creationId xmlns:a16="http://schemas.microsoft.com/office/drawing/2014/main" id="{5C93A686-29F0-4051-9D93-25BE5444A0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9" y="2936"/>
                <a:ext cx="18" cy="7"/>
              </a:xfrm>
              <a:custGeom>
                <a:avLst/>
                <a:gdLst>
                  <a:gd name="T0" fmla="*/ 14 w 18"/>
                  <a:gd name="T1" fmla="*/ 3 h 7"/>
                  <a:gd name="T2" fmla="*/ 18 w 18"/>
                  <a:gd name="T3" fmla="*/ 7 h 7"/>
                  <a:gd name="T4" fmla="*/ 18 w 18"/>
                  <a:gd name="T5" fmla="*/ 7 h 7"/>
                  <a:gd name="T6" fmla="*/ 14 w 18"/>
                  <a:gd name="T7" fmla="*/ 3 h 7"/>
                  <a:gd name="T8" fmla="*/ 12 w 18"/>
                  <a:gd name="T9" fmla="*/ 1 h 7"/>
                  <a:gd name="T10" fmla="*/ 0 w 18"/>
                  <a:gd name="T11" fmla="*/ 0 h 7"/>
                  <a:gd name="T12" fmla="*/ 12 w 18"/>
                  <a:gd name="T13" fmla="*/ 1 h 7"/>
                  <a:gd name="T14" fmla="*/ 14 w 18"/>
                  <a:gd name="T1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7">
                    <a:moveTo>
                      <a:pt x="14" y="3"/>
                    </a:moveTo>
                    <a:lnTo>
                      <a:pt x="18" y="7"/>
                    </a:lnTo>
                    <a:lnTo>
                      <a:pt x="18" y="7"/>
                    </a:lnTo>
                    <a:lnTo>
                      <a:pt x="14" y="3"/>
                    </a:lnTo>
                    <a:lnTo>
                      <a:pt x="12" y="1"/>
                    </a:lnTo>
                    <a:lnTo>
                      <a:pt x="0" y="0"/>
                    </a:lnTo>
                    <a:lnTo>
                      <a:pt x="12" y="1"/>
                    </a:lnTo>
                    <a:lnTo>
                      <a:pt x="14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61" name="Freeform 58">
                <a:extLst>
                  <a:ext uri="{FF2B5EF4-FFF2-40B4-BE49-F238E27FC236}">
                    <a16:creationId xmlns:a16="http://schemas.microsoft.com/office/drawing/2014/main" id="{F401E4D4-5A16-43F9-93E4-0A033980A8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4" y="3592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6 w 6"/>
                  <a:gd name="T3" fmla="*/ 0 h 2"/>
                  <a:gd name="T4" fmla="*/ 6 w 6"/>
                  <a:gd name="T5" fmla="*/ 0 h 2"/>
                  <a:gd name="T6" fmla="*/ 2 w 6"/>
                  <a:gd name="T7" fmla="*/ 2 h 2"/>
                  <a:gd name="T8" fmla="*/ 0 w 6"/>
                  <a:gd name="T9" fmla="*/ 2 h 2"/>
                  <a:gd name="T10" fmla="*/ 2 w 6"/>
                  <a:gd name="T11" fmla="*/ 2 h 2"/>
                  <a:gd name="T12" fmla="*/ 6 w 6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62" name="Freeform 59">
                <a:extLst>
                  <a:ext uri="{FF2B5EF4-FFF2-40B4-BE49-F238E27FC236}">
                    <a16:creationId xmlns:a16="http://schemas.microsoft.com/office/drawing/2014/main" id="{E331CF6A-B8EB-4950-BF01-371A9CD6C6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2932"/>
                <a:ext cx="3" cy="2"/>
              </a:xfrm>
              <a:custGeom>
                <a:avLst/>
                <a:gdLst>
                  <a:gd name="T0" fmla="*/ 3 w 3"/>
                  <a:gd name="T1" fmla="*/ 2 h 2"/>
                  <a:gd name="T2" fmla="*/ 1 w 3"/>
                  <a:gd name="T3" fmla="*/ 0 h 2"/>
                  <a:gd name="T4" fmla="*/ 0 w 3"/>
                  <a:gd name="T5" fmla="*/ 0 h 2"/>
                  <a:gd name="T6" fmla="*/ 1 w 3"/>
                  <a:gd name="T7" fmla="*/ 0 h 2"/>
                  <a:gd name="T8" fmla="*/ 3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63" name="Freeform 60">
                <a:extLst>
                  <a:ext uri="{FF2B5EF4-FFF2-40B4-BE49-F238E27FC236}">
                    <a16:creationId xmlns:a16="http://schemas.microsoft.com/office/drawing/2014/main" id="{B6D44A25-81E5-4AF6-A1FF-55D0FCA2A5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3" y="2598"/>
                <a:ext cx="2" cy="4"/>
              </a:xfrm>
              <a:custGeom>
                <a:avLst/>
                <a:gdLst>
                  <a:gd name="T0" fmla="*/ 2 w 2"/>
                  <a:gd name="T1" fmla="*/ 2 h 4"/>
                  <a:gd name="T2" fmla="*/ 0 w 2"/>
                  <a:gd name="T3" fmla="*/ 4 h 4"/>
                  <a:gd name="T4" fmla="*/ 2 w 2"/>
                  <a:gd name="T5" fmla="*/ 2 h 4"/>
                  <a:gd name="T6" fmla="*/ 0 w 2"/>
                  <a:gd name="T7" fmla="*/ 2 h 4"/>
                  <a:gd name="T8" fmla="*/ 0 w 2"/>
                  <a:gd name="T9" fmla="*/ 0 h 4"/>
                  <a:gd name="T10" fmla="*/ 0 w 2"/>
                  <a:gd name="T11" fmla="*/ 2 h 4"/>
                  <a:gd name="T12" fmla="*/ 2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64" name="Freeform 61">
                <a:extLst>
                  <a:ext uri="{FF2B5EF4-FFF2-40B4-BE49-F238E27FC236}">
                    <a16:creationId xmlns:a16="http://schemas.microsoft.com/office/drawing/2014/main" id="{BE35DB1D-3BA3-497D-81A9-D90966D859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1" y="2943"/>
                <a:ext cx="6" cy="0"/>
              </a:xfrm>
              <a:custGeom>
                <a:avLst/>
                <a:gdLst>
                  <a:gd name="T0" fmla="*/ 6 w 6"/>
                  <a:gd name="T1" fmla="*/ 6 w 6"/>
                  <a:gd name="T2" fmla="*/ 6 w 6"/>
                  <a:gd name="T3" fmla="*/ 0 w 6"/>
                  <a:gd name="T4" fmla="*/ 0 w 6"/>
                  <a:gd name="T5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65" name="Freeform 62">
                <a:extLst>
                  <a:ext uri="{FF2B5EF4-FFF2-40B4-BE49-F238E27FC236}">
                    <a16:creationId xmlns:a16="http://schemas.microsoft.com/office/drawing/2014/main" id="{96F8CCCD-9F81-406D-8027-A93109F116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0" y="3553"/>
                <a:ext cx="6" cy="1"/>
              </a:xfrm>
              <a:custGeom>
                <a:avLst/>
                <a:gdLst>
                  <a:gd name="T0" fmla="*/ 4 w 6"/>
                  <a:gd name="T1" fmla="*/ 1 h 1"/>
                  <a:gd name="T2" fmla="*/ 6 w 6"/>
                  <a:gd name="T3" fmla="*/ 0 h 1"/>
                  <a:gd name="T4" fmla="*/ 4 w 6"/>
                  <a:gd name="T5" fmla="*/ 1 h 1"/>
                  <a:gd name="T6" fmla="*/ 2 w 6"/>
                  <a:gd name="T7" fmla="*/ 1 h 1"/>
                  <a:gd name="T8" fmla="*/ 0 w 6"/>
                  <a:gd name="T9" fmla="*/ 1 h 1"/>
                  <a:gd name="T10" fmla="*/ 0 w 6"/>
                  <a:gd name="T11" fmla="*/ 1 h 1"/>
                  <a:gd name="T12" fmla="*/ 2 w 6"/>
                  <a:gd name="T13" fmla="*/ 1 h 1"/>
                  <a:gd name="T14" fmla="*/ 4 w 6"/>
                  <a:gd name="T1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">
                    <a:moveTo>
                      <a:pt x="4" y="1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66" name="Freeform 63">
                <a:extLst>
                  <a:ext uri="{FF2B5EF4-FFF2-40B4-BE49-F238E27FC236}">
                    <a16:creationId xmlns:a16="http://schemas.microsoft.com/office/drawing/2014/main" id="{FA45825C-9A8F-43B4-9BBE-AC34B82B7C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7" y="294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67" name="Freeform 64">
                <a:extLst>
                  <a:ext uri="{FF2B5EF4-FFF2-40B4-BE49-F238E27FC236}">
                    <a16:creationId xmlns:a16="http://schemas.microsoft.com/office/drawing/2014/main" id="{5D10A365-A04A-4317-BACE-7D3BFBEA3C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0" y="3537"/>
                <a:ext cx="22" cy="8"/>
              </a:xfrm>
              <a:custGeom>
                <a:avLst/>
                <a:gdLst>
                  <a:gd name="T0" fmla="*/ 4 w 22"/>
                  <a:gd name="T1" fmla="*/ 4 h 8"/>
                  <a:gd name="T2" fmla="*/ 20 w 22"/>
                  <a:gd name="T3" fmla="*/ 0 h 8"/>
                  <a:gd name="T4" fmla="*/ 22 w 22"/>
                  <a:gd name="T5" fmla="*/ 0 h 8"/>
                  <a:gd name="T6" fmla="*/ 20 w 22"/>
                  <a:gd name="T7" fmla="*/ 0 h 8"/>
                  <a:gd name="T8" fmla="*/ 4 w 22"/>
                  <a:gd name="T9" fmla="*/ 4 h 8"/>
                  <a:gd name="T10" fmla="*/ 2 w 22"/>
                  <a:gd name="T11" fmla="*/ 6 h 8"/>
                  <a:gd name="T12" fmla="*/ 0 w 22"/>
                  <a:gd name="T13" fmla="*/ 8 h 8"/>
                  <a:gd name="T14" fmla="*/ 2 w 22"/>
                  <a:gd name="T15" fmla="*/ 6 h 8"/>
                  <a:gd name="T16" fmla="*/ 4 w 22"/>
                  <a:gd name="T1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8">
                    <a:moveTo>
                      <a:pt x="4" y="4"/>
                    </a:moveTo>
                    <a:lnTo>
                      <a:pt x="20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68" name="Freeform 65">
                <a:extLst>
                  <a:ext uri="{FF2B5EF4-FFF2-40B4-BE49-F238E27FC236}">
                    <a16:creationId xmlns:a16="http://schemas.microsoft.com/office/drawing/2014/main" id="{C72EED5D-41EA-49AD-82BC-B988A1C01D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" y="1616"/>
                <a:ext cx="10" cy="6"/>
              </a:xfrm>
              <a:custGeom>
                <a:avLst/>
                <a:gdLst>
                  <a:gd name="T0" fmla="*/ 0 w 10"/>
                  <a:gd name="T1" fmla="*/ 0 h 6"/>
                  <a:gd name="T2" fmla="*/ 4 w 10"/>
                  <a:gd name="T3" fmla="*/ 2 h 6"/>
                  <a:gd name="T4" fmla="*/ 10 w 10"/>
                  <a:gd name="T5" fmla="*/ 6 h 6"/>
                  <a:gd name="T6" fmla="*/ 4 w 10"/>
                  <a:gd name="T7" fmla="*/ 2 h 6"/>
                  <a:gd name="T8" fmla="*/ 0 w 10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6">
                    <a:moveTo>
                      <a:pt x="0" y="0"/>
                    </a:moveTo>
                    <a:lnTo>
                      <a:pt x="4" y="2"/>
                    </a:lnTo>
                    <a:lnTo>
                      <a:pt x="10" y="6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69" name="Freeform 66">
                <a:extLst>
                  <a:ext uri="{FF2B5EF4-FFF2-40B4-BE49-F238E27FC236}">
                    <a16:creationId xmlns:a16="http://schemas.microsoft.com/office/drawing/2014/main" id="{8BA1B8A3-F729-4D16-A71A-4AD70B76EE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9" y="3533"/>
                <a:ext cx="24" cy="2"/>
              </a:xfrm>
              <a:custGeom>
                <a:avLst/>
                <a:gdLst>
                  <a:gd name="T0" fmla="*/ 6 w 24"/>
                  <a:gd name="T1" fmla="*/ 2 h 2"/>
                  <a:gd name="T2" fmla="*/ 8 w 24"/>
                  <a:gd name="T3" fmla="*/ 2 h 2"/>
                  <a:gd name="T4" fmla="*/ 18 w 24"/>
                  <a:gd name="T5" fmla="*/ 0 h 2"/>
                  <a:gd name="T6" fmla="*/ 24 w 24"/>
                  <a:gd name="T7" fmla="*/ 0 h 2"/>
                  <a:gd name="T8" fmla="*/ 18 w 24"/>
                  <a:gd name="T9" fmla="*/ 0 h 2"/>
                  <a:gd name="T10" fmla="*/ 8 w 24"/>
                  <a:gd name="T11" fmla="*/ 2 h 2"/>
                  <a:gd name="T12" fmla="*/ 6 w 24"/>
                  <a:gd name="T13" fmla="*/ 2 h 2"/>
                  <a:gd name="T14" fmla="*/ 2 w 24"/>
                  <a:gd name="T15" fmla="*/ 0 h 2"/>
                  <a:gd name="T16" fmla="*/ 0 w 24"/>
                  <a:gd name="T17" fmla="*/ 2 h 2"/>
                  <a:gd name="T18" fmla="*/ 2 w 24"/>
                  <a:gd name="T19" fmla="*/ 0 h 2"/>
                  <a:gd name="T20" fmla="*/ 6 w 24"/>
                  <a:gd name="T2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2">
                    <a:moveTo>
                      <a:pt x="6" y="2"/>
                    </a:moveTo>
                    <a:lnTo>
                      <a:pt x="8" y="2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70" name="Freeform 67">
                <a:extLst>
                  <a:ext uri="{FF2B5EF4-FFF2-40B4-BE49-F238E27FC236}">
                    <a16:creationId xmlns:a16="http://schemas.microsoft.com/office/drawing/2014/main" id="{5219528A-A000-4902-8361-165D445FAA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3" y="3199"/>
                <a:ext cx="3" cy="4"/>
              </a:xfrm>
              <a:custGeom>
                <a:avLst/>
                <a:gdLst>
                  <a:gd name="T0" fmla="*/ 3 w 3"/>
                  <a:gd name="T1" fmla="*/ 4 h 4"/>
                  <a:gd name="T2" fmla="*/ 2 w 3"/>
                  <a:gd name="T3" fmla="*/ 0 h 4"/>
                  <a:gd name="T4" fmla="*/ 0 w 3"/>
                  <a:gd name="T5" fmla="*/ 0 h 4"/>
                  <a:gd name="T6" fmla="*/ 2 w 3"/>
                  <a:gd name="T7" fmla="*/ 0 h 4"/>
                  <a:gd name="T8" fmla="*/ 3 w 3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71" name="Freeform 68">
                <a:extLst>
                  <a:ext uri="{FF2B5EF4-FFF2-40B4-BE49-F238E27FC236}">
                    <a16:creationId xmlns:a16="http://schemas.microsoft.com/office/drawing/2014/main" id="{AB086E40-4EB1-4E5B-A9F5-B286FDCA7C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5" y="3178"/>
                <a:ext cx="1" cy="5"/>
              </a:xfrm>
              <a:custGeom>
                <a:avLst/>
                <a:gdLst>
                  <a:gd name="T0" fmla="*/ 1 w 1"/>
                  <a:gd name="T1" fmla="*/ 4 h 5"/>
                  <a:gd name="T2" fmla="*/ 1 w 1"/>
                  <a:gd name="T3" fmla="*/ 4 h 5"/>
                  <a:gd name="T4" fmla="*/ 0 w 1"/>
                  <a:gd name="T5" fmla="*/ 4 h 5"/>
                  <a:gd name="T6" fmla="*/ 1 w 1"/>
                  <a:gd name="T7" fmla="*/ 0 h 5"/>
                  <a:gd name="T8" fmla="*/ 0 w 1"/>
                  <a:gd name="T9" fmla="*/ 4 h 5"/>
                  <a:gd name="T10" fmla="*/ 1 w 1"/>
                  <a:gd name="T11" fmla="*/ 4 h 5"/>
                  <a:gd name="T12" fmla="*/ 1 w 1"/>
                  <a:gd name="T13" fmla="*/ 4 h 5"/>
                  <a:gd name="T14" fmla="*/ 1 w 1"/>
                  <a:gd name="T15" fmla="*/ 5 h 5"/>
                  <a:gd name="T16" fmla="*/ 1 w 1"/>
                  <a:gd name="T17" fmla="*/ 5 h 5"/>
                  <a:gd name="T18" fmla="*/ 1 w 1"/>
                  <a:gd name="T19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" h="5">
                    <a:moveTo>
                      <a:pt x="1" y="4"/>
                    </a:moveTo>
                    <a:lnTo>
                      <a:pt x="1" y="4"/>
                    </a:lnTo>
                    <a:lnTo>
                      <a:pt x="0" y="4"/>
                    </a:lnTo>
                    <a:lnTo>
                      <a:pt x="1" y="0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72" name="Freeform 69">
                <a:extLst>
                  <a:ext uri="{FF2B5EF4-FFF2-40B4-BE49-F238E27FC236}">
                    <a16:creationId xmlns:a16="http://schemas.microsoft.com/office/drawing/2014/main" id="{EAA03319-C308-4EEA-A2D9-42DC174957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5" y="2561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2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73" name="Freeform 70">
                <a:extLst>
                  <a:ext uri="{FF2B5EF4-FFF2-40B4-BE49-F238E27FC236}">
                    <a16:creationId xmlns:a16="http://schemas.microsoft.com/office/drawing/2014/main" id="{CC240954-7A5C-4BEB-B208-DA884B2C66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3" y="1991"/>
                <a:ext cx="2" cy="5"/>
              </a:xfrm>
              <a:custGeom>
                <a:avLst/>
                <a:gdLst>
                  <a:gd name="T0" fmla="*/ 2 w 2"/>
                  <a:gd name="T1" fmla="*/ 5 h 5"/>
                  <a:gd name="T2" fmla="*/ 2 w 2"/>
                  <a:gd name="T3" fmla="*/ 5 h 5"/>
                  <a:gd name="T4" fmla="*/ 0 w 2"/>
                  <a:gd name="T5" fmla="*/ 0 h 5"/>
                  <a:gd name="T6" fmla="*/ 2 w 2"/>
                  <a:gd name="T7" fmla="*/ 5 h 5"/>
                  <a:gd name="T8" fmla="*/ 2 w 2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lnTo>
                      <a:pt x="2" y="5"/>
                    </a:lnTo>
                    <a:lnTo>
                      <a:pt x="0" y="0"/>
                    </a:lnTo>
                    <a:lnTo>
                      <a:pt x="2" y="5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74" name="Rectangle 71">
                <a:extLst>
                  <a:ext uri="{FF2B5EF4-FFF2-40B4-BE49-F238E27FC236}">
                    <a16:creationId xmlns:a16="http://schemas.microsoft.com/office/drawing/2014/main" id="{FD8DE80A-D317-4A33-9CFC-2FD755DD1A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88" y="316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75" name="Freeform 72">
                <a:extLst>
                  <a:ext uri="{FF2B5EF4-FFF2-40B4-BE49-F238E27FC236}">
                    <a16:creationId xmlns:a16="http://schemas.microsoft.com/office/drawing/2014/main" id="{CDD8FB07-B402-4491-BA21-9F75B76677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2" y="3207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4 w 4"/>
                  <a:gd name="T3" fmla="*/ 0 h 2"/>
                  <a:gd name="T4" fmla="*/ 2 w 4"/>
                  <a:gd name="T5" fmla="*/ 2 h 2"/>
                  <a:gd name="T6" fmla="*/ 0 w 4"/>
                  <a:gd name="T7" fmla="*/ 2 h 2"/>
                  <a:gd name="T8" fmla="*/ 0 w 4"/>
                  <a:gd name="T9" fmla="*/ 2 h 2"/>
                  <a:gd name="T10" fmla="*/ 0 w 4"/>
                  <a:gd name="T11" fmla="*/ 2 h 2"/>
                  <a:gd name="T12" fmla="*/ 2 w 4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76" name="Freeform 73">
                <a:extLst>
                  <a:ext uri="{FF2B5EF4-FFF2-40B4-BE49-F238E27FC236}">
                    <a16:creationId xmlns:a16="http://schemas.microsoft.com/office/drawing/2014/main" id="{A4569D9B-6BE5-48A3-BD4E-9AB05B747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8" y="2978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0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  <a:gd name="T10" fmla="*/ 0 w 2"/>
                  <a:gd name="T11" fmla="*/ 2 h 2"/>
                  <a:gd name="T12" fmla="*/ 0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77" name="Freeform 74">
                <a:extLst>
                  <a:ext uri="{FF2B5EF4-FFF2-40B4-BE49-F238E27FC236}">
                    <a16:creationId xmlns:a16="http://schemas.microsoft.com/office/drawing/2014/main" id="{571296C6-5172-497B-8584-685C8C83C5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5" y="319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  <a:gd name="T10" fmla="*/ 2 w 2"/>
                  <a:gd name="T11" fmla="*/ 0 h 2"/>
                  <a:gd name="T12" fmla="*/ 2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78" name="Freeform 75">
                <a:extLst>
                  <a:ext uri="{FF2B5EF4-FFF2-40B4-BE49-F238E27FC236}">
                    <a16:creationId xmlns:a16="http://schemas.microsoft.com/office/drawing/2014/main" id="{D6B922F6-C1BD-4D46-94B3-3D21ACE5E5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0" y="2973"/>
                <a:ext cx="33" cy="5"/>
              </a:xfrm>
              <a:custGeom>
                <a:avLst/>
                <a:gdLst>
                  <a:gd name="T0" fmla="*/ 5 w 33"/>
                  <a:gd name="T1" fmla="*/ 0 h 5"/>
                  <a:gd name="T2" fmla="*/ 13 w 33"/>
                  <a:gd name="T3" fmla="*/ 0 h 5"/>
                  <a:gd name="T4" fmla="*/ 29 w 33"/>
                  <a:gd name="T5" fmla="*/ 2 h 5"/>
                  <a:gd name="T6" fmla="*/ 33 w 33"/>
                  <a:gd name="T7" fmla="*/ 2 h 5"/>
                  <a:gd name="T8" fmla="*/ 33 w 33"/>
                  <a:gd name="T9" fmla="*/ 0 h 5"/>
                  <a:gd name="T10" fmla="*/ 33 w 33"/>
                  <a:gd name="T11" fmla="*/ 2 h 5"/>
                  <a:gd name="T12" fmla="*/ 29 w 33"/>
                  <a:gd name="T13" fmla="*/ 2 h 5"/>
                  <a:gd name="T14" fmla="*/ 13 w 33"/>
                  <a:gd name="T15" fmla="*/ 0 h 5"/>
                  <a:gd name="T16" fmla="*/ 5 w 33"/>
                  <a:gd name="T17" fmla="*/ 0 h 5"/>
                  <a:gd name="T18" fmla="*/ 0 w 33"/>
                  <a:gd name="T19" fmla="*/ 5 h 5"/>
                  <a:gd name="T20" fmla="*/ 0 w 33"/>
                  <a:gd name="T21" fmla="*/ 5 h 5"/>
                  <a:gd name="T22" fmla="*/ 0 w 33"/>
                  <a:gd name="T23" fmla="*/ 5 h 5"/>
                  <a:gd name="T24" fmla="*/ 5 w 33"/>
                  <a:gd name="T2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5">
                    <a:moveTo>
                      <a:pt x="5" y="0"/>
                    </a:moveTo>
                    <a:lnTo>
                      <a:pt x="13" y="0"/>
                    </a:lnTo>
                    <a:lnTo>
                      <a:pt x="29" y="2"/>
                    </a:lnTo>
                    <a:lnTo>
                      <a:pt x="33" y="2"/>
                    </a:lnTo>
                    <a:lnTo>
                      <a:pt x="33" y="0"/>
                    </a:lnTo>
                    <a:lnTo>
                      <a:pt x="33" y="2"/>
                    </a:lnTo>
                    <a:lnTo>
                      <a:pt x="29" y="2"/>
                    </a:lnTo>
                    <a:lnTo>
                      <a:pt x="13" y="0"/>
                    </a:lnTo>
                    <a:lnTo>
                      <a:pt x="5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79" name="Freeform 76">
                <a:extLst>
                  <a:ext uri="{FF2B5EF4-FFF2-40B4-BE49-F238E27FC236}">
                    <a16:creationId xmlns:a16="http://schemas.microsoft.com/office/drawing/2014/main" id="{874D8655-3234-48FC-875D-AF16C12A4A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9" y="2010"/>
                <a:ext cx="2" cy="14"/>
              </a:xfrm>
              <a:custGeom>
                <a:avLst/>
                <a:gdLst>
                  <a:gd name="T0" fmla="*/ 2 w 2"/>
                  <a:gd name="T1" fmla="*/ 14 h 14"/>
                  <a:gd name="T2" fmla="*/ 0 w 2"/>
                  <a:gd name="T3" fmla="*/ 8 h 14"/>
                  <a:gd name="T4" fmla="*/ 0 w 2"/>
                  <a:gd name="T5" fmla="*/ 0 h 14"/>
                  <a:gd name="T6" fmla="*/ 0 w 2"/>
                  <a:gd name="T7" fmla="*/ 8 h 14"/>
                  <a:gd name="T8" fmla="*/ 2 w 2"/>
                  <a:gd name="T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4">
                    <a:moveTo>
                      <a:pt x="2" y="14"/>
                    </a:moveTo>
                    <a:lnTo>
                      <a:pt x="0" y="8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80" name="Rectangle 77">
                <a:extLst>
                  <a:ext uri="{FF2B5EF4-FFF2-40B4-BE49-F238E27FC236}">
                    <a16:creationId xmlns:a16="http://schemas.microsoft.com/office/drawing/2014/main" id="{AAC02CD6-33CE-4115-9A3E-BCEC2B2F7B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66" y="318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81" name="Freeform 78">
                <a:extLst>
                  <a:ext uri="{FF2B5EF4-FFF2-40B4-BE49-F238E27FC236}">
                    <a16:creationId xmlns:a16="http://schemas.microsoft.com/office/drawing/2014/main" id="{ABC86413-3EBC-46E2-BBB0-D34AC64FCA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8" y="3611"/>
                <a:ext cx="21" cy="2"/>
              </a:xfrm>
              <a:custGeom>
                <a:avLst/>
                <a:gdLst>
                  <a:gd name="T0" fmla="*/ 21 w 21"/>
                  <a:gd name="T1" fmla="*/ 0 h 2"/>
                  <a:gd name="T2" fmla="*/ 6 w 21"/>
                  <a:gd name="T3" fmla="*/ 0 h 2"/>
                  <a:gd name="T4" fmla="*/ 0 w 21"/>
                  <a:gd name="T5" fmla="*/ 2 h 2"/>
                  <a:gd name="T6" fmla="*/ 6 w 21"/>
                  <a:gd name="T7" fmla="*/ 0 h 2"/>
                  <a:gd name="T8" fmla="*/ 21 w 2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">
                    <a:moveTo>
                      <a:pt x="21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6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82" name="Freeform 79">
                <a:extLst>
                  <a:ext uri="{FF2B5EF4-FFF2-40B4-BE49-F238E27FC236}">
                    <a16:creationId xmlns:a16="http://schemas.microsoft.com/office/drawing/2014/main" id="{0591BF25-F3F5-4200-8254-A0CF38FF38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1" y="3185"/>
                <a:ext cx="2" cy="10"/>
              </a:xfrm>
              <a:custGeom>
                <a:avLst/>
                <a:gdLst>
                  <a:gd name="T0" fmla="*/ 2 w 2"/>
                  <a:gd name="T1" fmla="*/ 6 h 10"/>
                  <a:gd name="T2" fmla="*/ 2 w 2"/>
                  <a:gd name="T3" fmla="*/ 0 h 10"/>
                  <a:gd name="T4" fmla="*/ 2 w 2"/>
                  <a:gd name="T5" fmla="*/ 0 h 10"/>
                  <a:gd name="T6" fmla="*/ 2 w 2"/>
                  <a:gd name="T7" fmla="*/ 6 h 10"/>
                  <a:gd name="T8" fmla="*/ 0 w 2"/>
                  <a:gd name="T9" fmla="*/ 8 h 10"/>
                  <a:gd name="T10" fmla="*/ 0 w 2"/>
                  <a:gd name="T11" fmla="*/ 10 h 10"/>
                  <a:gd name="T12" fmla="*/ 0 w 2"/>
                  <a:gd name="T13" fmla="*/ 8 h 10"/>
                  <a:gd name="T14" fmla="*/ 2 w 2"/>
                  <a:gd name="T1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0">
                    <a:moveTo>
                      <a:pt x="2" y="6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83" name="Freeform 80">
                <a:extLst>
                  <a:ext uri="{FF2B5EF4-FFF2-40B4-BE49-F238E27FC236}">
                    <a16:creationId xmlns:a16="http://schemas.microsoft.com/office/drawing/2014/main" id="{631BBD01-D541-459A-B5C3-CBC2BA6004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6" y="1846"/>
                <a:ext cx="6" cy="10"/>
              </a:xfrm>
              <a:custGeom>
                <a:avLst/>
                <a:gdLst>
                  <a:gd name="T0" fmla="*/ 6 w 6"/>
                  <a:gd name="T1" fmla="*/ 10 h 10"/>
                  <a:gd name="T2" fmla="*/ 6 w 6"/>
                  <a:gd name="T3" fmla="*/ 10 h 10"/>
                  <a:gd name="T4" fmla="*/ 0 w 6"/>
                  <a:gd name="T5" fmla="*/ 0 h 10"/>
                  <a:gd name="T6" fmla="*/ 6 w 6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10">
                    <a:moveTo>
                      <a:pt x="6" y="10"/>
                    </a:moveTo>
                    <a:lnTo>
                      <a:pt x="6" y="10"/>
                    </a:lnTo>
                    <a:lnTo>
                      <a:pt x="0" y="0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84" name="Freeform 81">
                <a:extLst>
                  <a:ext uri="{FF2B5EF4-FFF2-40B4-BE49-F238E27FC236}">
                    <a16:creationId xmlns:a16="http://schemas.microsoft.com/office/drawing/2014/main" id="{A4ABD1F9-AFB0-4AAB-B060-A6789FB6E8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7" y="3197"/>
                <a:ext cx="6" cy="2"/>
              </a:xfrm>
              <a:custGeom>
                <a:avLst/>
                <a:gdLst>
                  <a:gd name="T0" fmla="*/ 2 w 6"/>
                  <a:gd name="T1" fmla="*/ 2 h 2"/>
                  <a:gd name="T2" fmla="*/ 4 w 6"/>
                  <a:gd name="T3" fmla="*/ 2 h 2"/>
                  <a:gd name="T4" fmla="*/ 6 w 6"/>
                  <a:gd name="T5" fmla="*/ 2 h 2"/>
                  <a:gd name="T6" fmla="*/ 4 w 6"/>
                  <a:gd name="T7" fmla="*/ 2 h 2"/>
                  <a:gd name="T8" fmla="*/ 2 w 6"/>
                  <a:gd name="T9" fmla="*/ 2 h 2"/>
                  <a:gd name="T10" fmla="*/ 0 w 6"/>
                  <a:gd name="T11" fmla="*/ 0 h 2"/>
                  <a:gd name="T12" fmla="*/ 0 w 6"/>
                  <a:gd name="T13" fmla="*/ 0 h 2"/>
                  <a:gd name="T14" fmla="*/ 0 w 6"/>
                  <a:gd name="T15" fmla="*/ 0 h 2"/>
                  <a:gd name="T16" fmla="*/ 2 w 6"/>
                  <a:gd name="T1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2">
                    <a:moveTo>
                      <a:pt x="2" y="2"/>
                    </a:moveTo>
                    <a:lnTo>
                      <a:pt x="4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85" name="Freeform 83">
                <a:extLst>
                  <a:ext uri="{FF2B5EF4-FFF2-40B4-BE49-F238E27FC236}">
                    <a16:creationId xmlns:a16="http://schemas.microsoft.com/office/drawing/2014/main" id="{D246114F-432A-44F8-93BC-768F28AFA3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3" y="3605"/>
                <a:ext cx="9" cy="0"/>
              </a:xfrm>
              <a:custGeom>
                <a:avLst/>
                <a:gdLst>
                  <a:gd name="T0" fmla="*/ 8 w 9"/>
                  <a:gd name="T1" fmla="*/ 9 w 9"/>
                  <a:gd name="T2" fmla="*/ 8 w 9"/>
                  <a:gd name="T3" fmla="*/ 2 w 9"/>
                  <a:gd name="T4" fmla="*/ 0 w 9"/>
                  <a:gd name="T5" fmla="*/ 2 w 9"/>
                  <a:gd name="T6" fmla="*/ 8 w 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9">
                    <a:moveTo>
                      <a:pt x="8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86" name="Freeform 84">
                <a:extLst>
                  <a:ext uri="{FF2B5EF4-FFF2-40B4-BE49-F238E27FC236}">
                    <a16:creationId xmlns:a16="http://schemas.microsoft.com/office/drawing/2014/main" id="{B506A81E-85B7-46E8-9535-E16F52CCEC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2" y="3601"/>
                <a:ext cx="65" cy="10"/>
              </a:xfrm>
              <a:custGeom>
                <a:avLst/>
                <a:gdLst>
                  <a:gd name="T0" fmla="*/ 8 w 65"/>
                  <a:gd name="T1" fmla="*/ 10 h 10"/>
                  <a:gd name="T2" fmla="*/ 20 w 65"/>
                  <a:gd name="T3" fmla="*/ 4 h 10"/>
                  <a:gd name="T4" fmla="*/ 55 w 65"/>
                  <a:gd name="T5" fmla="*/ 0 h 10"/>
                  <a:gd name="T6" fmla="*/ 61 w 65"/>
                  <a:gd name="T7" fmla="*/ 2 h 10"/>
                  <a:gd name="T8" fmla="*/ 65 w 65"/>
                  <a:gd name="T9" fmla="*/ 2 h 10"/>
                  <a:gd name="T10" fmla="*/ 61 w 65"/>
                  <a:gd name="T11" fmla="*/ 2 h 10"/>
                  <a:gd name="T12" fmla="*/ 55 w 65"/>
                  <a:gd name="T13" fmla="*/ 0 h 10"/>
                  <a:gd name="T14" fmla="*/ 20 w 65"/>
                  <a:gd name="T15" fmla="*/ 4 h 10"/>
                  <a:gd name="T16" fmla="*/ 8 w 65"/>
                  <a:gd name="T17" fmla="*/ 10 h 10"/>
                  <a:gd name="T18" fmla="*/ 0 w 65"/>
                  <a:gd name="T19" fmla="*/ 10 h 10"/>
                  <a:gd name="T20" fmla="*/ 0 w 65"/>
                  <a:gd name="T21" fmla="*/ 10 h 10"/>
                  <a:gd name="T22" fmla="*/ 8 w 65"/>
                  <a:gd name="T2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5" h="10">
                    <a:moveTo>
                      <a:pt x="8" y="10"/>
                    </a:moveTo>
                    <a:lnTo>
                      <a:pt x="20" y="4"/>
                    </a:lnTo>
                    <a:lnTo>
                      <a:pt x="55" y="0"/>
                    </a:lnTo>
                    <a:lnTo>
                      <a:pt x="61" y="2"/>
                    </a:lnTo>
                    <a:lnTo>
                      <a:pt x="65" y="2"/>
                    </a:lnTo>
                    <a:lnTo>
                      <a:pt x="61" y="2"/>
                    </a:lnTo>
                    <a:lnTo>
                      <a:pt x="55" y="0"/>
                    </a:lnTo>
                    <a:lnTo>
                      <a:pt x="20" y="4"/>
                    </a:lnTo>
                    <a:lnTo>
                      <a:pt x="8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87" name="Freeform 85">
                <a:extLst>
                  <a:ext uri="{FF2B5EF4-FFF2-40B4-BE49-F238E27FC236}">
                    <a16:creationId xmlns:a16="http://schemas.microsoft.com/office/drawing/2014/main" id="{E98994E5-8D3B-4B4F-B543-F3309D7F10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6" y="2971"/>
                <a:ext cx="4" cy="6"/>
              </a:xfrm>
              <a:custGeom>
                <a:avLst/>
                <a:gdLst>
                  <a:gd name="T0" fmla="*/ 2 w 4"/>
                  <a:gd name="T1" fmla="*/ 0 h 6"/>
                  <a:gd name="T2" fmla="*/ 4 w 4"/>
                  <a:gd name="T3" fmla="*/ 0 h 6"/>
                  <a:gd name="T4" fmla="*/ 2 w 4"/>
                  <a:gd name="T5" fmla="*/ 0 h 6"/>
                  <a:gd name="T6" fmla="*/ 0 w 4"/>
                  <a:gd name="T7" fmla="*/ 6 h 6"/>
                  <a:gd name="T8" fmla="*/ 0 w 4"/>
                  <a:gd name="T9" fmla="*/ 6 h 6"/>
                  <a:gd name="T10" fmla="*/ 2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88" name="Rectangle 86">
                <a:extLst>
                  <a:ext uri="{FF2B5EF4-FFF2-40B4-BE49-F238E27FC236}">
                    <a16:creationId xmlns:a16="http://schemas.microsoft.com/office/drawing/2014/main" id="{A53B236B-AA58-49C0-B78C-4D9473868B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9" y="2604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89" name="Freeform 87">
                <a:extLst>
                  <a:ext uri="{FF2B5EF4-FFF2-40B4-BE49-F238E27FC236}">
                    <a16:creationId xmlns:a16="http://schemas.microsoft.com/office/drawing/2014/main" id="{CF3E2931-45FF-44C6-8B94-08AF907B2A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1975"/>
                <a:ext cx="2" cy="16"/>
              </a:xfrm>
              <a:custGeom>
                <a:avLst/>
                <a:gdLst>
                  <a:gd name="T0" fmla="*/ 0 w 2"/>
                  <a:gd name="T1" fmla="*/ 0 h 16"/>
                  <a:gd name="T2" fmla="*/ 0 w 2"/>
                  <a:gd name="T3" fmla="*/ 8 h 16"/>
                  <a:gd name="T4" fmla="*/ 2 w 2"/>
                  <a:gd name="T5" fmla="*/ 16 h 16"/>
                  <a:gd name="T6" fmla="*/ 2 w 2"/>
                  <a:gd name="T7" fmla="*/ 16 h 16"/>
                  <a:gd name="T8" fmla="*/ 0 w 2"/>
                  <a:gd name="T9" fmla="*/ 8 h 16"/>
                  <a:gd name="T10" fmla="*/ 0 w 2"/>
                  <a:gd name="T11" fmla="*/ 0 h 16"/>
                  <a:gd name="T12" fmla="*/ 0 w 2"/>
                  <a:gd name="T13" fmla="*/ 0 h 16"/>
                  <a:gd name="T14" fmla="*/ 0 w 2"/>
                  <a:gd name="T1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6">
                    <a:moveTo>
                      <a:pt x="0" y="0"/>
                    </a:moveTo>
                    <a:lnTo>
                      <a:pt x="0" y="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90" name="Freeform 88">
                <a:extLst>
                  <a:ext uri="{FF2B5EF4-FFF2-40B4-BE49-F238E27FC236}">
                    <a16:creationId xmlns:a16="http://schemas.microsoft.com/office/drawing/2014/main" id="{4C552BD8-7913-41BC-A99A-FA92A81430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3" y="2572"/>
                <a:ext cx="6" cy="12"/>
              </a:xfrm>
              <a:custGeom>
                <a:avLst/>
                <a:gdLst>
                  <a:gd name="T0" fmla="*/ 2 w 6"/>
                  <a:gd name="T1" fmla="*/ 6 h 12"/>
                  <a:gd name="T2" fmla="*/ 0 w 6"/>
                  <a:gd name="T3" fmla="*/ 8 h 12"/>
                  <a:gd name="T4" fmla="*/ 0 w 6"/>
                  <a:gd name="T5" fmla="*/ 10 h 12"/>
                  <a:gd name="T6" fmla="*/ 0 w 6"/>
                  <a:gd name="T7" fmla="*/ 12 h 12"/>
                  <a:gd name="T8" fmla="*/ 0 w 6"/>
                  <a:gd name="T9" fmla="*/ 10 h 12"/>
                  <a:gd name="T10" fmla="*/ 0 w 6"/>
                  <a:gd name="T11" fmla="*/ 8 h 12"/>
                  <a:gd name="T12" fmla="*/ 2 w 6"/>
                  <a:gd name="T13" fmla="*/ 6 h 12"/>
                  <a:gd name="T14" fmla="*/ 4 w 6"/>
                  <a:gd name="T15" fmla="*/ 2 h 12"/>
                  <a:gd name="T16" fmla="*/ 6 w 6"/>
                  <a:gd name="T17" fmla="*/ 0 h 12"/>
                  <a:gd name="T18" fmla="*/ 4 w 6"/>
                  <a:gd name="T19" fmla="*/ 2 h 12"/>
                  <a:gd name="T20" fmla="*/ 2 w 6"/>
                  <a:gd name="T21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12">
                    <a:moveTo>
                      <a:pt x="2" y="6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91" name="Freeform 89">
                <a:extLst>
                  <a:ext uri="{FF2B5EF4-FFF2-40B4-BE49-F238E27FC236}">
                    <a16:creationId xmlns:a16="http://schemas.microsoft.com/office/drawing/2014/main" id="{AF27645F-3505-4A7B-A5E6-C42375E8FF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2" y="2971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0 w 4"/>
                  <a:gd name="T5" fmla="*/ 0 h 4"/>
                  <a:gd name="T6" fmla="*/ 0 w 4"/>
                  <a:gd name="T7" fmla="*/ 0 h 4"/>
                  <a:gd name="T8" fmla="*/ 4 w 4"/>
                  <a:gd name="T9" fmla="*/ 4 h 4"/>
                  <a:gd name="T10" fmla="*/ 4 w 4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92" name="Freeform 90">
                <a:extLst>
                  <a:ext uri="{FF2B5EF4-FFF2-40B4-BE49-F238E27FC236}">
                    <a16:creationId xmlns:a16="http://schemas.microsoft.com/office/drawing/2014/main" id="{782892C3-CA8E-4D63-8509-3BA5B2921C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4" y="3164"/>
                <a:ext cx="10" cy="2"/>
              </a:xfrm>
              <a:custGeom>
                <a:avLst/>
                <a:gdLst>
                  <a:gd name="T0" fmla="*/ 4 w 10"/>
                  <a:gd name="T1" fmla="*/ 0 h 2"/>
                  <a:gd name="T2" fmla="*/ 10 w 10"/>
                  <a:gd name="T3" fmla="*/ 2 h 2"/>
                  <a:gd name="T4" fmla="*/ 10 w 10"/>
                  <a:gd name="T5" fmla="*/ 0 h 2"/>
                  <a:gd name="T6" fmla="*/ 10 w 10"/>
                  <a:gd name="T7" fmla="*/ 2 h 2"/>
                  <a:gd name="T8" fmla="*/ 4 w 10"/>
                  <a:gd name="T9" fmla="*/ 0 h 2"/>
                  <a:gd name="T10" fmla="*/ 2 w 10"/>
                  <a:gd name="T11" fmla="*/ 2 h 2"/>
                  <a:gd name="T12" fmla="*/ 0 w 10"/>
                  <a:gd name="T13" fmla="*/ 2 h 2"/>
                  <a:gd name="T14" fmla="*/ 2 w 10"/>
                  <a:gd name="T15" fmla="*/ 2 h 2"/>
                  <a:gd name="T16" fmla="*/ 4 w 10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2">
                    <a:moveTo>
                      <a:pt x="4" y="0"/>
                    </a:moveTo>
                    <a:lnTo>
                      <a:pt x="10" y="2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93" name="Freeform 91">
                <a:extLst>
                  <a:ext uri="{FF2B5EF4-FFF2-40B4-BE49-F238E27FC236}">
                    <a16:creationId xmlns:a16="http://schemas.microsoft.com/office/drawing/2014/main" id="{A70472F9-2632-4319-99C9-AC85DEDF1D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0" y="3215"/>
                <a:ext cx="8" cy="6"/>
              </a:xfrm>
              <a:custGeom>
                <a:avLst/>
                <a:gdLst>
                  <a:gd name="T0" fmla="*/ 8 w 8"/>
                  <a:gd name="T1" fmla="*/ 6 h 6"/>
                  <a:gd name="T2" fmla="*/ 8 w 8"/>
                  <a:gd name="T3" fmla="*/ 6 h 6"/>
                  <a:gd name="T4" fmla="*/ 2 w 8"/>
                  <a:gd name="T5" fmla="*/ 0 h 6"/>
                  <a:gd name="T6" fmla="*/ 0 w 8"/>
                  <a:gd name="T7" fmla="*/ 0 h 6"/>
                  <a:gd name="T8" fmla="*/ 2 w 8"/>
                  <a:gd name="T9" fmla="*/ 0 h 6"/>
                  <a:gd name="T10" fmla="*/ 8 w 8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6">
                    <a:moveTo>
                      <a:pt x="8" y="6"/>
                    </a:moveTo>
                    <a:lnTo>
                      <a:pt x="8" y="6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94" name="Freeform 92">
                <a:extLst>
                  <a:ext uri="{FF2B5EF4-FFF2-40B4-BE49-F238E27FC236}">
                    <a16:creationId xmlns:a16="http://schemas.microsoft.com/office/drawing/2014/main" id="{EFBE2CE1-DFB8-4AA8-A7CA-D2228C6CC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3" y="3182"/>
                <a:ext cx="10" cy="3"/>
              </a:xfrm>
              <a:custGeom>
                <a:avLst/>
                <a:gdLst>
                  <a:gd name="T0" fmla="*/ 4 w 10"/>
                  <a:gd name="T1" fmla="*/ 3 h 3"/>
                  <a:gd name="T2" fmla="*/ 8 w 10"/>
                  <a:gd name="T3" fmla="*/ 3 h 3"/>
                  <a:gd name="T4" fmla="*/ 10 w 10"/>
                  <a:gd name="T5" fmla="*/ 3 h 3"/>
                  <a:gd name="T6" fmla="*/ 8 w 10"/>
                  <a:gd name="T7" fmla="*/ 3 h 3"/>
                  <a:gd name="T8" fmla="*/ 4 w 10"/>
                  <a:gd name="T9" fmla="*/ 3 h 3"/>
                  <a:gd name="T10" fmla="*/ 2 w 10"/>
                  <a:gd name="T11" fmla="*/ 1 h 3"/>
                  <a:gd name="T12" fmla="*/ 0 w 10"/>
                  <a:gd name="T13" fmla="*/ 0 h 3"/>
                  <a:gd name="T14" fmla="*/ 2 w 10"/>
                  <a:gd name="T15" fmla="*/ 1 h 3"/>
                  <a:gd name="T16" fmla="*/ 4 w 10"/>
                  <a:gd name="T1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3">
                    <a:moveTo>
                      <a:pt x="4" y="3"/>
                    </a:moveTo>
                    <a:lnTo>
                      <a:pt x="8" y="3"/>
                    </a:lnTo>
                    <a:lnTo>
                      <a:pt x="10" y="3"/>
                    </a:lnTo>
                    <a:lnTo>
                      <a:pt x="8" y="3"/>
                    </a:lnTo>
                    <a:lnTo>
                      <a:pt x="4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2" y="1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95" name="Freeform 93">
                <a:extLst>
                  <a:ext uri="{FF2B5EF4-FFF2-40B4-BE49-F238E27FC236}">
                    <a16:creationId xmlns:a16="http://schemas.microsoft.com/office/drawing/2014/main" id="{1F8779C7-B6C8-4D15-B22F-01E27E3099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2" y="3223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  <a:gd name="T3" fmla="*/ 0 h 1"/>
                  <a:gd name="T4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96" name="Freeform 94">
                <a:extLst>
                  <a:ext uri="{FF2B5EF4-FFF2-40B4-BE49-F238E27FC236}">
                    <a16:creationId xmlns:a16="http://schemas.microsoft.com/office/drawing/2014/main" id="{7493BB49-C57B-4EA3-A000-B426DAF0C8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1" y="2481"/>
                <a:ext cx="2" cy="5"/>
              </a:xfrm>
              <a:custGeom>
                <a:avLst/>
                <a:gdLst>
                  <a:gd name="T0" fmla="*/ 2 w 2"/>
                  <a:gd name="T1" fmla="*/ 4 h 5"/>
                  <a:gd name="T2" fmla="*/ 2 w 2"/>
                  <a:gd name="T3" fmla="*/ 5 h 5"/>
                  <a:gd name="T4" fmla="*/ 2 w 2"/>
                  <a:gd name="T5" fmla="*/ 5 h 5"/>
                  <a:gd name="T6" fmla="*/ 2 w 2"/>
                  <a:gd name="T7" fmla="*/ 4 h 5"/>
                  <a:gd name="T8" fmla="*/ 0 w 2"/>
                  <a:gd name="T9" fmla="*/ 2 h 5"/>
                  <a:gd name="T10" fmla="*/ 0 w 2"/>
                  <a:gd name="T11" fmla="*/ 0 h 5"/>
                  <a:gd name="T12" fmla="*/ 0 w 2"/>
                  <a:gd name="T13" fmla="*/ 0 h 5"/>
                  <a:gd name="T14" fmla="*/ 0 w 2"/>
                  <a:gd name="T15" fmla="*/ 2 h 5"/>
                  <a:gd name="T16" fmla="*/ 2 w 2"/>
                  <a:gd name="T1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5">
                    <a:moveTo>
                      <a:pt x="2" y="4"/>
                    </a:moveTo>
                    <a:lnTo>
                      <a:pt x="2" y="5"/>
                    </a:lnTo>
                    <a:lnTo>
                      <a:pt x="2" y="5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97" name="Freeform 95">
                <a:extLst>
                  <a:ext uri="{FF2B5EF4-FFF2-40B4-BE49-F238E27FC236}">
                    <a16:creationId xmlns:a16="http://schemas.microsoft.com/office/drawing/2014/main" id="{36A67AFE-F5A6-41C7-AA9A-F1EE72BA4A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1" y="3123"/>
                <a:ext cx="13" cy="4"/>
              </a:xfrm>
              <a:custGeom>
                <a:avLst/>
                <a:gdLst>
                  <a:gd name="T0" fmla="*/ 3 w 13"/>
                  <a:gd name="T1" fmla="*/ 4 h 4"/>
                  <a:gd name="T2" fmla="*/ 5 w 13"/>
                  <a:gd name="T3" fmla="*/ 4 h 4"/>
                  <a:gd name="T4" fmla="*/ 7 w 13"/>
                  <a:gd name="T5" fmla="*/ 4 h 4"/>
                  <a:gd name="T6" fmla="*/ 9 w 13"/>
                  <a:gd name="T7" fmla="*/ 4 h 4"/>
                  <a:gd name="T8" fmla="*/ 13 w 13"/>
                  <a:gd name="T9" fmla="*/ 2 h 4"/>
                  <a:gd name="T10" fmla="*/ 13 w 13"/>
                  <a:gd name="T11" fmla="*/ 4 h 4"/>
                  <a:gd name="T12" fmla="*/ 13 w 13"/>
                  <a:gd name="T13" fmla="*/ 2 h 4"/>
                  <a:gd name="T14" fmla="*/ 9 w 13"/>
                  <a:gd name="T15" fmla="*/ 4 h 4"/>
                  <a:gd name="T16" fmla="*/ 7 w 13"/>
                  <a:gd name="T17" fmla="*/ 4 h 4"/>
                  <a:gd name="T18" fmla="*/ 5 w 13"/>
                  <a:gd name="T19" fmla="*/ 4 h 4"/>
                  <a:gd name="T20" fmla="*/ 3 w 13"/>
                  <a:gd name="T21" fmla="*/ 4 h 4"/>
                  <a:gd name="T22" fmla="*/ 0 w 13"/>
                  <a:gd name="T23" fmla="*/ 0 h 4"/>
                  <a:gd name="T24" fmla="*/ 0 w 13"/>
                  <a:gd name="T25" fmla="*/ 0 h 4"/>
                  <a:gd name="T26" fmla="*/ 0 w 13"/>
                  <a:gd name="T27" fmla="*/ 0 h 4"/>
                  <a:gd name="T28" fmla="*/ 3 w 13"/>
                  <a:gd name="T2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" h="4">
                    <a:moveTo>
                      <a:pt x="3" y="4"/>
                    </a:moveTo>
                    <a:lnTo>
                      <a:pt x="5" y="4"/>
                    </a:lnTo>
                    <a:lnTo>
                      <a:pt x="7" y="4"/>
                    </a:lnTo>
                    <a:lnTo>
                      <a:pt x="9" y="4"/>
                    </a:lnTo>
                    <a:lnTo>
                      <a:pt x="13" y="2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7" y="4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98" name="Freeform 96">
                <a:extLst>
                  <a:ext uri="{FF2B5EF4-FFF2-40B4-BE49-F238E27FC236}">
                    <a16:creationId xmlns:a16="http://schemas.microsoft.com/office/drawing/2014/main" id="{6FF1326F-A24F-4B05-A209-260CD38508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4" y="3144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2 h 2"/>
                  <a:gd name="T10" fmla="*/ 0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99" name="Freeform 97">
                <a:extLst>
                  <a:ext uri="{FF2B5EF4-FFF2-40B4-BE49-F238E27FC236}">
                    <a16:creationId xmlns:a16="http://schemas.microsoft.com/office/drawing/2014/main" id="{20D7B131-B4D3-4D57-8672-C5C243FB6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0" y="3578"/>
                <a:ext cx="8" cy="6"/>
              </a:xfrm>
              <a:custGeom>
                <a:avLst/>
                <a:gdLst>
                  <a:gd name="T0" fmla="*/ 0 w 8"/>
                  <a:gd name="T1" fmla="*/ 4 h 6"/>
                  <a:gd name="T2" fmla="*/ 0 w 8"/>
                  <a:gd name="T3" fmla="*/ 6 h 6"/>
                  <a:gd name="T4" fmla="*/ 0 w 8"/>
                  <a:gd name="T5" fmla="*/ 4 h 6"/>
                  <a:gd name="T6" fmla="*/ 4 w 8"/>
                  <a:gd name="T7" fmla="*/ 2 h 6"/>
                  <a:gd name="T8" fmla="*/ 8 w 8"/>
                  <a:gd name="T9" fmla="*/ 0 h 6"/>
                  <a:gd name="T10" fmla="*/ 4 w 8"/>
                  <a:gd name="T11" fmla="*/ 2 h 6"/>
                  <a:gd name="T12" fmla="*/ 0 w 8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0" y="4"/>
                    </a:moveTo>
                    <a:lnTo>
                      <a:pt x="0" y="6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00" name="Rectangle 98">
                <a:extLst>
                  <a:ext uri="{FF2B5EF4-FFF2-40B4-BE49-F238E27FC236}">
                    <a16:creationId xmlns:a16="http://schemas.microsoft.com/office/drawing/2014/main" id="{89F757BC-FFE1-4FEF-B764-FF98B0DDA2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5" y="319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01" name="Freeform 99">
                <a:extLst>
                  <a:ext uri="{FF2B5EF4-FFF2-40B4-BE49-F238E27FC236}">
                    <a16:creationId xmlns:a16="http://schemas.microsoft.com/office/drawing/2014/main" id="{26C2ACC5-DB0E-4616-AD97-926B44E03F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1" y="2479"/>
                <a:ext cx="8" cy="2"/>
              </a:xfrm>
              <a:custGeom>
                <a:avLst/>
                <a:gdLst>
                  <a:gd name="T0" fmla="*/ 8 w 8"/>
                  <a:gd name="T1" fmla="*/ 2 h 2"/>
                  <a:gd name="T2" fmla="*/ 6 w 8"/>
                  <a:gd name="T3" fmla="*/ 0 h 2"/>
                  <a:gd name="T4" fmla="*/ 0 w 8"/>
                  <a:gd name="T5" fmla="*/ 0 h 2"/>
                  <a:gd name="T6" fmla="*/ 6 w 8"/>
                  <a:gd name="T7" fmla="*/ 0 h 2"/>
                  <a:gd name="T8" fmla="*/ 8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8" y="2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02" name="Freeform 100">
                <a:extLst>
                  <a:ext uri="{FF2B5EF4-FFF2-40B4-BE49-F238E27FC236}">
                    <a16:creationId xmlns:a16="http://schemas.microsoft.com/office/drawing/2014/main" id="{774ECD00-9D56-4E8D-A3BE-5A8D6A40D3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5" y="2486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2 h 2"/>
                  <a:gd name="T4" fmla="*/ 0 w 2"/>
                  <a:gd name="T5" fmla="*/ 0 h 2"/>
                  <a:gd name="T6" fmla="*/ 0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03" name="Rectangle 101">
                <a:extLst>
                  <a:ext uri="{FF2B5EF4-FFF2-40B4-BE49-F238E27FC236}">
                    <a16:creationId xmlns:a16="http://schemas.microsoft.com/office/drawing/2014/main" id="{2FF20FFE-C176-422B-8298-697FD32375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1" y="261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04" name="Freeform 102">
                <a:extLst>
                  <a:ext uri="{FF2B5EF4-FFF2-40B4-BE49-F238E27FC236}">
                    <a16:creationId xmlns:a16="http://schemas.microsoft.com/office/drawing/2014/main" id="{7656CDE1-E095-45A9-AAC0-38F4C05007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4" y="3180"/>
                <a:ext cx="1" cy="15"/>
              </a:xfrm>
              <a:custGeom>
                <a:avLst/>
                <a:gdLst>
                  <a:gd name="T0" fmla="*/ 0 w 1"/>
                  <a:gd name="T1" fmla="*/ 3 h 15"/>
                  <a:gd name="T2" fmla="*/ 1 w 1"/>
                  <a:gd name="T3" fmla="*/ 7 h 15"/>
                  <a:gd name="T4" fmla="*/ 0 w 1"/>
                  <a:gd name="T5" fmla="*/ 15 h 15"/>
                  <a:gd name="T6" fmla="*/ 1 w 1"/>
                  <a:gd name="T7" fmla="*/ 7 h 15"/>
                  <a:gd name="T8" fmla="*/ 0 w 1"/>
                  <a:gd name="T9" fmla="*/ 3 h 15"/>
                  <a:gd name="T10" fmla="*/ 0 w 1"/>
                  <a:gd name="T11" fmla="*/ 2 h 15"/>
                  <a:gd name="T12" fmla="*/ 0 w 1"/>
                  <a:gd name="T13" fmla="*/ 0 h 15"/>
                  <a:gd name="T14" fmla="*/ 0 w 1"/>
                  <a:gd name="T15" fmla="*/ 2 h 15"/>
                  <a:gd name="T16" fmla="*/ 0 w 1"/>
                  <a:gd name="T17" fmla="*/ 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15">
                    <a:moveTo>
                      <a:pt x="0" y="3"/>
                    </a:moveTo>
                    <a:lnTo>
                      <a:pt x="1" y="7"/>
                    </a:lnTo>
                    <a:lnTo>
                      <a:pt x="0" y="15"/>
                    </a:lnTo>
                    <a:lnTo>
                      <a:pt x="1" y="7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05" name="Freeform 103">
                <a:extLst>
                  <a:ext uri="{FF2B5EF4-FFF2-40B4-BE49-F238E27FC236}">
                    <a16:creationId xmlns:a16="http://schemas.microsoft.com/office/drawing/2014/main" id="{71539585-A394-4FE3-BF49-EC57E77193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9" y="2494"/>
                <a:ext cx="2" cy="14"/>
              </a:xfrm>
              <a:custGeom>
                <a:avLst/>
                <a:gdLst>
                  <a:gd name="T0" fmla="*/ 0 w 2"/>
                  <a:gd name="T1" fmla="*/ 4 h 14"/>
                  <a:gd name="T2" fmla="*/ 2 w 2"/>
                  <a:gd name="T3" fmla="*/ 14 h 14"/>
                  <a:gd name="T4" fmla="*/ 2 w 2"/>
                  <a:gd name="T5" fmla="*/ 14 h 14"/>
                  <a:gd name="T6" fmla="*/ 0 w 2"/>
                  <a:gd name="T7" fmla="*/ 4 h 14"/>
                  <a:gd name="T8" fmla="*/ 0 w 2"/>
                  <a:gd name="T9" fmla="*/ 2 h 14"/>
                  <a:gd name="T10" fmla="*/ 0 w 2"/>
                  <a:gd name="T11" fmla="*/ 0 h 14"/>
                  <a:gd name="T12" fmla="*/ 0 w 2"/>
                  <a:gd name="T13" fmla="*/ 2 h 14"/>
                  <a:gd name="T14" fmla="*/ 0 w 2"/>
                  <a:gd name="T15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4">
                    <a:moveTo>
                      <a:pt x="0" y="4"/>
                    </a:moveTo>
                    <a:lnTo>
                      <a:pt x="2" y="14"/>
                    </a:lnTo>
                    <a:lnTo>
                      <a:pt x="2" y="1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06" name="Freeform 104">
                <a:extLst>
                  <a:ext uri="{FF2B5EF4-FFF2-40B4-BE49-F238E27FC236}">
                    <a16:creationId xmlns:a16="http://schemas.microsoft.com/office/drawing/2014/main" id="{2FDA2254-773F-4AD0-BBC6-28FC7B9AD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" y="3564"/>
                <a:ext cx="4" cy="4"/>
              </a:xfrm>
              <a:custGeom>
                <a:avLst/>
                <a:gdLst>
                  <a:gd name="T0" fmla="*/ 0 w 4"/>
                  <a:gd name="T1" fmla="*/ 4 h 4"/>
                  <a:gd name="T2" fmla="*/ 2 w 4"/>
                  <a:gd name="T3" fmla="*/ 2 h 4"/>
                  <a:gd name="T4" fmla="*/ 4 w 4"/>
                  <a:gd name="T5" fmla="*/ 0 h 4"/>
                  <a:gd name="T6" fmla="*/ 2 w 4"/>
                  <a:gd name="T7" fmla="*/ 2 h 4"/>
                  <a:gd name="T8" fmla="*/ 0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2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07" name="Freeform 105">
                <a:extLst>
                  <a:ext uri="{FF2B5EF4-FFF2-40B4-BE49-F238E27FC236}">
                    <a16:creationId xmlns:a16="http://schemas.microsoft.com/office/drawing/2014/main" id="{2ED2BED8-85C1-4D18-977B-A0F81CDED7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" y="3197"/>
                <a:ext cx="13" cy="2"/>
              </a:xfrm>
              <a:custGeom>
                <a:avLst/>
                <a:gdLst>
                  <a:gd name="T0" fmla="*/ 12 w 13"/>
                  <a:gd name="T1" fmla="*/ 2 h 2"/>
                  <a:gd name="T2" fmla="*/ 13 w 13"/>
                  <a:gd name="T3" fmla="*/ 2 h 2"/>
                  <a:gd name="T4" fmla="*/ 12 w 13"/>
                  <a:gd name="T5" fmla="*/ 2 h 2"/>
                  <a:gd name="T6" fmla="*/ 10 w 13"/>
                  <a:gd name="T7" fmla="*/ 2 h 2"/>
                  <a:gd name="T8" fmla="*/ 0 w 13"/>
                  <a:gd name="T9" fmla="*/ 0 h 2"/>
                  <a:gd name="T10" fmla="*/ 10 w 13"/>
                  <a:gd name="T11" fmla="*/ 2 h 2"/>
                  <a:gd name="T12" fmla="*/ 12 w 13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2">
                    <a:moveTo>
                      <a:pt x="12" y="2"/>
                    </a:moveTo>
                    <a:lnTo>
                      <a:pt x="13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10" y="2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08" name="Freeform 106">
                <a:extLst>
                  <a:ext uri="{FF2B5EF4-FFF2-40B4-BE49-F238E27FC236}">
                    <a16:creationId xmlns:a16="http://schemas.microsoft.com/office/drawing/2014/main" id="{174499CD-63FE-4298-83BB-28A07B8BB3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7" y="3072"/>
                <a:ext cx="2" cy="6"/>
              </a:xfrm>
              <a:custGeom>
                <a:avLst/>
                <a:gdLst>
                  <a:gd name="T0" fmla="*/ 2 w 2"/>
                  <a:gd name="T1" fmla="*/ 6 h 6"/>
                  <a:gd name="T2" fmla="*/ 0 w 2"/>
                  <a:gd name="T3" fmla="*/ 2 h 6"/>
                  <a:gd name="T4" fmla="*/ 2 w 2"/>
                  <a:gd name="T5" fmla="*/ 0 h 6"/>
                  <a:gd name="T6" fmla="*/ 0 w 2"/>
                  <a:gd name="T7" fmla="*/ 2 h 6"/>
                  <a:gd name="T8" fmla="*/ 2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09" name="Rectangle 107">
                <a:extLst>
                  <a:ext uri="{FF2B5EF4-FFF2-40B4-BE49-F238E27FC236}">
                    <a16:creationId xmlns:a16="http://schemas.microsoft.com/office/drawing/2014/main" id="{EA0DEAB1-1C66-4E21-A1D1-238CF76615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7" y="306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10" name="Rectangle 108">
                <a:extLst>
                  <a:ext uri="{FF2B5EF4-FFF2-40B4-BE49-F238E27FC236}">
                    <a16:creationId xmlns:a16="http://schemas.microsoft.com/office/drawing/2014/main" id="{7E671EAC-3A91-4D05-B8ED-B941D1B21E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5" y="2479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11" name="Freeform 109">
                <a:extLst>
                  <a:ext uri="{FF2B5EF4-FFF2-40B4-BE49-F238E27FC236}">
                    <a16:creationId xmlns:a16="http://schemas.microsoft.com/office/drawing/2014/main" id="{25E22A16-28E8-4D5E-BEEE-F5C4B4B76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9" y="3088"/>
                <a:ext cx="18" cy="33"/>
              </a:xfrm>
              <a:custGeom>
                <a:avLst/>
                <a:gdLst>
                  <a:gd name="T0" fmla="*/ 2 w 18"/>
                  <a:gd name="T1" fmla="*/ 12 h 33"/>
                  <a:gd name="T2" fmla="*/ 6 w 18"/>
                  <a:gd name="T3" fmla="*/ 21 h 33"/>
                  <a:gd name="T4" fmla="*/ 8 w 18"/>
                  <a:gd name="T5" fmla="*/ 27 h 33"/>
                  <a:gd name="T6" fmla="*/ 10 w 18"/>
                  <a:gd name="T7" fmla="*/ 29 h 33"/>
                  <a:gd name="T8" fmla="*/ 12 w 18"/>
                  <a:gd name="T9" fmla="*/ 31 h 33"/>
                  <a:gd name="T10" fmla="*/ 16 w 18"/>
                  <a:gd name="T11" fmla="*/ 31 h 33"/>
                  <a:gd name="T12" fmla="*/ 18 w 18"/>
                  <a:gd name="T13" fmla="*/ 33 h 33"/>
                  <a:gd name="T14" fmla="*/ 16 w 18"/>
                  <a:gd name="T15" fmla="*/ 31 h 33"/>
                  <a:gd name="T16" fmla="*/ 12 w 18"/>
                  <a:gd name="T17" fmla="*/ 31 h 33"/>
                  <a:gd name="T18" fmla="*/ 10 w 18"/>
                  <a:gd name="T19" fmla="*/ 29 h 33"/>
                  <a:gd name="T20" fmla="*/ 8 w 18"/>
                  <a:gd name="T21" fmla="*/ 27 h 33"/>
                  <a:gd name="T22" fmla="*/ 6 w 18"/>
                  <a:gd name="T23" fmla="*/ 21 h 33"/>
                  <a:gd name="T24" fmla="*/ 2 w 18"/>
                  <a:gd name="T25" fmla="*/ 12 h 33"/>
                  <a:gd name="T26" fmla="*/ 0 w 18"/>
                  <a:gd name="T27" fmla="*/ 4 h 33"/>
                  <a:gd name="T28" fmla="*/ 0 w 18"/>
                  <a:gd name="T29" fmla="*/ 0 h 33"/>
                  <a:gd name="T30" fmla="*/ 0 w 18"/>
                  <a:gd name="T31" fmla="*/ 4 h 33"/>
                  <a:gd name="T32" fmla="*/ 2 w 18"/>
                  <a:gd name="T33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33">
                    <a:moveTo>
                      <a:pt x="2" y="12"/>
                    </a:moveTo>
                    <a:lnTo>
                      <a:pt x="6" y="21"/>
                    </a:lnTo>
                    <a:lnTo>
                      <a:pt x="8" y="27"/>
                    </a:lnTo>
                    <a:lnTo>
                      <a:pt x="10" y="29"/>
                    </a:lnTo>
                    <a:lnTo>
                      <a:pt x="12" y="31"/>
                    </a:lnTo>
                    <a:lnTo>
                      <a:pt x="16" y="31"/>
                    </a:lnTo>
                    <a:lnTo>
                      <a:pt x="18" y="33"/>
                    </a:lnTo>
                    <a:lnTo>
                      <a:pt x="16" y="31"/>
                    </a:lnTo>
                    <a:lnTo>
                      <a:pt x="12" y="31"/>
                    </a:lnTo>
                    <a:lnTo>
                      <a:pt x="10" y="29"/>
                    </a:lnTo>
                    <a:lnTo>
                      <a:pt x="8" y="27"/>
                    </a:lnTo>
                    <a:lnTo>
                      <a:pt x="6" y="21"/>
                    </a:lnTo>
                    <a:lnTo>
                      <a:pt x="2" y="12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12" name="Rectangle 110">
                <a:extLst>
                  <a:ext uri="{FF2B5EF4-FFF2-40B4-BE49-F238E27FC236}">
                    <a16:creationId xmlns:a16="http://schemas.microsoft.com/office/drawing/2014/main" id="{B786C4B4-7817-414F-A2AD-CDEC3D45AA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2" y="322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13" name="Freeform 111">
                <a:extLst>
                  <a:ext uri="{FF2B5EF4-FFF2-40B4-BE49-F238E27FC236}">
                    <a16:creationId xmlns:a16="http://schemas.microsoft.com/office/drawing/2014/main" id="{AFD082C4-EF35-4C7C-93A6-39976C1569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8" y="3064"/>
                <a:ext cx="11" cy="4"/>
              </a:xfrm>
              <a:custGeom>
                <a:avLst/>
                <a:gdLst>
                  <a:gd name="T0" fmla="*/ 11 w 11"/>
                  <a:gd name="T1" fmla="*/ 4 h 4"/>
                  <a:gd name="T2" fmla="*/ 11 w 11"/>
                  <a:gd name="T3" fmla="*/ 4 h 4"/>
                  <a:gd name="T4" fmla="*/ 11 w 11"/>
                  <a:gd name="T5" fmla="*/ 4 h 4"/>
                  <a:gd name="T6" fmla="*/ 7 w 11"/>
                  <a:gd name="T7" fmla="*/ 4 h 4"/>
                  <a:gd name="T8" fmla="*/ 0 w 11"/>
                  <a:gd name="T9" fmla="*/ 0 h 4"/>
                  <a:gd name="T10" fmla="*/ 7 w 11"/>
                  <a:gd name="T11" fmla="*/ 4 h 4"/>
                  <a:gd name="T12" fmla="*/ 11 w 11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4">
                    <a:moveTo>
                      <a:pt x="11" y="4"/>
                    </a:moveTo>
                    <a:lnTo>
                      <a:pt x="11" y="4"/>
                    </a:lnTo>
                    <a:lnTo>
                      <a:pt x="11" y="4"/>
                    </a:lnTo>
                    <a:lnTo>
                      <a:pt x="7" y="4"/>
                    </a:lnTo>
                    <a:lnTo>
                      <a:pt x="0" y="0"/>
                    </a:lnTo>
                    <a:lnTo>
                      <a:pt x="7" y="4"/>
                    </a:lnTo>
                    <a:lnTo>
                      <a:pt x="1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14" name="Freeform 112">
                <a:extLst>
                  <a:ext uri="{FF2B5EF4-FFF2-40B4-BE49-F238E27FC236}">
                    <a16:creationId xmlns:a16="http://schemas.microsoft.com/office/drawing/2014/main" id="{1CBA215B-E96F-494B-9704-1AE97FAB89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0" y="3603"/>
                <a:ext cx="8" cy="12"/>
              </a:xfrm>
              <a:custGeom>
                <a:avLst/>
                <a:gdLst>
                  <a:gd name="T0" fmla="*/ 2 w 8"/>
                  <a:gd name="T1" fmla="*/ 12 h 12"/>
                  <a:gd name="T2" fmla="*/ 0 w 8"/>
                  <a:gd name="T3" fmla="*/ 12 h 12"/>
                  <a:gd name="T4" fmla="*/ 2 w 8"/>
                  <a:gd name="T5" fmla="*/ 12 h 12"/>
                  <a:gd name="T6" fmla="*/ 4 w 8"/>
                  <a:gd name="T7" fmla="*/ 2 h 12"/>
                  <a:gd name="T8" fmla="*/ 8 w 8"/>
                  <a:gd name="T9" fmla="*/ 0 h 12"/>
                  <a:gd name="T10" fmla="*/ 4 w 8"/>
                  <a:gd name="T11" fmla="*/ 2 h 12"/>
                  <a:gd name="T12" fmla="*/ 2 w 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2">
                    <a:moveTo>
                      <a:pt x="2" y="12"/>
                    </a:moveTo>
                    <a:lnTo>
                      <a:pt x="0" y="12"/>
                    </a:lnTo>
                    <a:lnTo>
                      <a:pt x="2" y="12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15" name="Freeform 113">
                <a:extLst>
                  <a:ext uri="{FF2B5EF4-FFF2-40B4-BE49-F238E27FC236}">
                    <a16:creationId xmlns:a16="http://schemas.microsoft.com/office/drawing/2014/main" id="{EB8733DD-70FF-4CB7-843E-6C11EB1C6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0" y="3603"/>
                <a:ext cx="31" cy="8"/>
              </a:xfrm>
              <a:custGeom>
                <a:avLst/>
                <a:gdLst>
                  <a:gd name="T0" fmla="*/ 23 w 31"/>
                  <a:gd name="T1" fmla="*/ 6 h 8"/>
                  <a:gd name="T2" fmla="*/ 17 w 31"/>
                  <a:gd name="T3" fmla="*/ 8 h 8"/>
                  <a:gd name="T4" fmla="*/ 11 w 31"/>
                  <a:gd name="T5" fmla="*/ 6 h 8"/>
                  <a:gd name="T6" fmla="*/ 0 w 31"/>
                  <a:gd name="T7" fmla="*/ 0 h 8"/>
                  <a:gd name="T8" fmla="*/ 0 w 31"/>
                  <a:gd name="T9" fmla="*/ 0 h 8"/>
                  <a:gd name="T10" fmla="*/ 11 w 31"/>
                  <a:gd name="T11" fmla="*/ 6 h 8"/>
                  <a:gd name="T12" fmla="*/ 17 w 31"/>
                  <a:gd name="T13" fmla="*/ 8 h 8"/>
                  <a:gd name="T14" fmla="*/ 23 w 31"/>
                  <a:gd name="T15" fmla="*/ 6 h 8"/>
                  <a:gd name="T16" fmla="*/ 29 w 31"/>
                  <a:gd name="T17" fmla="*/ 4 h 8"/>
                  <a:gd name="T18" fmla="*/ 31 w 31"/>
                  <a:gd name="T19" fmla="*/ 2 h 8"/>
                  <a:gd name="T20" fmla="*/ 29 w 31"/>
                  <a:gd name="T21" fmla="*/ 4 h 8"/>
                  <a:gd name="T22" fmla="*/ 23 w 31"/>
                  <a:gd name="T23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1" h="8">
                    <a:moveTo>
                      <a:pt x="23" y="6"/>
                    </a:moveTo>
                    <a:lnTo>
                      <a:pt x="17" y="8"/>
                    </a:lnTo>
                    <a:lnTo>
                      <a:pt x="11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1" y="6"/>
                    </a:lnTo>
                    <a:lnTo>
                      <a:pt x="17" y="8"/>
                    </a:lnTo>
                    <a:lnTo>
                      <a:pt x="23" y="6"/>
                    </a:lnTo>
                    <a:lnTo>
                      <a:pt x="29" y="4"/>
                    </a:lnTo>
                    <a:lnTo>
                      <a:pt x="31" y="2"/>
                    </a:lnTo>
                    <a:lnTo>
                      <a:pt x="29" y="4"/>
                    </a:lnTo>
                    <a:lnTo>
                      <a:pt x="23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16" name="Freeform 114">
                <a:extLst>
                  <a:ext uri="{FF2B5EF4-FFF2-40B4-BE49-F238E27FC236}">
                    <a16:creationId xmlns:a16="http://schemas.microsoft.com/office/drawing/2014/main" id="{BED9734C-7F9C-4FD4-B155-E98D868E0D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" y="3185"/>
                <a:ext cx="0" cy="10"/>
              </a:xfrm>
              <a:custGeom>
                <a:avLst/>
                <a:gdLst>
                  <a:gd name="T0" fmla="*/ 4 h 10"/>
                  <a:gd name="T1" fmla="*/ 8 h 10"/>
                  <a:gd name="T2" fmla="*/ 10 h 10"/>
                  <a:gd name="T3" fmla="*/ 8 h 10"/>
                  <a:gd name="T4" fmla="*/ 4 h 10"/>
                  <a:gd name="T5" fmla="*/ 2 h 10"/>
                  <a:gd name="T6" fmla="*/ 0 h 10"/>
                  <a:gd name="T7" fmla="*/ 0 h 10"/>
                  <a:gd name="T8" fmla="*/ 2 h 10"/>
                  <a:gd name="T9" fmla="*/ 4 h 1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</a:cxnLst>
                <a:rect l="0" t="0" r="r" b="b"/>
                <a:pathLst>
                  <a:path h="10">
                    <a:moveTo>
                      <a:pt x="0" y="4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17" name="Freeform 115">
                <a:extLst>
                  <a:ext uri="{FF2B5EF4-FFF2-40B4-BE49-F238E27FC236}">
                    <a16:creationId xmlns:a16="http://schemas.microsoft.com/office/drawing/2014/main" id="{F898EA06-795C-4E53-BBBA-A47A2EB049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0" y="3590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0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18" name="Freeform 116">
                <a:extLst>
                  <a:ext uri="{FF2B5EF4-FFF2-40B4-BE49-F238E27FC236}">
                    <a16:creationId xmlns:a16="http://schemas.microsoft.com/office/drawing/2014/main" id="{CB55A5E8-24C0-4219-B411-4E73450E5B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9" y="2555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0 h 4"/>
                  <a:gd name="T4" fmla="*/ 0 w 2"/>
                  <a:gd name="T5" fmla="*/ 0 h 4"/>
                  <a:gd name="T6" fmla="*/ 2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19" name="Freeform 117">
                <a:extLst>
                  <a:ext uri="{FF2B5EF4-FFF2-40B4-BE49-F238E27FC236}">
                    <a16:creationId xmlns:a16="http://schemas.microsoft.com/office/drawing/2014/main" id="{D54CB803-0AAC-4056-8BB2-7582D0DABA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1" y="2608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  <a:gd name="T3" fmla="*/ 0 h 1"/>
                  <a:gd name="T4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20" name="Freeform 118">
                <a:extLst>
                  <a:ext uri="{FF2B5EF4-FFF2-40B4-BE49-F238E27FC236}">
                    <a16:creationId xmlns:a16="http://schemas.microsoft.com/office/drawing/2014/main" id="{D2203E1D-7ACE-476E-B54B-1B90B805F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1" y="3595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0 w 4"/>
                  <a:gd name="T3" fmla="*/ 0 h 2"/>
                  <a:gd name="T4" fmla="*/ 4 w 4"/>
                  <a:gd name="T5" fmla="*/ 0 h 2"/>
                  <a:gd name="T6" fmla="*/ 0 w 4"/>
                  <a:gd name="T7" fmla="*/ 0 h 2"/>
                  <a:gd name="T8" fmla="*/ 0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21" name="Freeform 119">
                <a:extLst>
                  <a:ext uri="{FF2B5EF4-FFF2-40B4-BE49-F238E27FC236}">
                    <a16:creationId xmlns:a16="http://schemas.microsoft.com/office/drawing/2014/main" id="{0EDEFF82-2F80-4F42-BD04-E657408EBB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9" y="3080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4 w 4"/>
                  <a:gd name="T3" fmla="*/ 0 h 6"/>
                  <a:gd name="T4" fmla="*/ 4 w 4"/>
                  <a:gd name="T5" fmla="*/ 0 h 6"/>
                  <a:gd name="T6" fmla="*/ 0 w 4"/>
                  <a:gd name="T7" fmla="*/ 6 h 6"/>
                  <a:gd name="T8" fmla="*/ 0 w 4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22" name="Freeform 120">
                <a:extLst>
                  <a:ext uri="{FF2B5EF4-FFF2-40B4-BE49-F238E27FC236}">
                    <a16:creationId xmlns:a16="http://schemas.microsoft.com/office/drawing/2014/main" id="{386FE65F-25F0-4217-BB2B-58AED723C0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0" y="3357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2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  <a:gd name="T10" fmla="*/ 2 w 2"/>
                  <a:gd name="T11" fmla="*/ 0 h 2"/>
                  <a:gd name="T12" fmla="*/ 0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23" name="Freeform 121">
                <a:extLst>
                  <a:ext uri="{FF2B5EF4-FFF2-40B4-BE49-F238E27FC236}">
                    <a16:creationId xmlns:a16="http://schemas.microsoft.com/office/drawing/2014/main" id="{C6363863-4A37-4641-A3A3-137EA5280A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3336"/>
                <a:ext cx="2" cy="4"/>
              </a:xfrm>
              <a:custGeom>
                <a:avLst/>
                <a:gdLst>
                  <a:gd name="T0" fmla="*/ 0 w 2"/>
                  <a:gd name="T1" fmla="*/ 2 h 4"/>
                  <a:gd name="T2" fmla="*/ 0 w 2"/>
                  <a:gd name="T3" fmla="*/ 4 h 4"/>
                  <a:gd name="T4" fmla="*/ 0 w 2"/>
                  <a:gd name="T5" fmla="*/ 2 h 4"/>
                  <a:gd name="T6" fmla="*/ 0 w 2"/>
                  <a:gd name="T7" fmla="*/ 0 h 4"/>
                  <a:gd name="T8" fmla="*/ 2 w 2"/>
                  <a:gd name="T9" fmla="*/ 0 h 4"/>
                  <a:gd name="T10" fmla="*/ 0 w 2"/>
                  <a:gd name="T11" fmla="*/ 0 h 4"/>
                  <a:gd name="T12" fmla="*/ 0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24" name="Freeform 122">
                <a:extLst>
                  <a:ext uri="{FF2B5EF4-FFF2-40B4-BE49-F238E27FC236}">
                    <a16:creationId xmlns:a16="http://schemas.microsoft.com/office/drawing/2014/main" id="{71CE942D-C8CA-4642-9F45-8F0801F29A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7" y="2637"/>
                <a:ext cx="6" cy="6"/>
              </a:xfrm>
              <a:custGeom>
                <a:avLst/>
                <a:gdLst>
                  <a:gd name="T0" fmla="*/ 4 w 6"/>
                  <a:gd name="T1" fmla="*/ 2 h 6"/>
                  <a:gd name="T2" fmla="*/ 4 w 6"/>
                  <a:gd name="T3" fmla="*/ 6 h 6"/>
                  <a:gd name="T4" fmla="*/ 6 w 6"/>
                  <a:gd name="T5" fmla="*/ 6 h 6"/>
                  <a:gd name="T6" fmla="*/ 4 w 6"/>
                  <a:gd name="T7" fmla="*/ 6 h 6"/>
                  <a:gd name="T8" fmla="*/ 4 w 6"/>
                  <a:gd name="T9" fmla="*/ 2 h 6"/>
                  <a:gd name="T10" fmla="*/ 2 w 6"/>
                  <a:gd name="T11" fmla="*/ 0 h 6"/>
                  <a:gd name="T12" fmla="*/ 0 w 6"/>
                  <a:gd name="T13" fmla="*/ 0 h 6"/>
                  <a:gd name="T14" fmla="*/ 2 w 6"/>
                  <a:gd name="T15" fmla="*/ 0 h 6"/>
                  <a:gd name="T16" fmla="*/ 4 w 6"/>
                  <a:gd name="T1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4" y="2"/>
                    </a:moveTo>
                    <a:lnTo>
                      <a:pt x="4" y="6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25" name="Freeform 123">
                <a:extLst>
                  <a:ext uri="{FF2B5EF4-FFF2-40B4-BE49-F238E27FC236}">
                    <a16:creationId xmlns:a16="http://schemas.microsoft.com/office/drawing/2014/main" id="{54A961E3-ABF1-4E57-8CC3-43780A9577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6" y="3330"/>
                <a:ext cx="4" cy="4"/>
              </a:xfrm>
              <a:custGeom>
                <a:avLst/>
                <a:gdLst>
                  <a:gd name="T0" fmla="*/ 0 w 4"/>
                  <a:gd name="T1" fmla="*/ 4 h 4"/>
                  <a:gd name="T2" fmla="*/ 0 w 4"/>
                  <a:gd name="T3" fmla="*/ 4 h 4"/>
                  <a:gd name="T4" fmla="*/ 4 w 4"/>
                  <a:gd name="T5" fmla="*/ 0 h 4"/>
                  <a:gd name="T6" fmla="*/ 0 w 4"/>
                  <a:gd name="T7" fmla="*/ 4 h 4"/>
                  <a:gd name="T8" fmla="*/ 0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0" y="4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26" name="Freeform 124">
                <a:extLst>
                  <a:ext uri="{FF2B5EF4-FFF2-40B4-BE49-F238E27FC236}">
                    <a16:creationId xmlns:a16="http://schemas.microsoft.com/office/drawing/2014/main" id="{5DE2997B-3B2E-4B86-B1A2-D87B61037E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4" y="3168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0 w 4"/>
                  <a:gd name="T3" fmla="*/ 0 h 2"/>
                  <a:gd name="T4" fmla="*/ 0 w 4"/>
                  <a:gd name="T5" fmla="*/ 0 h 2"/>
                  <a:gd name="T6" fmla="*/ 4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27" name="Freeform 125">
                <a:extLst>
                  <a:ext uri="{FF2B5EF4-FFF2-40B4-BE49-F238E27FC236}">
                    <a16:creationId xmlns:a16="http://schemas.microsoft.com/office/drawing/2014/main" id="{006B4E7B-7B26-4422-89A5-1199A3F3D5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3342"/>
                <a:ext cx="0" cy="7"/>
              </a:xfrm>
              <a:custGeom>
                <a:avLst/>
                <a:gdLst>
                  <a:gd name="T0" fmla="*/ 7 h 7"/>
                  <a:gd name="T1" fmla="*/ 0 h 7"/>
                  <a:gd name="T2" fmla="*/ 0 h 7"/>
                  <a:gd name="T3" fmla="*/ 0 h 7"/>
                  <a:gd name="T4" fmla="*/ 7 h 7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7">
                    <a:moveTo>
                      <a:pt x="0" y="7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28" name="Freeform 126">
                <a:extLst>
                  <a:ext uri="{FF2B5EF4-FFF2-40B4-BE49-F238E27FC236}">
                    <a16:creationId xmlns:a16="http://schemas.microsoft.com/office/drawing/2014/main" id="{84E39064-E62C-4C05-B4E6-B2F3BCA1D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6" y="3129"/>
                <a:ext cx="0" cy="6"/>
              </a:xfrm>
              <a:custGeom>
                <a:avLst/>
                <a:gdLst>
                  <a:gd name="T0" fmla="*/ 6 h 6"/>
                  <a:gd name="T1" fmla="*/ 0 h 6"/>
                  <a:gd name="T2" fmla="*/ 0 h 6"/>
                  <a:gd name="T3" fmla="*/ 0 h 6"/>
                  <a:gd name="T4" fmla="*/ 6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6">
                    <a:moveTo>
                      <a:pt x="0" y="6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29" name="Freeform 127">
                <a:extLst>
                  <a:ext uri="{FF2B5EF4-FFF2-40B4-BE49-F238E27FC236}">
                    <a16:creationId xmlns:a16="http://schemas.microsoft.com/office/drawing/2014/main" id="{B72E7231-E2E3-4F4A-A45C-808C12596A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2" y="3299"/>
                <a:ext cx="7" cy="6"/>
              </a:xfrm>
              <a:custGeom>
                <a:avLst/>
                <a:gdLst>
                  <a:gd name="T0" fmla="*/ 5 w 7"/>
                  <a:gd name="T1" fmla="*/ 4 h 6"/>
                  <a:gd name="T2" fmla="*/ 0 w 7"/>
                  <a:gd name="T3" fmla="*/ 6 h 6"/>
                  <a:gd name="T4" fmla="*/ 0 w 7"/>
                  <a:gd name="T5" fmla="*/ 6 h 6"/>
                  <a:gd name="T6" fmla="*/ 0 w 7"/>
                  <a:gd name="T7" fmla="*/ 6 h 6"/>
                  <a:gd name="T8" fmla="*/ 5 w 7"/>
                  <a:gd name="T9" fmla="*/ 4 h 6"/>
                  <a:gd name="T10" fmla="*/ 7 w 7"/>
                  <a:gd name="T11" fmla="*/ 2 h 6"/>
                  <a:gd name="T12" fmla="*/ 7 w 7"/>
                  <a:gd name="T13" fmla="*/ 0 h 6"/>
                  <a:gd name="T14" fmla="*/ 7 w 7"/>
                  <a:gd name="T15" fmla="*/ 2 h 6"/>
                  <a:gd name="T16" fmla="*/ 5 w 7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6">
                    <a:moveTo>
                      <a:pt x="5" y="4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" y="4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7" y="2"/>
                    </a:lnTo>
                    <a:lnTo>
                      <a:pt x="5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30" name="Freeform 128">
                <a:extLst>
                  <a:ext uri="{FF2B5EF4-FFF2-40B4-BE49-F238E27FC236}">
                    <a16:creationId xmlns:a16="http://schemas.microsoft.com/office/drawing/2014/main" id="{F09CD449-7924-4352-BA2E-260648120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1" y="3287"/>
                <a:ext cx="0" cy="8"/>
              </a:xfrm>
              <a:custGeom>
                <a:avLst/>
                <a:gdLst>
                  <a:gd name="T0" fmla="*/ 8 h 8"/>
                  <a:gd name="T1" fmla="*/ 4 h 8"/>
                  <a:gd name="T2" fmla="*/ 0 h 8"/>
                  <a:gd name="T3" fmla="*/ 4 h 8"/>
                  <a:gd name="T4" fmla="*/ 8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8">
                    <a:moveTo>
                      <a:pt x="0" y="8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31" name="Freeform 129">
                <a:extLst>
                  <a:ext uri="{FF2B5EF4-FFF2-40B4-BE49-F238E27FC236}">
                    <a16:creationId xmlns:a16="http://schemas.microsoft.com/office/drawing/2014/main" id="{BA5068D7-2754-44E6-9CE6-919B8D7C3E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" y="3314"/>
                <a:ext cx="4" cy="8"/>
              </a:xfrm>
              <a:custGeom>
                <a:avLst/>
                <a:gdLst>
                  <a:gd name="T0" fmla="*/ 0 w 4"/>
                  <a:gd name="T1" fmla="*/ 8 h 8"/>
                  <a:gd name="T2" fmla="*/ 0 w 4"/>
                  <a:gd name="T3" fmla="*/ 8 h 8"/>
                  <a:gd name="T4" fmla="*/ 2 w 4"/>
                  <a:gd name="T5" fmla="*/ 2 h 8"/>
                  <a:gd name="T6" fmla="*/ 4 w 4"/>
                  <a:gd name="T7" fmla="*/ 0 h 8"/>
                  <a:gd name="T8" fmla="*/ 2 w 4"/>
                  <a:gd name="T9" fmla="*/ 2 h 8"/>
                  <a:gd name="T10" fmla="*/ 0 w 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0" y="8"/>
                    </a:moveTo>
                    <a:lnTo>
                      <a:pt x="0" y="8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32" name="Freeform 130">
                <a:extLst>
                  <a:ext uri="{FF2B5EF4-FFF2-40B4-BE49-F238E27FC236}">
                    <a16:creationId xmlns:a16="http://schemas.microsoft.com/office/drawing/2014/main" id="{166EADCA-1334-4845-B597-90BAC07C6D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3351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2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33" name="Rectangle 131">
                <a:extLst>
                  <a:ext uri="{FF2B5EF4-FFF2-40B4-BE49-F238E27FC236}">
                    <a16:creationId xmlns:a16="http://schemas.microsoft.com/office/drawing/2014/main" id="{DBF8C75B-91CF-4606-9837-D3D06BC9C9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23" y="3281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34" name="Freeform 132">
                <a:extLst>
                  <a:ext uri="{FF2B5EF4-FFF2-40B4-BE49-F238E27FC236}">
                    <a16:creationId xmlns:a16="http://schemas.microsoft.com/office/drawing/2014/main" id="{2393B08C-753F-4854-A1E1-0D78C733B7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" y="3326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35" name="Freeform 133">
                <a:extLst>
                  <a:ext uri="{FF2B5EF4-FFF2-40B4-BE49-F238E27FC236}">
                    <a16:creationId xmlns:a16="http://schemas.microsoft.com/office/drawing/2014/main" id="{F9917D72-DDEB-417F-9173-547BA4E74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3" y="2543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  <a:gd name="T14" fmla="*/ 0 w 2"/>
                  <a:gd name="T15" fmla="*/ 0 h 2"/>
                  <a:gd name="T16" fmla="*/ 2 w 2"/>
                  <a:gd name="T17" fmla="*/ 0 h 2"/>
                  <a:gd name="T18" fmla="*/ 2 w 2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36" name="Freeform 134">
                <a:extLst>
                  <a:ext uri="{FF2B5EF4-FFF2-40B4-BE49-F238E27FC236}">
                    <a16:creationId xmlns:a16="http://schemas.microsoft.com/office/drawing/2014/main" id="{6FE779E8-7562-44C0-B630-ECA5AB7C7A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" y="2631"/>
                <a:ext cx="2" cy="6"/>
              </a:xfrm>
              <a:custGeom>
                <a:avLst/>
                <a:gdLst>
                  <a:gd name="T0" fmla="*/ 2 w 2"/>
                  <a:gd name="T1" fmla="*/ 6 h 6"/>
                  <a:gd name="T2" fmla="*/ 2 w 2"/>
                  <a:gd name="T3" fmla="*/ 6 h 6"/>
                  <a:gd name="T4" fmla="*/ 0 w 2"/>
                  <a:gd name="T5" fmla="*/ 0 h 6"/>
                  <a:gd name="T6" fmla="*/ 0 w 2"/>
                  <a:gd name="T7" fmla="*/ 0 h 6"/>
                  <a:gd name="T8" fmla="*/ 2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2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37" name="Freeform 135">
                <a:extLst>
                  <a:ext uri="{FF2B5EF4-FFF2-40B4-BE49-F238E27FC236}">
                    <a16:creationId xmlns:a16="http://schemas.microsoft.com/office/drawing/2014/main" id="{AE88C3BC-2928-456C-BD00-627DBF15BA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7" y="3410"/>
                <a:ext cx="2" cy="16"/>
              </a:xfrm>
              <a:custGeom>
                <a:avLst/>
                <a:gdLst>
                  <a:gd name="T0" fmla="*/ 2 w 2"/>
                  <a:gd name="T1" fmla="*/ 14 h 16"/>
                  <a:gd name="T2" fmla="*/ 0 w 2"/>
                  <a:gd name="T3" fmla="*/ 16 h 16"/>
                  <a:gd name="T4" fmla="*/ 2 w 2"/>
                  <a:gd name="T5" fmla="*/ 14 h 16"/>
                  <a:gd name="T6" fmla="*/ 0 w 2"/>
                  <a:gd name="T7" fmla="*/ 2 h 16"/>
                  <a:gd name="T8" fmla="*/ 0 w 2"/>
                  <a:gd name="T9" fmla="*/ 0 h 16"/>
                  <a:gd name="T10" fmla="*/ 0 w 2"/>
                  <a:gd name="T11" fmla="*/ 2 h 16"/>
                  <a:gd name="T12" fmla="*/ 2 w 2"/>
                  <a:gd name="T13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16">
                    <a:moveTo>
                      <a:pt x="2" y="14"/>
                    </a:moveTo>
                    <a:lnTo>
                      <a:pt x="0" y="16"/>
                    </a:lnTo>
                    <a:lnTo>
                      <a:pt x="2" y="1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38" name="Freeform 136">
                <a:extLst>
                  <a:ext uri="{FF2B5EF4-FFF2-40B4-BE49-F238E27FC236}">
                    <a16:creationId xmlns:a16="http://schemas.microsoft.com/office/drawing/2014/main" id="{3104C36A-5872-4993-A48B-A71BDEA1AD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5" y="3156"/>
                <a:ext cx="4" cy="12"/>
              </a:xfrm>
              <a:custGeom>
                <a:avLst/>
                <a:gdLst>
                  <a:gd name="T0" fmla="*/ 4 w 4"/>
                  <a:gd name="T1" fmla="*/ 12 h 12"/>
                  <a:gd name="T2" fmla="*/ 2 w 4"/>
                  <a:gd name="T3" fmla="*/ 4 h 12"/>
                  <a:gd name="T4" fmla="*/ 0 w 4"/>
                  <a:gd name="T5" fmla="*/ 0 h 12"/>
                  <a:gd name="T6" fmla="*/ 2 w 4"/>
                  <a:gd name="T7" fmla="*/ 4 h 12"/>
                  <a:gd name="T8" fmla="*/ 4 w 4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2">
                    <a:moveTo>
                      <a:pt x="4" y="12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39" name="Freeform 137">
                <a:extLst>
                  <a:ext uri="{FF2B5EF4-FFF2-40B4-BE49-F238E27FC236}">
                    <a16:creationId xmlns:a16="http://schemas.microsoft.com/office/drawing/2014/main" id="{EBAC98AE-7140-4D62-B9D8-9F094F2C7A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3" y="2526"/>
                <a:ext cx="2" cy="17"/>
              </a:xfrm>
              <a:custGeom>
                <a:avLst/>
                <a:gdLst>
                  <a:gd name="T0" fmla="*/ 2 w 2"/>
                  <a:gd name="T1" fmla="*/ 5 h 17"/>
                  <a:gd name="T2" fmla="*/ 2 w 2"/>
                  <a:gd name="T3" fmla="*/ 13 h 17"/>
                  <a:gd name="T4" fmla="*/ 0 w 2"/>
                  <a:gd name="T5" fmla="*/ 17 h 17"/>
                  <a:gd name="T6" fmla="*/ 2 w 2"/>
                  <a:gd name="T7" fmla="*/ 13 h 17"/>
                  <a:gd name="T8" fmla="*/ 2 w 2"/>
                  <a:gd name="T9" fmla="*/ 5 h 17"/>
                  <a:gd name="T10" fmla="*/ 2 w 2"/>
                  <a:gd name="T11" fmla="*/ 0 h 17"/>
                  <a:gd name="T12" fmla="*/ 2 w 2"/>
                  <a:gd name="T13" fmla="*/ 0 h 17"/>
                  <a:gd name="T14" fmla="*/ 2 w 2"/>
                  <a:gd name="T15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7">
                    <a:moveTo>
                      <a:pt x="2" y="5"/>
                    </a:moveTo>
                    <a:lnTo>
                      <a:pt x="2" y="13"/>
                    </a:lnTo>
                    <a:lnTo>
                      <a:pt x="0" y="17"/>
                    </a:lnTo>
                    <a:lnTo>
                      <a:pt x="2" y="13"/>
                    </a:lnTo>
                    <a:lnTo>
                      <a:pt x="2" y="5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40" name="Freeform 138">
                <a:extLst>
                  <a:ext uri="{FF2B5EF4-FFF2-40B4-BE49-F238E27FC236}">
                    <a16:creationId xmlns:a16="http://schemas.microsoft.com/office/drawing/2014/main" id="{71A00F31-089F-4841-867B-2AEC0EB6BE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3445"/>
                <a:ext cx="0" cy="4"/>
              </a:xfrm>
              <a:custGeom>
                <a:avLst/>
                <a:gdLst>
                  <a:gd name="T0" fmla="*/ 4 h 4"/>
                  <a:gd name="T1" fmla="*/ 0 h 4"/>
                  <a:gd name="T2" fmla="*/ 4 h 4"/>
                  <a:gd name="T3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41" name="Freeform 139">
                <a:extLst>
                  <a:ext uri="{FF2B5EF4-FFF2-40B4-BE49-F238E27FC236}">
                    <a16:creationId xmlns:a16="http://schemas.microsoft.com/office/drawing/2014/main" id="{A754507E-03A3-4655-B63E-71EAC6B449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1" y="2545"/>
                <a:ext cx="4" cy="8"/>
              </a:xfrm>
              <a:custGeom>
                <a:avLst/>
                <a:gdLst>
                  <a:gd name="T0" fmla="*/ 0 w 4"/>
                  <a:gd name="T1" fmla="*/ 8 h 8"/>
                  <a:gd name="T2" fmla="*/ 0 w 4"/>
                  <a:gd name="T3" fmla="*/ 8 h 8"/>
                  <a:gd name="T4" fmla="*/ 0 w 4"/>
                  <a:gd name="T5" fmla="*/ 8 h 8"/>
                  <a:gd name="T6" fmla="*/ 2 w 4"/>
                  <a:gd name="T7" fmla="*/ 2 h 8"/>
                  <a:gd name="T8" fmla="*/ 4 w 4"/>
                  <a:gd name="T9" fmla="*/ 0 h 8"/>
                  <a:gd name="T10" fmla="*/ 2 w 4"/>
                  <a:gd name="T11" fmla="*/ 2 h 8"/>
                  <a:gd name="T12" fmla="*/ 0 w 4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0" y="8"/>
                    </a:moveTo>
                    <a:lnTo>
                      <a:pt x="0" y="8"/>
                    </a:lnTo>
                    <a:lnTo>
                      <a:pt x="0" y="8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42" name="Freeform 140">
                <a:extLst>
                  <a:ext uri="{FF2B5EF4-FFF2-40B4-BE49-F238E27FC236}">
                    <a16:creationId xmlns:a16="http://schemas.microsoft.com/office/drawing/2014/main" id="{6EF2ACA0-9FC3-4996-9ECA-20923DC7F1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7" y="2520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0 h 4"/>
                  <a:gd name="T4" fmla="*/ 2 w 2"/>
                  <a:gd name="T5" fmla="*/ 0 h 4"/>
                  <a:gd name="T6" fmla="*/ 2 w 2"/>
                  <a:gd name="T7" fmla="*/ 0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43" name="Freeform 141">
                <a:extLst>
                  <a:ext uri="{FF2B5EF4-FFF2-40B4-BE49-F238E27FC236}">
                    <a16:creationId xmlns:a16="http://schemas.microsoft.com/office/drawing/2014/main" id="{A957EAE1-4AD1-4B0D-82AF-854A501337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6" y="3381"/>
                <a:ext cx="8" cy="6"/>
              </a:xfrm>
              <a:custGeom>
                <a:avLst/>
                <a:gdLst>
                  <a:gd name="T0" fmla="*/ 4 w 8"/>
                  <a:gd name="T1" fmla="*/ 4 h 6"/>
                  <a:gd name="T2" fmla="*/ 0 w 8"/>
                  <a:gd name="T3" fmla="*/ 6 h 6"/>
                  <a:gd name="T4" fmla="*/ 0 w 8"/>
                  <a:gd name="T5" fmla="*/ 6 h 6"/>
                  <a:gd name="T6" fmla="*/ 0 w 8"/>
                  <a:gd name="T7" fmla="*/ 6 h 6"/>
                  <a:gd name="T8" fmla="*/ 4 w 8"/>
                  <a:gd name="T9" fmla="*/ 4 h 6"/>
                  <a:gd name="T10" fmla="*/ 6 w 8"/>
                  <a:gd name="T11" fmla="*/ 2 h 6"/>
                  <a:gd name="T12" fmla="*/ 8 w 8"/>
                  <a:gd name="T13" fmla="*/ 0 h 6"/>
                  <a:gd name="T14" fmla="*/ 6 w 8"/>
                  <a:gd name="T15" fmla="*/ 2 h 6"/>
                  <a:gd name="T16" fmla="*/ 4 w 8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6">
                    <a:moveTo>
                      <a:pt x="4" y="4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44" name="Freeform 142">
                <a:extLst>
                  <a:ext uri="{FF2B5EF4-FFF2-40B4-BE49-F238E27FC236}">
                    <a16:creationId xmlns:a16="http://schemas.microsoft.com/office/drawing/2014/main" id="{F44FE260-4D74-4398-8B6E-164AFFB701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0" y="3170"/>
                <a:ext cx="5" cy="8"/>
              </a:xfrm>
              <a:custGeom>
                <a:avLst/>
                <a:gdLst>
                  <a:gd name="T0" fmla="*/ 4 w 5"/>
                  <a:gd name="T1" fmla="*/ 8 h 8"/>
                  <a:gd name="T2" fmla="*/ 4 w 5"/>
                  <a:gd name="T3" fmla="*/ 8 h 8"/>
                  <a:gd name="T4" fmla="*/ 5 w 5"/>
                  <a:gd name="T5" fmla="*/ 4 h 8"/>
                  <a:gd name="T6" fmla="*/ 0 w 5"/>
                  <a:gd name="T7" fmla="*/ 0 h 8"/>
                  <a:gd name="T8" fmla="*/ 5 w 5"/>
                  <a:gd name="T9" fmla="*/ 4 h 8"/>
                  <a:gd name="T10" fmla="*/ 4 w 5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8">
                    <a:moveTo>
                      <a:pt x="4" y="8"/>
                    </a:moveTo>
                    <a:lnTo>
                      <a:pt x="4" y="8"/>
                    </a:lnTo>
                    <a:lnTo>
                      <a:pt x="5" y="4"/>
                    </a:lnTo>
                    <a:lnTo>
                      <a:pt x="0" y="0"/>
                    </a:lnTo>
                    <a:lnTo>
                      <a:pt x="5" y="4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45" name="Rectangle 143">
                <a:extLst>
                  <a:ext uri="{FF2B5EF4-FFF2-40B4-BE49-F238E27FC236}">
                    <a16:creationId xmlns:a16="http://schemas.microsoft.com/office/drawing/2014/main" id="{65A47BF6-5AB2-4105-A569-1C384EE83D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263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46" name="Freeform 144">
                <a:extLst>
                  <a:ext uri="{FF2B5EF4-FFF2-40B4-BE49-F238E27FC236}">
                    <a16:creationId xmlns:a16="http://schemas.microsoft.com/office/drawing/2014/main" id="{96044ABE-8D2F-4856-91B5-91CA417397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3" y="2625"/>
                <a:ext cx="4" cy="6"/>
              </a:xfrm>
              <a:custGeom>
                <a:avLst/>
                <a:gdLst>
                  <a:gd name="T0" fmla="*/ 4 w 4"/>
                  <a:gd name="T1" fmla="*/ 6 h 6"/>
                  <a:gd name="T2" fmla="*/ 4 w 4"/>
                  <a:gd name="T3" fmla="*/ 6 h 6"/>
                  <a:gd name="T4" fmla="*/ 0 w 4"/>
                  <a:gd name="T5" fmla="*/ 0 h 6"/>
                  <a:gd name="T6" fmla="*/ 0 w 4"/>
                  <a:gd name="T7" fmla="*/ 0 h 6"/>
                  <a:gd name="T8" fmla="*/ 0 w 4"/>
                  <a:gd name="T9" fmla="*/ 0 h 6"/>
                  <a:gd name="T10" fmla="*/ 4 w 4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4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47" name="Freeform 145">
                <a:extLst>
                  <a:ext uri="{FF2B5EF4-FFF2-40B4-BE49-F238E27FC236}">
                    <a16:creationId xmlns:a16="http://schemas.microsoft.com/office/drawing/2014/main" id="{54A184A2-FAB2-4A1D-A943-0C9CB11936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6" y="3228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0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48" name="Freeform 146">
                <a:extLst>
                  <a:ext uri="{FF2B5EF4-FFF2-40B4-BE49-F238E27FC236}">
                    <a16:creationId xmlns:a16="http://schemas.microsoft.com/office/drawing/2014/main" id="{C82E5CEE-563A-47D6-BD14-D8E3884CEF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9" y="3148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2 h 4"/>
                  <a:gd name="T4" fmla="*/ 0 w 2"/>
                  <a:gd name="T5" fmla="*/ 0 h 4"/>
                  <a:gd name="T6" fmla="*/ 2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49" name="Freeform 147">
                <a:extLst>
                  <a:ext uri="{FF2B5EF4-FFF2-40B4-BE49-F238E27FC236}">
                    <a16:creationId xmlns:a16="http://schemas.microsoft.com/office/drawing/2014/main" id="{2A6ECFAE-1075-4703-8A73-E2BAD94641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7" y="3394"/>
                <a:ext cx="13" cy="14"/>
              </a:xfrm>
              <a:custGeom>
                <a:avLst/>
                <a:gdLst>
                  <a:gd name="T0" fmla="*/ 2 w 13"/>
                  <a:gd name="T1" fmla="*/ 10 h 14"/>
                  <a:gd name="T2" fmla="*/ 0 w 13"/>
                  <a:gd name="T3" fmla="*/ 14 h 14"/>
                  <a:gd name="T4" fmla="*/ 2 w 13"/>
                  <a:gd name="T5" fmla="*/ 10 h 14"/>
                  <a:gd name="T6" fmla="*/ 13 w 13"/>
                  <a:gd name="T7" fmla="*/ 0 h 14"/>
                  <a:gd name="T8" fmla="*/ 13 w 13"/>
                  <a:gd name="T9" fmla="*/ 0 h 14"/>
                  <a:gd name="T10" fmla="*/ 13 w 13"/>
                  <a:gd name="T11" fmla="*/ 0 h 14"/>
                  <a:gd name="T12" fmla="*/ 2 w 13"/>
                  <a:gd name="T13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4">
                    <a:moveTo>
                      <a:pt x="2" y="10"/>
                    </a:moveTo>
                    <a:lnTo>
                      <a:pt x="0" y="14"/>
                    </a:lnTo>
                    <a:lnTo>
                      <a:pt x="2" y="1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50" name="Freeform 148">
                <a:extLst>
                  <a:ext uri="{FF2B5EF4-FFF2-40B4-BE49-F238E27FC236}">
                    <a16:creationId xmlns:a16="http://schemas.microsoft.com/office/drawing/2014/main" id="{7A19A52F-D90B-4FC4-919B-F19DCF8165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0" y="2455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2 h 2"/>
                  <a:gd name="T4" fmla="*/ 0 w 4"/>
                  <a:gd name="T5" fmla="*/ 0 h 2"/>
                  <a:gd name="T6" fmla="*/ 4 w 4"/>
                  <a:gd name="T7" fmla="*/ 2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51" name="Freeform 149">
                <a:extLst>
                  <a:ext uri="{FF2B5EF4-FFF2-40B4-BE49-F238E27FC236}">
                    <a16:creationId xmlns:a16="http://schemas.microsoft.com/office/drawing/2014/main" id="{B70BD49E-CF12-4835-A97B-04A1362DFE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9" y="3221"/>
                <a:ext cx="2" cy="3"/>
              </a:xfrm>
              <a:custGeom>
                <a:avLst/>
                <a:gdLst>
                  <a:gd name="T0" fmla="*/ 2 w 2"/>
                  <a:gd name="T1" fmla="*/ 0 h 3"/>
                  <a:gd name="T2" fmla="*/ 2 w 2"/>
                  <a:gd name="T3" fmla="*/ 0 h 3"/>
                  <a:gd name="T4" fmla="*/ 2 w 2"/>
                  <a:gd name="T5" fmla="*/ 0 h 3"/>
                  <a:gd name="T6" fmla="*/ 0 w 2"/>
                  <a:gd name="T7" fmla="*/ 3 h 3"/>
                  <a:gd name="T8" fmla="*/ 2 w 2"/>
                  <a:gd name="T9" fmla="*/ 0 h 3"/>
                  <a:gd name="T10" fmla="*/ 2 w 2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52" name="Freeform 150">
                <a:extLst>
                  <a:ext uri="{FF2B5EF4-FFF2-40B4-BE49-F238E27FC236}">
                    <a16:creationId xmlns:a16="http://schemas.microsoft.com/office/drawing/2014/main" id="{AF760633-71F4-451E-ABA3-A012B2636A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8" y="3018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  <a:gd name="T3" fmla="*/ 0 h 1"/>
                  <a:gd name="T4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53" name="Rectangle 151">
                <a:extLst>
                  <a:ext uri="{FF2B5EF4-FFF2-40B4-BE49-F238E27FC236}">
                    <a16:creationId xmlns:a16="http://schemas.microsoft.com/office/drawing/2014/main" id="{3CE049FF-12DC-447E-BC30-74338914B4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8" y="302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54" name="Freeform 152">
                <a:extLst>
                  <a:ext uri="{FF2B5EF4-FFF2-40B4-BE49-F238E27FC236}">
                    <a16:creationId xmlns:a16="http://schemas.microsoft.com/office/drawing/2014/main" id="{827D27BF-6E78-420A-9878-118C291EE9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" y="2336"/>
                <a:ext cx="39" cy="18"/>
              </a:xfrm>
              <a:custGeom>
                <a:avLst/>
                <a:gdLst>
                  <a:gd name="T0" fmla="*/ 0 w 39"/>
                  <a:gd name="T1" fmla="*/ 16 h 18"/>
                  <a:gd name="T2" fmla="*/ 0 w 39"/>
                  <a:gd name="T3" fmla="*/ 18 h 18"/>
                  <a:gd name="T4" fmla="*/ 0 w 39"/>
                  <a:gd name="T5" fmla="*/ 16 h 18"/>
                  <a:gd name="T6" fmla="*/ 29 w 39"/>
                  <a:gd name="T7" fmla="*/ 8 h 18"/>
                  <a:gd name="T8" fmla="*/ 39 w 39"/>
                  <a:gd name="T9" fmla="*/ 0 h 18"/>
                  <a:gd name="T10" fmla="*/ 29 w 39"/>
                  <a:gd name="T11" fmla="*/ 8 h 18"/>
                  <a:gd name="T12" fmla="*/ 0 w 39"/>
                  <a:gd name="T13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18">
                    <a:moveTo>
                      <a:pt x="0" y="16"/>
                    </a:moveTo>
                    <a:lnTo>
                      <a:pt x="0" y="18"/>
                    </a:lnTo>
                    <a:lnTo>
                      <a:pt x="0" y="16"/>
                    </a:lnTo>
                    <a:lnTo>
                      <a:pt x="29" y="8"/>
                    </a:lnTo>
                    <a:lnTo>
                      <a:pt x="39" y="0"/>
                    </a:lnTo>
                    <a:lnTo>
                      <a:pt x="29" y="8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55" name="Freeform 153">
                <a:extLst>
                  <a:ext uri="{FF2B5EF4-FFF2-40B4-BE49-F238E27FC236}">
                    <a16:creationId xmlns:a16="http://schemas.microsoft.com/office/drawing/2014/main" id="{0BA6E370-3C0B-4A7C-B07E-A67FF2997C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2" y="3207"/>
                <a:ext cx="6" cy="6"/>
              </a:xfrm>
              <a:custGeom>
                <a:avLst/>
                <a:gdLst>
                  <a:gd name="T0" fmla="*/ 4 w 6"/>
                  <a:gd name="T1" fmla="*/ 4 h 6"/>
                  <a:gd name="T2" fmla="*/ 6 w 6"/>
                  <a:gd name="T3" fmla="*/ 0 h 6"/>
                  <a:gd name="T4" fmla="*/ 6 w 6"/>
                  <a:gd name="T5" fmla="*/ 0 h 6"/>
                  <a:gd name="T6" fmla="*/ 6 w 6"/>
                  <a:gd name="T7" fmla="*/ 0 h 6"/>
                  <a:gd name="T8" fmla="*/ 4 w 6"/>
                  <a:gd name="T9" fmla="*/ 4 h 6"/>
                  <a:gd name="T10" fmla="*/ 4 w 6"/>
                  <a:gd name="T11" fmla="*/ 6 h 6"/>
                  <a:gd name="T12" fmla="*/ 0 w 6"/>
                  <a:gd name="T13" fmla="*/ 6 h 6"/>
                  <a:gd name="T14" fmla="*/ 4 w 6"/>
                  <a:gd name="T15" fmla="*/ 6 h 6"/>
                  <a:gd name="T16" fmla="*/ 4 w 6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4" y="4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56" name="Freeform 154">
                <a:extLst>
                  <a:ext uri="{FF2B5EF4-FFF2-40B4-BE49-F238E27FC236}">
                    <a16:creationId xmlns:a16="http://schemas.microsoft.com/office/drawing/2014/main" id="{1FF691AB-F3BC-4B33-86C7-79D1EE6005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6" y="3761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2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57" name="Freeform 155">
                <a:extLst>
                  <a:ext uri="{FF2B5EF4-FFF2-40B4-BE49-F238E27FC236}">
                    <a16:creationId xmlns:a16="http://schemas.microsoft.com/office/drawing/2014/main" id="{14503EF5-6770-4495-A7A0-74EE4C33C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8" y="3750"/>
                <a:ext cx="6" cy="9"/>
              </a:xfrm>
              <a:custGeom>
                <a:avLst/>
                <a:gdLst>
                  <a:gd name="T0" fmla="*/ 4 w 6"/>
                  <a:gd name="T1" fmla="*/ 6 h 9"/>
                  <a:gd name="T2" fmla="*/ 4 w 6"/>
                  <a:gd name="T3" fmla="*/ 8 h 9"/>
                  <a:gd name="T4" fmla="*/ 0 w 6"/>
                  <a:gd name="T5" fmla="*/ 9 h 9"/>
                  <a:gd name="T6" fmla="*/ 4 w 6"/>
                  <a:gd name="T7" fmla="*/ 8 h 9"/>
                  <a:gd name="T8" fmla="*/ 4 w 6"/>
                  <a:gd name="T9" fmla="*/ 6 h 9"/>
                  <a:gd name="T10" fmla="*/ 6 w 6"/>
                  <a:gd name="T11" fmla="*/ 2 h 9"/>
                  <a:gd name="T12" fmla="*/ 6 w 6"/>
                  <a:gd name="T13" fmla="*/ 0 h 9"/>
                  <a:gd name="T14" fmla="*/ 6 w 6"/>
                  <a:gd name="T15" fmla="*/ 2 h 9"/>
                  <a:gd name="T16" fmla="*/ 4 w 6"/>
                  <a:gd name="T17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9">
                    <a:moveTo>
                      <a:pt x="4" y="6"/>
                    </a:moveTo>
                    <a:lnTo>
                      <a:pt x="4" y="8"/>
                    </a:lnTo>
                    <a:lnTo>
                      <a:pt x="0" y="9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58" name="Freeform 156">
                <a:extLst>
                  <a:ext uri="{FF2B5EF4-FFF2-40B4-BE49-F238E27FC236}">
                    <a16:creationId xmlns:a16="http://schemas.microsoft.com/office/drawing/2014/main" id="{96F7F88C-DB52-48BE-83E1-FD3B9087F2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8" y="3041"/>
                <a:ext cx="20" cy="10"/>
              </a:xfrm>
              <a:custGeom>
                <a:avLst/>
                <a:gdLst>
                  <a:gd name="T0" fmla="*/ 16 w 20"/>
                  <a:gd name="T1" fmla="*/ 10 h 10"/>
                  <a:gd name="T2" fmla="*/ 20 w 20"/>
                  <a:gd name="T3" fmla="*/ 8 h 10"/>
                  <a:gd name="T4" fmla="*/ 16 w 20"/>
                  <a:gd name="T5" fmla="*/ 10 h 10"/>
                  <a:gd name="T6" fmla="*/ 8 w 20"/>
                  <a:gd name="T7" fmla="*/ 8 h 10"/>
                  <a:gd name="T8" fmla="*/ 0 w 20"/>
                  <a:gd name="T9" fmla="*/ 0 h 10"/>
                  <a:gd name="T10" fmla="*/ 8 w 20"/>
                  <a:gd name="T11" fmla="*/ 8 h 10"/>
                  <a:gd name="T12" fmla="*/ 16 w 20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">
                    <a:moveTo>
                      <a:pt x="16" y="10"/>
                    </a:moveTo>
                    <a:lnTo>
                      <a:pt x="20" y="8"/>
                    </a:lnTo>
                    <a:lnTo>
                      <a:pt x="16" y="10"/>
                    </a:lnTo>
                    <a:lnTo>
                      <a:pt x="8" y="8"/>
                    </a:lnTo>
                    <a:lnTo>
                      <a:pt x="0" y="0"/>
                    </a:lnTo>
                    <a:lnTo>
                      <a:pt x="8" y="8"/>
                    </a:lnTo>
                    <a:lnTo>
                      <a:pt x="16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59" name="Freeform 157">
                <a:extLst>
                  <a:ext uri="{FF2B5EF4-FFF2-40B4-BE49-F238E27FC236}">
                    <a16:creationId xmlns:a16="http://schemas.microsoft.com/office/drawing/2014/main" id="{7F55090B-C4B0-472C-A132-7559A3B930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1" y="3232"/>
                <a:ext cx="6" cy="14"/>
              </a:xfrm>
              <a:custGeom>
                <a:avLst/>
                <a:gdLst>
                  <a:gd name="T0" fmla="*/ 2 w 6"/>
                  <a:gd name="T1" fmla="*/ 4 h 14"/>
                  <a:gd name="T2" fmla="*/ 4 w 6"/>
                  <a:gd name="T3" fmla="*/ 2 h 14"/>
                  <a:gd name="T4" fmla="*/ 6 w 6"/>
                  <a:gd name="T5" fmla="*/ 0 h 14"/>
                  <a:gd name="T6" fmla="*/ 6 w 6"/>
                  <a:gd name="T7" fmla="*/ 0 h 14"/>
                  <a:gd name="T8" fmla="*/ 4 w 6"/>
                  <a:gd name="T9" fmla="*/ 2 h 14"/>
                  <a:gd name="T10" fmla="*/ 2 w 6"/>
                  <a:gd name="T11" fmla="*/ 4 h 14"/>
                  <a:gd name="T12" fmla="*/ 0 w 6"/>
                  <a:gd name="T13" fmla="*/ 14 h 14"/>
                  <a:gd name="T14" fmla="*/ 0 w 6"/>
                  <a:gd name="T15" fmla="*/ 14 h 14"/>
                  <a:gd name="T16" fmla="*/ 2 w 6"/>
                  <a:gd name="T17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4">
                    <a:moveTo>
                      <a:pt x="2" y="4"/>
                    </a:move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60" name="Freeform 158">
                <a:extLst>
                  <a:ext uri="{FF2B5EF4-FFF2-40B4-BE49-F238E27FC236}">
                    <a16:creationId xmlns:a16="http://schemas.microsoft.com/office/drawing/2014/main" id="{FBD0D60B-9911-4F35-885D-15BF55F41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4" y="3033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61" name="Freeform 159">
                <a:extLst>
                  <a:ext uri="{FF2B5EF4-FFF2-40B4-BE49-F238E27FC236}">
                    <a16:creationId xmlns:a16="http://schemas.microsoft.com/office/drawing/2014/main" id="{DB15F855-B68F-4EC3-8C1D-D7671E7298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0" y="3711"/>
                <a:ext cx="10" cy="15"/>
              </a:xfrm>
              <a:custGeom>
                <a:avLst/>
                <a:gdLst>
                  <a:gd name="T0" fmla="*/ 6 w 10"/>
                  <a:gd name="T1" fmla="*/ 4 h 15"/>
                  <a:gd name="T2" fmla="*/ 0 w 10"/>
                  <a:gd name="T3" fmla="*/ 13 h 15"/>
                  <a:gd name="T4" fmla="*/ 0 w 10"/>
                  <a:gd name="T5" fmla="*/ 15 h 15"/>
                  <a:gd name="T6" fmla="*/ 0 w 10"/>
                  <a:gd name="T7" fmla="*/ 13 h 15"/>
                  <a:gd name="T8" fmla="*/ 6 w 10"/>
                  <a:gd name="T9" fmla="*/ 4 h 15"/>
                  <a:gd name="T10" fmla="*/ 10 w 10"/>
                  <a:gd name="T11" fmla="*/ 0 h 15"/>
                  <a:gd name="T12" fmla="*/ 10 w 10"/>
                  <a:gd name="T13" fmla="*/ 0 h 15"/>
                  <a:gd name="T14" fmla="*/ 6 w 10"/>
                  <a:gd name="T15" fmla="*/ 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5">
                    <a:moveTo>
                      <a:pt x="6" y="4"/>
                    </a:moveTo>
                    <a:lnTo>
                      <a:pt x="0" y="13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6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62" name="Freeform 160">
                <a:extLst>
                  <a:ext uri="{FF2B5EF4-FFF2-40B4-BE49-F238E27FC236}">
                    <a16:creationId xmlns:a16="http://schemas.microsoft.com/office/drawing/2014/main" id="{AFA2C71D-D6AE-476A-8896-20D6D9CF2A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4" y="3732"/>
                <a:ext cx="4" cy="12"/>
              </a:xfrm>
              <a:custGeom>
                <a:avLst/>
                <a:gdLst>
                  <a:gd name="T0" fmla="*/ 2 w 4"/>
                  <a:gd name="T1" fmla="*/ 6 h 12"/>
                  <a:gd name="T2" fmla="*/ 0 w 4"/>
                  <a:gd name="T3" fmla="*/ 10 h 12"/>
                  <a:gd name="T4" fmla="*/ 0 w 4"/>
                  <a:gd name="T5" fmla="*/ 12 h 12"/>
                  <a:gd name="T6" fmla="*/ 0 w 4"/>
                  <a:gd name="T7" fmla="*/ 12 h 12"/>
                  <a:gd name="T8" fmla="*/ 0 w 4"/>
                  <a:gd name="T9" fmla="*/ 12 h 12"/>
                  <a:gd name="T10" fmla="*/ 0 w 4"/>
                  <a:gd name="T11" fmla="*/ 10 h 12"/>
                  <a:gd name="T12" fmla="*/ 2 w 4"/>
                  <a:gd name="T13" fmla="*/ 6 h 12"/>
                  <a:gd name="T14" fmla="*/ 4 w 4"/>
                  <a:gd name="T15" fmla="*/ 4 h 12"/>
                  <a:gd name="T16" fmla="*/ 4 w 4"/>
                  <a:gd name="T17" fmla="*/ 0 h 12"/>
                  <a:gd name="T18" fmla="*/ 4 w 4"/>
                  <a:gd name="T19" fmla="*/ 4 h 12"/>
                  <a:gd name="T20" fmla="*/ 2 w 4"/>
                  <a:gd name="T21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12">
                    <a:moveTo>
                      <a:pt x="2" y="6"/>
                    </a:move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63" name="Rectangle 161">
                <a:extLst>
                  <a:ext uri="{FF2B5EF4-FFF2-40B4-BE49-F238E27FC236}">
                    <a16:creationId xmlns:a16="http://schemas.microsoft.com/office/drawing/2014/main" id="{29DA029D-ED0F-4A7E-9E32-226AA023E2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6" y="24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64" name="Freeform 162">
                <a:extLst>
                  <a:ext uri="{FF2B5EF4-FFF2-40B4-BE49-F238E27FC236}">
                    <a16:creationId xmlns:a16="http://schemas.microsoft.com/office/drawing/2014/main" id="{1EA66F0F-2788-40BE-8297-DB4D7AFE19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8" y="2461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65" name="Freeform 163">
                <a:extLst>
                  <a:ext uri="{FF2B5EF4-FFF2-40B4-BE49-F238E27FC236}">
                    <a16:creationId xmlns:a16="http://schemas.microsoft.com/office/drawing/2014/main" id="{298FAD28-E9D0-4C57-AE3C-E2EFD52B69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3" y="3197"/>
                <a:ext cx="6" cy="6"/>
              </a:xfrm>
              <a:custGeom>
                <a:avLst/>
                <a:gdLst>
                  <a:gd name="T0" fmla="*/ 6 w 6"/>
                  <a:gd name="T1" fmla="*/ 0 h 6"/>
                  <a:gd name="T2" fmla="*/ 6 w 6"/>
                  <a:gd name="T3" fmla="*/ 0 h 6"/>
                  <a:gd name="T4" fmla="*/ 6 w 6"/>
                  <a:gd name="T5" fmla="*/ 0 h 6"/>
                  <a:gd name="T6" fmla="*/ 6 w 6"/>
                  <a:gd name="T7" fmla="*/ 0 h 6"/>
                  <a:gd name="T8" fmla="*/ 2 w 6"/>
                  <a:gd name="T9" fmla="*/ 4 h 6"/>
                  <a:gd name="T10" fmla="*/ 0 w 6"/>
                  <a:gd name="T11" fmla="*/ 6 h 6"/>
                  <a:gd name="T12" fmla="*/ 2 w 6"/>
                  <a:gd name="T13" fmla="*/ 4 h 6"/>
                  <a:gd name="T14" fmla="*/ 6 w 6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66" name="Freeform 164">
                <a:extLst>
                  <a:ext uri="{FF2B5EF4-FFF2-40B4-BE49-F238E27FC236}">
                    <a16:creationId xmlns:a16="http://schemas.microsoft.com/office/drawing/2014/main" id="{8A1A7218-5CC0-4165-89E8-15561A87F2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9" y="2416"/>
                <a:ext cx="8" cy="18"/>
              </a:xfrm>
              <a:custGeom>
                <a:avLst/>
                <a:gdLst>
                  <a:gd name="T0" fmla="*/ 0 w 8"/>
                  <a:gd name="T1" fmla="*/ 18 h 18"/>
                  <a:gd name="T2" fmla="*/ 0 w 8"/>
                  <a:gd name="T3" fmla="*/ 18 h 18"/>
                  <a:gd name="T4" fmla="*/ 8 w 8"/>
                  <a:gd name="T5" fmla="*/ 2 h 18"/>
                  <a:gd name="T6" fmla="*/ 8 w 8"/>
                  <a:gd name="T7" fmla="*/ 0 h 18"/>
                  <a:gd name="T8" fmla="*/ 8 w 8"/>
                  <a:gd name="T9" fmla="*/ 2 h 18"/>
                  <a:gd name="T10" fmla="*/ 0 w 8"/>
                  <a:gd name="T11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0" y="18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67" name="Freeform 165">
                <a:extLst>
                  <a:ext uri="{FF2B5EF4-FFF2-40B4-BE49-F238E27FC236}">
                    <a16:creationId xmlns:a16="http://schemas.microsoft.com/office/drawing/2014/main" id="{F3E74F7F-BF23-4FA4-9DB8-DD37D7C994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7" y="3014"/>
                <a:ext cx="11" cy="4"/>
              </a:xfrm>
              <a:custGeom>
                <a:avLst/>
                <a:gdLst>
                  <a:gd name="T0" fmla="*/ 2 w 11"/>
                  <a:gd name="T1" fmla="*/ 0 h 4"/>
                  <a:gd name="T2" fmla="*/ 4 w 11"/>
                  <a:gd name="T3" fmla="*/ 0 h 4"/>
                  <a:gd name="T4" fmla="*/ 6 w 11"/>
                  <a:gd name="T5" fmla="*/ 2 h 4"/>
                  <a:gd name="T6" fmla="*/ 9 w 11"/>
                  <a:gd name="T7" fmla="*/ 4 h 4"/>
                  <a:gd name="T8" fmla="*/ 11 w 11"/>
                  <a:gd name="T9" fmla="*/ 4 h 4"/>
                  <a:gd name="T10" fmla="*/ 11 w 11"/>
                  <a:gd name="T11" fmla="*/ 4 h 4"/>
                  <a:gd name="T12" fmla="*/ 11 w 11"/>
                  <a:gd name="T13" fmla="*/ 4 h 4"/>
                  <a:gd name="T14" fmla="*/ 9 w 11"/>
                  <a:gd name="T15" fmla="*/ 4 h 4"/>
                  <a:gd name="T16" fmla="*/ 6 w 11"/>
                  <a:gd name="T17" fmla="*/ 2 h 4"/>
                  <a:gd name="T18" fmla="*/ 4 w 11"/>
                  <a:gd name="T19" fmla="*/ 0 h 4"/>
                  <a:gd name="T20" fmla="*/ 2 w 11"/>
                  <a:gd name="T21" fmla="*/ 0 h 4"/>
                  <a:gd name="T22" fmla="*/ 0 w 11"/>
                  <a:gd name="T23" fmla="*/ 2 h 4"/>
                  <a:gd name="T24" fmla="*/ 0 w 11"/>
                  <a:gd name="T25" fmla="*/ 2 h 4"/>
                  <a:gd name="T26" fmla="*/ 0 w 11"/>
                  <a:gd name="T27" fmla="*/ 2 h 4"/>
                  <a:gd name="T28" fmla="*/ 2 w 11"/>
                  <a:gd name="T2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4">
                    <a:moveTo>
                      <a:pt x="2" y="0"/>
                    </a:moveTo>
                    <a:lnTo>
                      <a:pt x="4" y="0"/>
                    </a:lnTo>
                    <a:lnTo>
                      <a:pt x="6" y="2"/>
                    </a:lnTo>
                    <a:lnTo>
                      <a:pt x="9" y="4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9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68" name="Freeform 166">
                <a:extLst>
                  <a:ext uri="{FF2B5EF4-FFF2-40B4-BE49-F238E27FC236}">
                    <a16:creationId xmlns:a16="http://schemas.microsoft.com/office/drawing/2014/main" id="{338FCF57-1B16-4781-9999-9FC64092D7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6" y="2369"/>
                <a:ext cx="24" cy="35"/>
              </a:xfrm>
              <a:custGeom>
                <a:avLst/>
                <a:gdLst>
                  <a:gd name="T0" fmla="*/ 0 w 24"/>
                  <a:gd name="T1" fmla="*/ 35 h 35"/>
                  <a:gd name="T2" fmla="*/ 0 w 24"/>
                  <a:gd name="T3" fmla="*/ 35 h 35"/>
                  <a:gd name="T4" fmla="*/ 20 w 24"/>
                  <a:gd name="T5" fmla="*/ 4 h 35"/>
                  <a:gd name="T6" fmla="*/ 24 w 24"/>
                  <a:gd name="T7" fmla="*/ 0 h 35"/>
                  <a:gd name="T8" fmla="*/ 20 w 24"/>
                  <a:gd name="T9" fmla="*/ 4 h 35"/>
                  <a:gd name="T10" fmla="*/ 0 w 24"/>
                  <a:gd name="T11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35">
                    <a:moveTo>
                      <a:pt x="0" y="35"/>
                    </a:moveTo>
                    <a:lnTo>
                      <a:pt x="0" y="35"/>
                    </a:lnTo>
                    <a:lnTo>
                      <a:pt x="20" y="4"/>
                    </a:lnTo>
                    <a:lnTo>
                      <a:pt x="24" y="0"/>
                    </a:lnTo>
                    <a:lnTo>
                      <a:pt x="20" y="4"/>
                    </a:lnTo>
                    <a:lnTo>
                      <a:pt x="0" y="3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69" name="Freeform 167">
                <a:extLst>
                  <a:ext uri="{FF2B5EF4-FFF2-40B4-BE49-F238E27FC236}">
                    <a16:creationId xmlns:a16="http://schemas.microsoft.com/office/drawing/2014/main" id="{3599D4F6-D6F9-4F5E-A9A8-BDAF6582BD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7" y="2994"/>
                <a:ext cx="17" cy="4"/>
              </a:xfrm>
              <a:custGeom>
                <a:avLst/>
                <a:gdLst>
                  <a:gd name="T0" fmla="*/ 8 w 17"/>
                  <a:gd name="T1" fmla="*/ 4 h 4"/>
                  <a:gd name="T2" fmla="*/ 0 w 17"/>
                  <a:gd name="T3" fmla="*/ 4 h 4"/>
                  <a:gd name="T4" fmla="*/ 8 w 17"/>
                  <a:gd name="T5" fmla="*/ 4 h 4"/>
                  <a:gd name="T6" fmla="*/ 12 w 17"/>
                  <a:gd name="T7" fmla="*/ 2 h 4"/>
                  <a:gd name="T8" fmla="*/ 17 w 17"/>
                  <a:gd name="T9" fmla="*/ 0 h 4"/>
                  <a:gd name="T10" fmla="*/ 12 w 17"/>
                  <a:gd name="T11" fmla="*/ 2 h 4"/>
                  <a:gd name="T12" fmla="*/ 8 w 17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4">
                    <a:moveTo>
                      <a:pt x="8" y="4"/>
                    </a:moveTo>
                    <a:lnTo>
                      <a:pt x="0" y="4"/>
                    </a:lnTo>
                    <a:lnTo>
                      <a:pt x="8" y="4"/>
                    </a:lnTo>
                    <a:lnTo>
                      <a:pt x="12" y="2"/>
                    </a:lnTo>
                    <a:lnTo>
                      <a:pt x="17" y="0"/>
                    </a:lnTo>
                    <a:lnTo>
                      <a:pt x="12" y="2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70" name="Freeform 168">
                <a:extLst>
                  <a:ext uri="{FF2B5EF4-FFF2-40B4-BE49-F238E27FC236}">
                    <a16:creationId xmlns:a16="http://schemas.microsoft.com/office/drawing/2014/main" id="{DC3A4618-9A82-4D45-B69C-CB8C88F953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3" y="3195"/>
                <a:ext cx="10" cy="2"/>
              </a:xfrm>
              <a:custGeom>
                <a:avLst/>
                <a:gdLst>
                  <a:gd name="T0" fmla="*/ 8 w 10"/>
                  <a:gd name="T1" fmla="*/ 0 h 2"/>
                  <a:gd name="T2" fmla="*/ 10 w 10"/>
                  <a:gd name="T3" fmla="*/ 2 h 2"/>
                  <a:gd name="T4" fmla="*/ 8 w 10"/>
                  <a:gd name="T5" fmla="*/ 0 h 2"/>
                  <a:gd name="T6" fmla="*/ 2 w 10"/>
                  <a:gd name="T7" fmla="*/ 2 h 2"/>
                  <a:gd name="T8" fmla="*/ 0 w 10"/>
                  <a:gd name="T9" fmla="*/ 2 h 2"/>
                  <a:gd name="T10" fmla="*/ 2 w 10"/>
                  <a:gd name="T11" fmla="*/ 2 h 2"/>
                  <a:gd name="T12" fmla="*/ 8 w 10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2">
                    <a:moveTo>
                      <a:pt x="8" y="0"/>
                    </a:moveTo>
                    <a:lnTo>
                      <a:pt x="10" y="2"/>
                    </a:lnTo>
                    <a:lnTo>
                      <a:pt x="8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71" name="Freeform 169">
                <a:extLst>
                  <a:ext uri="{FF2B5EF4-FFF2-40B4-BE49-F238E27FC236}">
                    <a16:creationId xmlns:a16="http://schemas.microsoft.com/office/drawing/2014/main" id="{60D30DC0-6C5A-4A4F-8518-08DFAA14C4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3" y="3793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72" name="Freeform 170">
                <a:extLst>
                  <a:ext uri="{FF2B5EF4-FFF2-40B4-BE49-F238E27FC236}">
                    <a16:creationId xmlns:a16="http://schemas.microsoft.com/office/drawing/2014/main" id="{609E9FE0-BEDD-4CBC-AA5E-058A10218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3" y="3000"/>
                <a:ext cx="10" cy="14"/>
              </a:xfrm>
              <a:custGeom>
                <a:avLst/>
                <a:gdLst>
                  <a:gd name="T0" fmla="*/ 2 w 10"/>
                  <a:gd name="T1" fmla="*/ 4 h 14"/>
                  <a:gd name="T2" fmla="*/ 10 w 10"/>
                  <a:gd name="T3" fmla="*/ 14 h 14"/>
                  <a:gd name="T4" fmla="*/ 10 w 10"/>
                  <a:gd name="T5" fmla="*/ 14 h 14"/>
                  <a:gd name="T6" fmla="*/ 10 w 10"/>
                  <a:gd name="T7" fmla="*/ 14 h 14"/>
                  <a:gd name="T8" fmla="*/ 2 w 10"/>
                  <a:gd name="T9" fmla="*/ 4 h 14"/>
                  <a:gd name="T10" fmla="*/ 0 w 10"/>
                  <a:gd name="T11" fmla="*/ 2 h 14"/>
                  <a:gd name="T12" fmla="*/ 2 w 10"/>
                  <a:gd name="T13" fmla="*/ 0 h 14"/>
                  <a:gd name="T14" fmla="*/ 0 w 10"/>
                  <a:gd name="T15" fmla="*/ 2 h 14"/>
                  <a:gd name="T16" fmla="*/ 2 w 10"/>
                  <a:gd name="T17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14">
                    <a:moveTo>
                      <a:pt x="2" y="4"/>
                    </a:move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73" name="Freeform 171">
                <a:extLst>
                  <a:ext uri="{FF2B5EF4-FFF2-40B4-BE49-F238E27FC236}">
                    <a16:creationId xmlns:a16="http://schemas.microsoft.com/office/drawing/2014/main" id="{C0A227FC-022B-44B8-8732-65CC077CB0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" y="3195"/>
                <a:ext cx="7" cy="4"/>
              </a:xfrm>
              <a:custGeom>
                <a:avLst/>
                <a:gdLst>
                  <a:gd name="T0" fmla="*/ 7 w 7"/>
                  <a:gd name="T1" fmla="*/ 4 h 4"/>
                  <a:gd name="T2" fmla="*/ 2 w 7"/>
                  <a:gd name="T3" fmla="*/ 0 h 4"/>
                  <a:gd name="T4" fmla="*/ 0 w 7"/>
                  <a:gd name="T5" fmla="*/ 2 h 4"/>
                  <a:gd name="T6" fmla="*/ 2 w 7"/>
                  <a:gd name="T7" fmla="*/ 0 h 4"/>
                  <a:gd name="T8" fmla="*/ 7 w 7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7" y="4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7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74" name="Freeform 172">
                <a:extLst>
                  <a:ext uri="{FF2B5EF4-FFF2-40B4-BE49-F238E27FC236}">
                    <a16:creationId xmlns:a16="http://schemas.microsoft.com/office/drawing/2014/main" id="{FFDB7A04-006F-485C-BDD2-F1EEF6681F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" y="3775"/>
                <a:ext cx="17" cy="18"/>
              </a:xfrm>
              <a:custGeom>
                <a:avLst/>
                <a:gdLst>
                  <a:gd name="T0" fmla="*/ 8 w 17"/>
                  <a:gd name="T1" fmla="*/ 10 h 18"/>
                  <a:gd name="T2" fmla="*/ 0 w 17"/>
                  <a:gd name="T3" fmla="*/ 18 h 18"/>
                  <a:gd name="T4" fmla="*/ 0 w 17"/>
                  <a:gd name="T5" fmla="*/ 18 h 18"/>
                  <a:gd name="T6" fmla="*/ 0 w 17"/>
                  <a:gd name="T7" fmla="*/ 18 h 18"/>
                  <a:gd name="T8" fmla="*/ 8 w 17"/>
                  <a:gd name="T9" fmla="*/ 10 h 18"/>
                  <a:gd name="T10" fmla="*/ 12 w 17"/>
                  <a:gd name="T11" fmla="*/ 6 h 18"/>
                  <a:gd name="T12" fmla="*/ 17 w 17"/>
                  <a:gd name="T13" fmla="*/ 0 h 18"/>
                  <a:gd name="T14" fmla="*/ 12 w 17"/>
                  <a:gd name="T15" fmla="*/ 6 h 18"/>
                  <a:gd name="T16" fmla="*/ 8 w 17"/>
                  <a:gd name="T17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18">
                    <a:moveTo>
                      <a:pt x="8" y="10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8" y="10"/>
                    </a:lnTo>
                    <a:lnTo>
                      <a:pt x="12" y="6"/>
                    </a:lnTo>
                    <a:lnTo>
                      <a:pt x="17" y="0"/>
                    </a:lnTo>
                    <a:lnTo>
                      <a:pt x="12" y="6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75" name="Freeform 173">
                <a:extLst>
                  <a:ext uri="{FF2B5EF4-FFF2-40B4-BE49-F238E27FC236}">
                    <a16:creationId xmlns:a16="http://schemas.microsoft.com/office/drawing/2014/main" id="{3DD83919-B09E-4C5C-BD8B-E36084E668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0" y="2451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76" name="Freeform 174">
                <a:extLst>
                  <a:ext uri="{FF2B5EF4-FFF2-40B4-BE49-F238E27FC236}">
                    <a16:creationId xmlns:a16="http://schemas.microsoft.com/office/drawing/2014/main" id="{DF4B6706-2E77-4602-BCA4-95536A887C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9" y="2434"/>
                <a:ext cx="17" cy="17"/>
              </a:xfrm>
              <a:custGeom>
                <a:avLst/>
                <a:gdLst>
                  <a:gd name="T0" fmla="*/ 2 w 17"/>
                  <a:gd name="T1" fmla="*/ 2 h 17"/>
                  <a:gd name="T2" fmla="*/ 4 w 17"/>
                  <a:gd name="T3" fmla="*/ 4 h 17"/>
                  <a:gd name="T4" fmla="*/ 4 w 17"/>
                  <a:gd name="T5" fmla="*/ 8 h 17"/>
                  <a:gd name="T6" fmla="*/ 4 w 17"/>
                  <a:gd name="T7" fmla="*/ 13 h 17"/>
                  <a:gd name="T8" fmla="*/ 8 w 17"/>
                  <a:gd name="T9" fmla="*/ 15 h 17"/>
                  <a:gd name="T10" fmla="*/ 17 w 17"/>
                  <a:gd name="T11" fmla="*/ 17 h 17"/>
                  <a:gd name="T12" fmla="*/ 8 w 17"/>
                  <a:gd name="T13" fmla="*/ 15 h 17"/>
                  <a:gd name="T14" fmla="*/ 4 w 17"/>
                  <a:gd name="T15" fmla="*/ 13 h 17"/>
                  <a:gd name="T16" fmla="*/ 4 w 17"/>
                  <a:gd name="T17" fmla="*/ 8 h 17"/>
                  <a:gd name="T18" fmla="*/ 4 w 17"/>
                  <a:gd name="T19" fmla="*/ 4 h 17"/>
                  <a:gd name="T20" fmla="*/ 2 w 17"/>
                  <a:gd name="T21" fmla="*/ 2 h 17"/>
                  <a:gd name="T22" fmla="*/ 2 w 17"/>
                  <a:gd name="T23" fmla="*/ 0 h 17"/>
                  <a:gd name="T24" fmla="*/ 0 w 17"/>
                  <a:gd name="T25" fmla="*/ 0 h 17"/>
                  <a:gd name="T26" fmla="*/ 2 w 17"/>
                  <a:gd name="T27" fmla="*/ 0 h 17"/>
                  <a:gd name="T28" fmla="*/ 2 w 17"/>
                  <a:gd name="T29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17">
                    <a:moveTo>
                      <a:pt x="2" y="2"/>
                    </a:moveTo>
                    <a:lnTo>
                      <a:pt x="4" y="4"/>
                    </a:lnTo>
                    <a:lnTo>
                      <a:pt x="4" y="8"/>
                    </a:lnTo>
                    <a:lnTo>
                      <a:pt x="4" y="13"/>
                    </a:lnTo>
                    <a:lnTo>
                      <a:pt x="8" y="15"/>
                    </a:lnTo>
                    <a:lnTo>
                      <a:pt x="17" y="17"/>
                    </a:lnTo>
                    <a:lnTo>
                      <a:pt x="8" y="15"/>
                    </a:lnTo>
                    <a:lnTo>
                      <a:pt x="4" y="13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77" name="Freeform 175">
                <a:extLst>
                  <a:ext uri="{FF2B5EF4-FFF2-40B4-BE49-F238E27FC236}">
                    <a16:creationId xmlns:a16="http://schemas.microsoft.com/office/drawing/2014/main" id="{B0D33BCC-B3A6-4327-95B9-55E9A72AD0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8" y="3201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78" name="Freeform 176">
                <a:extLst>
                  <a:ext uri="{FF2B5EF4-FFF2-40B4-BE49-F238E27FC236}">
                    <a16:creationId xmlns:a16="http://schemas.microsoft.com/office/drawing/2014/main" id="{04C1E6E8-F1F5-4B6F-BC76-2C4BC0CD9C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5" y="3029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79" name="Freeform 177">
                <a:extLst>
                  <a:ext uri="{FF2B5EF4-FFF2-40B4-BE49-F238E27FC236}">
                    <a16:creationId xmlns:a16="http://schemas.microsoft.com/office/drawing/2014/main" id="{774947B9-164F-4028-BCCB-A056B5CD35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246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2 h 2"/>
                  <a:gd name="T6" fmla="*/ 0 w 2"/>
                  <a:gd name="T7" fmla="*/ 0 h 2"/>
                  <a:gd name="T8" fmla="*/ 0 w 2"/>
                  <a:gd name="T9" fmla="*/ 2 h 2"/>
                  <a:gd name="T10" fmla="*/ 2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80" name="Rectangle 178">
                <a:extLst>
                  <a:ext uri="{FF2B5EF4-FFF2-40B4-BE49-F238E27FC236}">
                    <a16:creationId xmlns:a16="http://schemas.microsoft.com/office/drawing/2014/main" id="{1948D4DE-1575-4B5E-9D26-BA643B681D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9" y="363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81" name="Freeform 179">
                <a:extLst>
                  <a:ext uri="{FF2B5EF4-FFF2-40B4-BE49-F238E27FC236}">
                    <a16:creationId xmlns:a16="http://schemas.microsoft.com/office/drawing/2014/main" id="{C28C6BF9-3670-414E-877F-949BDBA6CB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2" y="3242"/>
                <a:ext cx="29" cy="12"/>
              </a:xfrm>
              <a:custGeom>
                <a:avLst/>
                <a:gdLst>
                  <a:gd name="T0" fmla="*/ 6 w 29"/>
                  <a:gd name="T1" fmla="*/ 0 h 12"/>
                  <a:gd name="T2" fmla="*/ 11 w 29"/>
                  <a:gd name="T3" fmla="*/ 2 h 12"/>
                  <a:gd name="T4" fmla="*/ 19 w 29"/>
                  <a:gd name="T5" fmla="*/ 10 h 12"/>
                  <a:gd name="T6" fmla="*/ 25 w 29"/>
                  <a:gd name="T7" fmla="*/ 12 h 12"/>
                  <a:gd name="T8" fmla="*/ 29 w 29"/>
                  <a:gd name="T9" fmla="*/ 10 h 12"/>
                  <a:gd name="T10" fmla="*/ 29 w 29"/>
                  <a:gd name="T11" fmla="*/ 4 h 12"/>
                  <a:gd name="T12" fmla="*/ 29 w 29"/>
                  <a:gd name="T13" fmla="*/ 10 h 12"/>
                  <a:gd name="T14" fmla="*/ 25 w 29"/>
                  <a:gd name="T15" fmla="*/ 12 h 12"/>
                  <a:gd name="T16" fmla="*/ 19 w 29"/>
                  <a:gd name="T17" fmla="*/ 10 h 12"/>
                  <a:gd name="T18" fmla="*/ 11 w 29"/>
                  <a:gd name="T19" fmla="*/ 2 h 12"/>
                  <a:gd name="T20" fmla="*/ 6 w 29"/>
                  <a:gd name="T21" fmla="*/ 0 h 12"/>
                  <a:gd name="T22" fmla="*/ 0 w 29"/>
                  <a:gd name="T23" fmla="*/ 0 h 12"/>
                  <a:gd name="T24" fmla="*/ 0 w 29"/>
                  <a:gd name="T25" fmla="*/ 0 h 12"/>
                  <a:gd name="T26" fmla="*/ 0 w 29"/>
                  <a:gd name="T27" fmla="*/ 0 h 12"/>
                  <a:gd name="T28" fmla="*/ 6 w 29"/>
                  <a:gd name="T2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12">
                    <a:moveTo>
                      <a:pt x="6" y="0"/>
                    </a:moveTo>
                    <a:lnTo>
                      <a:pt x="11" y="2"/>
                    </a:lnTo>
                    <a:lnTo>
                      <a:pt x="19" y="10"/>
                    </a:lnTo>
                    <a:lnTo>
                      <a:pt x="25" y="12"/>
                    </a:lnTo>
                    <a:lnTo>
                      <a:pt x="29" y="10"/>
                    </a:lnTo>
                    <a:lnTo>
                      <a:pt x="29" y="4"/>
                    </a:lnTo>
                    <a:lnTo>
                      <a:pt x="29" y="10"/>
                    </a:lnTo>
                    <a:lnTo>
                      <a:pt x="25" y="12"/>
                    </a:lnTo>
                    <a:lnTo>
                      <a:pt x="19" y="10"/>
                    </a:lnTo>
                    <a:lnTo>
                      <a:pt x="11" y="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82" name="Freeform 180">
                <a:extLst>
                  <a:ext uri="{FF2B5EF4-FFF2-40B4-BE49-F238E27FC236}">
                    <a16:creationId xmlns:a16="http://schemas.microsoft.com/office/drawing/2014/main" id="{0AC3863C-3D6A-4E00-A5B1-B74CF84052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5" y="3051"/>
                <a:ext cx="7" cy="4"/>
              </a:xfrm>
              <a:custGeom>
                <a:avLst/>
                <a:gdLst>
                  <a:gd name="T0" fmla="*/ 5 w 7"/>
                  <a:gd name="T1" fmla="*/ 4 h 4"/>
                  <a:gd name="T2" fmla="*/ 7 w 7"/>
                  <a:gd name="T3" fmla="*/ 4 h 4"/>
                  <a:gd name="T4" fmla="*/ 5 w 7"/>
                  <a:gd name="T5" fmla="*/ 4 h 4"/>
                  <a:gd name="T6" fmla="*/ 3 w 7"/>
                  <a:gd name="T7" fmla="*/ 2 h 4"/>
                  <a:gd name="T8" fmla="*/ 0 w 7"/>
                  <a:gd name="T9" fmla="*/ 0 h 4"/>
                  <a:gd name="T10" fmla="*/ 3 w 7"/>
                  <a:gd name="T11" fmla="*/ 2 h 4"/>
                  <a:gd name="T12" fmla="*/ 5 w 7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4">
                    <a:moveTo>
                      <a:pt x="5" y="4"/>
                    </a:moveTo>
                    <a:lnTo>
                      <a:pt x="7" y="4"/>
                    </a:lnTo>
                    <a:lnTo>
                      <a:pt x="5" y="4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5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83" name="Rectangle 181">
                <a:extLst>
                  <a:ext uri="{FF2B5EF4-FFF2-40B4-BE49-F238E27FC236}">
                    <a16:creationId xmlns:a16="http://schemas.microsoft.com/office/drawing/2014/main" id="{2DCAAFE0-4F74-4587-8289-8B8BB084C0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7" y="3633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84" name="Freeform 182">
                <a:extLst>
                  <a:ext uri="{FF2B5EF4-FFF2-40B4-BE49-F238E27FC236}">
                    <a16:creationId xmlns:a16="http://schemas.microsoft.com/office/drawing/2014/main" id="{C36F80D8-DB09-490D-A5BE-A4D157BB2F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8" y="3062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2 w 4"/>
                  <a:gd name="T5" fmla="*/ 0 h 4"/>
                  <a:gd name="T6" fmla="*/ 0 w 4"/>
                  <a:gd name="T7" fmla="*/ 0 h 4"/>
                  <a:gd name="T8" fmla="*/ 2 w 4"/>
                  <a:gd name="T9" fmla="*/ 0 h 4"/>
                  <a:gd name="T10" fmla="*/ 4 w 4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85" name="Freeform 183">
                <a:extLst>
                  <a:ext uri="{FF2B5EF4-FFF2-40B4-BE49-F238E27FC236}">
                    <a16:creationId xmlns:a16="http://schemas.microsoft.com/office/drawing/2014/main" id="{220456A9-10E0-4255-B901-39D42E0B73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8" y="3060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2 w 2"/>
                  <a:gd name="T9" fmla="*/ 0 h 2"/>
                  <a:gd name="T10" fmla="*/ 2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86" name="Freeform 184">
                <a:extLst>
                  <a:ext uri="{FF2B5EF4-FFF2-40B4-BE49-F238E27FC236}">
                    <a16:creationId xmlns:a16="http://schemas.microsoft.com/office/drawing/2014/main" id="{1C952226-D95F-400D-9961-ACB84C67C3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" y="3627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2 w 2"/>
                  <a:gd name="T5" fmla="*/ 0 h 2"/>
                  <a:gd name="T6" fmla="*/ 2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87" name="Rectangle 185">
                <a:extLst>
                  <a:ext uri="{FF2B5EF4-FFF2-40B4-BE49-F238E27FC236}">
                    <a16:creationId xmlns:a16="http://schemas.microsoft.com/office/drawing/2014/main" id="{8EE4C10E-9F02-401C-9FFF-C454616D8B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1" y="246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88" name="Freeform 186">
                <a:extLst>
                  <a:ext uri="{FF2B5EF4-FFF2-40B4-BE49-F238E27FC236}">
                    <a16:creationId xmlns:a16="http://schemas.microsoft.com/office/drawing/2014/main" id="{639FD69C-CFB7-4A3B-AA50-B0EAEEDBE6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8" y="3619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89" name="Rectangle 187">
                <a:extLst>
                  <a:ext uri="{FF2B5EF4-FFF2-40B4-BE49-F238E27FC236}">
                    <a16:creationId xmlns:a16="http://schemas.microsoft.com/office/drawing/2014/main" id="{CEADCF69-E20B-48BA-B58F-9D67554E8D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0" y="306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90" name="Rectangle 188">
                <a:extLst>
                  <a:ext uri="{FF2B5EF4-FFF2-40B4-BE49-F238E27FC236}">
                    <a16:creationId xmlns:a16="http://schemas.microsoft.com/office/drawing/2014/main" id="{13CF91A8-E5F9-438D-8DEE-C2C23B3C22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4" y="323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91" name="Freeform 189">
                <a:extLst>
                  <a:ext uri="{FF2B5EF4-FFF2-40B4-BE49-F238E27FC236}">
                    <a16:creationId xmlns:a16="http://schemas.microsoft.com/office/drawing/2014/main" id="{654672B5-A5A7-44D9-AAE9-C70CE829E9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9" y="304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92" name="Freeform 190">
                <a:extLst>
                  <a:ext uri="{FF2B5EF4-FFF2-40B4-BE49-F238E27FC236}">
                    <a16:creationId xmlns:a16="http://schemas.microsoft.com/office/drawing/2014/main" id="{74CDF007-C94B-48C5-ACA6-FCF0C8E203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6" y="3238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0 w 4"/>
                  <a:gd name="T3" fmla="*/ 4 h 6"/>
                  <a:gd name="T4" fmla="*/ 4 w 4"/>
                  <a:gd name="T5" fmla="*/ 0 h 6"/>
                  <a:gd name="T6" fmla="*/ 0 w 4"/>
                  <a:gd name="T7" fmla="*/ 4 h 6"/>
                  <a:gd name="T8" fmla="*/ 0 w 4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0" y="4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93" name="Freeform 191">
                <a:extLst>
                  <a:ext uri="{FF2B5EF4-FFF2-40B4-BE49-F238E27FC236}">
                    <a16:creationId xmlns:a16="http://schemas.microsoft.com/office/drawing/2014/main" id="{ABD56652-56C6-4179-897E-31DE65B65E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9" y="3037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94" name="Freeform 192">
                <a:extLst>
                  <a:ext uri="{FF2B5EF4-FFF2-40B4-BE49-F238E27FC236}">
                    <a16:creationId xmlns:a16="http://schemas.microsoft.com/office/drawing/2014/main" id="{584632AA-5C35-4B72-9521-7E5264F457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1" y="3674"/>
                <a:ext cx="2" cy="25"/>
              </a:xfrm>
              <a:custGeom>
                <a:avLst/>
                <a:gdLst>
                  <a:gd name="T0" fmla="*/ 0 w 2"/>
                  <a:gd name="T1" fmla="*/ 9 h 25"/>
                  <a:gd name="T2" fmla="*/ 2 w 2"/>
                  <a:gd name="T3" fmla="*/ 19 h 25"/>
                  <a:gd name="T4" fmla="*/ 2 w 2"/>
                  <a:gd name="T5" fmla="*/ 25 h 25"/>
                  <a:gd name="T6" fmla="*/ 2 w 2"/>
                  <a:gd name="T7" fmla="*/ 19 h 25"/>
                  <a:gd name="T8" fmla="*/ 0 w 2"/>
                  <a:gd name="T9" fmla="*/ 9 h 25"/>
                  <a:gd name="T10" fmla="*/ 0 w 2"/>
                  <a:gd name="T11" fmla="*/ 2 h 25"/>
                  <a:gd name="T12" fmla="*/ 2 w 2"/>
                  <a:gd name="T13" fmla="*/ 0 h 25"/>
                  <a:gd name="T14" fmla="*/ 0 w 2"/>
                  <a:gd name="T15" fmla="*/ 2 h 25"/>
                  <a:gd name="T16" fmla="*/ 0 w 2"/>
                  <a:gd name="T17" fmla="*/ 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25">
                    <a:moveTo>
                      <a:pt x="0" y="9"/>
                    </a:moveTo>
                    <a:lnTo>
                      <a:pt x="2" y="19"/>
                    </a:lnTo>
                    <a:lnTo>
                      <a:pt x="2" y="25"/>
                    </a:lnTo>
                    <a:lnTo>
                      <a:pt x="2" y="19"/>
                    </a:lnTo>
                    <a:lnTo>
                      <a:pt x="0" y="9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95" name="Rectangle 193">
                <a:extLst>
                  <a:ext uri="{FF2B5EF4-FFF2-40B4-BE49-F238E27FC236}">
                    <a16:creationId xmlns:a16="http://schemas.microsoft.com/office/drawing/2014/main" id="{8C459CB4-C71F-4F68-BB6A-4DA1398AB2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5" y="367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96" name="Freeform 194">
                <a:extLst>
                  <a:ext uri="{FF2B5EF4-FFF2-40B4-BE49-F238E27FC236}">
                    <a16:creationId xmlns:a16="http://schemas.microsoft.com/office/drawing/2014/main" id="{CF64F814-B3AD-4204-981C-E4CF97C3D7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2" y="2463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2 h 2"/>
                  <a:gd name="T4" fmla="*/ 0 w 4"/>
                  <a:gd name="T5" fmla="*/ 2 h 2"/>
                  <a:gd name="T6" fmla="*/ 2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97" name="Freeform 195">
                <a:extLst>
                  <a:ext uri="{FF2B5EF4-FFF2-40B4-BE49-F238E27FC236}">
                    <a16:creationId xmlns:a16="http://schemas.microsoft.com/office/drawing/2014/main" id="{F06DDC8C-0A5C-45F7-961A-3776F62F6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5" y="303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98" name="Freeform 196">
                <a:extLst>
                  <a:ext uri="{FF2B5EF4-FFF2-40B4-BE49-F238E27FC236}">
                    <a16:creationId xmlns:a16="http://schemas.microsoft.com/office/drawing/2014/main" id="{B980455E-C5E4-4B56-AF83-4CED89CDB5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6" y="3246"/>
                <a:ext cx="22" cy="6"/>
              </a:xfrm>
              <a:custGeom>
                <a:avLst/>
                <a:gdLst>
                  <a:gd name="T0" fmla="*/ 6 w 22"/>
                  <a:gd name="T1" fmla="*/ 6 h 6"/>
                  <a:gd name="T2" fmla="*/ 14 w 22"/>
                  <a:gd name="T3" fmla="*/ 6 h 6"/>
                  <a:gd name="T4" fmla="*/ 18 w 22"/>
                  <a:gd name="T5" fmla="*/ 4 h 6"/>
                  <a:gd name="T6" fmla="*/ 20 w 22"/>
                  <a:gd name="T7" fmla="*/ 2 h 6"/>
                  <a:gd name="T8" fmla="*/ 22 w 22"/>
                  <a:gd name="T9" fmla="*/ 0 h 6"/>
                  <a:gd name="T10" fmla="*/ 20 w 22"/>
                  <a:gd name="T11" fmla="*/ 2 h 6"/>
                  <a:gd name="T12" fmla="*/ 18 w 22"/>
                  <a:gd name="T13" fmla="*/ 4 h 6"/>
                  <a:gd name="T14" fmla="*/ 14 w 22"/>
                  <a:gd name="T15" fmla="*/ 6 h 6"/>
                  <a:gd name="T16" fmla="*/ 6 w 22"/>
                  <a:gd name="T17" fmla="*/ 6 h 6"/>
                  <a:gd name="T18" fmla="*/ 2 w 22"/>
                  <a:gd name="T19" fmla="*/ 4 h 6"/>
                  <a:gd name="T20" fmla="*/ 0 w 22"/>
                  <a:gd name="T21" fmla="*/ 2 h 6"/>
                  <a:gd name="T22" fmla="*/ 2 w 22"/>
                  <a:gd name="T23" fmla="*/ 4 h 6"/>
                  <a:gd name="T24" fmla="*/ 6 w 22"/>
                  <a:gd name="T2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6">
                    <a:moveTo>
                      <a:pt x="6" y="6"/>
                    </a:moveTo>
                    <a:lnTo>
                      <a:pt x="14" y="6"/>
                    </a:lnTo>
                    <a:lnTo>
                      <a:pt x="18" y="4"/>
                    </a:lnTo>
                    <a:lnTo>
                      <a:pt x="20" y="2"/>
                    </a:lnTo>
                    <a:lnTo>
                      <a:pt x="22" y="0"/>
                    </a:lnTo>
                    <a:lnTo>
                      <a:pt x="20" y="2"/>
                    </a:lnTo>
                    <a:lnTo>
                      <a:pt x="18" y="4"/>
                    </a:lnTo>
                    <a:lnTo>
                      <a:pt x="14" y="6"/>
                    </a:lnTo>
                    <a:lnTo>
                      <a:pt x="6" y="6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699" name="Rectangle 197">
                <a:extLst>
                  <a:ext uri="{FF2B5EF4-FFF2-40B4-BE49-F238E27FC236}">
                    <a16:creationId xmlns:a16="http://schemas.microsoft.com/office/drawing/2014/main" id="{5ED7756C-03DF-4ED1-93CB-23BC5F70C1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3" y="304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00" name="Freeform 198">
                <a:extLst>
                  <a:ext uri="{FF2B5EF4-FFF2-40B4-BE49-F238E27FC236}">
                    <a16:creationId xmlns:a16="http://schemas.microsoft.com/office/drawing/2014/main" id="{B73CD279-824F-461B-BD36-5AD2CC466E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9" y="3037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0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01" name="Freeform 199">
                <a:extLst>
                  <a:ext uri="{FF2B5EF4-FFF2-40B4-BE49-F238E27FC236}">
                    <a16:creationId xmlns:a16="http://schemas.microsoft.com/office/drawing/2014/main" id="{892C1AA1-81AD-47DD-8A6B-6EE609E2E4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5" y="3638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2 h 4"/>
                  <a:gd name="T4" fmla="*/ 2 w 2"/>
                  <a:gd name="T5" fmla="*/ 0 h 4"/>
                  <a:gd name="T6" fmla="*/ 2 w 2"/>
                  <a:gd name="T7" fmla="*/ 2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02" name="Freeform 200">
                <a:extLst>
                  <a:ext uri="{FF2B5EF4-FFF2-40B4-BE49-F238E27FC236}">
                    <a16:creationId xmlns:a16="http://schemas.microsoft.com/office/drawing/2014/main" id="{A906B7BC-CF2F-4A1B-AA50-EFF9E233C2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0" y="3617"/>
                <a:ext cx="8" cy="0"/>
              </a:xfrm>
              <a:custGeom>
                <a:avLst/>
                <a:gdLst>
                  <a:gd name="T0" fmla="*/ 4 w 8"/>
                  <a:gd name="T1" fmla="*/ 0 w 8"/>
                  <a:gd name="T2" fmla="*/ 4 w 8"/>
                  <a:gd name="T3" fmla="*/ 8 w 8"/>
                  <a:gd name="T4" fmla="*/ 8 w 8"/>
                  <a:gd name="T5" fmla="*/ 8 w 8"/>
                  <a:gd name="T6" fmla="*/ 4 w 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8">
                    <a:moveTo>
                      <a:pt x="4" y="0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03" name="Freeform 201">
                <a:extLst>
                  <a:ext uri="{FF2B5EF4-FFF2-40B4-BE49-F238E27FC236}">
                    <a16:creationId xmlns:a16="http://schemas.microsoft.com/office/drawing/2014/main" id="{C68492E8-2F4D-40DC-BFE1-F97E11A5E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3" y="3654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0 w 6"/>
                  <a:gd name="T3" fmla="*/ 2 h 2"/>
                  <a:gd name="T4" fmla="*/ 6 w 6"/>
                  <a:gd name="T5" fmla="*/ 0 h 2"/>
                  <a:gd name="T6" fmla="*/ 6 w 6"/>
                  <a:gd name="T7" fmla="*/ 0 h 2"/>
                  <a:gd name="T8" fmla="*/ 6 w 6"/>
                  <a:gd name="T9" fmla="*/ 0 h 2"/>
                  <a:gd name="T10" fmla="*/ 6 w 6"/>
                  <a:gd name="T11" fmla="*/ 0 h 2"/>
                  <a:gd name="T12" fmla="*/ 6 w 6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04" name="Freeform 202">
                <a:extLst>
                  <a:ext uri="{FF2B5EF4-FFF2-40B4-BE49-F238E27FC236}">
                    <a16:creationId xmlns:a16="http://schemas.microsoft.com/office/drawing/2014/main" id="{3B3A0632-0884-4709-BE0D-000EDD493C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9" y="3658"/>
                <a:ext cx="10" cy="6"/>
              </a:xfrm>
              <a:custGeom>
                <a:avLst/>
                <a:gdLst>
                  <a:gd name="T0" fmla="*/ 0 w 10"/>
                  <a:gd name="T1" fmla="*/ 6 h 6"/>
                  <a:gd name="T2" fmla="*/ 10 w 10"/>
                  <a:gd name="T3" fmla="*/ 0 h 6"/>
                  <a:gd name="T4" fmla="*/ 0 w 10"/>
                  <a:gd name="T5" fmla="*/ 6 h 6"/>
                  <a:gd name="T6" fmla="*/ 0 w 10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6">
                    <a:moveTo>
                      <a:pt x="0" y="6"/>
                    </a:moveTo>
                    <a:lnTo>
                      <a:pt x="10" y="0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05" name="Freeform 203">
                <a:extLst>
                  <a:ext uri="{FF2B5EF4-FFF2-40B4-BE49-F238E27FC236}">
                    <a16:creationId xmlns:a16="http://schemas.microsoft.com/office/drawing/2014/main" id="{30CE010F-CDC9-414A-BD86-F73128469F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6" y="3465"/>
                <a:ext cx="16" cy="2"/>
              </a:xfrm>
              <a:custGeom>
                <a:avLst/>
                <a:gdLst>
                  <a:gd name="T0" fmla="*/ 6 w 16"/>
                  <a:gd name="T1" fmla="*/ 2 h 2"/>
                  <a:gd name="T2" fmla="*/ 12 w 16"/>
                  <a:gd name="T3" fmla="*/ 2 h 2"/>
                  <a:gd name="T4" fmla="*/ 16 w 16"/>
                  <a:gd name="T5" fmla="*/ 0 h 2"/>
                  <a:gd name="T6" fmla="*/ 12 w 16"/>
                  <a:gd name="T7" fmla="*/ 2 h 2"/>
                  <a:gd name="T8" fmla="*/ 6 w 16"/>
                  <a:gd name="T9" fmla="*/ 2 h 2"/>
                  <a:gd name="T10" fmla="*/ 2 w 16"/>
                  <a:gd name="T11" fmla="*/ 0 h 2"/>
                  <a:gd name="T12" fmla="*/ 0 w 16"/>
                  <a:gd name="T13" fmla="*/ 0 h 2"/>
                  <a:gd name="T14" fmla="*/ 2 w 16"/>
                  <a:gd name="T15" fmla="*/ 0 h 2"/>
                  <a:gd name="T16" fmla="*/ 6 w 16"/>
                  <a:gd name="T1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2">
                    <a:moveTo>
                      <a:pt x="6" y="2"/>
                    </a:moveTo>
                    <a:lnTo>
                      <a:pt x="12" y="2"/>
                    </a:lnTo>
                    <a:lnTo>
                      <a:pt x="16" y="0"/>
                    </a:lnTo>
                    <a:lnTo>
                      <a:pt x="12" y="2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706" name="Freeform 204">
                <a:extLst>
                  <a:ext uri="{FF2B5EF4-FFF2-40B4-BE49-F238E27FC236}">
                    <a16:creationId xmlns:a16="http://schemas.microsoft.com/office/drawing/2014/main" id="{A36852CF-AC25-4E74-95CF-FC5D2C4147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2" y="3385"/>
                <a:ext cx="0" cy="11"/>
              </a:xfrm>
              <a:custGeom>
                <a:avLst/>
                <a:gdLst>
                  <a:gd name="T0" fmla="*/ 11 h 11"/>
                  <a:gd name="T1" fmla="*/ 11 h 11"/>
                  <a:gd name="T2" fmla="*/ 4 h 11"/>
                  <a:gd name="T3" fmla="*/ 0 h 11"/>
                  <a:gd name="T4" fmla="*/ 4 h 11"/>
                  <a:gd name="T5" fmla="*/ 11 h 1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11">
                    <a:moveTo>
                      <a:pt x="0" y="11"/>
                    </a:moveTo>
                    <a:lnTo>
                      <a:pt x="0" y="11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</p:grpSp>
        <p:grpSp>
          <p:nvGrpSpPr>
            <p:cNvPr id="343" name="Group 406">
              <a:extLst>
                <a:ext uri="{FF2B5EF4-FFF2-40B4-BE49-F238E27FC236}">
                  <a16:creationId xmlns:a16="http://schemas.microsoft.com/office/drawing/2014/main" id="{AD334C96-21DC-4767-AEF8-B41169274AF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46669" y="4391348"/>
              <a:ext cx="2552704" cy="1189412"/>
              <a:chOff x="975" y="2770"/>
              <a:chExt cx="1608" cy="749"/>
            </a:xfrm>
            <a:grpFill/>
          </p:grpSpPr>
          <p:sp>
            <p:nvSpPr>
              <p:cNvPr id="1308" name="Freeform 206">
                <a:extLst>
                  <a:ext uri="{FF2B5EF4-FFF2-40B4-BE49-F238E27FC236}">
                    <a16:creationId xmlns:a16="http://schemas.microsoft.com/office/drawing/2014/main" id="{04A4F077-B396-438E-9AC9-1F964E568E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7" y="2914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09" name="Rectangle 207">
                <a:extLst>
                  <a:ext uri="{FF2B5EF4-FFF2-40B4-BE49-F238E27FC236}">
                    <a16:creationId xmlns:a16="http://schemas.microsoft.com/office/drawing/2014/main" id="{F8C0CAE3-DADC-4EE8-9F8E-CE07A58BCC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5" y="291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10" name="Freeform 208">
                <a:extLst>
                  <a:ext uri="{FF2B5EF4-FFF2-40B4-BE49-F238E27FC236}">
                    <a16:creationId xmlns:a16="http://schemas.microsoft.com/office/drawing/2014/main" id="{33423ADE-501C-48FF-BD53-938746C457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5" y="3406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11" name="Freeform 209">
                <a:extLst>
                  <a:ext uri="{FF2B5EF4-FFF2-40B4-BE49-F238E27FC236}">
                    <a16:creationId xmlns:a16="http://schemas.microsoft.com/office/drawing/2014/main" id="{266DE5D3-A7EC-4DEA-959F-FC60347982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6" y="337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12" name="Rectangle 210">
                <a:extLst>
                  <a:ext uri="{FF2B5EF4-FFF2-40B4-BE49-F238E27FC236}">
                    <a16:creationId xmlns:a16="http://schemas.microsoft.com/office/drawing/2014/main" id="{ECD64BDC-049C-443E-9D6C-67CCC131B9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1" y="340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13" name="Rectangle 211">
                <a:extLst>
                  <a:ext uri="{FF2B5EF4-FFF2-40B4-BE49-F238E27FC236}">
                    <a16:creationId xmlns:a16="http://schemas.microsoft.com/office/drawing/2014/main" id="{57912BC4-D092-4458-9904-378144C42F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" y="291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14" name="Freeform 212">
                <a:extLst>
                  <a:ext uri="{FF2B5EF4-FFF2-40B4-BE49-F238E27FC236}">
                    <a16:creationId xmlns:a16="http://schemas.microsoft.com/office/drawing/2014/main" id="{A78884BA-2DF4-4F0B-84BC-4CF92CA2EB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1" y="2912"/>
                <a:ext cx="10" cy="2"/>
              </a:xfrm>
              <a:custGeom>
                <a:avLst/>
                <a:gdLst>
                  <a:gd name="T0" fmla="*/ 10 w 10"/>
                  <a:gd name="T1" fmla="*/ 0 h 2"/>
                  <a:gd name="T2" fmla="*/ 4 w 10"/>
                  <a:gd name="T3" fmla="*/ 0 h 2"/>
                  <a:gd name="T4" fmla="*/ 0 w 10"/>
                  <a:gd name="T5" fmla="*/ 2 h 2"/>
                  <a:gd name="T6" fmla="*/ 4 w 10"/>
                  <a:gd name="T7" fmla="*/ 0 h 2"/>
                  <a:gd name="T8" fmla="*/ 10 w 10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">
                    <a:moveTo>
                      <a:pt x="10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15" name="Freeform 213">
                <a:extLst>
                  <a:ext uri="{FF2B5EF4-FFF2-40B4-BE49-F238E27FC236}">
                    <a16:creationId xmlns:a16="http://schemas.microsoft.com/office/drawing/2014/main" id="{92C72D4E-4E8F-4E7D-98F6-B8A0FA753F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0" y="3355"/>
                <a:ext cx="4" cy="0"/>
              </a:xfrm>
              <a:custGeom>
                <a:avLst/>
                <a:gdLst>
                  <a:gd name="T0" fmla="*/ 0 w 4"/>
                  <a:gd name="T1" fmla="*/ 2 w 4"/>
                  <a:gd name="T2" fmla="*/ 4 w 4"/>
                  <a:gd name="T3" fmla="*/ 2 w 4"/>
                  <a:gd name="T4" fmla="*/ 0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16" name="Freeform 214">
                <a:extLst>
                  <a:ext uri="{FF2B5EF4-FFF2-40B4-BE49-F238E27FC236}">
                    <a16:creationId xmlns:a16="http://schemas.microsoft.com/office/drawing/2014/main" id="{917330DE-23E4-444F-B959-6C06E2786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4" y="288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  <a:gd name="T8" fmla="*/ 0 w 2"/>
                  <a:gd name="T9" fmla="*/ 0 h 2"/>
                  <a:gd name="T10" fmla="*/ 2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17" name="Freeform 215">
                <a:extLst>
                  <a:ext uri="{FF2B5EF4-FFF2-40B4-BE49-F238E27FC236}">
                    <a16:creationId xmlns:a16="http://schemas.microsoft.com/office/drawing/2014/main" id="{C6D37661-2753-440F-BF03-F24A481D33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8" y="2879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18" name="Freeform 216">
                <a:extLst>
                  <a:ext uri="{FF2B5EF4-FFF2-40B4-BE49-F238E27FC236}">
                    <a16:creationId xmlns:a16="http://schemas.microsoft.com/office/drawing/2014/main" id="{52037FE6-6907-4793-B410-CE222BA79F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3355"/>
                <a:ext cx="3" cy="4"/>
              </a:xfrm>
              <a:custGeom>
                <a:avLst/>
                <a:gdLst>
                  <a:gd name="T0" fmla="*/ 1 w 3"/>
                  <a:gd name="T1" fmla="*/ 4 h 4"/>
                  <a:gd name="T2" fmla="*/ 0 w 3"/>
                  <a:gd name="T3" fmla="*/ 4 h 4"/>
                  <a:gd name="T4" fmla="*/ 1 w 3"/>
                  <a:gd name="T5" fmla="*/ 4 h 4"/>
                  <a:gd name="T6" fmla="*/ 3 w 3"/>
                  <a:gd name="T7" fmla="*/ 0 h 4"/>
                  <a:gd name="T8" fmla="*/ 3 w 3"/>
                  <a:gd name="T9" fmla="*/ 0 h 4"/>
                  <a:gd name="T10" fmla="*/ 3 w 3"/>
                  <a:gd name="T11" fmla="*/ 0 h 4"/>
                  <a:gd name="T12" fmla="*/ 1 w 3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19" name="Freeform 217">
                <a:extLst>
                  <a:ext uri="{FF2B5EF4-FFF2-40B4-BE49-F238E27FC236}">
                    <a16:creationId xmlns:a16="http://schemas.microsoft.com/office/drawing/2014/main" id="{85BD602D-8CA1-4D97-897B-AC9F1BA699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6" y="3357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0 h 4"/>
                  <a:gd name="T4" fmla="*/ 2 w 2"/>
                  <a:gd name="T5" fmla="*/ 0 h 4"/>
                  <a:gd name="T6" fmla="*/ 2 w 2"/>
                  <a:gd name="T7" fmla="*/ 0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20" name="Freeform 218">
                <a:extLst>
                  <a:ext uri="{FF2B5EF4-FFF2-40B4-BE49-F238E27FC236}">
                    <a16:creationId xmlns:a16="http://schemas.microsoft.com/office/drawing/2014/main" id="{24D5AC36-F77E-4988-A656-3DCDE9DBE4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8" y="2883"/>
                <a:ext cx="8" cy="10"/>
              </a:xfrm>
              <a:custGeom>
                <a:avLst/>
                <a:gdLst>
                  <a:gd name="T0" fmla="*/ 2 w 8"/>
                  <a:gd name="T1" fmla="*/ 4 h 10"/>
                  <a:gd name="T2" fmla="*/ 4 w 8"/>
                  <a:gd name="T3" fmla="*/ 2 h 10"/>
                  <a:gd name="T4" fmla="*/ 8 w 8"/>
                  <a:gd name="T5" fmla="*/ 0 h 10"/>
                  <a:gd name="T6" fmla="*/ 4 w 8"/>
                  <a:gd name="T7" fmla="*/ 2 h 10"/>
                  <a:gd name="T8" fmla="*/ 2 w 8"/>
                  <a:gd name="T9" fmla="*/ 4 h 10"/>
                  <a:gd name="T10" fmla="*/ 0 w 8"/>
                  <a:gd name="T11" fmla="*/ 10 h 10"/>
                  <a:gd name="T12" fmla="*/ 0 w 8"/>
                  <a:gd name="T13" fmla="*/ 10 h 10"/>
                  <a:gd name="T14" fmla="*/ 2 w 8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0">
                    <a:moveTo>
                      <a:pt x="2" y="4"/>
                    </a:moveTo>
                    <a:lnTo>
                      <a:pt x="4" y="2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21" name="Freeform 219">
                <a:extLst>
                  <a:ext uri="{FF2B5EF4-FFF2-40B4-BE49-F238E27FC236}">
                    <a16:creationId xmlns:a16="http://schemas.microsoft.com/office/drawing/2014/main" id="{372D73A5-C4E1-44E4-9C9C-E4638EC9CB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4" y="3361"/>
                <a:ext cx="2" cy="8"/>
              </a:xfrm>
              <a:custGeom>
                <a:avLst/>
                <a:gdLst>
                  <a:gd name="T0" fmla="*/ 0 w 2"/>
                  <a:gd name="T1" fmla="*/ 8 h 8"/>
                  <a:gd name="T2" fmla="*/ 2 w 2"/>
                  <a:gd name="T3" fmla="*/ 2 h 8"/>
                  <a:gd name="T4" fmla="*/ 2 w 2"/>
                  <a:gd name="T5" fmla="*/ 0 h 8"/>
                  <a:gd name="T6" fmla="*/ 2 w 2"/>
                  <a:gd name="T7" fmla="*/ 0 h 8"/>
                  <a:gd name="T8" fmla="*/ 2 w 2"/>
                  <a:gd name="T9" fmla="*/ 2 h 8"/>
                  <a:gd name="T10" fmla="*/ 0 w 2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8">
                    <a:moveTo>
                      <a:pt x="0" y="8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22" name="Freeform 220">
                <a:extLst>
                  <a:ext uri="{FF2B5EF4-FFF2-40B4-BE49-F238E27FC236}">
                    <a16:creationId xmlns:a16="http://schemas.microsoft.com/office/drawing/2014/main" id="{F64C5DA6-ABBB-4BE5-B665-25F9F0812B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7" y="3402"/>
                <a:ext cx="43" cy="8"/>
              </a:xfrm>
              <a:custGeom>
                <a:avLst/>
                <a:gdLst>
                  <a:gd name="T0" fmla="*/ 41 w 43"/>
                  <a:gd name="T1" fmla="*/ 8 h 8"/>
                  <a:gd name="T2" fmla="*/ 23 w 43"/>
                  <a:gd name="T3" fmla="*/ 2 h 8"/>
                  <a:gd name="T4" fmla="*/ 0 w 43"/>
                  <a:gd name="T5" fmla="*/ 0 h 8"/>
                  <a:gd name="T6" fmla="*/ 0 w 43"/>
                  <a:gd name="T7" fmla="*/ 0 h 8"/>
                  <a:gd name="T8" fmla="*/ 23 w 43"/>
                  <a:gd name="T9" fmla="*/ 2 h 8"/>
                  <a:gd name="T10" fmla="*/ 41 w 43"/>
                  <a:gd name="T11" fmla="*/ 8 h 8"/>
                  <a:gd name="T12" fmla="*/ 43 w 43"/>
                  <a:gd name="T13" fmla="*/ 8 h 8"/>
                  <a:gd name="T14" fmla="*/ 43 w 43"/>
                  <a:gd name="T15" fmla="*/ 8 h 8"/>
                  <a:gd name="T16" fmla="*/ 43 w 43"/>
                  <a:gd name="T17" fmla="*/ 8 h 8"/>
                  <a:gd name="T18" fmla="*/ 41 w 43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" h="8">
                    <a:moveTo>
                      <a:pt x="41" y="8"/>
                    </a:moveTo>
                    <a:lnTo>
                      <a:pt x="2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3" y="2"/>
                    </a:lnTo>
                    <a:lnTo>
                      <a:pt x="41" y="8"/>
                    </a:lnTo>
                    <a:lnTo>
                      <a:pt x="43" y="8"/>
                    </a:lnTo>
                    <a:lnTo>
                      <a:pt x="43" y="8"/>
                    </a:lnTo>
                    <a:lnTo>
                      <a:pt x="43" y="8"/>
                    </a:lnTo>
                    <a:lnTo>
                      <a:pt x="41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23" name="Freeform 221">
                <a:extLst>
                  <a:ext uri="{FF2B5EF4-FFF2-40B4-BE49-F238E27FC236}">
                    <a16:creationId xmlns:a16="http://schemas.microsoft.com/office/drawing/2014/main" id="{F2769408-295D-4F35-B251-C47AD70E2B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8" y="3348"/>
                <a:ext cx="11" cy="9"/>
              </a:xfrm>
              <a:custGeom>
                <a:avLst/>
                <a:gdLst>
                  <a:gd name="T0" fmla="*/ 0 w 11"/>
                  <a:gd name="T1" fmla="*/ 0 h 9"/>
                  <a:gd name="T2" fmla="*/ 0 w 11"/>
                  <a:gd name="T3" fmla="*/ 0 h 9"/>
                  <a:gd name="T4" fmla="*/ 11 w 11"/>
                  <a:gd name="T5" fmla="*/ 9 h 9"/>
                  <a:gd name="T6" fmla="*/ 0 w 11"/>
                  <a:gd name="T7" fmla="*/ 0 h 9"/>
                  <a:gd name="T8" fmla="*/ 0 w 1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0" y="0"/>
                    </a:moveTo>
                    <a:lnTo>
                      <a:pt x="0" y="0"/>
                    </a:lnTo>
                    <a:lnTo>
                      <a:pt x="11" y="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24" name="Freeform 222">
                <a:extLst>
                  <a:ext uri="{FF2B5EF4-FFF2-40B4-BE49-F238E27FC236}">
                    <a16:creationId xmlns:a16="http://schemas.microsoft.com/office/drawing/2014/main" id="{CED71101-73BA-4964-BB7E-9E0C6B44A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7" y="3394"/>
                <a:ext cx="8" cy="8"/>
              </a:xfrm>
              <a:custGeom>
                <a:avLst/>
                <a:gdLst>
                  <a:gd name="T0" fmla="*/ 2 w 8"/>
                  <a:gd name="T1" fmla="*/ 4 h 8"/>
                  <a:gd name="T2" fmla="*/ 0 w 8"/>
                  <a:gd name="T3" fmla="*/ 0 h 8"/>
                  <a:gd name="T4" fmla="*/ 0 w 8"/>
                  <a:gd name="T5" fmla="*/ 0 h 8"/>
                  <a:gd name="T6" fmla="*/ 2 w 8"/>
                  <a:gd name="T7" fmla="*/ 4 h 8"/>
                  <a:gd name="T8" fmla="*/ 4 w 8"/>
                  <a:gd name="T9" fmla="*/ 6 h 8"/>
                  <a:gd name="T10" fmla="*/ 8 w 8"/>
                  <a:gd name="T11" fmla="*/ 8 h 8"/>
                  <a:gd name="T12" fmla="*/ 4 w 8"/>
                  <a:gd name="T13" fmla="*/ 6 h 8"/>
                  <a:gd name="T14" fmla="*/ 2 w 8"/>
                  <a:gd name="T15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8">
                    <a:moveTo>
                      <a:pt x="2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8" y="8"/>
                    </a:lnTo>
                    <a:lnTo>
                      <a:pt x="4" y="6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25" name="Freeform 223">
                <a:extLst>
                  <a:ext uri="{FF2B5EF4-FFF2-40B4-BE49-F238E27FC236}">
                    <a16:creationId xmlns:a16="http://schemas.microsoft.com/office/drawing/2014/main" id="{A138DFF3-8D74-43EF-9043-CD308B2D5B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5" y="3387"/>
                <a:ext cx="2" cy="3"/>
              </a:xfrm>
              <a:custGeom>
                <a:avLst/>
                <a:gdLst>
                  <a:gd name="T0" fmla="*/ 2 w 2"/>
                  <a:gd name="T1" fmla="*/ 2 h 3"/>
                  <a:gd name="T2" fmla="*/ 2 w 2"/>
                  <a:gd name="T3" fmla="*/ 0 h 3"/>
                  <a:gd name="T4" fmla="*/ 2 w 2"/>
                  <a:gd name="T5" fmla="*/ 2 h 3"/>
                  <a:gd name="T6" fmla="*/ 0 w 2"/>
                  <a:gd name="T7" fmla="*/ 2 h 3"/>
                  <a:gd name="T8" fmla="*/ 0 w 2"/>
                  <a:gd name="T9" fmla="*/ 3 h 3"/>
                  <a:gd name="T10" fmla="*/ 0 w 2"/>
                  <a:gd name="T11" fmla="*/ 2 h 3"/>
                  <a:gd name="T12" fmla="*/ 2 w 2"/>
                  <a:gd name="T1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3">
                    <a:moveTo>
                      <a:pt x="2" y="2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26" name="Freeform 224">
                <a:extLst>
                  <a:ext uri="{FF2B5EF4-FFF2-40B4-BE49-F238E27FC236}">
                    <a16:creationId xmlns:a16="http://schemas.microsoft.com/office/drawing/2014/main" id="{2DF18A2C-E7DE-4D1E-89CF-7C8B381120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7" y="2947"/>
                <a:ext cx="2" cy="4"/>
              </a:xfrm>
              <a:custGeom>
                <a:avLst/>
                <a:gdLst>
                  <a:gd name="T0" fmla="*/ 0 w 2"/>
                  <a:gd name="T1" fmla="*/ 2 h 4"/>
                  <a:gd name="T2" fmla="*/ 0 w 2"/>
                  <a:gd name="T3" fmla="*/ 2 h 4"/>
                  <a:gd name="T4" fmla="*/ 2 w 2"/>
                  <a:gd name="T5" fmla="*/ 2 h 4"/>
                  <a:gd name="T6" fmla="*/ 2 w 2"/>
                  <a:gd name="T7" fmla="*/ 0 h 4"/>
                  <a:gd name="T8" fmla="*/ 2 w 2"/>
                  <a:gd name="T9" fmla="*/ 2 h 4"/>
                  <a:gd name="T10" fmla="*/ 0 w 2"/>
                  <a:gd name="T11" fmla="*/ 2 h 4"/>
                  <a:gd name="T12" fmla="*/ 0 w 2"/>
                  <a:gd name="T13" fmla="*/ 2 h 4"/>
                  <a:gd name="T14" fmla="*/ 0 w 2"/>
                  <a:gd name="T15" fmla="*/ 4 h 4"/>
                  <a:gd name="T16" fmla="*/ 2 w 2"/>
                  <a:gd name="T17" fmla="*/ 4 h 4"/>
                  <a:gd name="T18" fmla="*/ 0 w 2"/>
                  <a:gd name="T19" fmla="*/ 4 h 4"/>
                  <a:gd name="T20" fmla="*/ 0 w 2"/>
                  <a:gd name="T2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27" name="Freeform 225">
                <a:extLst>
                  <a:ext uri="{FF2B5EF4-FFF2-40B4-BE49-F238E27FC236}">
                    <a16:creationId xmlns:a16="http://schemas.microsoft.com/office/drawing/2014/main" id="{5518A1E7-225E-4C54-B1E4-C45F3F1792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5" y="3390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0 h 4"/>
                  <a:gd name="T4" fmla="*/ 2 w 2"/>
                  <a:gd name="T5" fmla="*/ 4 h 4"/>
                  <a:gd name="T6" fmla="*/ 2 w 2"/>
                  <a:gd name="T7" fmla="*/ 4 h 4"/>
                  <a:gd name="T8" fmla="*/ 2 w 2"/>
                  <a:gd name="T9" fmla="*/ 4 h 4"/>
                  <a:gd name="T10" fmla="*/ 0 w 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28" name="Freeform 226">
                <a:extLst>
                  <a:ext uri="{FF2B5EF4-FFF2-40B4-BE49-F238E27FC236}">
                    <a16:creationId xmlns:a16="http://schemas.microsoft.com/office/drawing/2014/main" id="{3DF13B8C-C7C5-44BD-86E4-3870463484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8" y="2912"/>
                <a:ext cx="33" cy="25"/>
              </a:xfrm>
              <a:custGeom>
                <a:avLst/>
                <a:gdLst>
                  <a:gd name="T0" fmla="*/ 16 w 33"/>
                  <a:gd name="T1" fmla="*/ 24 h 25"/>
                  <a:gd name="T2" fmla="*/ 21 w 33"/>
                  <a:gd name="T3" fmla="*/ 25 h 25"/>
                  <a:gd name="T4" fmla="*/ 23 w 33"/>
                  <a:gd name="T5" fmla="*/ 24 h 25"/>
                  <a:gd name="T6" fmla="*/ 27 w 33"/>
                  <a:gd name="T7" fmla="*/ 20 h 25"/>
                  <a:gd name="T8" fmla="*/ 29 w 33"/>
                  <a:gd name="T9" fmla="*/ 18 h 25"/>
                  <a:gd name="T10" fmla="*/ 29 w 33"/>
                  <a:gd name="T11" fmla="*/ 12 h 25"/>
                  <a:gd name="T12" fmla="*/ 31 w 33"/>
                  <a:gd name="T13" fmla="*/ 2 h 25"/>
                  <a:gd name="T14" fmla="*/ 33 w 33"/>
                  <a:gd name="T15" fmla="*/ 0 h 25"/>
                  <a:gd name="T16" fmla="*/ 33 w 33"/>
                  <a:gd name="T17" fmla="*/ 0 h 25"/>
                  <a:gd name="T18" fmla="*/ 33 w 33"/>
                  <a:gd name="T19" fmla="*/ 0 h 25"/>
                  <a:gd name="T20" fmla="*/ 31 w 33"/>
                  <a:gd name="T21" fmla="*/ 2 h 25"/>
                  <a:gd name="T22" fmla="*/ 29 w 33"/>
                  <a:gd name="T23" fmla="*/ 12 h 25"/>
                  <a:gd name="T24" fmla="*/ 29 w 33"/>
                  <a:gd name="T25" fmla="*/ 18 h 25"/>
                  <a:gd name="T26" fmla="*/ 27 w 33"/>
                  <a:gd name="T27" fmla="*/ 20 h 25"/>
                  <a:gd name="T28" fmla="*/ 23 w 33"/>
                  <a:gd name="T29" fmla="*/ 24 h 25"/>
                  <a:gd name="T30" fmla="*/ 21 w 33"/>
                  <a:gd name="T31" fmla="*/ 25 h 25"/>
                  <a:gd name="T32" fmla="*/ 16 w 33"/>
                  <a:gd name="T33" fmla="*/ 24 h 25"/>
                  <a:gd name="T34" fmla="*/ 0 w 33"/>
                  <a:gd name="T35" fmla="*/ 16 h 25"/>
                  <a:gd name="T36" fmla="*/ 0 w 33"/>
                  <a:gd name="T37" fmla="*/ 14 h 25"/>
                  <a:gd name="T38" fmla="*/ 0 w 33"/>
                  <a:gd name="T39" fmla="*/ 16 h 25"/>
                  <a:gd name="T40" fmla="*/ 16 w 33"/>
                  <a:gd name="T41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" h="25">
                    <a:moveTo>
                      <a:pt x="16" y="24"/>
                    </a:moveTo>
                    <a:lnTo>
                      <a:pt x="21" y="25"/>
                    </a:lnTo>
                    <a:lnTo>
                      <a:pt x="23" y="24"/>
                    </a:lnTo>
                    <a:lnTo>
                      <a:pt x="27" y="20"/>
                    </a:lnTo>
                    <a:lnTo>
                      <a:pt x="29" y="18"/>
                    </a:lnTo>
                    <a:lnTo>
                      <a:pt x="29" y="12"/>
                    </a:lnTo>
                    <a:lnTo>
                      <a:pt x="31" y="2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31" y="2"/>
                    </a:lnTo>
                    <a:lnTo>
                      <a:pt x="29" y="12"/>
                    </a:lnTo>
                    <a:lnTo>
                      <a:pt x="29" y="18"/>
                    </a:lnTo>
                    <a:lnTo>
                      <a:pt x="27" y="20"/>
                    </a:lnTo>
                    <a:lnTo>
                      <a:pt x="23" y="24"/>
                    </a:lnTo>
                    <a:lnTo>
                      <a:pt x="21" y="25"/>
                    </a:lnTo>
                    <a:lnTo>
                      <a:pt x="16" y="24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16" y="2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29" name="Freeform 227">
                <a:extLst>
                  <a:ext uri="{FF2B5EF4-FFF2-40B4-BE49-F238E27FC236}">
                    <a16:creationId xmlns:a16="http://schemas.microsoft.com/office/drawing/2014/main" id="{24C4BD84-E5DD-41C9-8128-E79C35AF0A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4" y="3390"/>
                <a:ext cx="7" cy="12"/>
              </a:xfrm>
              <a:custGeom>
                <a:avLst/>
                <a:gdLst>
                  <a:gd name="T0" fmla="*/ 2 w 7"/>
                  <a:gd name="T1" fmla="*/ 10 h 12"/>
                  <a:gd name="T2" fmla="*/ 0 w 7"/>
                  <a:gd name="T3" fmla="*/ 12 h 12"/>
                  <a:gd name="T4" fmla="*/ 2 w 7"/>
                  <a:gd name="T5" fmla="*/ 10 h 12"/>
                  <a:gd name="T6" fmla="*/ 5 w 7"/>
                  <a:gd name="T7" fmla="*/ 0 h 12"/>
                  <a:gd name="T8" fmla="*/ 7 w 7"/>
                  <a:gd name="T9" fmla="*/ 0 h 12"/>
                  <a:gd name="T10" fmla="*/ 5 w 7"/>
                  <a:gd name="T11" fmla="*/ 0 h 12"/>
                  <a:gd name="T12" fmla="*/ 2 w 7"/>
                  <a:gd name="T13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12">
                    <a:moveTo>
                      <a:pt x="2" y="10"/>
                    </a:moveTo>
                    <a:lnTo>
                      <a:pt x="0" y="12"/>
                    </a:lnTo>
                    <a:lnTo>
                      <a:pt x="2" y="1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30" name="Freeform 228">
                <a:extLst>
                  <a:ext uri="{FF2B5EF4-FFF2-40B4-BE49-F238E27FC236}">
                    <a16:creationId xmlns:a16="http://schemas.microsoft.com/office/drawing/2014/main" id="{1E34536F-D1FF-4B33-B0BD-DAA821CA39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2" y="2928"/>
                <a:ext cx="4" cy="0"/>
              </a:xfrm>
              <a:custGeom>
                <a:avLst/>
                <a:gdLst>
                  <a:gd name="T0" fmla="*/ 4 w 4"/>
                  <a:gd name="T1" fmla="*/ 4 w 4"/>
                  <a:gd name="T2" fmla="*/ 4 w 4"/>
                  <a:gd name="T3" fmla="*/ 0 w 4"/>
                  <a:gd name="T4" fmla="*/ 0 w 4"/>
                  <a:gd name="T5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31" name="Freeform 229">
                <a:extLst>
                  <a:ext uri="{FF2B5EF4-FFF2-40B4-BE49-F238E27FC236}">
                    <a16:creationId xmlns:a16="http://schemas.microsoft.com/office/drawing/2014/main" id="{1A28051A-EB69-4465-988C-EC355C1EEE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5" y="3396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2 w 2"/>
                  <a:gd name="T5" fmla="*/ 0 h 2"/>
                  <a:gd name="T6" fmla="*/ 2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32" name="Freeform 230">
                <a:extLst>
                  <a:ext uri="{FF2B5EF4-FFF2-40B4-BE49-F238E27FC236}">
                    <a16:creationId xmlns:a16="http://schemas.microsoft.com/office/drawing/2014/main" id="{AB49135B-8E8A-41F4-BF7E-9641E978DB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5" y="2937"/>
                <a:ext cx="16" cy="4"/>
              </a:xfrm>
              <a:custGeom>
                <a:avLst/>
                <a:gdLst>
                  <a:gd name="T0" fmla="*/ 16 w 16"/>
                  <a:gd name="T1" fmla="*/ 0 h 4"/>
                  <a:gd name="T2" fmla="*/ 6 w 16"/>
                  <a:gd name="T3" fmla="*/ 2 h 4"/>
                  <a:gd name="T4" fmla="*/ 0 w 16"/>
                  <a:gd name="T5" fmla="*/ 4 h 4"/>
                  <a:gd name="T6" fmla="*/ 0 w 16"/>
                  <a:gd name="T7" fmla="*/ 4 h 4"/>
                  <a:gd name="T8" fmla="*/ 6 w 16"/>
                  <a:gd name="T9" fmla="*/ 2 h 4"/>
                  <a:gd name="T10" fmla="*/ 16 w 1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4">
                    <a:moveTo>
                      <a:pt x="16" y="0"/>
                    </a:moveTo>
                    <a:lnTo>
                      <a:pt x="6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6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33" name="Rectangle 231">
                <a:extLst>
                  <a:ext uri="{FF2B5EF4-FFF2-40B4-BE49-F238E27FC236}">
                    <a16:creationId xmlns:a16="http://schemas.microsoft.com/office/drawing/2014/main" id="{4AE043FE-8EA6-4FF6-BC73-9556C2A52F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3" y="3394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34" name="Freeform 232">
                <a:extLst>
                  <a:ext uri="{FF2B5EF4-FFF2-40B4-BE49-F238E27FC236}">
                    <a16:creationId xmlns:a16="http://schemas.microsoft.com/office/drawing/2014/main" id="{27F270B1-8896-4CF1-8C8E-C559499809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3" y="3392"/>
                <a:ext cx="10" cy="6"/>
              </a:xfrm>
              <a:custGeom>
                <a:avLst/>
                <a:gdLst>
                  <a:gd name="T0" fmla="*/ 2 w 10"/>
                  <a:gd name="T1" fmla="*/ 2 h 6"/>
                  <a:gd name="T2" fmla="*/ 0 w 10"/>
                  <a:gd name="T3" fmla="*/ 0 h 6"/>
                  <a:gd name="T4" fmla="*/ 2 w 10"/>
                  <a:gd name="T5" fmla="*/ 2 h 6"/>
                  <a:gd name="T6" fmla="*/ 8 w 10"/>
                  <a:gd name="T7" fmla="*/ 6 h 6"/>
                  <a:gd name="T8" fmla="*/ 10 w 10"/>
                  <a:gd name="T9" fmla="*/ 6 h 6"/>
                  <a:gd name="T10" fmla="*/ 8 w 10"/>
                  <a:gd name="T11" fmla="*/ 6 h 6"/>
                  <a:gd name="T12" fmla="*/ 2 w 10"/>
                  <a:gd name="T1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6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35" name="Freeform 233">
                <a:extLst>
                  <a:ext uri="{FF2B5EF4-FFF2-40B4-BE49-F238E27FC236}">
                    <a16:creationId xmlns:a16="http://schemas.microsoft.com/office/drawing/2014/main" id="{FEAD3100-5A7F-41BD-86CB-FF8D33942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1" y="2930"/>
                <a:ext cx="15" cy="9"/>
              </a:xfrm>
              <a:custGeom>
                <a:avLst/>
                <a:gdLst>
                  <a:gd name="T0" fmla="*/ 5 w 15"/>
                  <a:gd name="T1" fmla="*/ 9 h 9"/>
                  <a:gd name="T2" fmla="*/ 7 w 15"/>
                  <a:gd name="T3" fmla="*/ 7 h 9"/>
                  <a:gd name="T4" fmla="*/ 9 w 15"/>
                  <a:gd name="T5" fmla="*/ 2 h 9"/>
                  <a:gd name="T6" fmla="*/ 13 w 15"/>
                  <a:gd name="T7" fmla="*/ 0 h 9"/>
                  <a:gd name="T8" fmla="*/ 15 w 15"/>
                  <a:gd name="T9" fmla="*/ 0 h 9"/>
                  <a:gd name="T10" fmla="*/ 13 w 15"/>
                  <a:gd name="T11" fmla="*/ 0 h 9"/>
                  <a:gd name="T12" fmla="*/ 9 w 15"/>
                  <a:gd name="T13" fmla="*/ 2 h 9"/>
                  <a:gd name="T14" fmla="*/ 7 w 15"/>
                  <a:gd name="T15" fmla="*/ 7 h 9"/>
                  <a:gd name="T16" fmla="*/ 5 w 15"/>
                  <a:gd name="T17" fmla="*/ 9 h 9"/>
                  <a:gd name="T18" fmla="*/ 3 w 15"/>
                  <a:gd name="T19" fmla="*/ 9 h 9"/>
                  <a:gd name="T20" fmla="*/ 0 w 15"/>
                  <a:gd name="T21" fmla="*/ 9 h 9"/>
                  <a:gd name="T22" fmla="*/ 3 w 15"/>
                  <a:gd name="T23" fmla="*/ 9 h 9"/>
                  <a:gd name="T24" fmla="*/ 5 w 15"/>
                  <a:gd name="T2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" h="9">
                    <a:moveTo>
                      <a:pt x="5" y="9"/>
                    </a:moveTo>
                    <a:lnTo>
                      <a:pt x="7" y="7"/>
                    </a:lnTo>
                    <a:lnTo>
                      <a:pt x="9" y="2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9" y="2"/>
                    </a:lnTo>
                    <a:lnTo>
                      <a:pt x="7" y="7"/>
                    </a:lnTo>
                    <a:lnTo>
                      <a:pt x="5" y="9"/>
                    </a:lnTo>
                    <a:lnTo>
                      <a:pt x="3" y="9"/>
                    </a:lnTo>
                    <a:lnTo>
                      <a:pt x="0" y="9"/>
                    </a:lnTo>
                    <a:lnTo>
                      <a:pt x="3" y="9"/>
                    </a:lnTo>
                    <a:lnTo>
                      <a:pt x="5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36" name="Freeform 234">
                <a:extLst>
                  <a:ext uri="{FF2B5EF4-FFF2-40B4-BE49-F238E27FC236}">
                    <a16:creationId xmlns:a16="http://schemas.microsoft.com/office/drawing/2014/main" id="{23D48195-9C21-48E6-841E-EE10614077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2" y="2797"/>
                <a:ext cx="16" cy="16"/>
              </a:xfrm>
              <a:custGeom>
                <a:avLst/>
                <a:gdLst>
                  <a:gd name="T0" fmla="*/ 16 w 16"/>
                  <a:gd name="T1" fmla="*/ 10 h 16"/>
                  <a:gd name="T2" fmla="*/ 16 w 16"/>
                  <a:gd name="T3" fmla="*/ 4 h 16"/>
                  <a:gd name="T4" fmla="*/ 12 w 16"/>
                  <a:gd name="T5" fmla="*/ 2 h 16"/>
                  <a:gd name="T6" fmla="*/ 6 w 16"/>
                  <a:gd name="T7" fmla="*/ 0 h 16"/>
                  <a:gd name="T8" fmla="*/ 6 w 16"/>
                  <a:gd name="T9" fmla="*/ 0 h 16"/>
                  <a:gd name="T10" fmla="*/ 12 w 16"/>
                  <a:gd name="T11" fmla="*/ 2 h 16"/>
                  <a:gd name="T12" fmla="*/ 16 w 16"/>
                  <a:gd name="T13" fmla="*/ 4 h 16"/>
                  <a:gd name="T14" fmla="*/ 16 w 16"/>
                  <a:gd name="T15" fmla="*/ 10 h 16"/>
                  <a:gd name="T16" fmla="*/ 10 w 16"/>
                  <a:gd name="T17" fmla="*/ 16 h 16"/>
                  <a:gd name="T18" fmla="*/ 0 w 16"/>
                  <a:gd name="T19" fmla="*/ 14 h 16"/>
                  <a:gd name="T20" fmla="*/ 10 w 16"/>
                  <a:gd name="T21" fmla="*/ 16 h 16"/>
                  <a:gd name="T22" fmla="*/ 16 w 16"/>
                  <a:gd name="T23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6">
                    <a:moveTo>
                      <a:pt x="16" y="10"/>
                    </a:moveTo>
                    <a:lnTo>
                      <a:pt x="16" y="4"/>
                    </a:lnTo>
                    <a:lnTo>
                      <a:pt x="1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2" y="2"/>
                    </a:lnTo>
                    <a:lnTo>
                      <a:pt x="16" y="4"/>
                    </a:lnTo>
                    <a:lnTo>
                      <a:pt x="16" y="10"/>
                    </a:lnTo>
                    <a:lnTo>
                      <a:pt x="10" y="16"/>
                    </a:lnTo>
                    <a:lnTo>
                      <a:pt x="0" y="14"/>
                    </a:lnTo>
                    <a:lnTo>
                      <a:pt x="10" y="16"/>
                    </a:lnTo>
                    <a:lnTo>
                      <a:pt x="16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37" name="Freeform 235">
                <a:extLst>
                  <a:ext uri="{FF2B5EF4-FFF2-40B4-BE49-F238E27FC236}">
                    <a16:creationId xmlns:a16="http://schemas.microsoft.com/office/drawing/2014/main" id="{7ED10B37-2119-4F57-B809-AD63EE75E9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6" y="3332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0 w 4"/>
                  <a:gd name="T3" fmla="*/ 0 h 2"/>
                  <a:gd name="T4" fmla="*/ 2 w 4"/>
                  <a:gd name="T5" fmla="*/ 0 h 2"/>
                  <a:gd name="T6" fmla="*/ 4 w 4"/>
                  <a:gd name="T7" fmla="*/ 0 h 2"/>
                  <a:gd name="T8" fmla="*/ 4 w 4"/>
                  <a:gd name="T9" fmla="*/ 2 h 2"/>
                  <a:gd name="T10" fmla="*/ 4 w 4"/>
                  <a:gd name="T11" fmla="*/ 0 h 2"/>
                  <a:gd name="T12" fmla="*/ 2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38" name="Freeform 236">
                <a:extLst>
                  <a:ext uri="{FF2B5EF4-FFF2-40B4-BE49-F238E27FC236}">
                    <a16:creationId xmlns:a16="http://schemas.microsoft.com/office/drawing/2014/main" id="{C0164BFE-76E1-44F9-A6F4-3F42D45535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6" y="3338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2 w 4"/>
                  <a:gd name="T3" fmla="*/ 0 h 2"/>
                  <a:gd name="T4" fmla="*/ 0 w 4"/>
                  <a:gd name="T5" fmla="*/ 0 h 2"/>
                  <a:gd name="T6" fmla="*/ 2 w 4"/>
                  <a:gd name="T7" fmla="*/ 0 h 2"/>
                  <a:gd name="T8" fmla="*/ 2 w 4"/>
                  <a:gd name="T9" fmla="*/ 2 h 2"/>
                  <a:gd name="T10" fmla="*/ 4 w 4"/>
                  <a:gd name="T11" fmla="*/ 2 h 2"/>
                  <a:gd name="T12" fmla="*/ 4 w 4"/>
                  <a:gd name="T13" fmla="*/ 2 h 2"/>
                  <a:gd name="T14" fmla="*/ 2 w 4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39" name="Freeform 237">
                <a:extLst>
                  <a:ext uri="{FF2B5EF4-FFF2-40B4-BE49-F238E27FC236}">
                    <a16:creationId xmlns:a16="http://schemas.microsoft.com/office/drawing/2014/main" id="{82ADF4A7-C1FA-48A0-B89B-323DAEB12C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838"/>
                <a:ext cx="2" cy="10"/>
              </a:xfrm>
              <a:custGeom>
                <a:avLst/>
                <a:gdLst>
                  <a:gd name="T0" fmla="*/ 0 w 2"/>
                  <a:gd name="T1" fmla="*/ 6 h 10"/>
                  <a:gd name="T2" fmla="*/ 0 w 2"/>
                  <a:gd name="T3" fmla="*/ 4 h 10"/>
                  <a:gd name="T4" fmla="*/ 2 w 2"/>
                  <a:gd name="T5" fmla="*/ 2 h 10"/>
                  <a:gd name="T6" fmla="*/ 2 w 2"/>
                  <a:gd name="T7" fmla="*/ 0 h 10"/>
                  <a:gd name="T8" fmla="*/ 2 w 2"/>
                  <a:gd name="T9" fmla="*/ 2 h 10"/>
                  <a:gd name="T10" fmla="*/ 0 w 2"/>
                  <a:gd name="T11" fmla="*/ 4 h 10"/>
                  <a:gd name="T12" fmla="*/ 0 w 2"/>
                  <a:gd name="T13" fmla="*/ 6 h 10"/>
                  <a:gd name="T14" fmla="*/ 2 w 2"/>
                  <a:gd name="T15" fmla="*/ 8 h 10"/>
                  <a:gd name="T16" fmla="*/ 2 w 2"/>
                  <a:gd name="T17" fmla="*/ 10 h 10"/>
                  <a:gd name="T18" fmla="*/ 2 w 2"/>
                  <a:gd name="T19" fmla="*/ 8 h 10"/>
                  <a:gd name="T20" fmla="*/ 0 w 2"/>
                  <a:gd name="T2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10">
                    <a:moveTo>
                      <a:pt x="0" y="6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40" name="Rectangle 238">
                <a:extLst>
                  <a:ext uri="{FF2B5EF4-FFF2-40B4-BE49-F238E27FC236}">
                    <a16:creationId xmlns:a16="http://schemas.microsoft.com/office/drawing/2014/main" id="{62EAEFCF-9922-49C2-A7C4-92EA991C7B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0" y="283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41" name="Freeform 239">
                <a:extLst>
                  <a:ext uri="{FF2B5EF4-FFF2-40B4-BE49-F238E27FC236}">
                    <a16:creationId xmlns:a16="http://schemas.microsoft.com/office/drawing/2014/main" id="{539E8061-DC8B-4AD6-9F76-993AD9C34C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1" y="3322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2 w 6"/>
                  <a:gd name="T3" fmla="*/ 2 h 4"/>
                  <a:gd name="T4" fmla="*/ 6 w 6"/>
                  <a:gd name="T5" fmla="*/ 4 h 4"/>
                  <a:gd name="T6" fmla="*/ 2 w 6"/>
                  <a:gd name="T7" fmla="*/ 2 h 4"/>
                  <a:gd name="T8" fmla="*/ 0 w 6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2" y="2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42" name="Freeform 240">
                <a:extLst>
                  <a:ext uri="{FF2B5EF4-FFF2-40B4-BE49-F238E27FC236}">
                    <a16:creationId xmlns:a16="http://schemas.microsoft.com/office/drawing/2014/main" id="{19CDC45C-6B22-4F11-B4C0-4245E2AF6C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4" y="2850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2 w 8"/>
                  <a:gd name="T5" fmla="*/ 4 h 4"/>
                  <a:gd name="T6" fmla="*/ 0 w 8"/>
                  <a:gd name="T7" fmla="*/ 4 h 4"/>
                  <a:gd name="T8" fmla="*/ 2 w 8"/>
                  <a:gd name="T9" fmla="*/ 4 h 4"/>
                  <a:gd name="T10" fmla="*/ 8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43" name="Freeform 241">
                <a:extLst>
                  <a:ext uri="{FF2B5EF4-FFF2-40B4-BE49-F238E27FC236}">
                    <a16:creationId xmlns:a16="http://schemas.microsoft.com/office/drawing/2014/main" id="{E2CF79F5-6D9A-463F-B36B-4C878894A7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1" y="3332"/>
                <a:ext cx="23" cy="4"/>
              </a:xfrm>
              <a:custGeom>
                <a:avLst/>
                <a:gdLst>
                  <a:gd name="T0" fmla="*/ 15 w 23"/>
                  <a:gd name="T1" fmla="*/ 2 h 4"/>
                  <a:gd name="T2" fmla="*/ 13 w 23"/>
                  <a:gd name="T3" fmla="*/ 4 h 4"/>
                  <a:gd name="T4" fmla="*/ 9 w 23"/>
                  <a:gd name="T5" fmla="*/ 4 h 4"/>
                  <a:gd name="T6" fmla="*/ 6 w 23"/>
                  <a:gd name="T7" fmla="*/ 2 h 4"/>
                  <a:gd name="T8" fmla="*/ 0 w 23"/>
                  <a:gd name="T9" fmla="*/ 0 h 4"/>
                  <a:gd name="T10" fmla="*/ 6 w 23"/>
                  <a:gd name="T11" fmla="*/ 2 h 4"/>
                  <a:gd name="T12" fmla="*/ 9 w 23"/>
                  <a:gd name="T13" fmla="*/ 4 h 4"/>
                  <a:gd name="T14" fmla="*/ 13 w 23"/>
                  <a:gd name="T15" fmla="*/ 4 h 4"/>
                  <a:gd name="T16" fmla="*/ 15 w 23"/>
                  <a:gd name="T17" fmla="*/ 2 h 4"/>
                  <a:gd name="T18" fmla="*/ 21 w 23"/>
                  <a:gd name="T19" fmla="*/ 0 h 4"/>
                  <a:gd name="T20" fmla="*/ 23 w 23"/>
                  <a:gd name="T21" fmla="*/ 0 h 4"/>
                  <a:gd name="T22" fmla="*/ 21 w 23"/>
                  <a:gd name="T23" fmla="*/ 0 h 4"/>
                  <a:gd name="T24" fmla="*/ 15 w 23"/>
                  <a:gd name="T2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" h="4">
                    <a:moveTo>
                      <a:pt x="15" y="2"/>
                    </a:moveTo>
                    <a:lnTo>
                      <a:pt x="13" y="4"/>
                    </a:lnTo>
                    <a:lnTo>
                      <a:pt x="9" y="4"/>
                    </a:lnTo>
                    <a:lnTo>
                      <a:pt x="6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9" y="4"/>
                    </a:lnTo>
                    <a:lnTo>
                      <a:pt x="13" y="4"/>
                    </a:lnTo>
                    <a:lnTo>
                      <a:pt x="15" y="2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15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44" name="Freeform 242">
                <a:extLst>
                  <a:ext uri="{FF2B5EF4-FFF2-40B4-BE49-F238E27FC236}">
                    <a16:creationId xmlns:a16="http://schemas.microsoft.com/office/drawing/2014/main" id="{96B98CB5-D8E2-418B-9C12-F3E25D1092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" y="2789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0 h 4"/>
                  <a:gd name="T4" fmla="*/ 2 w 2"/>
                  <a:gd name="T5" fmla="*/ 0 h 4"/>
                  <a:gd name="T6" fmla="*/ 2 w 2"/>
                  <a:gd name="T7" fmla="*/ 0 h 4"/>
                  <a:gd name="T8" fmla="*/ 0 w 2"/>
                  <a:gd name="T9" fmla="*/ 0 h 4"/>
                  <a:gd name="T10" fmla="*/ 0 w 2"/>
                  <a:gd name="T11" fmla="*/ 4 h 4"/>
                  <a:gd name="T12" fmla="*/ 0 w 2"/>
                  <a:gd name="T13" fmla="*/ 4 h 4"/>
                  <a:gd name="T14" fmla="*/ 0 w 2"/>
                  <a:gd name="T15" fmla="*/ 4 h 4"/>
                  <a:gd name="T16" fmla="*/ 0 w 2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45" name="Freeform 243">
                <a:extLst>
                  <a:ext uri="{FF2B5EF4-FFF2-40B4-BE49-F238E27FC236}">
                    <a16:creationId xmlns:a16="http://schemas.microsoft.com/office/drawing/2014/main" id="{F1D933C7-3DCE-4FB7-8C69-5FAD0B8C6F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4" y="3342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46" name="Rectangle 244">
                <a:extLst>
                  <a:ext uri="{FF2B5EF4-FFF2-40B4-BE49-F238E27FC236}">
                    <a16:creationId xmlns:a16="http://schemas.microsoft.com/office/drawing/2014/main" id="{CD322AB5-A81A-4777-9232-CC07BA36FA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9" y="338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47" name="Freeform 245">
                <a:extLst>
                  <a:ext uri="{FF2B5EF4-FFF2-40B4-BE49-F238E27FC236}">
                    <a16:creationId xmlns:a16="http://schemas.microsoft.com/office/drawing/2014/main" id="{EB142F7D-7731-4D83-8C50-BBF436EB8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3" y="2855"/>
                <a:ext cx="11" cy="0"/>
              </a:xfrm>
              <a:custGeom>
                <a:avLst/>
                <a:gdLst>
                  <a:gd name="T0" fmla="*/ 11 w 11"/>
                  <a:gd name="T1" fmla="*/ 9 w 11"/>
                  <a:gd name="T2" fmla="*/ 0 w 11"/>
                  <a:gd name="T3" fmla="*/ 9 w 11"/>
                  <a:gd name="T4" fmla="*/ 11 w 1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1">
                    <a:moveTo>
                      <a:pt x="11" y="0"/>
                    </a:moveTo>
                    <a:lnTo>
                      <a:pt x="9" y="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48" name="Freeform 246">
                <a:extLst>
                  <a:ext uri="{FF2B5EF4-FFF2-40B4-BE49-F238E27FC236}">
                    <a16:creationId xmlns:a16="http://schemas.microsoft.com/office/drawing/2014/main" id="{D2911602-479C-4B8F-9084-7C6E11AE41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9" y="2814"/>
                <a:ext cx="23" cy="14"/>
              </a:xfrm>
              <a:custGeom>
                <a:avLst/>
                <a:gdLst>
                  <a:gd name="T0" fmla="*/ 19 w 23"/>
                  <a:gd name="T1" fmla="*/ 4 h 14"/>
                  <a:gd name="T2" fmla="*/ 23 w 23"/>
                  <a:gd name="T3" fmla="*/ 0 h 14"/>
                  <a:gd name="T4" fmla="*/ 23 w 23"/>
                  <a:gd name="T5" fmla="*/ 0 h 14"/>
                  <a:gd name="T6" fmla="*/ 19 w 23"/>
                  <a:gd name="T7" fmla="*/ 4 h 14"/>
                  <a:gd name="T8" fmla="*/ 17 w 23"/>
                  <a:gd name="T9" fmla="*/ 6 h 14"/>
                  <a:gd name="T10" fmla="*/ 0 w 23"/>
                  <a:gd name="T11" fmla="*/ 14 h 14"/>
                  <a:gd name="T12" fmla="*/ 17 w 23"/>
                  <a:gd name="T13" fmla="*/ 6 h 14"/>
                  <a:gd name="T14" fmla="*/ 19 w 23"/>
                  <a:gd name="T15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4">
                    <a:moveTo>
                      <a:pt x="19" y="4"/>
                    </a:moveTo>
                    <a:lnTo>
                      <a:pt x="23" y="0"/>
                    </a:lnTo>
                    <a:lnTo>
                      <a:pt x="23" y="0"/>
                    </a:lnTo>
                    <a:lnTo>
                      <a:pt x="19" y="4"/>
                    </a:lnTo>
                    <a:lnTo>
                      <a:pt x="17" y="6"/>
                    </a:lnTo>
                    <a:lnTo>
                      <a:pt x="0" y="14"/>
                    </a:lnTo>
                    <a:lnTo>
                      <a:pt x="17" y="6"/>
                    </a:lnTo>
                    <a:lnTo>
                      <a:pt x="19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49" name="Freeform 247">
                <a:extLst>
                  <a:ext uri="{FF2B5EF4-FFF2-40B4-BE49-F238E27FC236}">
                    <a16:creationId xmlns:a16="http://schemas.microsoft.com/office/drawing/2014/main" id="{2EC47BE8-5E55-4FEA-ADC8-4CC0DEFB90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2" y="2832"/>
                <a:ext cx="9" cy="6"/>
              </a:xfrm>
              <a:custGeom>
                <a:avLst/>
                <a:gdLst>
                  <a:gd name="T0" fmla="*/ 1 w 9"/>
                  <a:gd name="T1" fmla="*/ 4 h 6"/>
                  <a:gd name="T2" fmla="*/ 3 w 9"/>
                  <a:gd name="T3" fmla="*/ 2 h 6"/>
                  <a:gd name="T4" fmla="*/ 5 w 9"/>
                  <a:gd name="T5" fmla="*/ 0 h 6"/>
                  <a:gd name="T6" fmla="*/ 9 w 9"/>
                  <a:gd name="T7" fmla="*/ 0 h 6"/>
                  <a:gd name="T8" fmla="*/ 5 w 9"/>
                  <a:gd name="T9" fmla="*/ 0 h 6"/>
                  <a:gd name="T10" fmla="*/ 3 w 9"/>
                  <a:gd name="T11" fmla="*/ 2 h 6"/>
                  <a:gd name="T12" fmla="*/ 1 w 9"/>
                  <a:gd name="T13" fmla="*/ 4 h 6"/>
                  <a:gd name="T14" fmla="*/ 0 w 9"/>
                  <a:gd name="T15" fmla="*/ 6 h 6"/>
                  <a:gd name="T16" fmla="*/ 0 w 9"/>
                  <a:gd name="T17" fmla="*/ 6 h 6"/>
                  <a:gd name="T18" fmla="*/ 0 w 9"/>
                  <a:gd name="T19" fmla="*/ 6 h 6"/>
                  <a:gd name="T20" fmla="*/ 1 w 9"/>
                  <a:gd name="T2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6">
                    <a:moveTo>
                      <a:pt x="1" y="4"/>
                    </a:moveTo>
                    <a:lnTo>
                      <a:pt x="3" y="2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50" name="Rectangle 248">
                <a:extLst>
                  <a:ext uri="{FF2B5EF4-FFF2-40B4-BE49-F238E27FC236}">
                    <a16:creationId xmlns:a16="http://schemas.microsoft.com/office/drawing/2014/main" id="{704514A1-9768-45CC-B8E1-6C897F679D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10" y="3342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51" name="Freeform 249">
                <a:extLst>
                  <a:ext uri="{FF2B5EF4-FFF2-40B4-BE49-F238E27FC236}">
                    <a16:creationId xmlns:a16="http://schemas.microsoft.com/office/drawing/2014/main" id="{A8CFC696-4F4B-45CB-B35F-F8BE0BC39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3" y="2861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0 h 4"/>
                  <a:gd name="T4" fmla="*/ 2 w 2"/>
                  <a:gd name="T5" fmla="*/ 4 h 4"/>
                  <a:gd name="T6" fmla="*/ 2 w 2"/>
                  <a:gd name="T7" fmla="*/ 4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52" name="Freeform 250">
                <a:extLst>
                  <a:ext uri="{FF2B5EF4-FFF2-40B4-BE49-F238E27FC236}">
                    <a16:creationId xmlns:a16="http://schemas.microsoft.com/office/drawing/2014/main" id="{DC698397-2ED1-4B05-B69D-B284D1443B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" y="3303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0 h 4"/>
                  <a:gd name="T4" fmla="*/ 0 w 2"/>
                  <a:gd name="T5" fmla="*/ 4 h 4"/>
                  <a:gd name="T6" fmla="*/ 0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53" name="Freeform 251">
                <a:extLst>
                  <a:ext uri="{FF2B5EF4-FFF2-40B4-BE49-F238E27FC236}">
                    <a16:creationId xmlns:a16="http://schemas.microsoft.com/office/drawing/2014/main" id="{6D308E9A-EC99-4B80-93CC-CDA20EC206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1" y="2869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2 w 4"/>
                  <a:gd name="T3" fmla="*/ 2 h 4"/>
                  <a:gd name="T4" fmla="*/ 0 w 4"/>
                  <a:gd name="T5" fmla="*/ 4 h 4"/>
                  <a:gd name="T6" fmla="*/ 2 w 4"/>
                  <a:gd name="T7" fmla="*/ 2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54" name="Freeform 252">
                <a:extLst>
                  <a:ext uri="{FF2B5EF4-FFF2-40B4-BE49-F238E27FC236}">
                    <a16:creationId xmlns:a16="http://schemas.microsoft.com/office/drawing/2014/main" id="{CEBD255B-56CD-43A7-BFF6-C95962265A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3297"/>
                <a:ext cx="12" cy="2"/>
              </a:xfrm>
              <a:custGeom>
                <a:avLst/>
                <a:gdLst>
                  <a:gd name="T0" fmla="*/ 0 w 12"/>
                  <a:gd name="T1" fmla="*/ 0 h 2"/>
                  <a:gd name="T2" fmla="*/ 0 w 12"/>
                  <a:gd name="T3" fmla="*/ 0 h 2"/>
                  <a:gd name="T4" fmla="*/ 0 w 12"/>
                  <a:gd name="T5" fmla="*/ 0 h 2"/>
                  <a:gd name="T6" fmla="*/ 4 w 12"/>
                  <a:gd name="T7" fmla="*/ 0 h 2"/>
                  <a:gd name="T8" fmla="*/ 12 w 12"/>
                  <a:gd name="T9" fmla="*/ 2 h 2"/>
                  <a:gd name="T10" fmla="*/ 4 w 12"/>
                  <a:gd name="T11" fmla="*/ 0 h 2"/>
                  <a:gd name="T12" fmla="*/ 0 w 1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12" y="2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55" name="Freeform 253">
                <a:extLst>
                  <a:ext uri="{FF2B5EF4-FFF2-40B4-BE49-F238E27FC236}">
                    <a16:creationId xmlns:a16="http://schemas.microsoft.com/office/drawing/2014/main" id="{0E3B8132-89B5-4762-A8FB-0CB5BCA3BC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9" y="2873"/>
                <a:ext cx="2" cy="6"/>
              </a:xfrm>
              <a:custGeom>
                <a:avLst/>
                <a:gdLst>
                  <a:gd name="T0" fmla="*/ 2 w 2"/>
                  <a:gd name="T1" fmla="*/ 4 h 6"/>
                  <a:gd name="T2" fmla="*/ 0 w 2"/>
                  <a:gd name="T3" fmla="*/ 0 h 6"/>
                  <a:gd name="T4" fmla="*/ 0 w 2"/>
                  <a:gd name="T5" fmla="*/ 2 h 6"/>
                  <a:gd name="T6" fmla="*/ 2 w 2"/>
                  <a:gd name="T7" fmla="*/ 4 h 6"/>
                  <a:gd name="T8" fmla="*/ 2 w 2"/>
                  <a:gd name="T9" fmla="*/ 4 h 6"/>
                  <a:gd name="T10" fmla="*/ 2 w 2"/>
                  <a:gd name="T11" fmla="*/ 6 h 6"/>
                  <a:gd name="T12" fmla="*/ 2 w 2"/>
                  <a:gd name="T13" fmla="*/ 4 h 6"/>
                  <a:gd name="T14" fmla="*/ 2 w 2"/>
                  <a:gd name="T1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6">
                    <a:moveTo>
                      <a:pt x="2" y="4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56" name="Freeform 254">
                <a:extLst>
                  <a:ext uri="{FF2B5EF4-FFF2-40B4-BE49-F238E27FC236}">
                    <a16:creationId xmlns:a16="http://schemas.microsoft.com/office/drawing/2014/main" id="{86314C22-E379-4AE1-8B69-0F0E0560A6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1" y="3318"/>
                <a:ext cx="6" cy="30"/>
              </a:xfrm>
              <a:custGeom>
                <a:avLst/>
                <a:gdLst>
                  <a:gd name="T0" fmla="*/ 6 w 6"/>
                  <a:gd name="T1" fmla="*/ 10 h 30"/>
                  <a:gd name="T2" fmla="*/ 2 w 6"/>
                  <a:gd name="T3" fmla="*/ 26 h 30"/>
                  <a:gd name="T4" fmla="*/ 0 w 6"/>
                  <a:gd name="T5" fmla="*/ 30 h 30"/>
                  <a:gd name="T6" fmla="*/ 2 w 6"/>
                  <a:gd name="T7" fmla="*/ 26 h 30"/>
                  <a:gd name="T8" fmla="*/ 6 w 6"/>
                  <a:gd name="T9" fmla="*/ 10 h 30"/>
                  <a:gd name="T10" fmla="*/ 6 w 6"/>
                  <a:gd name="T11" fmla="*/ 2 h 30"/>
                  <a:gd name="T12" fmla="*/ 4 w 6"/>
                  <a:gd name="T13" fmla="*/ 0 h 30"/>
                  <a:gd name="T14" fmla="*/ 6 w 6"/>
                  <a:gd name="T15" fmla="*/ 2 h 30"/>
                  <a:gd name="T16" fmla="*/ 6 w 6"/>
                  <a:gd name="T17" fmla="*/ 1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30">
                    <a:moveTo>
                      <a:pt x="6" y="10"/>
                    </a:moveTo>
                    <a:lnTo>
                      <a:pt x="2" y="26"/>
                    </a:lnTo>
                    <a:lnTo>
                      <a:pt x="0" y="30"/>
                    </a:lnTo>
                    <a:lnTo>
                      <a:pt x="2" y="26"/>
                    </a:lnTo>
                    <a:lnTo>
                      <a:pt x="6" y="10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57" name="Freeform 255">
                <a:extLst>
                  <a:ext uri="{FF2B5EF4-FFF2-40B4-BE49-F238E27FC236}">
                    <a16:creationId xmlns:a16="http://schemas.microsoft.com/office/drawing/2014/main" id="{D4E26731-2C92-4464-9E86-1DFBF091B5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5" y="2879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58" name="Freeform 256">
                <a:extLst>
                  <a:ext uri="{FF2B5EF4-FFF2-40B4-BE49-F238E27FC236}">
                    <a16:creationId xmlns:a16="http://schemas.microsoft.com/office/drawing/2014/main" id="{CA1BB5A8-E813-4CF7-B80A-0EEA15D0CA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7" y="2855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4 w 8"/>
                  <a:gd name="T3" fmla="*/ 2 h 4"/>
                  <a:gd name="T4" fmla="*/ 0 w 8"/>
                  <a:gd name="T5" fmla="*/ 4 h 4"/>
                  <a:gd name="T6" fmla="*/ 4 w 8"/>
                  <a:gd name="T7" fmla="*/ 2 h 4"/>
                  <a:gd name="T8" fmla="*/ 8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4" y="2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59" name="Freeform 257">
                <a:extLst>
                  <a:ext uri="{FF2B5EF4-FFF2-40B4-BE49-F238E27FC236}">
                    <a16:creationId xmlns:a16="http://schemas.microsoft.com/office/drawing/2014/main" id="{6A9FAB3C-FDBB-4024-8640-862E89B259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6" y="3303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0 w 2"/>
                  <a:gd name="T3" fmla="*/ 2 w 2"/>
                  <a:gd name="T4" fmla="*/ 2 w 2"/>
                  <a:gd name="T5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60" name="Freeform 258">
                <a:extLst>
                  <a:ext uri="{FF2B5EF4-FFF2-40B4-BE49-F238E27FC236}">
                    <a16:creationId xmlns:a16="http://schemas.microsoft.com/office/drawing/2014/main" id="{63336ED5-79CB-4190-A17A-F2A9220180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" y="2885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2 h 2"/>
                  <a:gd name="T4" fmla="*/ 0 w 4"/>
                  <a:gd name="T5" fmla="*/ 2 h 2"/>
                  <a:gd name="T6" fmla="*/ 2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61" name="Freeform 259">
                <a:extLst>
                  <a:ext uri="{FF2B5EF4-FFF2-40B4-BE49-F238E27FC236}">
                    <a16:creationId xmlns:a16="http://schemas.microsoft.com/office/drawing/2014/main" id="{58FB09A2-0972-425E-88E6-8CFD106A07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8" y="3303"/>
                <a:ext cx="22" cy="7"/>
              </a:xfrm>
              <a:custGeom>
                <a:avLst/>
                <a:gdLst>
                  <a:gd name="T0" fmla="*/ 10 w 22"/>
                  <a:gd name="T1" fmla="*/ 2 h 7"/>
                  <a:gd name="T2" fmla="*/ 2 w 22"/>
                  <a:gd name="T3" fmla="*/ 2 h 7"/>
                  <a:gd name="T4" fmla="*/ 2 w 22"/>
                  <a:gd name="T5" fmla="*/ 2 h 7"/>
                  <a:gd name="T6" fmla="*/ 0 w 22"/>
                  <a:gd name="T7" fmla="*/ 0 h 7"/>
                  <a:gd name="T8" fmla="*/ 0 w 22"/>
                  <a:gd name="T9" fmla="*/ 0 h 7"/>
                  <a:gd name="T10" fmla="*/ 0 w 22"/>
                  <a:gd name="T11" fmla="*/ 0 h 7"/>
                  <a:gd name="T12" fmla="*/ 2 w 22"/>
                  <a:gd name="T13" fmla="*/ 2 h 7"/>
                  <a:gd name="T14" fmla="*/ 2 w 22"/>
                  <a:gd name="T15" fmla="*/ 2 h 7"/>
                  <a:gd name="T16" fmla="*/ 10 w 22"/>
                  <a:gd name="T17" fmla="*/ 2 h 7"/>
                  <a:gd name="T18" fmla="*/ 14 w 22"/>
                  <a:gd name="T19" fmla="*/ 4 h 7"/>
                  <a:gd name="T20" fmla="*/ 22 w 22"/>
                  <a:gd name="T21" fmla="*/ 7 h 7"/>
                  <a:gd name="T22" fmla="*/ 14 w 22"/>
                  <a:gd name="T23" fmla="*/ 4 h 7"/>
                  <a:gd name="T24" fmla="*/ 10 w 22"/>
                  <a:gd name="T25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7">
                    <a:moveTo>
                      <a:pt x="10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0" y="2"/>
                    </a:lnTo>
                    <a:lnTo>
                      <a:pt x="14" y="4"/>
                    </a:lnTo>
                    <a:lnTo>
                      <a:pt x="22" y="7"/>
                    </a:lnTo>
                    <a:lnTo>
                      <a:pt x="14" y="4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62" name="Rectangle 260">
                <a:extLst>
                  <a:ext uri="{FF2B5EF4-FFF2-40B4-BE49-F238E27FC236}">
                    <a16:creationId xmlns:a16="http://schemas.microsoft.com/office/drawing/2014/main" id="{82DD1350-A89B-4E6A-8580-9087B2FD7E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5" y="2867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63" name="Freeform 261">
                <a:extLst>
                  <a:ext uri="{FF2B5EF4-FFF2-40B4-BE49-F238E27FC236}">
                    <a16:creationId xmlns:a16="http://schemas.microsoft.com/office/drawing/2014/main" id="{7C887F42-89BF-404A-85B6-9FF6AFF0D4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5" y="3303"/>
                <a:ext cx="2" cy="5"/>
              </a:xfrm>
              <a:custGeom>
                <a:avLst/>
                <a:gdLst>
                  <a:gd name="T0" fmla="*/ 2 w 2"/>
                  <a:gd name="T1" fmla="*/ 2 h 5"/>
                  <a:gd name="T2" fmla="*/ 0 w 2"/>
                  <a:gd name="T3" fmla="*/ 0 h 5"/>
                  <a:gd name="T4" fmla="*/ 2 w 2"/>
                  <a:gd name="T5" fmla="*/ 2 h 5"/>
                  <a:gd name="T6" fmla="*/ 2 w 2"/>
                  <a:gd name="T7" fmla="*/ 5 h 5"/>
                  <a:gd name="T8" fmla="*/ 2 w 2"/>
                  <a:gd name="T9" fmla="*/ 5 h 5"/>
                  <a:gd name="T10" fmla="*/ 2 w 2"/>
                  <a:gd name="T11" fmla="*/ 5 h 5"/>
                  <a:gd name="T12" fmla="*/ 2 w 2"/>
                  <a:gd name="T13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5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64" name="Freeform 262">
                <a:extLst>
                  <a:ext uri="{FF2B5EF4-FFF2-40B4-BE49-F238E27FC236}">
                    <a16:creationId xmlns:a16="http://schemas.microsoft.com/office/drawing/2014/main" id="{45C6143D-1087-49F0-B4F6-6F9E60CB07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5" y="3310"/>
                <a:ext cx="17" cy="4"/>
              </a:xfrm>
              <a:custGeom>
                <a:avLst/>
                <a:gdLst>
                  <a:gd name="T0" fmla="*/ 4 w 17"/>
                  <a:gd name="T1" fmla="*/ 4 h 4"/>
                  <a:gd name="T2" fmla="*/ 0 w 17"/>
                  <a:gd name="T3" fmla="*/ 4 h 4"/>
                  <a:gd name="T4" fmla="*/ 2 w 17"/>
                  <a:gd name="T5" fmla="*/ 2 h 4"/>
                  <a:gd name="T6" fmla="*/ 0 w 17"/>
                  <a:gd name="T7" fmla="*/ 4 h 4"/>
                  <a:gd name="T8" fmla="*/ 4 w 17"/>
                  <a:gd name="T9" fmla="*/ 4 h 4"/>
                  <a:gd name="T10" fmla="*/ 17 w 17"/>
                  <a:gd name="T11" fmla="*/ 0 h 4"/>
                  <a:gd name="T12" fmla="*/ 17 w 17"/>
                  <a:gd name="T13" fmla="*/ 0 h 4"/>
                  <a:gd name="T14" fmla="*/ 17 w 17"/>
                  <a:gd name="T15" fmla="*/ 0 h 4"/>
                  <a:gd name="T16" fmla="*/ 4 w 17"/>
                  <a:gd name="T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4">
                    <a:moveTo>
                      <a:pt x="4" y="4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65" name="Freeform 263">
                <a:extLst>
                  <a:ext uri="{FF2B5EF4-FFF2-40B4-BE49-F238E27FC236}">
                    <a16:creationId xmlns:a16="http://schemas.microsoft.com/office/drawing/2014/main" id="{5CED21CF-666E-49C7-B0BE-43F29C662D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9" y="2945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66" name="Freeform 264">
                <a:extLst>
                  <a:ext uri="{FF2B5EF4-FFF2-40B4-BE49-F238E27FC236}">
                    <a16:creationId xmlns:a16="http://schemas.microsoft.com/office/drawing/2014/main" id="{E2BAA072-681B-449B-8DC7-4DEC7A4D8C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7" y="3250"/>
                <a:ext cx="8" cy="14"/>
              </a:xfrm>
              <a:custGeom>
                <a:avLst/>
                <a:gdLst>
                  <a:gd name="T0" fmla="*/ 0 w 8"/>
                  <a:gd name="T1" fmla="*/ 0 h 14"/>
                  <a:gd name="T2" fmla="*/ 6 w 8"/>
                  <a:gd name="T3" fmla="*/ 10 h 14"/>
                  <a:gd name="T4" fmla="*/ 8 w 8"/>
                  <a:gd name="T5" fmla="*/ 14 h 14"/>
                  <a:gd name="T6" fmla="*/ 8 w 8"/>
                  <a:gd name="T7" fmla="*/ 14 h 14"/>
                  <a:gd name="T8" fmla="*/ 6 w 8"/>
                  <a:gd name="T9" fmla="*/ 10 h 14"/>
                  <a:gd name="T10" fmla="*/ 0 w 8"/>
                  <a:gd name="T1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4">
                    <a:moveTo>
                      <a:pt x="0" y="0"/>
                    </a:moveTo>
                    <a:lnTo>
                      <a:pt x="6" y="10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6" y="1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67" name="Freeform 265">
                <a:extLst>
                  <a:ext uri="{FF2B5EF4-FFF2-40B4-BE49-F238E27FC236}">
                    <a16:creationId xmlns:a16="http://schemas.microsoft.com/office/drawing/2014/main" id="{5746E2DE-B7A0-47A4-9A9E-0C50EF3F34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7" y="3064"/>
                <a:ext cx="0" cy="4"/>
              </a:xfrm>
              <a:custGeom>
                <a:avLst/>
                <a:gdLst>
                  <a:gd name="T0" fmla="*/ 0 h 4"/>
                  <a:gd name="T1" fmla="*/ 0 h 4"/>
                  <a:gd name="T2" fmla="*/ 2 h 4"/>
                  <a:gd name="T3" fmla="*/ 4 h 4"/>
                  <a:gd name="T4" fmla="*/ 2 h 4"/>
                  <a:gd name="T5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68" name="Freeform 266">
                <a:extLst>
                  <a:ext uri="{FF2B5EF4-FFF2-40B4-BE49-F238E27FC236}">
                    <a16:creationId xmlns:a16="http://schemas.microsoft.com/office/drawing/2014/main" id="{3B81B998-4660-4873-860C-D5BC959E9D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" y="3023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69" name="Freeform 267">
                <a:extLst>
                  <a:ext uri="{FF2B5EF4-FFF2-40B4-BE49-F238E27FC236}">
                    <a16:creationId xmlns:a16="http://schemas.microsoft.com/office/drawing/2014/main" id="{F3EC4C5F-6A3E-466D-9B32-715D4E3C25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5" y="3265"/>
                <a:ext cx="7" cy="6"/>
              </a:xfrm>
              <a:custGeom>
                <a:avLst/>
                <a:gdLst>
                  <a:gd name="T0" fmla="*/ 0 w 7"/>
                  <a:gd name="T1" fmla="*/ 0 h 6"/>
                  <a:gd name="T2" fmla="*/ 2 w 7"/>
                  <a:gd name="T3" fmla="*/ 4 h 6"/>
                  <a:gd name="T4" fmla="*/ 7 w 7"/>
                  <a:gd name="T5" fmla="*/ 6 h 6"/>
                  <a:gd name="T6" fmla="*/ 2 w 7"/>
                  <a:gd name="T7" fmla="*/ 4 h 6"/>
                  <a:gd name="T8" fmla="*/ 0 w 7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lnTo>
                      <a:pt x="2" y="4"/>
                    </a:lnTo>
                    <a:lnTo>
                      <a:pt x="7" y="6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70" name="Freeform 268">
                <a:extLst>
                  <a:ext uri="{FF2B5EF4-FFF2-40B4-BE49-F238E27FC236}">
                    <a16:creationId xmlns:a16="http://schemas.microsoft.com/office/drawing/2014/main" id="{AF17C6E9-76CB-4215-9E91-9F7A3571D3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9" y="3226"/>
                <a:ext cx="2" cy="6"/>
              </a:xfrm>
              <a:custGeom>
                <a:avLst/>
                <a:gdLst>
                  <a:gd name="T0" fmla="*/ 0 w 2"/>
                  <a:gd name="T1" fmla="*/ 2 h 6"/>
                  <a:gd name="T2" fmla="*/ 0 w 2"/>
                  <a:gd name="T3" fmla="*/ 0 h 6"/>
                  <a:gd name="T4" fmla="*/ 0 w 2"/>
                  <a:gd name="T5" fmla="*/ 2 h 6"/>
                  <a:gd name="T6" fmla="*/ 0 w 2"/>
                  <a:gd name="T7" fmla="*/ 4 h 6"/>
                  <a:gd name="T8" fmla="*/ 2 w 2"/>
                  <a:gd name="T9" fmla="*/ 6 h 6"/>
                  <a:gd name="T10" fmla="*/ 0 w 2"/>
                  <a:gd name="T11" fmla="*/ 4 h 6"/>
                  <a:gd name="T12" fmla="*/ 0 w 2"/>
                  <a:gd name="T1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71" name="Freeform 269">
                <a:extLst>
                  <a:ext uri="{FF2B5EF4-FFF2-40B4-BE49-F238E27FC236}">
                    <a16:creationId xmlns:a16="http://schemas.microsoft.com/office/drawing/2014/main" id="{8D7D4750-EE3C-4DD8-A6B8-2A715C4FF6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5" y="3086"/>
                <a:ext cx="2" cy="10"/>
              </a:xfrm>
              <a:custGeom>
                <a:avLst/>
                <a:gdLst>
                  <a:gd name="T0" fmla="*/ 0 w 2"/>
                  <a:gd name="T1" fmla="*/ 4 h 10"/>
                  <a:gd name="T2" fmla="*/ 2 w 2"/>
                  <a:gd name="T3" fmla="*/ 0 h 10"/>
                  <a:gd name="T4" fmla="*/ 2 w 2"/>
                  <a:gd name="T5" fmla="*/ 0 h 10"/>
                  <a:gd name="T6" fmla="*/ 0 w 2"/>
                  <a:gd name="T7" fmla="*/ 4 h 10"/>
                  <a:gd name="T8" fmla="*/ 0 w 2"/>
                  <a:gd name="T9" fmla="*/ 10 h 10"/>
                  <a:gd name="T10" fmla="*/ 0 w 2"/>
                  <a:gd name="T11" fmla="*/ 10 h 10"/>
                  <a:gd name="T12" fmla="*/ 0 w 2"/>
                  <a:gd name="T13" fmla="*/ 10 h 10"/>
                  <a:gd name="T14" fmla="*/ 0 w 2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0">
                    <a:moveTo>
                      <a:pt x="0" y="4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72" name="Freeform 270">
                <a:extLst>
                  <a:ext uri="{FF2B5EF4-FFF2-40B4-BE49-F238E27FC236}">
                    <a16:creationId xmlns:a16="http://schemas.microsoft.com/office/drawing/2014/main" id="{A7C76627-8A81-4E1D-807A-BB524C04C0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9" y="3084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2 h 2"/>
                  <a:gd name="T4" fmla="*/ 0 w 2"/>
                  <a:gd name="T5" fmla="*/ 2 h 2"/>
                  <a:gd name="T6" fmla="*/ 2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73" name="Rectangle 271">
                <a:extLst>
                  <a:ext uri="{FF2B5EF4-FFF2-40B4-BE49-F238E27FC236}">
                    <a16:creationId xmlns:a16="http://schemas.microsoft.com/office/drawing/2014/main" id="{D2F48F91-3E46-4A94-BE9F-9E82656F17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35" y="3238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74" name="Freeform 272">
                <a:extLst>
                  <a:ext uri="{FF2B5EF4-FFF2-40B4-BE49-F238E27FC236}">
                    <a16:creationId xmlns:a16="http://schemas.microsoft.com/office/drawing/2014/main" id="{1D81478E-2B21-4CD1-84B0-124029916B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5" y="3047"/>
                <a:ext cx="4" cy="13"/>
              </a:xfrm>
              <a:custGeom>
                <a:avLst/>
                <a:gdLst>
                  <a:gd name="T0" fmla="*/ 4 w 4"/>
                  <a:gd name="T1" fmla="*/ 6 h 13"/>
                  <a:gd name="T2" fmla="*/ 2 w 4"/>
                  <a:gd name="T3" fmla="*/ 4 h 13"/>
                  <a:gd name="T4" fmla="*/ 0 w 4"/>
                  <a:gd name="T5" fmla="*/ 0 h 13"/>
                  <a:gd name="T6" fmla="*/ 2 w 4"/>
                  <a:gd name="T7" fmla="*/ 4 h 13"/>
                  <a:gd name="T8" fmla="*/ 4 w 4"/>
                  <a:gd name="T9" fmla="*/ 6 h 13"/>
                  <a:gd name="T10" fmla="*/ 2 w 4"/>
                  <a:gd name="T11" fmla="*/ 10 h 13"/>
                  <a:gd name="T12" fmla="*/ 2 w 4"/>
                  <a:gd name="T13" fmla="*/ 13 h 13"/>
                  <a:gd name="T14" fmla="*/ 2 w 4"/>
                  <a:gd name="T15" fmla="*/ 13 h 13"/>
                  <a:gd name="T16" fmla="*/ 2 w 4"/>
                  <a:gd name="T17" fmla="*/ 10 h 13"/>
                  <a:gd name="T18" fmla="*/ 4 w 4"/>
                  <a:gd name="T19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13">
                    <a:moveTo>
                      <a:pt x="4" y="6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2" y="10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75" name="Freeform 273">
                <a:extLst>
                  <a:ext uri="{FF2B5EF4-FFF2-40B4-BE49-F238E27FC236}">
                    <a16:creationId xmlns:a16="http://schemas.microsoft.com/office/drawing/2014/main" id="{88E4499F-28D0-4F98-9D62-0EB4E3BEA3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" y="3029"/>
                <a:ext cx="28" cy="16"/>
              </a:xfrm>
              <a:custGeom>
                <a:avLst/>
                <a:gdLst>
                  <a:gd name="T0" fmla="*/ 26 w 28"/>
                  <a:gd name="T1" fmla="*/ 16 h 16"/>
                  <a:gd name="T2" fmla="*/ 0 w 28"/>
                  <a:gd name="T3" fmla="*/ 2 h 16"/>
                  <a:gd name="T4" fmla="*/ 0 w 28"/>
                  <a:gd name="T5" fmla="*/ 0 h 16"/>
                  <a:gd name="T6" fmla="*/ 0 w 28"/>
                  <a:gd name="T7" fmla="*/ 2 h 16"/>
                  <a:gd name="T8" fmla="*/ 26 w 28"/>
                  <a:gd name="T9" fmla="*/ 16 h 16"/>
                  <a:gd name="T10" fmla="*/ 28 w 28"/>
                  <a:gd name="T11" fmla="*/ 16 h 16"/>
                  <a:gd name="T12" fmla="*/ 28 w 28"/>
                  <a:gd name="T13" fmla="*/ 16 h 16"/>
                  <a:gd name="T14" fmla="*/ 28 w 28"/>
                  <a:gd name="T15" fmla="*/ 16 h 16"/>
                  <a:gd name="T16" fmla="*/ 26 w 28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16">
                    <a:moveTo>
                      <a:pt x="26" y="16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6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6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76" name="Freeform 274">
                <a:extLst>
                  <a:ext uri="{FF2B5EF4-FFF2-40B4-BE49-F238E27FC236}">
                    <a16:creationId xmlns:a16="http://schemas.microsoft.com/office/drawing/2014/main" id="{51C758D7-4E37-4900-985B-22137C7544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0" y="3289"/>
                <a:ext cx="6" cy="18"/>
              </a:xfrm>
              <a:custGeom>
                <a:avLst/>
                <a:gdLst>
                  <a:gd name="T0" fmla="*/ 2 w 6"/>
                  <a:gd name="T1" fmla="*/ 12 h 18"/>
                  <a:gd name="T2" fmla="*/ 2 w 6"/>
                  <a:gd name="T3" fmla="*/ 4 h 18"/>
                  <a:gd name="T4" fmla="*/ 0 w 6"/>
                  <a:gd name="T5" fmla="*/ 0 h 18"/>
                  <a:gd name="T6" fmla="*/ 2 w 6"/>
                  <a:gd name="T7" fmla="*/ 4 h 18"/>
                  <a:gd name="T8" fmla="*/ 2 w 6"/>
                  <a:gd name="T9" fmla="*/ 12 h 18"/>
                  <a:gd name="T10" fmla="*/ 4 w 6"/>
                  <a:gd name="T11" fmla="*/ 16 h 18"/>
                  <a:gd name="T12" fmla="*/ 6 w 6"/>
                  <a:gd name="T13" fmla="*/ 18 h 18"/>
                  <a:gd name="T14" fmla="*/ 4 w 6"/>
                  <a:gd name="T15" fmla="*/ 16 h 18"/>
                  <a:gd name="T16" fmla="*/ 2 w 6"/>
                  <a:gd name="T17" fmla="*/ 1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8">
                    <a:moveTo>
                      <a:pt x="2" y="12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4" y="16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77" name="Freeform 275">
                <a:extLst>
                  <a:ext uri="{FF2B5EF4-FFF2-40B4-BE49-F238E27FC236}">
                    <a16:creationId xmlns:a16="http://schemas.microsoft.com/office/drawing/2014/main" id="{F11D1218-0829-4A77-A99B-9829D24B92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6" y="3273"/>
                <a:ext cx="10" cy="12"/>
              </a:xfrm>
              <a:custGeom>
                <a:avLst/>
                <a:gdLst>
                  <a:gd name="T0" fmla="*/ 2 w 10"/>
                  <a:gd name="T1" fmla="*/ 2 h 12"/>
                  <a:gd name="T2" fmla="*/ 0 w 10"/>
                  <a:gd name="T3" fmla="*/ 0 h 12"/>
                  <a:gd name="T4" fmla="*/ 2 w 10"/>
                  <a:gd name="T5" fmla="*/ 2 h 12"/>
                  <a:gd name="T6" fmla="*/ 6 w 10"/>
                  <a:gd name="T7" fmla="*/ 8 h 12"/>
                  <a:gd name="T8" fmla="*/ 10 w 10"/>
                  <a:gd name="T9" fmla="*/ 12 h 12"/>
                  <a:gd name="T10" fmla="*/ 6 w 10"/>
                  <a:gd name="T11" fmla="*/ 8 h 12"/>
                  <a:gd name="T12" fmla="*/ 2 w 10"/>
                  <a:gd name="T13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6" y="8"/>
                    </a:lnTo>
                    <a:lnTo>
                      <a:pt x="10" y="12"/>
                    </a:lnTo>
                    <a:lnTo>
                      <a:pt x="6" y="8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78" name="Rectangle 276">
                <a:extLst>
                  <a:ext uri="{FF2B5EF4-FFF2-40B4-BE49-F238E27FC236}">
                    <a16:creationId xmlns:a16="http://schemas.microsoft.com/office/drawing/2014/main" id="{1B38FDE5-7144-400C-AAD9-B178CC10D4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" y="3273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79" name="Rectangle 277">
                <a:extLst>
                  <a:ext uri="{FF2B5EF4-FFF2-40B4-BE49-F238E27FC236}">
                    <a16:creationId xmlns:a16="http://schemas.microsoft.com/office/drawing/2014/main" id="{0C9F6550-FAE7-49B5-A469-D9E5B84C73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3" y="3047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80" name="Rectangle 278">
                <a:extLst>
                  <a:ext uri="{FF2B5EF4-FFF2-40B4-BE49-F238E27FC236}">
                    <a16:creationId xmlns:a16="http://schemas.microsoft.com/office/drawing/2014/main" id="{27208B6C-836B-416E-B992-D80B815E8B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2" y="3271"/>
                <a:ext cx="10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81" name="Freeform 279">
                <a:extLst>
                  <a:ext uri="{FF2B5EF4-FFF2-40B4-BE49-F238E27FC236}">
                    <a16:creationId xmlns:a16="http://schemas.microsoft.com/office/drawing/2014/main" id="{CBD981EB-003E-4A62-A485-35418CA4AC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5" y="3183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2 h 4"/>
                  <a:gd name="T4" fmla="*/ 2 w 2"/>
                  <a:gd name="T5" fmla="*/ 4 h 4"/>
                  <a:gd name="T6" fmla="*/ 0 w 2"/>
                  <a:gd name="T7" fmla="*/ 2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82" name="Freeform 280">
                <a:extLst>
                  <a:ext uri="{FF2B5EF4-FFF2-40B4-BE49-F238E27FC236}">
                    <a16:creationId xmlns:a16="http://schemas.microsoft.com/office/drawing/2014/main" id="{68D31AB1-DB72-4683-8AB4-BA54F32012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3139"/>
                <a:ext cx="2" cy="3"/>
              </a:xfrm>
              <a:custGeom>
                <a:avLst/>
                <a:gdLst>
                  <a:gd name="T0" fmla="*/ 0 w 2"/>
                  <a:gd name="T1" fmla="*/ 2 h 3"/>
                  <a:gd name="T2" fmla="*/ 2 w 2"/>
                  <a:gd name="T3" fmla="*/ 0 h 3"/>
                  <a:gd name="T4" fmla="*/ 0 w 2"/>
                  <a:gd name="T5" fmla="*/ 2 h 3"/>
                  <a:gd name="T6" fmla="*/ 0 w 2"/>
                  <a:gd name="T7" fmla="*/ 2 h 3"/>
                  <a:gd name="T8" fmla="*/ 2 w 2"/>
                  <a:gd name="T9" fmla="*/ 3 h 3"/>
                  <a:gd name="T10" fmla="*/ 2 w 2"/>
                  <a:gd name="T11" fmla="*/ 3 h 3"/>
                  <a:gd name="T12" fmla="*/ 0 w 2"/>
                  <a:gd name="T13" fmla="*/ 2 h 3"/>
                  <a:gd name="T14" fmla="*/ 0 w 2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3">
                    <a:moveTo>
                      <a:pt x="0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83" name="Freeform 281">
                <a:extLst>
                  <a:ext uri="{FF2B5EF4-FFF2-40B4-BE49-F238E27FC236}">
                    <a16:creationId xmlns:a16="http://schemas.microsoft.com/office/drawing/2014/main" id="{A2944B6E-D312-44C8-93A5-C2015ABE28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3127"/>
                <a:ext cx="2" cy="10"/>
              </a:xfrm>
              <a:custGeom>
                <a:avLst/>
                <a:gdLst>
                  <a:gd name="T0" fmla="*/ 2 w 2"/>
                  <a:gd name="T1" fmla="*/ 4 h 10"/>
                  <a:gd name="T2" fmla="*/ 0 w 2"/>
                  <a:gd name="T3" fmla="*/ 0 h 10"/>
                  <a:gd name="T4" fmla="*/ 0 w 2"/>
                  <a:gd name="T5" fmla="*/ 0 h 10"/>
                  <a:gd name="T6" fmla="*/ 2 w 2"/>
                  <a:gd name="T7" fmla="*/ 4 h 10"/>
                  <a:gd name="T8" fmla="*/ 2 w 2"/>
                  <a:gd name="T9" fmla="*/ 6 h 10"/>
                  <a:gd name="T10" fmla="*/ 0 w 2"/>
                  <a:gd name="T11" fmla="*/ 10 h 10"/>
                  <a:gd name="T12" fmla="*/ 0 w 2"/>
                  <a:gd name="T13" fmla="*/ 10 h 10"/>
                  <a:gd name="T14" fmla="*/ 2 w 2"/>
                  <a:gd name="T15" fmla="*/ 6 h 10"/>
                  <a:gd name="T16" fmla="*/ 2 w 2"/>
                  <a:gd name="T17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10">
                    <a:moveTo>
                      <a:pt x="2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84" name="Freeform 282">
                <a:extLst>
                  <a:ext uri="{FF2B5EF4-FFF2-40B4-BE49-F238E27FC236}">
                    <a16:creationId xmlns:a16="http://schemas.microsoft.com/office/drawing/2014/main" id="{123995C4-234F-46F5-BFE3-E90B6C7177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6" y="3195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2 w 4"/>
                  <a:gd name="T3" fmla="*/ 0 h 2"/>
                  <a:gd name="T4" fmla="*/ 4 w 4"/>
                  <a:gd name="T5" fmla="*/ 2 h 2"/>
                  <a:gd name="T6" fmla="*/ 2 w 4"/>
                  <a:gd name="T7" fmla="*/ 0 h 2"/>
                  <a:gd name="T8" fmla="*/ 0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85" name="Freeform 283">
                <a:extLst>
                  <a:ext uri="{FF2B5EF4-FFF2-40B4-BE49-F238E27FC236}">
                    <a16:creationId xmlns:a16="http://schemas.microsoft.com/office/drawing/2014/main" id="{610938FC-245E-4B8B-AC64-7D7205B4C7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3" y="3148"/>
                <a:ext cx="0" cy="8"/>
              </a:xfrm>
              <a:custGeom>
                <a:avLst/>
                <a:gdLst>
                  <a:gd name="T0" fmla="*/ 2 h 8"/>
                  <a:gd name="T1" fmla="*/ 0 h 8"/>
                  <a:gd name="T2" fmla="*/ 2 h 8"/>
                  <a:gd name="T3" fmla="*/ 6 h 8"/>
                  <a:gd name="T4" fmla="*/ 8 h 8"/>
                  <a:gd name="T5" fmla="*/ 6 h 8"/>
                  <a:gd name="T6" fmla="*/ 2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8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86" name="Rectangle 284">
                <a:extLst>
                  <a:ext uri="{FF2B5EF4-FFF2-40B4-BE49-F238E27FC236}">
                    <a16:creationId xmlns:a16="http://schemas.microsoft.com/office/drawing/2014/main" id="{FBB7F898-FD10-4C41-BEF1-788B4A8167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7" y="3144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87" name="Rectangle 285">
                <a:extLst>
                  <a:ext uri="{FF2B5EF4-FFF2-40B4-BE49-F238E27FC236}">
                    <a16:creationId xmlns:a16="http://schemas.microsoft.com/office/drawing/2014/main" id="{988003CF-0B35-403E-8B69-3A31F27166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3" y="316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88" name="Freeform 286">
                <a:extLst>
                  <a:ext uri="{FF2B5EF4-FFF2-40B4-BE49-F238E27FC236}">
                    <a16:creationId xmlns:a16="http://schemas.microsoft.com/office/drawing/2014/main" id="{92BC73A0-08A2-4784-A338-2F9287E9F5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8" y="3213"/>
                <a:ext cx="11" cy="4"/>
              </a:xfrm>
              <a:custGeom>
                <a:avLst/>
                <a:gdLst>
                  <a:gd name="T0" fmla="*/ 6 w 11"/>
                  <a:gd name="T1" fmla="*/ 2 h 4"/>
                  <a:gd name="T2" fmla="*/ 0 w 11"/>
                  <a:gd name="T3" fmla="*/ 0 h 4"/>
                  <a:gd name="T4" fmla="*/ 0 w 11"/>
                  <a:gd name="T5" fmla="*/ 0 h 4"/>
                  <a:gd name="T6" fmla="*/ 0 w 11"/>
                  <a:gd name="T7" fmla="*/ 0 h 4"/>
                  <a:gd name="T8" fmla="*/ 6 w 11"/>
                  <a:gd name="T9" fmla="*/ 2 h 4"/>
                  <a:gd name="T10" fmla="*/ 9 w 11"/>
                  <a:gd name="T11" fmla="*/ 2 h 4"/>
                  <a:gd name="T12" fmla="*/ 11 w 11"/>
                  <a:gd name="T13" fmla="*/ 4 h 4"/>
                  <a:gd name="T14" fmla="*/ 9 w 11"/>
                  <a:gd name="T15" fmla="*/ 2 h 4"/>
                  <a:gd name="T16" fmla="*/ 6 w 11"/>
                  <a:gd name="T1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4">
                    <a:moveTo>
                      <a:pt x="6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9" y="2"/>
                    </a:lnTo>
                    <a:lnTo>
                      <a:pt x="11" y="4"/>
                    </a:lnTo>
                    <a:lnTo>
                      <a:pt x="9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89" name="Freeform 287">
                <a:extLst>
                  <a:ext uri="{FF2B5EF4-FFF2-40B4-BE49-F238E27FC236}">
                    <a16:creationId xmlns:a16="http://schemas.microsoft.com/office/drawing/2014/main" id="{3B729AA2-B675-42BC-8D34-1683C9A1A7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9" y="3219"/>
                <a:ext cx="8" cy="4"/>
              </a:xfrm>
              <a:custGeom>
                <a:avLst/>
                <a:gdLst>
                  <a:gd name="T0" fmla="*/ 0 w 8"/>
                  <a:gd name="T1" fmla="*/ 0 h 4"/>
                  <a:gd name="T2" fmla="*/ 6 w 8"/>
                  <a:gd name="T3" fmla="*/ 4 h 4"/>
                  <a:gd name="T4" fmla="*/ 8 w 8"/>
                  <a:gd name="T5" fmla="*/ 4 h 4"/>
                  <a:gd name="T6" fmla="*/ 6 w 8"/>
                  <a:gd name="T7" fmla="*/ 4 h 4"/>
                  <a:gd name="T8" fmla="*/ 0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0" y="0"/>
                    </a:moveTo>
                    <a:lnTo>
                      <a:pt x="6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90" name="Freeform 288">
                <a:extLst>
                  <a:ext uri="{FF2B5EF4-FFF2-40B4-BE49-F238E27FC236}">
                    <a16:creationId xmlns:a16="http://schemas.microsoft.com/office/drawing/2014/main" id="{9769CD3F-AADC-4932-9B95-15D35DB66A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4" y="3103"/>
                <a:ext cx="7" cy="10"/>
              </a:xfrm>
              <a:custGeom>
                <a:avLst/>
                <a:gdLst>
                  <a:gd name="T0" fmla="*/ 0 w 7"/>
                  <a:gd name="T1" fmla="*/ 6 h 10"/>
                  <a:gd name="T2" fmla="*/ 2 w 7"/>
                  <a:gd name="T3" fmla="*/ 2 h 10"/>
                  <a:gd name="T4" fmla="*/ 7 w 7"/>
                  <a:gd name="T5" fmla="*/ 0 h 10"/>
                  <a:gd name="T6" fmla="*/ 2 w 7"/>
                  <a:gd name="T7" fmla="*/ 2 h 10"/>
                  <a:gd name="T8" fmla="*/ 0 w 7"/>
                  <a:gd name="T9" fmla="*/ 6 h 10"/>
                  <a:gd name="T10" fmla="*/ 2 w 7"/>
                  <a:gd name="T11" fmla="*/ 8 h 10"/>
                  <a:gd name="T12" fmla="*/ 2 w 7"/>
                  <a:gd name="T13" fmla="*/ 10 h 10"/>
                  <a:gd name="T14" fmla="*/ 2 w 7"/>
                  <a:gd name="T15" fmla="*/ 8 h 10"/>
                  <a:gd name="T16" fmla="*/ 0 w 7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10">
                    <a:moveTo>
                      <a:pt x="0" y="6"/>
                    </a:moveTo>
                    <a:lnTo>
                      <a:pt x="2" y="2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91" name="Freeform 289">
                <a:extLst>
                  <a:ext uri="{FF2B5EF4-FFF2-40B4-BE49-F238E27FC236}">
                    <a16:creationId xmlns:a16="http://schemas.microsoft.com/office/drawing/2014/main" id="{62C896AD-DC84-46B3-A6A3-A6B08FD5C4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8" y="3117"/>
                <a:ext cx="3" cy="4"/>
              </a:xfrm>
              <a:custGeom>
                <a:avLst/>
                <a:gdLst>
                  <a:gd name="T0" fmla="*/ 0 w 3"/>
                  <a:gd name="T1" fmla="*/ 0 h 4"/>
                  <a:gd name="T2" fmla="*/ 2 w 3"/>
                  <a:gd name="T3" fmla="*/ 2 h 4"/>
                  <a:gd name="T4" fmla="*/ 3 w 3"/>
                  <a:gd name="T5" fmla="*/ 4 h 4"/>
                  <a:gd name="T6" fmla="*/ 2 w 3"/>
                  <a:gd name="T7" fmla="*/ 2 h 4"/>
                  <a:gd name="T8" fmla="*/ 0 w 3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2" y="2"/>
                    </a:lnTo>
                    <a:lnTo>
                      <a:pt x="3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92" name="Freeform 290">
                <a:extLst>
                  <a:ext uri="{FF2B5EF4-FFF2-40B4-BE49-F238E27FC236}">
                    <a16:creationId xmlns:a16="http://schemas.microsoft.com/office/drawing/2014/main" id="{125CA30A-D6B0-4BF7-8580-D13D414BB7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" y="3123"/>
                <a:ext cx="10" cy="4"/>
              </a:xfrm>
              <a:custGeom>
                <a:avLst/>
                <a:gdLst>
                  <a:gd name="T0" fmla="*/ 2 w 10"/>
                  <a:gd name="T1" fmla="*/ 0 h 4"/>
                  <a:gd name="T2" fmla="*/ 0 w 10"/>
                  <a:gd name="T3" fmla="*/ 0 h 4"/>
                  <a:gd name="T4" fmla="*/ 2 w 10"/>
                  <a:gd name="T5" fmla="*/ 0 h 4"/>
                  <a:gd name="T6" fmla="*/ 8 w 10"/>
                  <a:gd name="T7" fmla="*/ 4 h 4"/>
                  <a:gd name="T8" fmla="*/ 10 w 10"/>
                  <a:gd name="T9" fmla="*/ 4 h 4"/>
                  <a:gd name="T10" fmla="*/ 8 w 10"/>
                  <a:gd name="T11" fmla="*/ 4 h 4"/>
                  <a:gd name="T12" fmla="*/ 2 w 10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4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8" y="4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93" name="Freeform 291">
                <a:extLst>
                  <a:ext uri="{FF2B5EF4-FFF2-40B4-BE49-F238E27FC236}">
                    <a16:creationId xmlns:a16="http://schemas.microsoft.com/office/drawing/2014/main" id="{A0AFEC30-6D55-4DF4-A623-4C801C924A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3215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0 w 4"/>
                  <a:gd name="T3" fmla="*/ 2 h 2"/>
                  <a:gd name="T4" fmla="*/ 2 w 4"/>
                  <a:gd name="T5" fmla="*/ 2 h 2"/>
                  <a:gd name="T6" fmla="*/ 4 w 4"/>
                  <a:gd name="T7" fmla="*/ 2 h 2"/>
                  <a:gd name="T8" fmla="*/ 4 w 4"/>
                  <a:gd name="T9" fmla="*/ 0 h 2"/>
                  <a:gd name="T10" fmla="*/ 4 w 4"/>
                  <a:gd name="T11" fmla="*/ 2 h 2"/>
                  <a:gd name="T12" fmla="*/ 2 w 4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94" name="Freeform 292">
                <a:extLst>
                  <a:ext uri="{FF2B5EF4-FFF2-40B4-BE49-F238E27FC236}">
                    <a16:creationId xmlns:a16="http://schemas.microsoft.com/office/drawing/2014/main" id="{DCF2104A-3D2E-467E-B526-5330B72C82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4" y="3205"/>
                <a:ext cx="4" cy="8"/>
              </a:xfrm>
              <a:custGeom>
                <a:avLst/>
                <a:gdLst>
                  <a:gd name="T0" fmla="*/ 0 w 4"/>
                  <a:gd name="T1" fmla="*/ 0 h 8"/>
                  <a:gd name="T2" fmla="*/ 4 w 4"/>
                  <a:gd name="T3" fmla="*/ 6 h 8"/>
                  <a:gd name="T4" fmla="*/ 4 w 4"/>
                  <a:gd name="T5" fmla="*/ 8 h 8"/>
                  <a:gd name="T6" fmla="*/ 4 w 4"/>
                  <a:gd name="T7" fmla="*/ 6 h 8"/>
                  <a:gd name="T8" fmla="*/ 0 w 4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4" y="6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95" name="Freeform 293">
                <a:extLst>
                  <a:ext uri="{FF2B5EF4-FFF2-40B4-BE49-F238E27FC236}">
                    <a16:creationId xmlns:a16="http://schemas.microsoft.com/office/drawing/2014/main" id="{194E4C8E-1DC2-43F4-AE3B-11D12A38D3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9" y="3383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  <a:gd name="T10" fmla="*/ 2 w 2"/>
                  <a:gd name="T11" fmla="*/ 2 h 2"/>
                  <a:gd name="T12" fmla="*/ 0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96" name="Freeform 294">
                <a:extLst>
                  <a:ext uri="{FF2B5EF4-FFF2-40B4-BE49-F238E27FC236}">
                    <a16:creationId xmlns:a16="http://schemas.microsoft.com/office/drawing/2014/main" id="{BDB92C06-D493-45E0-A8E3-42F2D63DD8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6" y="3359"/>
                <a:ext cx="8" cy="2"/>
              </a:xfrm>
              <a:custGeom>
                <a:avLst/>
                <a:gdLst>
                  <a:gd name="T0" fmla="*/ 0 w 8"/>
                  <a:gd name="T1" fmla="*/ 0 h 2"/>
                  <a:gd name="T2" fmla="*/ 4 w 8"/>
                  <a:gd name="T3" fmla="*/ 0 h 2"/>
                  <a:gd name="T4" fmla="*/ 8 w 8"/>
                  <a:gd name="T5" fmla="*/ 2 h 2"/>
                  <a:gd name="T6" fmla="*/ 4 w 8"/>
                  <a:gd name="T7" fmla="*/ 0 h 2"/>
                  <a:gd name="T8" fmla="*/ 0 w 8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4" y="0"/>
                    </a:lnTo>
                    <a:lnTo>
                      <a:pt x="8" y="2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97" name="Freeform 295">
                <a:extLst>
                  <a:ext uri="{FF2B5EF4-FFF2-40B4-BE49-F238E27FC236}">
                    <a16:creationId xmlns:a16="http://schemas.microsoft.com/office/drawing/2014/main" id="{DE0EE6F4-4D2F-4889-B593-580B8CF9D0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2980"/>
                <a:ext cx="6" cy="8"/>
              </a:xfrm>
              <a:custGeom>
                <a:avLst/>
                <a:gdLst>
                  <a:gd name="T0" fmla="*/ 0 w 6"/>
                  <a:gd name="T1" fmla="*/ 2 h 8"/>
                  <a:gd name="T2" fmla="*/ 4 w 6"/>
                  <a:gd name="T3" fmla="*/ 4 h 8"/>
                  <a:gd name="T4" fmla="*/ 4 w 6"/>
                  <a:gd name="T5" fmla="*/ 6 h 8"/>
                  <a:gd name="T6" fmla="*/ 4 w 6"/>
                  <a:gd name="T7" fmla="*/ 6 h 8"/>
                  <a:gd name="T8" fmla="*/ 6 w 6"/>
                  <a:gd name="T9" fmla="*/ 8 h 8"/>
                  <a:gd name="T10" fmla="*/ 4 w 6"/>
                  <a:gd name="T11" fmla="*/ 6 h 8"/>
                  <a:gd name="T12" fmla="*/ 4 w 6"/>
                  <a:gd name="T13" fmla="*/ 6 h 8"/>
                  <a:gd name="T14" fmla="*/ 4 w 6"/>
                  <a:gd name="T15" fmla="*/ 4 h 8"/>
                  <a:gd name="T16" fmla="*/ 0 w 6"/>
                  <a:gd name="T17" fmla="*/ 2 h 8"/>
                  <a:gd name="T18" fmla="*/ 0 w 6"/>
                  <a:gd name="T19" fmla="*/ 0 h 8"/>
                  <a:gd name="T20" fmla="*/ 0 w 6"/>
                  <a:gd name="T21" fmla="*/ 0 h 8"/>
                  <a:gd name="T22" fmla="*/ 0 w 6"/>
                  <a:gd name="T23" fmla="*/ 0 h 8"/>
                  <a:gd name="T24" fmla="*/ 0 w 6"/>
                  <a:gd name="T2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8">
                    <a:moveTo>
                      <a:pt x="0" y="2"/>
                    </a:moveTo>
                    <a:lnTo>
                      <a:pt x="4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8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98" name="Freeform 296">
                <a:extLst>
                  <a:ext uri="{FF2B5EF4-FFF2-40B4-BE49-F238E27FC236}">
                    <a16:creationId xmlns:a16="http://schemas.microsoft.com/office/drawing/2014/main" id="{72463C6C-FA83-45B5-AEEA-2862CE3DE3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6" y="2998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2 h 2"/>
                  <a:gd name="T4" fmla="*/ 0 w 4"/>
                  <a:gd name="T5" fmla="*/ 0 h 2"/>
                  <a:gd name="T6" fmla="*/ 2 w 4"/>
                  <a:gd name="T7" fmla="*/ 2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99" name="Freeform 297">
                <a:extLst>
                  <a:ext uri="{FF2B5EF4-FFF2-40B4-BE49-F238E27FC236}">
                    <a16:creationId xmlns:a16="http://schemas.microsoft.com/office/drawing/2014/main" id="{34986328-6AB7-4586-9C1C-CCEB03C612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2978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2 h 2"/>
                  <a:gd name="T3" fmla="*/ 0 h 2"/>
                  <a:gd name="T4" fmla="*/ 0 h 2"/>
                  <a:gd name="T5" fmla="*/ 0 h 2"/>
                  <a:gd name="T6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00" name="Rectangle 298">
                <a:extLst>
                  <a:ext uri="{FF2B5EF4-FFF2-40B4-BE49-F238E27FC236}">
                    <a16:creationId xmlns:a16="http://schemas.microsoft.com/office/drawing/2014/main" id="{B803DBA4-0153-42A0-8337-8892823006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8" y="333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01" name="Freeform 299">
                <a:extLst>
                  <a:ext uri="{FF2B5EF4-FFF2-40B4-BE49-F238E27FC236}">
                    <a16:creationId xmlns:a16="http://schemas.microsoft.com/office/drawing/2014/main" id="{646A69D1-4C7F-4B27-88AC-4216320095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3361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4 w 6"/>
                  <a:gd name="T3" fmla="*/ 2 h 4"/>
                  <a:gd name="T4" fmla="*/ 6 w 6"/>
                  <a:gd name="T5" fmla="*/ 4 h 4"/>
                  <a:gd name="T6" fmla="*/ 4 w 6"/>
                  <a:gd name="T7" fmla="*/ 2 h 4"/>
                  <a:gd name="T8" fmla="*/ 0 w 6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4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02" name="Freeform 300">
                <a:extLst>
                  <a:ext uri="{FF2B5EF4-FFF2-40B4-BE49-F238E27FC236}">
                    <a16:creationId xmlns:a16="http://schemas.microsoft.com/office/drawing/2014/main" id="{F6637938-E898-4E61-9BA5-62D9C75848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0" y="3336"/>
                <a:ext cx="6" cy="8"/>
              </a:xfrm>
              <a:custGeom>
                <a:avLst/>
                <a:gdLst>
                  <a:gd name="T0" fmla="*/ 0 w 6"/>
                  <a:gd name="T1" fmla="*/ 0 h 8"/>
                  <a:gd name="T2" fmla="*/ 2 w 6"/>
                  <a:gd name="T3" fmla="*/ 2 h 8"/>
                  <a:gd name="T4" fmla="*/ 6 w 6"/>
                  <a:gd name="T5" fmla="*/ 8 h 8"/>
                  <a:gd name="T6" fmla="*/ 2 w 6"/>
                  <a:gd name="T7" fmla="*/ 2 h 8"/>
                  <a:gd name="T8" fmla="*/ 0 w 6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8">
                    <a:moveTo>
                      <a:pt x="0" y="0"/>
                    </a:moveTo>
                    <a:lnTo>
                      <a:pt x="2" y="2"/>
                    </a:lnTo>
                    <a:lnTo>
                      <a:pt x="6" y="8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03" name="Freeform 301">
                <a:extLst>
                  <a:ext uri="{FF2B5EF4-FFF2-40B4-BE49-F238E27FC236}">
                    <a16:creationId xmlns:a16="http://schemas.microsoft.com/office/drawing/2014/main" id="{DD51A3DD-0824-4616-B46C-E052C7590B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297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  <a:gd name="T10" fmla="*/ 0 w 2"/>
                  <a:gd name="T11" fmla="*/ 0 h 2"/>
                  <a:gd name="T12" fmla="*/ 2 w 2"/>
                  <a:gd name="T13" fmla="*/ 0 h 2"/>
                  <a:gd name="T14" fmla="*/ 2 w 2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04" name="Freeform 302">
                <a:extLst>
                  <a:ext uri="{FF2B5EF4-FFF2-40B4-BE49-F238E27FC236}">
                    <a16:creationId xmlns:a16="http://schemas.microsoft.com/office/drawing/2014/main" id="{ED17EA51-E8C4-41F9-A36D-7555AEBC32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5" y="2953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0 w 2"/>
                  <a:gd name="T4" fmla="*/ 2 w 2"/>
                  <a:gd name="T5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05" name="Freeform 303">
                <a:extLst>
                  <a:ext uri="{FF2B5EF4-FFF2-40B4-BE49-F238E27FC236}">
                    <a16:creationId xmlns:a16="http://schemas.microsoft.com/office/drawing/2014/main" id="{191FE7E0-22F5-4D43-8466-8D22E30F1F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2" y="2975"/>
                <a:ext cx="4" cy="23"/>
              </a:xfrm>
              <a:custGeom>
                <a:avLst/>
                <a:gdLst>
                  <a:gd name="T0" fmla="*/ 0 w 4"/>
                  <a:gd name="T1" fmla="*/ 21 h 23"/>
                  <a:gd name="T2" fmla="*/ 0 w 4"/>
                  <a:gd name="T3" fmla="*/ 19 h 23"/>
                  <a:gd name="T4" fmla="*/ 0 w 4"/>
                  <a:gd name="T5" fmla="*/ 15 h 23"/>
                  <a:gd name="T6" fmla="*/ 0 w 4"/>
                  <a:gd name="T7" fmla="*/ 11 h 23"/>
                  <a:gd name="T8" fmla="*/ 0 w 4"/>
                  <a:gd name="T9" fmla="*/ 7 h 23"/>
                  <a:gd name="T10" fmla="*/ 4 w 4"/>
                  <a:gd name="T11" fmla="*/ 3 h 23"/>
                  <a:gd name="T12" fmla="*/ 4 w 4"/>
                  <a:gd name="T13" fmla="*/ 0 h 23"/>
                  <a:gd name="T14" fmla="*/ 4 w 4"/>
                  <a:gd name="T15" fmla="*/ 0 h 23"/>
                  <a:gd name="T16" fmla="*/ 4 w 4"/>
                  <a:gd name="T17" fmla="*/ 3 h 23"/>
                  <a:gd name="T18" fmla="*/ 0 w 4"/>
                  <a:gd name="T19" fmla="*/ 7 h 23"/>
                  <a:gd name="T20" fmla="*/ 0 w 4"/>
                  <a:gd name="T21" fmla="*/ 11 h 23"/>
                  <a:gd name="T22" fmla="*/ 0 w 4"/>
                  <a:gd name="T23" fmla="*/ 15 h 23"/>
                  <a:gd name="T24" fmla="*/ 0 w 4"/>
                  <a:gd name="T25" fmla="*/ 19 h 23"/>
                  <a:gd name="T26" fmla="*/ 0 w 4"/>
                  <a:gd name="T27" fmla="*/ 21 h 23"/>
                  <a:gd name="T28" fmla="*/ 0 w 4"/>
                  <a:gd name="T29" fmla="*/ 23 h 23"/>
                  <a:gd name="T30" fmla="*/ 0 w 4"/>
                  <a:gd name="T31" fmla="*/ 23 h 23"/>
                  <a:gd name="T32" fmla="*/ 0 w 4"/>
                  <a:gd name="T33" fmla="*/ 2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" h="23">
                    <a:moveTo>
                      <a:pt x="0" y="21"/>
                    </a:moveTo>
                    <a:lnTo>
                      <a:pt x="0" y="19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3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0" y="21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06" name="Freeform 304">
                <a:extLst>
                  <a:ext uri="{FF2B5EF4-FFF2-40B4-BE49-F238E27FC236}">
                    <a16:creationId xmlns:a16="http://schemas.microsoft.com/office/drawing/2014/main" id="{CF516ED5-5A21-40F9-AA96-632384D89B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7" y="3381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07" name="Rectangle 305">
                <a:extLst>
                  <a:ext uri="{FF2B5EF4-FFF2-40B4-BE49-F238E27FC236}">
                    <a16:creationId xmlns:a16="http://schemas.microsoft.com/office/drawing/2014/main" id="{68DA30FC-AA53-4603-9975-19D11714EB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7" y="295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08" name="Freeform 306">
                <a:extLst>
                  <a:ext uri="{FF2B5EF4-FFF2-40B4-BE49-F238E27FC236}">
                    <a16:creationId xmlns:a16="http://schemas.microsoft.com/office/drawing/2014/main" id="{34C1985F-6432-410C-862E-DD17F17DDB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7" y="3371"/>
                <a:ext cx="6" cy="4"/>
              </a:xfrm>
              <a:custGeom>
                <a:avLst/>
                <a:gdLst>
                  <a:gd name="T0" fmla="*/ 4 w 6"/>
                  <a:gd name="T1" fmla="*/ 2 h 4"/>
                  <a:gd name="T2" fmla="*/ 0 w 6"/>
                  <a:gd name="T3" fmla="*/ 0 h 4"/>
                  <a:gd name="T4" fmla="*/ 4 w 6"/>
                  <a:gd name="T5" fmla="*/ 2 h 4"/>
                  <a:gd name="T6" fmla="*/ 6 w 6"/>
                  <a:gd name="T7" fmla="*/ 4 h 4"/>
                  <a:gd name="T8" fmla="*/ 6 w 6"/>
                  <a:gd name="T9" fmla="*/ 4 h 4"/>
                  <a:gd name="T10" fmla="*/ 4 w 6"/>
                  <a:gd name="T1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4" y="2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09" name="Freeform 307">
                <a:extLst>
                  <a:ext uri="{FF2B5EF4-FFF2-40B4-BE49-F238E27FC236}">
                    <a16:creationId xmlns:a16="http://schemas.microsoft.com/office/drawing/2014/main" id="{9D260628-D6FB-420F-9FDB-BA51CEE8AC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8" y="2967"/>
                <a:ext cx="4" cy="6"/>
              </a:xfrm>
              <a:custGeom>
                <a:avLst/>
                <a:gdLst>
                  <a:gd name="T0" fmla="*/ 4 w 4"/>
                  <a:gd name="T1" fmla="*/ 2 h 6"/>
                  <a:gd name="T2" fmla="*/ 4 w 4"/>
                  <a:gd name="T3" fmla="*/ 0 h 6"/>
                  <a:gd name="T4" fmla="*/ 4 w 4"/>
                  <a:gd name="T5" fmla="*/ 2 h 6"/>
                  <a:gd name="T6" fmla="*/ 2 w 4"/>
                  <a:gd name="T7" fmla="*/ 4 h 6"/>
                  <a:gd name="T8" fmla="*/ 0 w 4"/>
                  <a:gd name="T9" fmla="*/ 6 h 6"/>
                  <a:gd name="T10" fmla="*/ 0 w 4"/>
                  <a:gd name="T11" fmla="*/ 6 h 6"/>
                  <a:gd name="T12" fmla="*/ 2 w 4"/>
                  <a:gd name="T13" fmla="*/ 4 h 6"/>
                  <a:gd name="T14" fmla="*/ 4 w 4"/>
                  <a:gd name="T1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6">
                    <a:moveTo>
                      <a:pt x="4" y="2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10" name="Freeform 308">
                <a:extLst>
                  <a:ext uri="{FF2B5EF4-FFF2-40B4-BE49-F238E27FC236}">
                    <a16:creationId xmlns:a16="http://schemas.microsoft.com/office/drawing/2014/main" id="{8B90A76B-EE2B-4F58-8BC5-9EE064B70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9" y="3314"/>
                <a:ext cx="4" cy="10"/>
              </a:xfrm>
              <a:custGeom>
                <a:avLst/>
                <a:gdLst>
                  <a:gd name="T0" fmla="*/ 0 w 4"/>
                  <a:gd name="T1" fmla="*/ 4 h 10"/>
                  <a:gd name="T2" fmla="*/ 0 w 4"/>
                  <a:gd name="T3" fmla="*/ 0 h 10"/>
                  <a:gd name="T4" fmla="*/ 0 w 4"/>
                  <a:gd name="T5" fmla="*/ 4 h 10"/>
                  <a:gd name="T6" fmla="*/ 2 w 4"/>
                  <a:gd name="T7" fmla="*/ 8 h 10"/>
                  <a:gd name="T8" fmla="*/ 4 w 4"/>
                  <a:gd name="T9" fmla="*/ 10 h 10"/>
                  <a:gd name="T10" fmla="*/ 2 w 4"/>
                  <a:gd name="T11" fmla="*/ 8 h 10"/>
                  <a:gd name="T12" fmla="*/ 0 w 4"/>
                  <a:gd name="T13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0">
                    <a:moveTo>
                      <a:pt x="0" y="4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2" y="8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11" name="Freeform 309">
                <a:extLst>
                  <a:ext uri="{FF2B5EF4-FFF2-40B4-BE49-F238E27FC236}">
                    <a16:creationId xmlns:a16="http://schemas.microsoft.com/office/drawing/2014/main" id="{C625CDEF-9D2D-43ED-8B95-FF79E43F7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1" y="3310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12" name="Rectangle 310">
                <a:extLst>
                  <a:ext uri="{FF2B5EF4-FFF2-40B4-BE49-F238E27FC236}">
                    <a16:creationId xmlns:a16="http://schemas.microsoft.com/office/drawing/2014/main" id="{1CB40561-0CCC-46D3-A50E-E1BF69139D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9" y="331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13" name="Freeform 311">
                <a:extLst>
                  <a:ext uri="{FF2B5EF4-FFF2-40B4-BE49-F238E27FC236}">
                    <a16:creationId xmlns:a16="http://schemas.microsoft.com/office/drawing/2014/main" id="{DBA1A24E-61E7-48C9-A461-82E1275CDB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" y="2992"/>
                <a:ext cx="3" cy="10"/>
              </a:xfrm>
              <a:custGeom>
                <a:avLst/>
                <a:gdLst>
                  <a:gd name="T0" fmla="*/ 3 w 3"/>
                  <a:gd name="T1" fmla="*/ 6 h 10"/>
                  <a:gd name="T2" fmla="*/ 1 w 3"/>
                  <a:gd name="T3" fmla="*/ 2 h 10"/>
                  <a:gd name="T4" fmla="*/ 0 w 3"/>
                  <a:gd name="T5" fmla="*/ 0 h 10"/>
                  <a:gd name="T6" fmla="*/ 0 w 3"/>
                  <a:gd name="T7" fmla="*/ 0 h 10"/>
                  <a:gd name="T8" fmla="*/ 1 w 3"/>
                  <a:gd name="T9" fmla="*/ 2 h 10"/>
                  <a:gd name="T10" fmla="*/ 3 w 3"/>
                  <a:gd name="T11" fmla="*/ 6 h 10"/>
                  <a:gd name="T12" fmla="*/ 3 w 3"/>
                  <a:gd name="T13" fmla="*/ 10 h 10"/>
                  <a:gd name="T14" fmla="*/ 3 w 3"/>
                  <a:gd name="T15" fmla="*/ 10 h 10"/>
                  <a:gd name="T16" fmla="*/ 3 w 3"/>
                  <a:gd name="T17" fmla="*/ 10 h 10"/>
                  <a:gd name="T18" fmla="*/ 3 w 3"/>
                  <a:gd name="T1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10">
                    <a:moveTo>
                      <a:pt x="3" y="6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2"/>
                    </a:lnTo>
                    <a:lnTo>
                      <a:pt x="3" y="6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3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14" name="Freeform 312">
                <a:extLst>
                  <a:ext uri="{FF2B5EF4-FFF2-40B4-BE49-F238E27FC236}">
                    <a16:creationId xmlns:a16="http://schemas.microsoft.com/office/drawing/2014/main" id="{7B2C07D1-2E83-4E2D-9CEB-7BB8232DC8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" y="3010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15" name="Freeform 313">
                <a:extLst>
                  <a:ext uri="{FF2B5EF4-FFF2-40B4-BE49-F238E27FC236}">
                    <a16:creationId xmlns:a16="http://schemas.microsoft.com/office/drawing/2014/main" id="{0A73B670-D3E7-4F0C-A943-35DBA5EA59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2" y="2975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2 w 4"/>
                  <a:gd name="T4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16" name="Freeform 314">
                <a:extLst>
                  <a:ext uri="{FF2B5EF4-FFF2-40B4-BE49-F238E27FC236}">
                    <a16:creationId xmlns:a16="http://schemas.microsoft.com/office/drawing/2014/main" id="{3C15B126-3C63-4411-A1A5-66332432B9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3" y="3307"/>
                <a:ext cx="4" cy="0"/>
              </a:xfrm>
              <a:custGeom>
                <a:avLst/>
                <a:gdLst>
                  <a:gd name="T0" fmla="*/ 0 w 4"/>
                  <a:gd name="T1" fmla="*/ 2 w 4"/>
                  <a:gd name="T2" fmla="*/ 4 w 4"/>
                  <a:gd name="T3" fmla="*/ 2 w 4"/>
                  <a:gd name="T4" fmla="*/ 0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17" name="Freeform 315">
                <a:extLst>
                  <a:ext uri="{FF2B5EF4-FFF2-40B4-BE49-F238E27FC236}">
                    <a16:creationId xmlns:a16="http://schemas.microsoft.com/office/drawing/2014/main" id="{77132510-8F79-4E8A-BA7A-6EA73EF32C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2" y="3016"/>
                <a:ext cx="6" cy="3"/>
              </a:xfrm>
              <a:custGeom>
                <a:avLst/>
                <a:gdLst>
                  <a:gd name="T0" fmla="*/ 2 w 6"/>
                  <a:gd name="T1" fmla="*/ 2 h 3"/>
                  <a:gd name="T2" fmla="*/ 0 w 6"/>
                  <a:gd name="T3" fmla="*/ 0 h 3"/>
                  <a:gd name="T4" fmla="*/ 2 w 6"/>
                  <a:gd name="T5" fmla="*/ 2 h 3"/>
                  <a:gd name="T6" fmla="*/ 4 w 6"/>
                  <a:gd name="T7" fmla="*/ 3 h 3"/>
                  <a:gd name="T8" fmla="*/ 6 w 6"/>
                  <a:gd name="T9" fmla="*/ 3 h 3"/>
                  <a:gd name="T10" fmla="*/ 4 w 6"/>
                  <a:gd name="T11" fmla="*/ 3 h 3"/>
                  <a:gd name="T12" fmla="*/ 2 w 6"/>
                  <a:gd name="T1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4" y="3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18" name="Rectangle 316">
                <a:extLst>
                  <a:ext uri="{FF2B5EF4-FFF2-40B4-BE49-F238E27FC236}">
                    <a16:creationId xmlns:a16="http://schemas.microsoft.com/office/drawing/2014/main" id="{848048BF-03A4-4CFE-B6F6-3DA7ECCD93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7" y="332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19" name="Freeform 317">
                <a:extLst>
                  <a:ext uri="{FF2B5EF4-FFF2-40B4-BE49-F238E27FC236}">
                    <a16:creationId xmlns:a16="http://schemas.microsoft.com/office/drawing/2014/main" id="{C9E36CAD-E810-420C-BE2D-DABBFCAE1F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" y="297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20" name="Rectangle 318">
                <a:extLst>
                  <a:ext uri="{FF2B5EF4-FFF2-40B4-BE49-F238E27FC236}">
                    <a16:creationId xmlns:a16="http://schemas.microsoft.com/office/drawing/2014/main" id="{5B855008-3589-4B2C-BAA3-C61150BF8D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4" y="3332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21" name="Freeform 319">
                <a:extLst>
                  <a:ext uri="{FF2B5EF4-FFF2-40B4-BE49-F238E27FC236}">
                    <a16:creationId xmlns:a16="http://schemas.microsoft.com/office/drawing/2014/main" id="{0971AB1B-A1CE-48B1-BFB4-1E8F7E6148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7" y="2982"/>
                <a:ext cx="10" cy="10"/>
              </a:xfrm>
              <a:custGeom>
                <a:avLst/>
                <a:gdLst>
                  <a:gd name="T0" fmla="*/ 0 w 10"/>
                  <a:gd name="T1" fmla="*/ 0 h 10"/>
                  <a:gd name="T2" fmla="*/ 6 w 10"/>
                  <a:gd name="T3" fmla="*/ 4 h 10"/>
                  <a:gd name="T4" fmla="*/ 10 w 10"/>
                  <a:gd name="T5" fmla="*/ 10 h 10"/>
                  <a:gd name="T6" fmla="*/ 6 w 10"/>
                  <a:gd name="T7" fmla="*/ 4 h 10"/>
                  <a:gd name="T8" fmla="*/ 0 w 10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0" y="0"/>
                    </a:moveTo>
                    <a:lnTo>
                      <a:pt x="6" y="4"/>
                    </a:lnTo>
                    <a:lnTo>
                      <a:pt x="10" y="10"/>
                    </a:lnTo>
                    <a:lnTo>
                      <a:pt x="6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22" name="Freeform 320">
                <a:extLst>
                  <a:ext uri="{FF2B5EF4-FFF2-40B4-BE49-F238E27FC236}">
                    <a16:creationId xmlns:a16="http://schemas.microsoft.com/office/drawing/2014/main" id="{529972B1-1883-4F9B-B873-A3F758838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5" y="2961"/>
                <a:ext cx="4" cy="12"/>
              </a:xfrm>
              <a:custGeom>
                <a:avLst/>
                <a:gdLst>
                  <a:gd name="T0" fmla="*/ 4 w 4"/>
                  <a:gd name="T1" fmla="*/ 6 h 12"/>
                  <a:gd name="T2" fmla="*/ 2 w 4"/>
                  <a:gd name="T3" fmla="*/ 4 h 12"/>
                  <a:gd name="T4" fmla="*/ 0 w 4"/>
                  <a:gd name="T5" fmla="*/ 0 h 12"/>
                  <a:gd name="T6" fmla="*/ 2 w 4"/>
                  <a:gd name="T7" fmla="*/ 4 h 12"/>
                  <a:gd name="T8" fmla="*/ 4 w 4"/>
                  <a:gd name="T9" fmla="*/ 6 h 12"/>
                  <a:gd name="T10" fmla="*/ 4 w 4"/>
                  <a:gd name="T11" fmla="*/ 10 h 12"/>
                  <a:gd name="T12" fmla="*/ 4 w 4"/>
                  <a:gd name="T13" fmla="*/ 12 h 12"/>
                  <a:gd name="T14" fmla="*/ 4 w 4"/>
                  <a:gd name="T15" fmla="*/ 10 h 12"/>
                  <a:gd name="T16" fmla="*/ 4 w 4"/>
                  <a:gd name="T1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2">
                    <a:moveTo>
                      <a:pt x="4" y="6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0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23" name="Freeform 321">
                <a:extLst>
                  <a:ext uri="{FF2B5EF4-FFF2-40B4-BE49-F238E27FC236}">
                    <a16:creationId xmlns:a16="http://schemas.microsoft.com/office/drawing/2014/main" id="{25B4DC8C-B615-45DE-8DE4-E10665EFA1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" y="3310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2 w 6"/>
                  <a:gd name="T3" fmla="*/ 2 h 4"/>
                  <a:gd name="T4" fmla="*/ 6 w 6"/>
                  <a:gd name="T5" fmla="*/ 4 h 4"/>
                  <a:gd name="T6" fmla="*/ 6 w 6"/>
                  <a:gd name="T7" fmla="*/ 4 h 4"/>
                  <a:gd name="T8" fmla="*/ 2 w 6"/>
                  <a:gd name="T9" fmla="*/ 2 h 4"/>
                  <a:gd name="T10" fmla="*/ 0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24" name="Freeform 322">
                <a:extLst>
                  <a:ext uri="{FF2B5EF4-FFF2-40B4-BE49-F238E27FC236}">
                    <a16:creationId xmlns:a16="http://schemas.microsoft.com/office/drawing/2014/main" id="{EAC9707C-CAB0-42E9-871F-1E95711F0B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3" y="3500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0 h 2"/>
                  <a:gd name="T4" fmla="*/ 4 w 4"/>
                  <a:gd name="T5" fmla="*/ 0 h 2"/>
                  <a:gd name="T6" fmla="*/ 2 w 4"/>
                  <a:gd name="T7" fmla="*/ 2 h 2"/>
                  <a:gd name="T8" fmla="*/ 0 w 4"/>
                  <a:gd name="T9" fmla="*/ 2 h 2"/>
                  <a:gd name="T10" fmla="*/ 2 w 4"/>
                  <a:gd name="T11" fmla="*/ 2 h 2"/>
                  <a:gd name="T12" fmla="*/ 4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25" name="Freeform 323">
                <a:extLst>
                  <a:ext uri="{FF2B5EF4-FFF2-40B4-BE49-F238E27FC236}">
                    <a16:creationId xmlns:a16="http://schemas.microsoft.com/office/drawing/2014/main" id="{B3099B73-1B76-4F5B-A2DA-CB225D451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4" y="2926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2 h 2"/>
                  <a:gd name="T4" fmla="*/ 0 w 2"/>
                  <a:gd name="T5" fmla="*/ 0 h 2"/>
                  <a:gd name="T6" fmla="*/ 0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26" name="Freeform 324">
                <a:extLst>
                  <a:ext uri="{FF2B5EF4-FFF2-40B4-BE49-F238E27FC236}">
                    <a16:creationId xmlns:a16="http://schemas.microsoft.com/office/drawing/2014/main" id="{C8C1C066-56A4-47B1-B494-908E70E2D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9" y="3424"/>
                <a:ext cx="0" cy="4"/>
              </a:xfrm>
              <a:custGeom>
                <a:avLst/>
                <a:gdLst>
                  <a:gd name="T0" fmla="*/ 0 h 4"/>
                  <a:gd name="T1" fmla="*/ 4 h 4"/>
                  <a:gd name="T2" fmla="*/ 4 h 4"/>
                  <a:gd name="T3" fmla="*/ 4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27" name="Freeform 325">
                <a:extLst>
                  <a:ext uri="{FF2B5EF4-FFF2-40B4-BE49-F238E27FC236}">
                    <a16:creationId xmlns:a16="http://schemas.microsoft.com/office/drawing/2014/main" id="{D505813B-6DF7-403E-84E4-DEA4722919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5" y="3412"/>
                <a:ext cx="24" cy="4"/>
              </a:xfrm>
              <a:custGeom>
                <a:avLst/>
                <a:gdLst>
                  <a:gd name="T0" fmla="*/ 24 w 24"/>
                  <a:gd name="T1" fmla="*/ 0 h 4"/>
                  <a:gd name="T2" fmla="*/ 10 w 24"/>
                  <a:gd name="T3" fmla="*/ 4 h 4"/>
                  <a:gd name="T4" fmla="*/ 0 w 24"/>
                  <a:gd name="T5" fmla="*/ 4 h 4"/>
                  <a:gd name="T6" fmla="*/ 10 w 24"/>
                  <a:gd name="T7" fmla="*/ 4 h 4"/>
                  <a:gd name="T8" fmla="*/ 24 w 2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4">
                    <a:moveTo>
                      <a:pt x="24" y="0"/>
                    </a:moveTo>
                    <a:lnTo>
                      <a:pt x="10" y="4"/>
                    </a:lnTo>
                    <a:lnTo>
                      <a:pt x="0" y="4"/>
                    </a:lnTo>
                    <a:lnTo>
                      <a:pt x="10" y="4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28" name="Freeform 326">
                <a:extLst>
                  <a:ext uri="{FF2B5EF4-FFF2-40B4-BE49-F238E27FC236}">
                    <a16:creationId xmlns:a16="http://schemas.microsoft.com/office/drawing/2014/main" id="{B07AE2D5-1EBF-4549-8FA6-48B4DA60E6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1" y="2928"/>
                <a:ext cx="1" cy="6"/>
              </a:xfrm>
              <a:custGeom>
                <a:avLst/>
                <a:gdLst>
                  <a:gd name="T0" fmla="*/ 0 w 1"/>
                  <a:gd name="T1" fmla="*/ 4 h 6"/>
                  <a:gd name="T2" fmla="*/ 1 w 1"/>
                  <a:gd name="T3" fmla="*/ 6 h 6"/>
                  <a:gd name="T4" fmla="*/ 0 w 1"/>
                  <a:gd name="T5" fmla="*/ 4 h 6"/>
                  <a:gd name="T6" fmla="*/ 1 w 1"/>
                  <a:gd name="T7" fmla="*/ 0 h 6"/>
                  <a:gd name="T8" fmla="*/ 1 w 1"/>
                  <a:gd name="T9" fmla="*/ 0 h 6"/>
                  <a:gd name="T10" fmla="*/ 0 w 1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6">
                    <a:moveTo>
                      <a:pt x="0" y="4"/>
                    </a:moveTo>
                    <a:lnTo>
                      <a:pt x="1" y="6"/>
                    </a:lnTo>
                    <a:lnTo>
                      <a:pt x="0" y="4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29" name="Freeform 327">
                <a:extLst>
                  <a:ext uri="{FF2B5EF4-FFF2-40B4-BE49-F238E27FC236}">
                    <a16:creationId xmlns:a16="http://schemas.microsoft.com/office/drawing/2014/main" id="{8B18F054-6237-4366-8105-965C0E94C3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7" y="3424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2 w 4"/>
                  <a:gd name="T3" fmla="*/ 4 h 4"/>
                  <a:gd name="T4" fmla="*/ 0 w 4"/>
                  <a:gd name="T5" fmla="*/ 0 h 4"/>
                  <a:gd name="T6" fmla="*/ 2 w 4"/>
                  <a:gd name="T7" fmla="*/ 4 h 4"/>
                  <a:gd name="T8" fmla="*/ 4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30" name="Freeform 328">
                <a:extLst>
                  <a:ext uri="{FF2B5EF4-FFF2-40B4-BE49-F238E27FC236}">
                    <a16:creationId xmlns:a16="http://schemas.microsoft.com/office/drawing/2014/main" id="{A13C732D-C13E-4F86-8D9F-D08EB3959F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4" y="2922"/>
                <a:ext cx="6" cy="2"/>
              </a:xfrm>
              <a:custGeom>
                <a:avLst/>
                <a:gdLst>
                  <a:gd name="T0" fmla="*/ 2 w 6"/>
                  <a:gd name="T1" fmla="*/ 2 h 2"/>
                  <a:gd name="T2" fmla="*/ 2 w 6"/>
                  <a:gd name="T3" fmla="*/ 2 h 2"/>
                  <a:gd name="T4" fmla="*/ 0 w 6"/>
                  <a:gd name="T5" fmla="*/ 2 h 2"/>
                  <a:gd name="T6" fmla="*/ 0 w 6"/>
                  <a:gd name="T7" fmla="*/ 2 h 2"/>
                  <a:gd name="T8" fmla="*/ 2 w 6"/>
                  <a:gd name="T9" fmla="*/ 2 h 2"/>
                  <a:gd name="T10" fmla="*/ 2 w 6"/>
                  <a:gd name="T11" fmla="*/ 2 h 2"/>
                  <a:gd name="T12" fmla="*/ 4 w 6"/>
                  <a:gd name="T13" fmla="*/ 2 h 2"/>
                  <a:gd name="T14" fmla="*/ 6 w 6"/>
                  <a:gd name="T15" fmla="*/ 0 h 2"/>
                  <a:gd name="T16" fmla="*/ 4 w 6"/>
                  <a:gd name="T17" fmla="*/ 2 h 2"/>
                  <a:gd name="T18" fmla="*/ 2 w 6"/>
                  <a:gd name="T1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31" name="Freeform 329">
                <a:extLst>
                  <a:ext uri="{FF2B5EF4-FFF2-40B4-BE49-F238E27FC236}">
                    <a16:creationId xmlns:a16="http://schemas.microsoft.com/office/drawing/2014/main" id="{79B12CC9-A678-4D5E-82A7-A58F13324E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6" y="2912"/>
                <a:ext cx="6" cy="2"/>
              </a:xfrm>
              <a:custGeom>
                <a:avLst/>
                <a:gdLst>
                  <a:gd name="T0" fmla="*/ 2 w 6"/>
                  <a:gd name="T1" fmla="*/ 2 h 2"/>
                  <a:gd name="T2" fmla="*/ 0 w 6"/>
                  <a:gd name="T3" fmla="*/ 2 h 2"/>
                  <a:gd name="T4" fmla="*/ 2 w 6"/>
                  <a:gd name="T5" fmla="*/ 2 h 2"/>
                  <a:gd name="T6" fmla="*/ 4 w 6"/>
                  <a:gd name="T7" fmla="*/ 0 h 2"/>
                  <a:gd name="T8" fmla="*/ 6 w 6"/>
                  <a:gd name="T9" fmla="*/ 2 h 2"/>
                  <a:gd name="T10" fmla="*/ 4 w 6"/>
                  <a:gd name="T11" fmla="*/ 0 h 2"/>
                  <a:gd name="T12" fmla="*/ 2 w 6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2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32" name="Freeform 330">
                <a:extLst>
                  <a:ext uri="{FF2B5EF4-FFF2-40B4-BE49-F238E27FC236}">
                    <a16:creationId xmlns:a16="http://schemas.microsoft.com/office/drawing/2014/main" id="{0E131096-DAC9-439A-B68D-CCF4FF877D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6" y="3412"/>
                <a:ext cx="41" cy="12"/>
              </a:xfrm>
              <a:custGeom>
                <a:avLst/>
                <a:gdLst>
                  <a:gd name="T0" fmla="*/ 6 w 41"/>
                  <a:gd name="T1" fmla="*/ 2 h 12"/>
                  <a:gd name="T2" fmla="*/ 12 w 41"/>
                  <a:gd name="T3" fmla="*/ 4 h 12"/>
                  <a:gd name="T4" fmla="*/ 22 w 41"/>
                  <a:gd name="T5" fmla="*/ 8 h 12"/>
                  <a:gd name="T6" fmla="*/ 27 w 41"/>
                  <a:gd name="T7" fmla="*/ 10 h 12"/>
                  <a:gd name="T8" fmla="*/ 31 w 41"/>
                  <a:gd name="T9" fmla="*/ 8 h 12"/>
                  <a:gd name="T10" fmla="*/ 35 w 41"/>
                  <a:gd name="T11" fmla="*/ 10 h 12"/>
                  <a:gd name="T12" fmla="*/ 41 w 41"/>
                  <a:gd name="T13" fmla="*/ 12 h 12"/>
                  <a:gd name="T14" fmla="*/ 41 w 41"/>
                  <a:gd name="T15" fmla="*/ 12 h 12"/>
                  <a:gd name="T16" fmla="*/ 35 w 41"/>
                  <a:gd name="T17" fmla="*/ 10 h 12"/>
                  <a:gd name="T18" fmla="*/ 31 w 41"/>
                  <a:gd name="T19" fmla="*/ 8 h 12"/>
                  <a:gd name="T20" fmla="*/ 27 w 41"/>
                  <a:gd name="T21" fmla="*/ 10 h 12"/>
                  <a:gd name="T22" fmla="*/ 22 w 41"/>
                  <a:gd name="T23" fmla="*/ 8 h 12"/>
                  <a:gd name="T24" fmla="*/ 12 w 41"/>
                  <a:gd name="T25" fmla="*/ 4 h 12"/>
                  <a:gd name="T26" fmla="*/ 6 w 41"/>
                  <a:gd name="T27" fmla="*/ 2 h 12"/>
                  <a:gd name="T28" fmla="*/ 4 w 41"/>
                  <a:gd name="T29" fmla="*/ 2 h 12"/>
                  <a:gd name="T30" fmla="*/ 0 w 41"/>
                  <a:gd name="T31" fmla="*/ 0 h 12"/>
                  <a:gd name="T32" fmla="*/ 4 w 41"/>
                  <a:gd name="T33" fmla="*/ 2 h 12"/>
                  <a:gd name="T34" fmla="*/ 6 w 41"/>
                  <a:gd name="T3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1" h="12">
                    <a:moveTo>
                      <a:pt x="6" y="2"/>
                    </a:moveTo>
                    <a:lnTo>
                      <a:pt x="12" y="4"/>
                    </a:lnTo>
                    <a:lnTo>
                      <a:pt x="22" y="8"/>
                    </a:lnTo>
                    <a:lnTo>
                      <a:pt x="27" y="10"/>
                    </a:lnTo>
                    <a:lnTo>
                      <a:pt x="31" y="8"/>
                    </a:lnTo>
                    <a:lnTo>
                      <a:pt x="35" y="10"/>
                    </a:lnTo>
                    <a:lnTo>
                      <a:pt x="41" y="12"/>
                    </a:lnTo>
                    <a:lnTo>
                      <a:pt x="41" y="12"/>
                    </a:lnTo>
                    <a:lnTo>
                      <a:pt x="35" y="10"/>
                    </a:lnTo>
                    <a:lnTo>
                      <a:pt x="31" y="8"/>
                    </a:lnTo>
                    <a:lnTo>
                      <a:pt x="27" y="10"/>
                    </a:lnTo>
                    <a:lnTo>
                      <a:pt x="22" y="8"/>
                    </a:lnTo>
                    <a:lnTo>
                      <a:pt x="12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33" name="Freeform 331">
                <a:extLst>
                  <a:ext uri="{FF2B5EF4-FFF2-40B4-BE49-F238E27FC236}">
                    <a16:creationId xmlns:a16="http://schemas.microsoft.com/office/drawing/2014/main" id="{BB4D94AF-4FD6-4851-912D-0AD3FC05EB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6" y="294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  <a:gd name="T8" fmla="*/ 0 w 2"/>
                  <a:gd name="T9" fmla="*/ 0 h 2"/>
                  <a:gd name="T10" fmla="*/ 2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34" name="Freeform 332">
                <a:extLst>
                  <a:ext uri="{FF2B5EF4-FFF2-40B4-BE49-F238E27FC236}">
                    <a16:creationId xmlns:a16="http://schemas.microsoft.com/office/drawing/2014/main" id="{B91565BB-AB7F-42FC-BAC8-93B71052D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2" y="3445"/>
                <a:ext cx="6" cy="16"/>
              </a:xfrm>
              <a:custGeom>
                <a:avLst/>
                <a:gdLst>
                  <a:gd name="T0" fmla="*/ 6 w 6"/>
                  <a:gd name="T1" fmla="*/ 0 h 16"/>
                  <a:gd name="T2" fmla="*/ 6 w 6"/>
                  <a:gd name="T3" fmla="*/ 2 h 16"/>
                  <a:gd name="T4" fmla="*/ 0 w 6"/>
                  <a:gd name="T5" fmla="*/ 16 h 16"/>
                  <a:gd name="T6" fmla="*/ 6 w 6"/>
                  <a:gd name="T7" fmla="*/ 2 h 16"/>
                  <a:gd name="T8" fmla="*/ 6 w 6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16">
                    <a:moveTo>
                      <a:pt x="6" y="0"/>
                    </a:moveTo>
                    <a:lnTo>
                      <a:pt x="6" y="2"/>
                    </a:lnTo>
                    <a:lnTo>
                      <a:pt x="0" y="16"/>
                    </a:lnTo>
                    <a:lnTo>
                      <a:pt x="6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35" name="Freeform 333">
                <a:extLst>
                  <a:ext uri="{FF2B5EF4-FFF2-40B4-BE49-F238E27FC236}">
                    <a16:creationId xmlns:a16="http://schemas.microsoft.com/office/drawing/2014/main" id="{377E2F95-B76F-4E89-816F-486D30D0B5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8" y="2949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36" name="Freeform 334">
                <a:extLst>
                  <a:ext uri="{FF2B5EF4-FFF2-40B4-BE49-F238E27FC236}">
                    <a16:creationId xmlns:a16="http://schemas.microsoft.com/office/drawing/2014/main" id="{376957C5-CC90-45FB-B6F0-5524567CC6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7" y="3431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  <a:gd name="T8" fmla="*/ 0 w 2"/>
                  <a:gd name="T9" fmla="*/ 2 h 2"/>
                  <a:gd name="T10" fmla="*/ 2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37" name="Freeform 335">
                <a:extLst>
                  <a:ext uri="{FF2B5EF4-FFF2-40B4-BE49-F238E27FC236}">
                    <a16:creationId xmlns:a16="http://schemas.microsoft.com/office/drawing/2014/main" id="{18C38C65-8F71-457D-9146-7152C20591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" y="3439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38" name="Freeform 336">
                <a:extLst>
                  <a:ext uri="{FF2B5EF4-FFF2-40B4-BE49-F238E27FC236}">
                    <a16:creationId xmlns:a16="http://schemas.microsoft.com/office/drawing/2014/main" id="{031EB9B5-7004-441A-A7C4-852F61D4C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0" y="2945"/>
                <a:ext cx="6" cy="2"/>
              </a:xfrm>
              <a:custGeom>
                <a:avLst/>
                <a:gdLst>
                  <a:gd name="T0" fmla="*/ 2 w 6"/>
                  <a:gd name="T1" fmla="*/ 2 h 2"/>
                  <a:gd name="T2" fmla="*/ 4 w 6"/>
                  <a:gd name="T3" fmla="*/ 2 h 2"/>
                  <a:gd name="T4" fmla="*/ 6 w 6"/>
                  <a:gd name="T5" fmla="*/ 0 h 2"/>
                  <a:gd name="T6" fmla="*/ 6 w 6"/>
                  <a:gd name="T7" fmla="*/ 0 h 2"/>
                  <a:gd name="T8" fmla="*/ 6 w 6"/>
                  <a:gd name="T9" fmla="*/ 0 h 2"/>
                  <a:gd name="T10" fmla="*/ 4 w 6"/>
                  <a:gd name="T11" fmla="*/ 2 h 2"/>
                  <a:gd name="T12" fmla="*/ 2 w 6"/>
                  <a:gd name="T13" fmla="*/ 2 h 2"/>
                  <a:gd name="T14" fmla="*/ 0 w 6"/>
                  <a:gd name="T15" fmla="*/ 0 h 2"/>
                  <a:gd name="T16" fmla="*/ 0 w 6"/>
                  <a:gd name="T17" fmla="*/ 0 h 2"/>
                  <a:gd name="T18" fmla="*/ 0 w 6"/>
                  <a:gd name="T19" fmla="*/ 0 h 2"/>
                  <a:gd name="T20" fmla="*/ 2 w 6"/>
                  <a:gd name="T2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2">
                    <a:moveTo>
                      <a:pt x="2" y="2"/>
                    </a:move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39" name="Freeform 337">
                <a:extLst>
                  <a:ext uri="{FF2B5EF4-FFF2-40B4-BE49-F238E27FC236}">
                    <a16:creationId xmlns:a16="http://schemas.microsoft.com/office/drawing/2014/main" id="{3DFADA54-C087-452C-91FD-7C49F7DF96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6" y="3410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40" name="Freeform 338">
                <a:extLst>
                  <a:ext uri="{FF2B5EF4-FFF2-40B4-BE49-F238E27FC236}">
                    <a16:creationId xmlns:a16="http://schemas.microsoft.com/office/drawing/2014/main" id="{446AB6D4-1A27-4EA5-BB84-1A46BDA303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7" y="2873"/>
                <a:ext cx="22" cy="12"/>
              </a:xfrm>
              <a:custGeom>
                <a:avLst/>
                <a:gdLst>
                  <a:gd name="T0" fmla="*/ 16 w 22"/>
                  <a:gd name="T1" fmla="*/ 0 h 12"/>
                  <a:gd name="T2" fmla="*/ 22 w 22"/>
                  <a:gd name="T3" fmla="*/ 0 h 12"/>
                  <a:gd name="T4" fmla="*/ 16 w 22"/>
                  <a:gd name="T5" fmla="*/ 0 h 12"/>
                  <a:gd name="T6" fmla="*/ 6 w 22"/>
                  <a:gd name="T7" fmla="*/ 10 h 12"/>
                  <a:gd name="T8" fmla="*/ 0 w 22"/>
                  <a:gd name="T9" fmla="*/ 12 h 12"/>
                  <a:gd name="T10" fmla="*/ 6 w 22"/>
                  <a:gd name="T11" fmla="*/ 10 h 12"/>
                  <a:gd name="T12" fmla="*/ 16 w 22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12">
                    <a:moveTo>
                      <a:pt x="16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6" y="10"/>
                    </a:lnTo>
                    <a:lnTo>
                      <a:pt x="0" y="12"/>
                    </a:lnTo>
                    <a:lnTo>
                      <a:pt x="6" y="1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41" name="Freeform 339">
                <a:extLst>
                  <a:ext uri="{FF2B5EF4-FFF2-40B4-BE49-F238E27FC236}">
                    <a16:creationId xmlns:a16="http://schemas.microsoft.com/office/drawing/2014/main" id="{44445FE9-2A9F-459B-8718-8D4FD3534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1" y="2873"/>
                <a:ext cx="8" cy="6"/>
              </a:xfrm>
              <a:custGeom>
                <a:avLst/>
                <a:gdLst>
                  <a:gd name="T0" fmla="*/ 8 w 8"/>
                  <a:gd name="T1" fmla="*/ 6 h 6"/>
                  <a:gd name="T2" fmla="*/ 8 w 8"/>
                  <a:gd name="T3" fmla="*/ 6 h 6"/>
                  <a:gd name="T4" fmla="*/ 6 w 8"/>
                  <a:gd name="T5" fmla="*/ 4 h 6"/>
                  <a:gd name="T6" fmla="*/ 0 w 8"/>
                  <a:gd name="T7" fmla="*/ 0 h 6"/>
                  <a:gd name="T8" fmla="*/ 0 w 8"/>
                  <a:gd name="T9" fmla="*/ 0 h 6"/>
                  <a:gd name="T10" fmla="*/ 6 w 8"/>
                  <a:gd name="T11" fmla="*/ 4 h 6"/>
                  <a:gd name="T12" fmla="*/ 8 w 8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8" y="6"/>
                    </a:moveTo>
                    <a:lnTo>
                      <a:pt x="8" y="6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4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42" name="Freeform 340">
                <a:extLst>
                  <a:ext uri="{FF2B5EF4-FFF2-40B4-BE49-F238E27FC236}">
                    <a16:creationId xmlns:a16="http://schemas.microsoft.com/office/drawing/2014/main" id="{EF811A08-00CD-4ABE-AE06-DD064CC7DB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2" y="3412"/>
                <a:ext cx="9" cy="8"/>
              </a:xfrm>
              <a:custGeom>
                <a:avLst/>
                <a:gdLst>
                  <a:gd name="T0" fmla="*/ 5 w 9"/>
                  <a:gd name="T1" fmla="*/ 4 h 8"/>
                  <a:gd name="T2" fmla="*/ 7 w 9"/>
                  <a:gd name="T3" fmla="*/ 4 h 8"/>
                  <a:gd name="T4" fmla="*/ 9 w 9"/>
                  <a:gd name="T5" fmla="*/ 6 h 8"/>
                  <a:gd name="T6" fmla="*/ 9 w 9"/>
                  <a:gd name="T7" fmla="*/ 8 h 8"/>
                  <a:gd name="T8" fmla="*/ 9 w 9"/>
                  <a:gd name="T9" fmla="*/ 6 h 8"/>
                  <a:gd name="T10" fmla="*/ 7 w 9"/>
                  <a:gd name="T11" fmla="*/ 4 h 8"/>
                  <a:gd name="T12" fmla="*/ 5 w 9"/>
                  <a:gd name="T13" fmla="*/ 4 h 8"/>
                  <a:gd name="T14" fmla="*/ 3 w 9"/>
                  <a:gd name="T15" fmla="*/ 2 h 8"/>
                  <a:gd name="T16" fmla="*/ 0 w 9"/>
                  <a:gd name="T17" fmla="*/ 0 h 8"/>
                  <a:gd name="T18" fmla="*/ 3 w 9"/>
                  <a:gd name="T19" fmla="*/ 2 h 8"/>
                  <a:gd name="T20" fmla="*/ 5 w 9"/>
                  <a:gd name="T2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8">
                    <a:moveTo>
                      <a:pt x="5" y="4"/>
                    </a:moveTo>
                    <a:lnTo>
                      <a:pt x="7" y="4"/>
                    </a:lnTo>
                    <a:lnTo>
                      <a:pt x="9" y="6"/>
                    </a:lnTo>
                    <a:lnTo>
                      <a:pt x="9" y="8"/>
                    </a:lnTo>
                    <a:lnTo>
                      <a:pt x="9" y="6"/>
                    </a:lnTo>
                    <a:lnTo>
                      <a:pt x="7" y="4"/>
                    </a:lnTo>
                    <a:lnTo>
                      <a:pt x="5" y="4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5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43" name="Freeform 341">
                <a:extLst>
                  <a:ext uri="{FF2B5EF4-FFF2-40B4-BE49-F238E27FC236}">
                    <a16:creationId xmlns:a16="http://schemas.microsoft.com/office/drawing/2014/main" id="{DDB0A40E-E3D6-42A2-A3C6-E8181DEDA1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" y="3420"/>
                <a:ext cx="7" cy="4"/>
              </a:xfrm>
              <a:custGeom>
                <a:avLst/>
                <a:gdLst>
                  <a:gd name="T0" fmla="*/ 5 w 7"/>
                  <a:gd name="T1" fmla="*/ 2 h 4"/>
                  <a:gd name="T2" fmla="*/ 7 w 7"/>
                  <a:gd name="T3" fmla="*/ 4 h 4"/>
                  <a:gd name="T4" fmla="*/ 5 w 7"/>
                  <a:gd name="T5" fmla="*/ 2 h 4"/>
                  <a:gd name="T6" fmla="*/ 1 w 7"/>
                  <a:gd name="T7" fmla="*/ 0 h 4"/>
                  <a:gd name="T8" fmla="*/ 0 w 7"/>
                  <a:gd name="T9" fmla="*/ 2 h 4"/>
                  <a:gd name="T10" fmla="*/ 1 w 7"/>
                  <a:gd name="T11" fmla="*/ 0 h 4"/>
                  <a:gd name="T12" fmla="*/ 5 w 7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4">
                    <a:moveTo>
                      <a:pt x="5" y="2"/>
                    </a:moveTo>
                    <a:lnTo>
                      <a:pt x="7" y="4"/>
                    </a:lnTo>
                    <a:lnTo>
                      <a:pt x="5" y="2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44" name="Freeform 342">
                <a:extLst>
                  <a:ext uri="{FF2B5EF4-FFF2-40B4-BE49-F238E27FC236}">
                    <a16:creationId xmlns:a16="http://schemas.microsoft.com/office/drawing/2014/main" id="{25D59F1F-E4F8-485A-BD70-FB54A95F02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3" y="2863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45" name="Freeform 343">
                <a:extLst>
                  <a:ext uri="{FF2B5EF4-FFF2-40B4-BE49-F238E27FC236}">
                    <a16:creationId xmlns:a16="http://schemas.microsoft.com/office/drawing/2014/main" id="{6C7A2450-91A7-4B99-A06A-50D9277086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6" y="2861"/>
                <a:ext cx="13" cy="4"/>
              </a:xfrm>
              <a:custGeom>
                <a:avLst/>
                <a:gdLst>
                  <a:gd name="T0" fmla="*/ 13 w 13"/>
                  <a:gd name="T1" fmla="*/ 0 h 4"/>
                  <a:gd name="T2" fmla="*/ 13 w 13"/>
                  <a:gd name="T3" fmla="*/ 0 h 4"/>
                  <a:gd name="T4" fmla="*/ 13 w 13"/>
                  <a:gd name="T5" fmla="*/ 0 h 4"/>
                  <a:gd name="T6" fmla="*/ 4 w 13"/>
                  <a:gd name="T7" fmla="*/ 4 h 4"/>
                  <a:gd name="T8" fmla="*/ 0 w 13"/>
                  <a:gd name="T9" fmla="*/ 4 h 4"/>
                  <a:gd name="T10" fmla="*/ 4 w 13"/>
                  <a:gd name="T11" fmla="*/ 4 h 4"/>
                  <a:gd name="T12" fmla="*/ 13 w 13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4">
                    <a:moveTo>
                      <a:pt x="13" y="0"/>
                    </a:moveTo>
                    <a:lnTo>
                      <a:pt x="13" y="0"/>
                    </a:lnTo>
                    <a:lnTo>
                      <a:pt x="13" y="0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46" name="Freeform 344">
                <a:extLst>
                  <a:ext uri="{FF2B5EF4-FFF2-40B4-BE49-F238E27FC236}">
                    <a16:creationId xmlns:a16="http://schemas.microsoft.com/office/drawing/2014/main" id="{052092DA-DBB9-4046-AA25-48B21D0170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9" y="3426"/>
                <a:ext cx="8" cy="11"/>
              </a:xfrm>
              <a:custGeom>
                <a:avLst/>
                <a:gdLst>
                  <a:gd name="T0" fmla="*/ 6 w 8"/>
                  <a:gd name="T1" fmla="*/ 2 h 11"/>
                  <a:gd name="T2" fmla="*/ 8 w 8"/>
                  <a:gd name="T3" fmla="*/ 4 h 11"/>
                  <a:gd name="T4" fmla="*/ 8 w 8"/>
                  <a:gd name="T5" fmla="*/ 11 h 11"/>
                  <a:gd name="T6" fmla="*/ 8 w 8"/>
                  <a:gd name="T7" fmla="*/ 4 h 11"/>
                  <a:gd name="T8" fmla="*/ 6 w 8"/>
                  <a:gd name="T9" fmla="*/ 2 h 11"/>
                  <a:gd name="T10" fmla="*/ 2 w 8"/>
                  <a:gd name="T11" fmla="*/ 0 h 11"/>
                  <a:gd name="T12" fmla="*/ 0 w 8"/>
                  <a:gd name="T13" fmla="*/ 0 h 11"/>
                  <a:gd name="T14" fmla="*/ 2 w 8"/>
                  <a:gd name="T15" fmla="*/ 0 h 11"/>
                  <a:gd name="T16" fmla="*/ 6 w 8"/>
                  <a:gd name="T17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1">
                    <a:moveTo>
                      <a:pt x="6" y="2"/>
                    </a:moveTo>
                    <a:lnTo>
                      <a:pt x="8" y="4"/>
                    </a:lnTo>
                    <a:lnTo>
                      <a:pt x="8" y="11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47" name="Freeform 345">
                <a:extLst>
                  <a:ext uri="{FF2B5EF4-FFF2-40B4-BE49-F238E27FC236}">
                    <a16:creationId xmlns:a16="http://schemas.microsoft.com/office/drawing/2014/main" id="{7D8E4459-2903-4AFB-BA00-1CEE0D799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8" y="3469"/>
                <a:ext cx="12" cy="15"/>
              </a:xfrm>
              <a:custGeom>
                <a:avLst/>
                <a:gdLst>
                  <a:gd name="T0" fmla="*/ 8 w 12"/>
                  <a:gd name="T1" fmla="*/ 5 h 15"/>
                  <a:gd name="T2" fmla="*/ 12 w 12"/>
                  <a:gd name="T3" fmla="*/ 0 h 15"/>
                  <a:gd name="T4" fmla="*/ 8 w 12"/>
                  <a:gd name="T5" fmla="*/ 5 h 15"/>
                  <a:gd name="T6" fmla="*/ 4 w 12"/>
                  <a:gd name="T7" fmla="*/ 11 h 15"/>
                  <a:gd name="T8" fmla="*/ 0 w 12"/>
                  <a:gd name="T9" fmla="*/ 15 h 15"/>
                  <a:gd name="T10" fmla="*/ 4 w 12"/>
                  <a:gd name="T11" fmla="*/ 11 h 15"/>
                  <a:gd name="T12" fmla="*/ 8 w 12"/>
                  <a:gd name="T13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5">
                    <a:moveTo>
                      <a:pt x="8" y="5"/>
                    </a:moveTo>
                    <a:lnTo>
                      <a:pt x="12" y="0"/>
                    </a:lnTo>
                    <a:lnTo>
                      <a:pt x="8" y="5"/>
                    </a:lnTo>
                    <a:lnTo>
                      <a:pt x="4" y="11"/>
                    </a:lnTo>
                    <a:lnTo>
                      <a:pt x="0" y="15"/>
                    </a:lnTo>
                    <a:lnTo>
                      <a:pt x="4" y="11"/>
                    </a:lnTo>
                    <a:lnTo>
                      <a:pt x="8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48" name="Rectangle 346">
                <a:extLst>
                  <a:ext uri="{FF2B5EF4-FFF2-40B4-BE49-F238E27FC236}">
                    <a16:creationId xmlns:a16="http://schemas.microsoft.com/office/drawing/2014/main" id="{15A327DC-BA63-49A2-80AE-18C3989F25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8" y="342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49" name="Freeform 347">
                <a:extLst>
                  <a:ext uri="{FF2B5EF4-FFF2-40B4-BE49-F238E27FC236}">
                    <a16:creationId xmlns:a16="http://schemas.microsoft.com/office/drawing/2014/main" id="{8F8DEB56-B4FE-4482-8C00-596FE06691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2895"/>
                <a:ext cx="2" cy="5"/>
              </a:xfrm>
              <a:custGeom>
                <a:avLst/>
                <a:gdLst>
                  <a:gd name="T0" fmla="*/ 0 w 2"/>
                  <a:gd name="T1" fmla="*/ 3 h 5"/>
                  <a:gd name="T2" fmla="*/ 0 w 2"/>
                  <a:gd name="T3" fmla="*/ 3 h 5"/>
                  <a:gd name="T4" fmla="*/ 0 w 2"/>
                  <a:gd name="T5" fmla="*/ 5 h 5"/>
                  <a:gd name="T6" fmla="*/ 0 w 2"/>
                  <a:gd name="T7" fmla="*/ 3 h 5"/>
                  <a:gd name="T8" fmla="*/ 0 w 2"/>
                  <a:gd name="T9" fmla="*/ 3 h 5"/>
                  <a:gd name="T10" fmla="*/ 0 w 2"/>
                  <a:gd name="T11" fmla="*/ 1 h 5"/>
                  <a:gd name="T12" fmla="*/ 2 w 2"/>
                  <a:gd name="T13" fmla="*/ 0 h 5"/>
                  <a:gd name="T14" fmla="*/ 0 w 2"/>
                  <a:gd name="T15" fmla="*/ 1 h 5"/>
                  <a:gd name="T16" fmla="*/ 0 w 2"/>
                  <a:gd name="T17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5">
                    <a:moveTo>
                      <a:pt x="0" y="3"/>
                    </a:moveTo>
                    <a:lnTo>
                      <a:pt x="0" y="3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50" name="Freeform 348">
                <a:extLst>
                  <a:ext uri="{FF2B5EF4-FFF2-40B4-BE49-F238E27FC236}">
                    <a16:creationId xmlns:a16="http://schemas.microsoft.com/office/drawing/2014/main" id="{31AC54FE-FD1C-4139-87A4-DCC23C6550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8" y="3412"/>
                <a:ext cx="6" cy="2"/>
              </a:xfrm>
              <a:custGeom>
                <a:avLst/>
                <a:gdLst>
                  <a:gd name="T0" fmla="*/ 4 w 6"/>
                  <a:gd name="T1" fmla="*/ 0 h 2"/>
                  <a:gd name="T2" fmla="*/ 6 w 6"/>
                  <a:gd name="T3" fmla="*/ 0 h 2"/>
                  <a:gd name="T4" fmla="*/ 4 w 6"/>
                  <a:gd name="T5" fmla="*/ 0 h 2"/>
                  <a:gd name="T6" fmla="*/ 2 w 6"/>
                  <a:gd name="T7" fmla="*/ 2 h 2"/>
                  <a:gd name="T8" fmla="*/ 0 w 6"/>
                  <a:gd name="T9" fmla="*/ 2 h 2"/>
                  <a:gd name="T10" fmla="*/ 2 w 6"/>
                  <a:gd name="T11" fmla="*/ 2 h 2"/>
                  <a:gd name="T12" fmla="*/ 4 w 6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4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51" name="Freeform 349">
                <a:extLst>
                  <a:ext uri="{FF2B5EF4-FFF2-40B4-BE49-F238E27FC236}">
                    <a16:creationId xmlns:a16="http://schemas.microsoft.com/office/drawing/2014/main" id="{A9831517-2B4F-4546-AEDC-B2D958776F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8" y="2908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2 w 6"/>
                  <a:gd name="T3" fmla="*/ 4 h 6"/>
                  <a:gd name="T4" fmla="*/ 6 w 6"/>
                  <a:gd name="T5" fmla="*/ 0 h 6"/>
                  <a:gd name="T6" fmla="*/ 6 w 6"/>
                  <a:gd name="T7" fmla="*/ 0 h 6"/>
                  <a:gd name="T8" fmla="*/ 2 w 6"/>
                  <a:gd name="T9" fmla="*/ 4 h 6"/>
                  <a:gd name="T10" fmla="*/ 0 w 6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2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52" name="Freeform 350">
                <a:extLst>
                  <a:ext uri="{FF2B5EF4-FFF2-40B4-BE49-F238E27FC236}">
                    <a16:creationId xmlns:a16="http://schemas.microsoft.com/office/drawing/2014/main" id="{3F0DBEC7-626F-4162-96EA-4CAD7A3F4B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1" y="2869"/>
                <a:ext cx="17" cy="10"/>
              </a:xfrm>
              <a:custGeom>
                <a:avLst/>
                <a:gdLst>
                  <a:gd name="T0" fmla="*/ 1 w 17"/>
                  <a:gd name="T1" fmla="*/ 6 h 10"/>
                  <a:gd name="T2" fmla="*/ 3 w 17"/>
                  <a:gd name="T3" fmla="*/ 4 h 10"/>
                  <a:gd name="T4" fmla="*/ 5 w 17"/>
                  <a:gd name="T5" fmla="*/ 0 h 10"/>
                  <a:gd name="T6" fmla="*/ 7 w 17"/>
                  <a:gd name="T7" fmla="*/ 0 h 10"/>
                  <a:gd name="T8" fmla="*/ 13 w 17"/>
                  <a:gd name="T9" fmla="*/ 0 h 10"/>
                  <a:gd name="T10" fmla="*/ 17 w 17"/>
                  <a:gd name="T11" fmla="*/ 2 h 10"/>
                  <a:gd name="T12" fmla="*/ 13 w 17"/>
                  <a:gd name="T13" fmla="*/ 0 h 10"/>
                  <a:gd name="T14" fmla="*/ 7 w 17"/>
                  <a:gd name="T15" fmla="*/ 0 h 10"/>
                  <a:gd name="T16" fmla="*/ 5 w 17"/>
                  <a:gd name="T17" fmla="*/ 0 h 10"/>
                  <a:gd name="T18" fmla="*/ 3 w 17"/>
                  <a:gd name="T19" fmla="*/ 4 h 10"/>
                  <a:gd name="T20" fmla="*/ 1 w 17"/>
                  <a:gd name="T21" fmla="*/ 6 h 10"/>
                  <a:gd name="T22" fmla="*/ 0 w 17"/>
                  <a:gd name="T23" fmla="*/ 10 h 10"/>
                  <a:gd name="T24" fmla="*/ 0 w 17"/>
                  <a:gd name="T25" fmla="*/ 10 h 10"/>
                  <a:gd name="T26" fmla="*/ 0 w 17"/>
                  <a:gd name="T27" fmla="*/ 10 h 10"/>
                  <a:gd name="T28" fmla="*/ 1 w 17"/>
                  <a:gd name="T2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10">
                    <a:moveTo>
                      <a:pt x="1" y="6"/>
                    </a:moveTo>
                    <a:lnTo>
                      <a:pt x="3" y="4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7" y="2"/>
                    </a:lnTo>
                    <a:lnTo>
                      <a:pt x="13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3" y="4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1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53" name="Freeform 351">
                <a:extLst>
                  <a:ext uri="{FF2B5EF4-FFF2-40B4-BE49-F238E27FC236}">
                    <a16:creationId xmlns:a16="http://schemas.microsoft.com/office/drawing/2014/main" id="{B4132BE6-6DC4-4C1F-9077-3F837525EE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2" y="3416"/>
                <a:ext cx="4" cy="8"/>
              </a:xfrm>
              <a:custGeom>
                <a:avLst/>
                <a:gdLst>
                  <a:gd name="T0" fmla="*/ 2 w 4"/>
                  <a:gd name="T1" fmla="*/ 2 h 8"/>
                  <a:gd name="T2" fmla="*/ 4 w 4"/>
                  <a:gd name="T3" fmla="*/ 0 h 8"/>
                  <a:gd name="T4" fmla="*/ 2 w 4"/>
                  <a:gd name="T5" fmla="*/ 2 h 8"/>
                  <a:gd name="T6" fmla="*/ 2 w 4"/>
                  <a:gd name="T7" fmla="*/ 4 h 8"/>
                  <a:gd name="T8" fmla="*/ 0 w 4"/>
                  <a:gd name="T9" fmla="*/ 8 h 8"/>
                  <a:gd name="T10" fmla="*/ 2 w 4"/>
                  <a:gd name="T11" fmla="*/ 4 h 8"/>
                  <a:gd name="T12" fmla="*/ 2 w 4"/>
                  <a:gd name="T1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2" y="2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54" name="Rectangle 352">
                <a:extLst>
                  <a:ext uri="{FF2B5EF4-FFF2-40B4-BE49-F238E27FC236}">
                    <a16:creationId xmlns:a16="http://schemas.microsoft.com/office/drawing/2014/main" id="{CC8FE064-CAD3-4C07-BDD7-FF627E1E7B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05" y="350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55" name="Freeform 353">
                <a:extLst>
                  <a:ext uri="{FF2B5EF4-FFF2-40B4-BE49-F238E27FC236}">
                    <a16:creationId xmlns:a16="http://schemas.microsoft.com/office/drawing/2014/main" id="{0C43AD0F-434E-4FEF-BE37-BB35A3BE85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9" y="2982"/>
                <a:ext cx="8" cy="4"/>
              </a:xfrm>
              <a:custGeom>
                <a:avLst/>
                <a:gdLst>
                  <a:gd name="T0" fmla="*/ 2 w 8"/>
                  <a:gd name="T1" fmla="*/ 0 h 4"/>
                  <a:gd name="T2" fmla="*/ 4 w 8"/>
                  <a:gd name="T3" fmla="*/ 0 h 4"/>
                  <a:gd name="T4" fmla="*/ 4 w 8"/>
                  <a:gd name="T5" fmla="*/ 2 h 4"/>
                  <a:gd name="T6" fmla="*/ 6 w 8"/>
                  <a:gd name="T7" fmla="*/ 4 h 4"/>
                  <a:gd name="T8" fmla="*/ 8 w 8"/>
                  <a:gd name="T9" fmla="*/ 4 h 4"/>
                  <a:gd name="T10" fmla="*/ 6 w 8"/>
                  <a:gd name="T11" fmla="*/ 4 h 4"/>
                  <a:gd name="T12" fmla="*/ 4 w 8"/>
                  <a:gd name="T13" fmla="*/ 2 h 4"/>
                  <a:gd name="T14" fmla="*/ 4 w 8"/>
                  <a:gd name="T15" fmla="*/ 0 h 4"/>
                  <a:gd name="T16" fmla="*/ 2 w 8"/>
                  <a:gd name="T17" fmla="*/ 0 h 4"/>
                  <a:gd name="T18" fmla="*/ 0 w 8"/>
                  <a:gd name="T19" fmla="*/ 0 h 4"/>
                  <a:gd name="T20" fmla="*/ 0 w 8"/>
                  <a:gd name="T21" fmla="*/ 0 h 4"/>
                  <a:gd name="T22" fmla="*/ 0 w 8"/>
                  <a:gd name="T23" fmla="*/ 0 h 4"/>
                  <a:gd name="T24" fmla="*/ 2 w 8"/>
                  <a:gd name="T2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4">
                    <a:moveTo>
                      <a:pt x="2" y="0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56" name="Freeform 354">
                <a:extLst>
                  <a:ext uri="{FF2B5EF4-FFF2-40B4-BE49-F238E27FC236}">
                    <a16:creationId xmlns:a16="http://schemas.microsoft.com/office/drawing/2014/main" id="{22D0E21E-5B2F-4FA8-A834-1D5C7C550F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8" y="3502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2 h 4"/>
                  <a:gd name="T4" fmla="*/ 0 w 2"/>
                  <a:gd name="T5" fmla="*/ 0 h 4"/>
                  <a:gd name="T6" fmla="*/ 2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57" name="Rectangle 355">
                <a:extLst>
                  <a:ext uri="{FF2B5EF4-FFF2-40B4-BE49-F238E27FC236}">
                    <a16:creationId xmlns:a16="http://schemas.microsoft.com/office/drawing/2014/main" id="{C798F532-5CC5-4D43-97C9-AE53E5BE93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7" y="298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58" name="Freeform 356">
                <a:extLst>
                  <a:ext uri="{FF2B5EF4-FFF2-40B4-BE49-F238E27FC236}">
                    <a16:creationId xmlns:a16="http://schemas.microsoft.com/office/drawing/2014/main" id="{AE59AAC5-2FFE-493B-A19A-2AE99D63B5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0" y="3512"/>
                <a:ext cx="20" cy="7"/>
              </a:xfrm>
              <a:custGeom>
                <a:avLst/>
                <a:gdLst>
                  <a:gd name="T0" fmla="*/ 10 w 20"/>
                  <a:gd name="T1" fmla="*/ 5 h 7"/>
                  <a:gd name="T2" fmla="*/ 12 w 20"/>
                  <a:gd name="T3" fmla="*/ 7 h 7"/>
                  <a:gd name="T4" fmla="*/ 16 w 20"/>
                  <a:gd name="T5" fmla="*/ 5 h 7"/>
                  <a:gd name="T6" fmla="*/ 20 w 20"/>
                  <a:gd name="T7" fmla="*/ 3 h 7"/>
                  <a:gd name="T8" fmla="*/ 16 w 20"/>
                  <a:gd name="T9" fmla="*/ 5 h 7"/>
                  <a:gd name="T10" fmla="*/ 12 w 20"/>
                  <a:gd name="T11" fmla="*/ 7 h 7"/>
                  <a:gd name="T12" fmla="*/ 10 w 20"/>
                  <a:gd name="T13" fmla="*/ 5 h 7"/>
                  <a:gd name="T14" fmla="*/ 2 w 20"/>
                  <a:gd name="T15" fmla="*/ 0 h 7"/>
                  <a:gd name="T16" fmla="*/ 0 w 20"/>
                  <a:gd name="T17" fmla="*/ 0 h 7"/>
                  <a:gd name="T18" fmla="*/ 2 w 20"/>
                  <a:gd name="T19" fmla="*/ 0 h 7"/>
                  <a:gd name="T20" fmla="*/ 10 w 20"/>
                  <a:gd name="T21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7">
                    <a:moveTo>
                      <a:pt x="10" y="5"/>
                    </a:moveTo>
                    <a:lnTo>
                      <a:pt x="12" y="7"/>
                    </a:lnTo>
                    <a:lnTo>
                      <a:pt x="16" y="5"/>
                    </a:lnTo>
                    <a:lnTo>
                      <a:pt x="20" y="3"/>
                    </a:lnTo>
                    <a:lnTo>
                      <a:pt x="16" y="5"/>
                    </a:lnTo>
                    <a:lnTo>
                      <a:pt x="12" y="7"/>
                    </a:lnTo>
                    <a:lnTo>
                      <a:pt x="10" y="5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10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59" name="Freeform 357">
                <a:extLst>
                  <a:ext uri="{FF2B5EF4-FFF2-40B4-BE49-F238E27FC236}">
                    <a16:creationId xmlns:a16="http://schemas.microsoft.com/office/drawing/2014/main" id="{7BB6DCB7-C8DA-4C20-83C4-94F1EFA1F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4" y="2992"/>
                <a:ext cx="4" cy="0"/>
              </a:xfrm>
              <a:custGeom>
                <a:avLst/>
                <a:gdLst>
                  <a:gd name="T0" fmla="*/ 2 w 4"/>
                  <a:gd name="T1" fmla="*/ 4 w 4"/>
                  <a:gd name="T2" fmla="*/ 2 w 4"/>
                  <a:gd name="T3" fmla="*/ 0 w 4"/>
                  <a:gd name="T4" fmla="*/ 0 w 4"/>
                  <a:gd name="T5" fmla="*/ 0 w 4"/>
                  <a:gd name="T6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60" name="Freeform 358">
                <a:extLst>
                  <a:ext uri="{FF2B5EF4-FFF2-40B4-BE49-F238E27FC236}">
                    <a16:creationId xmlns:a16="http://schemas.microsoft.com/office/drawing/2014/main" id="{2D1C8D98-59BF-420F-95ED-84C21DB450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4" y="2986"/>
                <a:ext cx="5" cy="0"/>
              </a:xfrm>
              <a:custGeom>
                <a:avLst/>
                <a:gdLst>
                  <a:gd name="T0" fmla="*/ 3 w 5"/>
                  <a:gd name="T1" fmla="*/ 5 w 5"/>
                  <a:gd name="T2" fmla="*/ 3 w 5"/>
                  <a:gd name="T3" fmla="*/ 0 w 5"/>
                  <a:gd name="T4" fmla="*/ 0 w 5"/>
                  <a:gd name="T5" fmla="*/ 0 w 5"/>
                  <a:gd name="T6" fmla="*/ 3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5">
                    <a:moveTo>
                      <a:pt x="3" y="0"/>
                    </a:moveTo>
                    <a:lnTo>
                      <a:pt x="5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61" name="Freeform 359">
                <a:extLst>
                  <a:ext uri="{FF2B5EF4-FFF2-40B4-BE49-F238E27FC236}">
                    <a16:creationId xmlns:a16="http://schemas.microsoft.com/office/drawing/2014/main" id="{2E7B2978-C8F7-41B8-BA4B-2BD9816EA2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0" y="3512"/>
                <a:ext cx="2" cy="1"/>
              </a:xfrm>
              <a:custGeom>
                <a:avLst/>
                <a:gdLst>
                  <a:gd name="T0" fmla="*/ 2 w 2"/>
                  <a:gd name="T1" fmla="*/ 1 h 1"/>
                  <a:gd name="T2" fmla="*/ 0 w 2"/>
                  <a:gd name="T3" fmla="*/ 1 h 1"/>
                  <a:gd name="T4" fmla="*/ 0 w 2"/>
                  <a:gd name="T5" fmla="*/ 0 h 1"/>
                  <a:gd name="T6" fmla="*/ 0 w 2"/>
                  <a:gd name="T7" fmla="*/ 1 h 1"/>
                  <a:gd name="T8" fmla="*/ 2 w 2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62" name="Freeform 360">
                <a:extLst>
                  <a:ext uri="{FF2B5EF4-FFF2-40B4-BE49-F238E27FC236}">
                    <a16:creationId xmlns:a16="http://schemas.microsoft.com/office/drawing/2014/main" id="{5C61F99E-C093-4ED8-8576-FBE5B2A8B7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0" y="3508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63" name="Freeform 361">
                <a:extLst>
                  <a:ext uri="{FF2B5EF4-FFF2-40B4-BE49-F238E27FC236}">
                    <a16:creationId xmlns:a16="http://schemas.microsoft.com/office/drawing/2014/main" id="{12E7F76F-31D3-41B4-A90D-891018C30F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7" y="2978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4 h 4"/>
                  <a:gd name="T4" fmla="*/ 2 w 2"/>
                  <a:gd name="T5" fmla="*/ 4 h 4"/>
                  <a:gd name="T6" fmla="*/ 2 w 2"/>
                  <a:gd name="T7" fmla="*/ 4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64" name="Freeform 362">
                <a:extLst>
                  <a:ext uri="{FF2B5EF4-FFF2-40B4-BE49-F238E27FC236}">
                    <a16:creationId xmlns:a16="http://schemas.microsoft.com/office/drawing/2014/main" id="{6B593BBA-0443-4B60-B456-1FF038FCBF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" y="2930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0 h 2"/>
                  <a:gd name="T4" fmla="*/ 0 w 4"/>
                  <a:gd name="T5" fmla="*/ 2 h 2"/>
                  <a:gd name="T6" fmla="*/ 2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65" name="Freeform 363">
                <a:extLst>
                  <a:ext uri="{FF2B5EF4-FFF2-40B4-BE49-F238E27FC236}">
                    <a16:creationId xmlns:a16="http://schemas.microsoft.com/office/drawing/2014/main" id="{D826267E-8BCB-4006-A482-7A871F1723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7" y="3496"/>
                <a:ext cx="12" cy="4"/>
              </a:xfrm>
              <a:custGeom>
                <a:avLst/>
                <a:gdLst>
                  <a:gd name="T0" fmla="*/ 12 w 12"/>
                  <a:gd name="T1" fmla="*/ 0 h 4"/>
                  <a:gd name="T2" fmla="*/ 2 w 12"/>
                  <a:gd name="T3" fmla="*/ 2 h 4"/>
                  <a:gd name="T4" fmla="*/ 0 w 12"/>
                  <a:gd name="T5" fmla="*/ 4 h 4"/>
                  <a:gd name="T6" fmla="*/ 0 w 12"/>
                  <a:gd name="T7" fmla="*/ 4 h 4"/>
                  <a:gd name="T8" fmla="*/ 2 w 12"/>
                  <a:gd name="T9" fmla="*/ 2 h 4"/>
                  <a:gd name="T10" fmla="*/ 12 w 1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4">
                    <a:moveTo>
                      <a:pt x="1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66" name="Freeform 364">
                <a:extLst>
                  <a:ext uri="{FF2B5EF4-FFF2-40B4-BE49-F238E27FC236}">
                    <a16:creationId xmlns:a16="http://schemas.microsoft.com/office/drawing/2014/main" id="{8E349A3A-2AF9-4D0D-ADF1-977A275747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" y="2939"/>
                <a:ext cx="10" cy="20"/>
              </a:xfrm>
              <a:custGeom>
                <a:avLst/>
                <a:gdLst>
                  <a:gd name="T0" fmla="*/ 6 w 10"/>
                  <a:gd name="T1" fmla="*/ 14 h 20"/>
                  <a:gd name="T2" fmla="*/ 6 w 10"/>
                  <a:gd name="T3" fmla="*/ 10 h 20"/>
                  <a:gd name="T4" fmla="*/ 4 w 10"/>
                  <a:gd name="T5" fmla="*/ 4 h 20"/>
                  <a:gd name="T6" fmla="*/ 0 w 10"/>
                  <a:gd name="T7" fmla="*/ 0 h 20"/>
                  <a:gd name="T8" fmla="*/ 4 w 10"/>
                  <a:gd name="T9" fmla="*/ 4 h 20"/>
                  <a:gd name="T10" fmla="*/ 6 w 10"/>
                  <a:gd name="T11" fmla="*/ 10 h 20"/>
                  <a:gd name="T12" fmla="*/ 6 w 10"/>
                  <a:gd name="T13" fmla="*/ 14 h 20"/>
                  <a:gd name="T14" fmla="*/ 8 w 10"/>
                  <a:gd name="T15" fmla="*/ 20 h 20"/>
                  <a:gd name="T16" fmla="*/ 10 w 10"/>
                  <a:gd name="T17" fmla="*/ 20 h 20"/>
                  <a:gd name="T18" fmla="*/ 8 w 10"/>
                  <a:gd name="T19" fmla="*/ 20 h 20"/>
                  <a:gd name="T20" fmla="*/ 6 w 10"/>
                  <a:gd name="T21" fmla="*/ 1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20">
                    <a:moveTo>
                      <a:pt x="6" y="14"/>
                    </a:moveTo>
                    <a:lnTo>
                      <a:pt x="6" y="10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6" y="10"/>
                    </a:lnTo>
                    <a:lnTo>
                      <a:pt x="6" y="14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8" y="20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67" name="Freeform 365">
                <a:extLst>
                  <a:ext uri="{FF2B5EF4-FFF2-40B4-BE49-F238E27FC236}">
                    <a16:creationId xmlns:a16="http://schemas.microsoft.com/office/drawing/2014/main" id="{8FEA8386-7E7B-42F5-BC1D-095DF31447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8" y="295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68" name="Freeform 366">
                <a:extLst>
                  <a:ext uri="{FF2B5EF4-FFF2-40B4-BE49-F238E27FC236}">
                    <a16:creationId xmlns:a16="http://schemas.microsoft.com/office/drawing/2014/main" id="{BD206D61-9006-4CFA-B83E-033A809269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" y="3494"/>
                <a:ext cx="6" cy="4"/>
              </a:xfrm>
              <a:custGeom>
                <a:avLst/>
                <a:gdLst>
                  <a:gd name="T0" fmla="*/ 2 w 6"/>
                  <a:gd name="T1" fmla="*/ 0 h 4"/>
                  <a:gd name="T2" fmla="*/ 4 w 6"/>
                  <a:gd name="T3" fmla="*/ 2 h 4"/>
                  <a:gd name="T4" fmla="*/ 6 w 6"/>
                  <a:gd name="T5" fmla="*/ 4 h 4"/>
                  <a:gd name="T6" fmla="*/ 4 w 6"/>
                  <a:gd name="T7" fmla="*/ 2 h 4"/>
                  <a:gd name="T8" fmla="*/ 2 w 6"/>
                  <a:gd name="T9" fmla="*/ 0 h 4"/>
                  <a:gd name="T10" fmla="*/ 0 w 6"/>
                  <a:gd name="T11" fmla="*/ 0 h 4"/>
                  <a:gd name="T12" fmla="*/ 0 w 6"/>
                  <a:gd name="T13" fmla="*/ 0 h 4"/>
                  <a:gd name="T14" fmla="*/ 0 w 6"/>
                  <a:gd name="T15" fmla="*/ 0 h 4"/>
                  <a:gd name="T16" fmla="*/ 2 w 6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4">
                    <a:moveTo>
                      <a:pt x="2" y="0"/>
                    </a:moveTo>
                    <a:lnTo>
                      <a:pt x="4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69" name="Freeform 367">
                <a:extLst>
                  <a:ext uri="{FF2B5EF4-FFF2-40B4-BE49-F238E27FC236}">
                    <a16:creationId xmlns:a16="http://schemas.microsoft.com/office/drawing/2014/main" id="{DBBE7357-9AB2-4240-B79D-7319F3430F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5" y="3160"/>
                <a:ext cx="2" cy="4"/>
              </a:xfrm>
              <a:custGeom>
                <a:avLst/>
                <a:gdLst>
                  <a:gd name="T0" fmla="*/ 0 w 2"/>
                  <a:gd name="T1" fmla="*/ 2 h 4"/>
                  <a:gd name="T2" fmla="*/ 0 w 2"/>
                  <a:gd name="T3" fmla="*/ 0 h 4"/>
                  <a:gd name="T4" fmla="*/ 0 w 2"/>
                  <a:gd name="T5" fmla="*/ 2 h 4"/>
                  <a:gd name="T6" fmla="*/ 2 w 2"/>
                  <a:gd name="T7" fmla="*/ 4 h 4"/>
                  <a:gd name="T8" fmla="*/ 2 w 2"/>
                  <a:gd name="T9" fmla="*/ 4 h 4"/>
                  <a:gd name="T10" fmla="*/ 2 w 2"/>
                  <a:gd name="T11" fmla="*/ 4 h 4"/>
                  <a:gd name="T12" fmla="*/ 0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70" name="Freeform 368">
                <a:extLst>
                  <a:ext uri="{FF2B5EF4-FFF2-40B4-BE49-F238E27FC236}">
                    <a16:creationId xmlns:a16="http://schemas.microsoft.com/office/drawing/2014/main" id="{BBFA6086-9127-4940-BD3D-B6C84A3416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7" y="2988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0 h 2"/>
                  <a:gd name="T4" fmla="*/ 0 w 2"/>
                  <a:gd name="T5" fmla="*/ 0 h 2"/>
                  <a:gd name="T6" fmla="*/ 2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71" name="Freeform 369">
                <a:extLst>
                  <a:ext uri="{FF2B5EF4-FFF2-40B4-BE49-F238E27FC236}">
                    <a16:creationId xmlns:a16="http://schemas.microsoft.com/office/drawing/2014/main" id="{CDD3A4F2-1350-4C18-B4BA-49ADFE025C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3" y="3002"/>
                <a:ext cx="2" cy="6"/>
              </a:xfrm>
              <a:custGeom>
                <a:avLst/>
                <a:gdLst>
                  <a:gd name="T0" fmla="*/ 2 w 2"/>
                  <a:gd name="T1" fmla="*/ 6 h 6"/>
                  <a:gd name="T2" fmla="*/ 0 w 2"/>
                  <a:gd name="T3" fmla="*/ 4 h 6"/>
                  <a:gd name="T4" fmla="*/ 0 w 2"/>
                  <a:gd name="T5" fmla="*/ 0 h 6"/>
                  <a:gd name="T6" fmla="*/ 0 w 2"/>
                  <a:gd name="T7" fmla="*/ 4 h 6"/>
                  <a:gd name="T8" fmla="*/ 2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72" name="Freeform 370">
                <a:extLst>
                  <a:ext uri="{FF2B5EF4-FFF2-40B4-BE49-F238E27FC236}">
                    <a16:creationId xmlns:a16="http://schemas.microsoft.com/office/drawing/2014/main" id="{D8267046-EEBF-4509-A202-0300E8E4C2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3" y="3488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2 h 2"/>
                  <a:gd name="T4" fmla="*/ 0 w 4"/>
                  <a:gd name="T5" fmla="*/ 0 h 2"/>
                  <a:gd name="T6" fmla="*/ 2 w 4"/>
                  <a:gd name="T7" fmla="*/ 2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73" name="Freeform 371">
                <a:extLst>
                  <a:ext uri="{FF2B5EF4-FFF2-40B4-BE49-F238E27FC236}">
                    <a16:creationId xmlns:a16="http://schemas.microsoft.com/office/drawing/2014/main" id="{B226D199-4478-41A9-BCAA-9BB33ABF1F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3" y="3484"/>
                <a:ext cx="3" cy="2"/>
              </a:xfrm>
              <a:custGeom>
                <a:avLst/>
                <a:gdLst>
                  <a:gd name="T0" fmla="*/ 3 w 3"/>
                  <a:gd name="T1" fmla="*/ 0 h 2"/>
                  <a:gd name="T2" fmla="*/ 1 w 3"/>
                  <a:gd name="T3" fmla="*/ 0 h 2"/>
                  <a:gd name="T4" fmla="*/ 0 w 3"/>
                  <a:gd name="T5" fmla="*/ 2 h 2"/>
                  <a:gd name="T6" fmla="*/ 1 w 3"/>
                  <a:gd name="T7" fmla="*/ 0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74" name="Freeform 372">
                <a:extLst>
                  <a:ext uri="{FF2B5EF4-FFF2-40B4-BE49-F238E27FC236}">
                    <a16:creationId xmlns:a16="http://schemas.microsoft.com/office/drawing/2014/main" id="{41A864F5-0478-422B-9FA6-E1401EA2E7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8" y="3484"/>
                <a:ext cx="10" cy="4"/>
              </a:xfrm>
              <a:custGeom>
                <a:avLst/>
                <a:gdLst>
                  <a:gd name="T0" fmla="*/ 4 w 10"/>
                  <a:gd name="T1" fmla="*/ 2 h 4"/>
                  <a:gd name="T2" fmla="*/ 6 w 10"/>
                  <a:gd name="T3" fmla="*/ 4 h 4"/>
                  <a:gd name="T4" fmla="*/ 10 w 10"/>
                  <a:gd name="T5" fmla="*/ 2 h 4"/>
                  <a:gd name="T6" fmla="*/ 10 w 10"/>
                  <a:gd name="T7" fmla="*/ 2 h 4"/>
                  <a:gd name="T8" fmla="*/ 6 w 10"/>
                  <a:gd name="T9" fmla="*/ 4 h 4"/>
                  <a:gd name="T10" fmla="*/ 4 w 10"/>
                  <a:gd name="T11" fmla="*/ 2 h 4"/>
                  <a:gd name="T12" fmla="*/ 2 w 10"/>
                  <a:gd name="T13" fmla="*/ 0 h 4"/>
                  <a:gd name="T14" fmla="*/ 0 w 10"/>
                  <a:gd name="T15" fmla="*/ 0 h 4"/>
                  <a:gd name="T16" fmla="*/ 2 w 10"/>
                  <a:gd name="T17" fmla="*/ 0 h 4"/>
                  <a:gd name="T18" fmla="*/ 4 w 10"/>
                  <a:gd name="T1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4">
                    <a:moveTo>
                      <a:pt x="4" y="2"/>
                    </a:moveTo>
                    <a:lnTo>
                      <a:pt x="6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75" name="Freeform 373">
                <a:extLst>
                  <a:ext uri="{FF2B5EF4-FFF2-40B4-BE49-F238E27FC236}">
                    <a16:creationId xmlns:a16="http://schemas.microsoft.com/office/drawing/2014/main" id="{96AF751D-2FE1-41C6-B808-E3C20FDE6A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7" y="2973"/>
                <a:ext cx="4" cy="5"/>
              </a:xfrm>
              <a:custGeom>
                <a:avLst/>
                <a:gdLst>
                  <a:gd name="T0" fmla="*/ 4 w 4"/>
                  <a:gd name="T1" fmla="*/ 5 h 5"/>
                  <a:gd name="T2" fmla="*/ 2 w 4"/>
                  <a:gd name="T3" fmla="*/ 4 h 5"/>
                  <a:gd name="T4" fmla="*/ 0 w 4"/>
                  <a:gd name="T5" fmla="*/ 0 h 5"/>
                  <a:gd name="T6" fmla="*/ 2 w 4"/>
                  <a:gd name="T7" fmla="*/ 4 h 5"/>
                  <a:gd name="T8" fmla="*/ 4 w 4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76" name="Freeform 374">
                <a:extLst>
                  <a:ext uri="{FF2B5EF4-FFF2-40B4-BE49-F238E27FC236}">
                    <a16:creationId xmlns:a16="http://schemas.microsoft.com/office/drawing/2014/main" id="{6BD488F1-B352-4CFD-9011-220D0611B5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9" y="3490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77" name="Freeform 375">
                <a:extLst>
                  <a:ext uri="{FF2B5EF4-FFF2-40B4-BE49-F238E27FC236}">
                    <a16:creationId xmlns:a16="http://schemas.microsoft.com/office/drawing/2014/main" id="{E9DEE7F6-8E12-4AB0-9D54-4A728EEE6C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3" y="3447"/>
                <a:ext cx="10" cy="16"/>
              </a:xfrm>
              <a:custGeom>
                <a:avLst/>
                <a:gdLst>
                  <a:gd name="T0" fmla="*/ 10 w 10"/>
                  <a:gd name="T1" fmla="*/ 16 h 16"/>
                  <a:gd name="T2" fmla="*/ 6 w 10"/>
                  <a:gd name="T3" fmla="*/ 10 h 16"/>
                  <a:gd name="T4" fmla="*/ 0 w 10"/>
                  <a:gd name="T5" fmla="*/ 0 h 16"/>
                  <a:gd name="T6" fmla="*/ 6 w 10"/>
                  <a:gd name="T7" fmla="*/ 10 h 16"/>
                  <a:gd name="T8" fmla="*/ 10 w 10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6">
                    <a:moveTo>
                      <a:pt x="10" y="16"/>
                    </a:moveTo>
                    <a:lnTo>
                      <a:pt x="6" y="10"/>
                    </a:lnTo>
                    <a:lnTo>
                      <a:pt x="0" y="0"/>
                    </a:lnTo>
                    <a:lnTo>
                      <a:pt x="6" y="10"/>
                    </a:lnTo>
                    <a:lnTo>
                      <a:pt x="10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78" name="Freeform 376">
                <a:extLst>
                  <a:ext uri="{FF2B5EF4-FFF2-40B4-BE49-F238E27FC236}">
                    <a16:creationId xmlns:a16="http://schemas.microsoft.com/office/drawing/2014/main" id="{27AE0E5C-C5E4-4D32-8BC2-59A10D7691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3004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79" name="Freeform 377">
                <a:extLst>
                  <a:ext uri="{FF2B5EF4-FFF2-40B4-BE49-F238E27FC236}">
                    <a16:creationId xmlns:a16="http://schemas.microsoft.com/office/drawing/2014/main" id="{2B12CE65-B915-4F0F-A8EC-D3D1E129F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6" y="3010"/>
                <a:ext cx="8" cy="8"/>
              </a:xfrm>
              <a:custGeom>
                <a:avLst/>
                <a:gdLst>
                  <a:gd name="T0" fmla="*/ 6 w 8"/>
                  <a:gd name="T1" fmla="*/ 0 h 8"/>
                  <a:gd name="T2" fmla="*/ 8 w 8"/>
                  <a:gd name="T3" fmla="*/ 0 h 8"/>
                  <a:gd name="T4" fmla="*/ 6 w 8"/>
                  <a:gd name="T5" fmla="*/ 0 h 8"/>
                  <a:gd name="T6" fmla="*/ 0 w 8"/>
                  <a:gd name="T7" fmla="*/ 8 h 8"/>
                  <a:gd name="T8" fmla="*/ 0 w 8"/>
                  <a:gd name="T9" fmla="*/ 8 h 8"/>
                  <a:gd name="T10" fmla="*/ 0 w 8"/>
                  <a:gd name="T11" fmla="*/ 8 h 8"/>
                  <a:gd name="T12" fmla="*/ 6 w 8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6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80" name="Freeform 378">
                <a:extLst>
                  <a:ext uri="{FF2B5EF4-FFF2-40B4-BE49-F238E27FC236}">
                    <a16:creationId xmlns:a16="http://schemas.microsoft.com/office/drawing/2014/main" id="{3ABDD43A-9DCA-4F6A-99E1-52A8F2CF3B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9" y="3012"/>
                <a:ext cx="10" cy="6"/>
              </a:xfrm>
              <a:custGeom>
                <a:avLst/>
                <a:gdLst>
                  <a:gd name="T0" fmla="*/ 10 w 10"/>
                  <a:gd name="T1" fmla="*/ 6 h 6"/>
                  <a:gd name="T2" fmla="*/ 4 w 10"/>
                  <a:gd name="T3" fmla="*/ 2 h 6"/>
                  <a:gd name="T4" fmla="*/ 0 w 10"/>
                  <a:gd name="T5" fmla="*/ 0 h 6"/>
                  <a:gd name="T6" fmla="*/ 4 w 10"/>
                  <a:gd name="T7" fmla="*/ 2 h 6"/>
                  <a:gd name="T8" fmla="*/ 10 w 10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6">
                    <a:moveTo>
                      <a:pt x="10" y="6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81" name="Freeform 379">
                <a:extLst>
                  <a:ext uri="{FF2B5EF4-FFF2-40B4-BE49-F238E27FC236}">
                    <a16:creationId xmlns:a16="http://schemas.microsoft.com/office/drawing/2014/main" id="{9CA8A75C-A181-4115-BA52-A3A27FF12D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0" y="2994"/>
                <a:ext cx="6" cy="6"/>
              </a:xfrm>
              <a:custGeom>
                <a:avLst/>
                <a:gdLst>
                  <a:gd name="T0" fmla="*/ 6 w 6"/>
                  <a:gd name="T1" fmla="*/ 0 h 6"/>
                  <a:gd name="T2" fmla="*/ 2 w 6"/>
                  <a:gd name="T3" fmla="*/ 2 h 6"/>
                  <a:gd name="T4" fmla="*/ 0 w 6"/>
                  <a:gd name="T5" fmla="*/ 6 h 6"/>
                  <a:gd name="T6" fmla="*/ 2 w 6"/>
                  <a:gd name="T7" fmla="*/ 2 h 6"/>
                  <a:gd name="T8" fmla="*/ 6 w 6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lnTo>
                      <a:pt x="2" y="2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82" name="Freeform 380">
                <a:extLst>
                  <a:ext uri="{FF2B5EF4-FFF2-40B4-BE49-F238E27FC236}">
                    <a16:creationId xmlns:a16="http://schemas.microsoft.com/office/drawing/2014/main" id="{D95152FE-78C7-4A8B-ADD0-04F034159F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1" y="351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83" name="Freeform 381">
                <a:extLst>
                  <a:ext uri="{FF2B5EF4-FFF2-40B4-BE49-F238E27FC236}">
                    <a16:creationId xmlns:a16="http://schemas.microsoft.com/office/drawing/2014/main" id="{79F1C49F-FCD3-4A25-88AB-A9D28584B7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7" y="2814"/>
                <a:ext cx="15" cy="14"/>
              </a:xfrm>
              <a:custGeom>
                <a:avLst/>
                <a:gdLst>
                  <a:gd name="T0" fmla="*/ 0 w 15"/>
                  <a:gd name="T1" fmla="*/ 4 h 14"/>
                  <a:gd name="T2" fmla="*/ 0 w 15"/>
                  <a:gd name="T3" fmla="*/ 6 h 14"/>
                  <a:gd name="T4" fmla="*/ 6 w 15"/>
                  <a:gd name="T5" fmla="*/ 8 h 14"/>
                  <a:gd name="T6" fmla="*/ 8 w 15"/>
                  <a:gd name="T7" fmla="*/ 10 h 14"/>
                  <a:gd name="T8" fmla="*/ 15 w 15"/>
                  <a:gd name="T9" fmla="*/ 14 h 14"/>
                  <a:gd name="T10" fmla="*/ 8 w 15"/>
                  <a:gd name="T11" fmla="*/ 10 h 14"/>
                  <a:gd name="T12" fmla="*/ 6 w 15"/>
                  <a:gd name="T13" fmla="*/ 8 h 14"/>
                  <a:gd name="T14" fmla="*/ 0 w 15"/>
                  <a:gd name="T15" fmla="*/ 6 h 14"/>
                  <a:gd name="T16" fmla="*/ 0 w 15"/>
                  <a:gd name="T17" fmla="*/ 4 h 14"/>
                  <a:gd name="T18" fmla="*/ 0 w 15"/>
                  <a:gd name="T19" fmla="*/ 0 h 14"/>
                  <a:gd name="T20" fmla="*/ 0 w 15"/>
                  <a:gd name="T21" fmla="*/ 0 h 14"/>
                  <a:gd name="T22" fmla="*/ 0 w 15"/>
                  <a:gd name="T23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4">
                    <a:moveTo>
                      <a:pt x="0" y="4"/>
                    </a:moveTo>
                    <a:lnTo>
                      <a:pt x="0" y="6"/>
                    </a:lnTo>
                    <a:lnTo>
                      <a:pt x="6" y="8"/>
                    </a:lnTo>
                    <a:lnTo>
                      <a:pt x="8" y="10"/>
                    </a:lnTo>
                    <a:lnTo>
                      <a:pt x="15" y="14"/>
                    </a:lnTo>
                    <a:lnTo>
                      <a:pt x="8" y="10"/>
                    </a:lnTo>
                    <a:lnTo>
                      <a:pt x="6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84" name="Freeform 382">
                <a:extLst>
                  <a:ext uri="{FF2B5EF4-FFF2-40B4-BE49-F238E27FC236}">
                    <a16:creationId xmlns:a16="http://schemas.microsoft.com/office/drawing/2014/main" id="{9605CF75-3E39-48D8-8AE4-19B9F92311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4" y="2865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85" name="Freeform 383">
                <a:extLst>
                  <a:ext uri="{FF2B5EF4-FFF2-40B4-BE49-F238E27FC236}">
                    <a16:creationId xmlns:a16="http://schemas.microsoft.com/office/drawing/2014/main" id="{87B010E9-6EBD-425C-AB70-33AEEC3505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805"/>
                <a:ext cx="0" cy="4"/>
              </a:xfrm>
              <a:custGeom>
                <a:avLst/>
                <a:gdLst>
                  <a:gd name="T0" fmla="*/ 0 h 4"/>
                  <a:gd name="T1" fmla="*/ 0 h 4"/>
                  <a:gd name="T2" fmla="*/ 4 h 4"/>
                  <a:gd name="T3" fmla="*/ 0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86" name="Freeform 384">
                <a:extLst>
                  <a:ext uri="{FF2B5EF4-FFF2-40B4-BE49-F238E27FC236}">
                    <a16:creationId xmlns:a16="http://schemas.microsoft.com/office/drawing/2014/main" id="{EB9718C2-4592-436C-8155-F2B9E040E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8" y="3418"/>
                <a:ext cx="8" cy="12"/>
              </a:xfrm>
              <a:custGeom>
                <a:avLst/>
                <a:gdLst>
                  <a:gd name="T0" fmla="*/ 4 w 8"/>
                  <a:gd name="T1" fmla="*/ 6 h 12"/>
                  <a:gd name="T2" fmla="*/ 4 w 8"/>
                  <a:gd name="T3" fmla="*/ 2 h 12"/>
                  <a:gd name="T4" fmla="*/ 8 w 8"/>
                  <a:gd name="T5" fmla="*/ 0 h 12"/>
                  <a:gd name="T6" fmla="*/ 8 w 8"/>
                  <a:gd name="T7" fmla="*/ 0 h 12"/>
                  <a:gd name="T8" fmla="*/ 4 w 8"/>
                  <a:gd name="T9" fmla="*/ 2 h 12"/>
                  <a:gd name="T10" fmla="*/ 4 w 8"/>
                  <a:gd name="T11" fmla="*/ 6 h 12"/>
                  <a:gd name="T12" fmla="*/ 2 w 8"/>
                  <a:gd name="T13" fmla="*/ 8 h 12"/>
                  <a:gd name="T14" fmla="*/ 0 w 8"/>
                  <a:gd name="T15" fmla="*/ 12 h 12"/>
                  <a:gd name="T16" fmla="*/ 2 w 8"/>
                  <a:gd name="T17" fmla="*/ 8 h 12"/>
                  <a:gd name="T18" fmla="*/ 4 w 8"/>
                  <a:gd name="T1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12">
                    <a:moveTo>
                      <a:pt x="4" y="6"/>
                    </a:moveTo>
                    <a:lnTo>
                      <a:pt x="4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87" name="Freeform 385">
                <a:extLst>
                  <a:ext uri="{FF2B5EF4-FFF2-40B4-BE49-F238E27FC236}">
                    <a16:creationId xmlns:a16="http://schemas.microsoft.com/office/drawing/2014/main" id="{400BAD0D-C327-4FD8-A42F-949B298717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4" y="2816"/>
                <a:ext cx="15" cy="0"/>
              </a:xfrm>
              <a:custGeom>
                <a:avLst/>
                <a:gdLst>
                  <a:gd name="T0" fmla="*/ 15 w 15"/>
                  <a:gd name="T1" fmla="*/ 15 w 15"/>
                  <a:gd name="T2" fmla="*/ 0 w 15"/>
                  <a:gd name="T3" fmla="*/ 15 w 15"/>
                  <a:gd name="T4" fmla="*/ 15 w 1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5">
                    <a:moveTo>
                      <a:pt x="15" y="0"/>
                    </a:moveTo>
                    <a:lnTo>
                      <a:pt x="15" y="0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88" name="Freeform 386">
                <a:extLst>
                  <a:ext uri="{FF2B5EF4-FFF2-40B4-BE49-F238E27FC236}">
                    <a16:creationId xmlns:a16="http://schemas.microsoft.com/office/drawing/2014/main" id="{054572F4-2891-4C32-92E0-3CF0D87579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" y="3369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0 w 6"/>
                  <a:gd name="T3" fmla="*/ 2 h 4"/>
                  <a:gd name="T4" fmla="*/ 0 w 6"/>
                  <a:gd name="T5" fmla="*/ 0 h 4"/>
                  <a:gd name="T6" fmla="*/ 4 w 6"/>
                  <a:gd name="T7" fmla="*/ 2 h 4"/>
                  <a:gd name="T8" fmla="*/ 6 w 6"/>
                  <a:gd name="T9" fmla="*/ 4 h 4"/>
                  <a:gd name="T10" fmla="*/ 4 w 6"/>
                  <a:gd name="T11" fmla="*/ 2 h 4"/>
                  <a:gd name="T12" fmla="*/ 0 w 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89" name="Freeform 387">
                <a:extLst>
                  <a:ext uri="{FF2B5EF4-FFF2-40B4-BE49-F238E27FC236}">
                    <a16:creationId xmlns:a16="http://schemas.microsoft.com/office/drawing/2014/main" id="{8F9520BE-6DEB-4FF7-9657-347BE7131F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4" y="3367"/>
                <a:ext cx="10" cy="6"/>
              </a:xfrm>
              <a:custGeom>
                <a:avLst/>
                <a:gdLst>
                  <a:gd name="T0" fmla="*/ 6 w 10"/>
                  <a:gd name="T1" fmla="*/ 4 h 6"/>
                  <a:gd name="T2" fmla="*/ 0 w 10"/>
                  <a:gd name="T3" fmla="*/ 0 h 6"/>
                  <a:gd name="T4" fmla="*/ 0 w 10"/>
                  <a:gd name="T5" fmla="*/ 0 h 6"/>
                  <a:gd name="T6" fmla="*/ 6 w 10"/>
                  <a:gd name="T7" fmla="*/ 4 h 6"/>
                  <a:gd name="T8" fmla="*/ 8 w 10"/>
                  <a:gd name="T9" fmla="*/ 6 h 6"/>
                  <a:gd name="T10" fmla="*/ 10 w 10"/>
                  <a:gd name="T11" fmla="*/ 6 h 6"/>
                  <a:gd name="T12" fmla="*/ 8 w 10"/>
                  <a:gd name="T13" fmla="*/ 6 h 6"/>
                  <a:gd name="T14" fmla="*/ 6 w 10"/>
                  <a:gd name="T1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6">
                    <a:moveTo>
                      <a:pt x="6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90" name="Freeform 388">
                <a:extLst>
                  <a:ext uri="{FF2B5EF4-FFF2-40B4-BE49-F238E27FC236}">
                    <a16:creationId xmlns:a16="http://schemas.microsoft.com/office/drawing/2014/main" id="{5DBACA6F-061C-40DA-97C2-73A3BCC968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0" y="2816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91" name="Freeform 389">
                <a:extLst>
                  <a:ext uri="{FF2B5EF4-FFF2-40B4-BE49-F238E27FC236}">
                    <a16:creationId xmlns:a16="http://schemas.microsoft.com/office/drawing/2014/main" id="{BF5CBBB8-55D5-43BD-9755-E9FCED15E0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2" y="3392"/>
                <a:ext cx="7" cy="24"/>
              </a:xfrm>
              <a:custGeom>
                <a:avLst/>
                <a:gdLst>
                  <a:gd name="T0" fmla="*/ 5 w 7"/>
                  <a:gd name="T1" fmla="*/ 22 h 24"/>
                  <a:gd name="T2" fmla="*/ 7 w 7"/>
                  <a:gd name="T3" fmla="*/ 18 h 24"/>
                  <a:gd name="T4" fmla="*/ 5 w 7"/>
                  <a:gd name="T5" fmla="*/ 6 h 24"/>
                  <a:gd name="T6" fmla="*/ 0 w 7"/>
                  <a:gd name="T7" fmla="*/ 0 h 24"/>
                  <a:gd name="T8" fmla="*/ 0 w 7"/>
                  <a:gd name="T9" fmla="*/ 0 h 24"/>
                  <a:gd name="T10" fmla="*/ 0 w 7"/>
                  <a:gd name="T11" fmla="*/ 0 h 24"/>
                  <a:gd name="T12" fmla="*/ 5 w 7"/>
                  <a:gd name="T13" fmla="*/ 6 h 24"/>
                  <a:gd name="T14" fmla="*/ 7 w 7"/>
                  <a:gd name="T15" fmla="*/ 18 h 24"/>
                  <a:gd name="T16" fmla="*/ 5 w 7"/>
                  <a:gd name="T17" fmla="*/ 22 h 24"/>
                  <a:gd name="T18" fmla="*/ 5 w 7"/>
                  <a:gd name="T19" fmla="*/ 24 h 24"/>
                  <a:gd name="T20" fmla="*/ 5 w 7"/>
                  <a:gd name="T21" fmla="*/ 24 h 24"/>
                  <a:gd name="T22" fmla="*/ 5 w 7"/>
                  <a:gd name="T23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" h="24">
                    <a:moveTo>
                      <a:pt x="5" y="22"/>
                    </a:moveTo>
                    <a:lnTo>
                      <a:pt x="7" y="18"/>
                    </a:lnTo>
                    <a:lnTo>
                      <a:pt x="5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6"/>
                    </a:lnTo>
                    <a:lnTo>
                      <a:pt x="7" y="18"/>
                    </a:lnTo>
                    <a:lnTo>
                      <a:pt x="5" y="22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5" y="2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92" name="Freeform 390">
                <a:extLst>
                  <a:ext uri="{FF2B5EF4-FFF2-40B4-BE49-F238E27FC236}">
                    <a16:creationId xmlns:a16="http://schemas.microsoft.com/office/drawing/2014/main" id="{BACB5D74-2323-4330-B0F7-7790C8926B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0" y="3455"/>
                <a:ext cx="2" cy="6"/>
              </a:xfrm>
              <a:custGeom>
                <a:avLst/>
                <a:gdLst>
                  <a:gd name="T0" fmla="*/ 0 w 2"/>
                  <a:gd name="T1" fmla="*/ 4 h 6"/>
                  <a:gd name="T2" fmla="*/ 0 w 2"/>
                  <a:gd name="T3" fmla="*/ 2 h 6"/>
                  <a:gd name="T4" fmla="*/ 0 w 2"/>
                  <a:gd name="T5" fmla="*/ 0 h 6"/>
                  <a:gd name="T6" fmla="*/ 2 w 2"/>
                  <a:gd name="T7" fmla="*/ 0 h 6"/>
                  <a:gd name="T8" fmla="*/ 2 w 2"/>
                  <a:gd name="T9" fmla="*/ 0 h 6"/>
                  <a:gd name="T10" fmla="*/ 2 w 2"/>
                  <a:gd name="T11" fmla="*/ 0 h 6"/>
                  <a:gd name="T12" fmla="*/ 0 w 2"/>
                  <a:gd name="T13" fmla="*/ 0 h 6"/>
                  <a:gd name="T14" fmla="*/ 0 w 2"/>
                  <a:gd name="T15" fmla="*/ 2 h 6"/>
                  <a:gd name="T16" fmla="*/ 0 w 2"/>
                  <a:gd name="T17" fmla="*/ 4 h 6"/>
                  <a:gd name="T18" fmla="*/ 2 w 2"/>
                  <a:gd name="T19" fmla="*/ 6 h 6"/>
                  <a:gd name="T20" fmla="*/ 2 w 2"/>
                  <a:gd name="T21" fmla="*/ 6 h 6"/>
                  <a:gd name="T22" fmla="*/ 2 w 2"/>
                  <a:gd name="T23" fmla="*/ 6 h 6"/>
                  <a:gd name="T24" fmla="*/ 0 w 2"/>
                  <a:gd name="T2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6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93" name="Freeform 391">
                <a:extLst>
                  <a:ext uri="{FF2B5EF4-FFF2-40B4-BE49-F238E27FC236}">
                    <a16:creationId xmlns:a16="http://schemas.microsoft.com/office/drawing/2014/main" id="{F28ADD16-A049-40B8-9CEB-EC42647373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803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94" name="Freeform 392">
                <a:extLst>
                  <a:ext uri="{FF2B5EF4-FFF2-40B4-BE49-F238E27FC236}">
                    <a16:creationId xmlns:a16="http://schemas.microsoft.com/office/drawing/2014/main" id="{B620047D-A5B1-4941-845D-97C19CD50A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8" y="3463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0 w 2"/>
                  <a:gd name="T5" fmla="*/ 2 h 2"/>
                  <a:gd name="T6" fmla="*/ 2 w 2"/>
                  <a:gd name="T7" fmla="*/ 2 h 2"/>
                  <a:gd name="T8" fmla="*/ 2 w 2"/>
                  <a:gd name="T9" fmla="*/ 2 h 2"/>
                  <a:gd name="T10" fmla="*/ 0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95" name="Freeform 393">
                <a:extLst>
                  <a:ext uri="{FF2B5EF4-FFF2-40B4-BE49-F238E27FC236}">
                    <a16:creationId xmlns:a16="http://schemas.microsoft.com/office/drawing/2014/main" id="{FE8DA837-3861-48D5-8766-EFB3B5383A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" y="2785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2 h 4"/>
                  <a:gd name="T4" fmla="*/ 4 w 4"/>
                  <a:gd name="T5" fmla="*/ 4 h 4"/>
                  <a:gd name="T6" fmla="*/ 4 w 4"/>
                  <a:gd name="T7" fmla="*/ 2 h 4"/>
                  <a:gd name="T8" fmla="*/ 0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4" y="2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96" name="Freeform 394">
                <a:extLst>
                  <a:ext uri="{FF2B5EF4-FFF2-40B4-BE49-F238E27FC236}">
                    <a16:creationId xmlns:a16="http://schemas.microsoft.com/office/drawing/2014/main" id="{2E968714-0837-492F-AAB0-C25AC8CD3C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" y="3435"/>
                <a:ext cx="2" cy="10"/>
              </a:xfrm>
              <a:custGeom>
                <a:avLst/>
                <a:gdLst>
                  <a:gd name="T0" fmla="*/ 2 w 2"/>
                  <a:gd name="T1" fmla="*/ 0 h 10"/>
                  <a:gd name="T2" fmla="*/ 2 w 2"/>
                  <a:gd name="T3" fmla="*/ 0 h 10"/>
                  <a:gd name="T4" fmla="*/ 2 w 2"/>
                  <a:gd name="T5" fmla="*/ 4 h 10"/>
                  <a:gd name="T6" fmla="*/ 0 w 2"/>
                  <a:gd name="T7" fmla="*/ 10 h 10"/>
                  <a:gd name="T8" fmla="*/ 2 w 2"/>
                  <a:gd name="T9" fmla="*/ 4 h 10"/>
                  <a:gd name="T10" fmla="*/ 2 w 2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10">
                    <a:moveTo>
                      <a:pt x="2" y="0"/>
                    </a:moveTo>
                    <a:lnTo>
                      <a:pt x="2" y="0"/>
                    </a:lnTo>
                    <a:lnTo>
                      <a:pt x="2" y="4"/>
                    </a:lnTo>
                    <a:lnTo>
                      <a:pt x="0" y="10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97" name="Freeform 395">
                <a:extLst>
                  <a:ext uri="{FF2B5EF4-FFF2-40B4-BE49-F238E27FC236}">
                    <a16:creationId xmlns:a16="http://schemas.microsoft.com/office/drawing/2014/main" id="{81FB10AA-49E7-4F79-983F-521D9050D6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1" y="2795"/>
                <a:ext cx="0" cy="4"/>
              </a:xfrm>
              <a:custGeom>
                <a:avLst/>
                <a:gdLst>
                  <a:gd name="T0" fmla="*/ 4 h 4"/>
                  <a:gd name="T1" fmla="*/ 0 h 4"/>
                  <a:gd name="T2" fmla="*/ 4 h 4"/>
                  <a:gd name="T3" fmla="*/ 4 h 4"/>
                  <a:gd name="T4" fmla="*/ 4 h 4"/>
                  <a:gd name="T5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98" name="Rectangle 396">
                <a:extLst>
                  <a:ext uri="{FF2B5EF4-FFF2-40B4-BE49-F238E27FC236}">
                    <a16:creationId xmlns:a16="http://schemas.microsoft.com/office/drawing/2014/main" id="{BBA0D95F-3743-4776-B7CD-713C778785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7" y="280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499" name="Freeform 397">
                <a:extLst>
                  <a:ext uri="{FF2B5EF4-FFF2-40B4-BE49-F238E27FC236}">
                    <a16:creationId xmlns:a16="http://schemas.microsoft.com/office/drawing/2014/main" id="{B35E1AC2-717B-4B29-8618-06E30C56A4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8" y="3367"/>
                <a:ext cx="4" cy="0"/>
              </a:xfrm>
              <a:custGeom>
                <a:avLst/>
                <a:gdLst>
                  <a:gd name="T0" fmla="*/ 0 w 4"/>
                  <a:gd name="T1" fmla="*/ 2 w 4"/>
                  <a:gd name="T2" fmla="*/ 4 w 4"/>
                  <a:gd name="T3" fmla="*/ 2 w 4"/>
                  <a:gd name="T4" fmla="*/ 0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00" name="Freeform 398">
                <a:extLst>
                  <a:ext uri="{FF2B5EF4-FFF2-40B4-BE49-F238E27FC236}">
                    <a16:creationId xmlns:a16="http://schemas.microsoft.com/office/drawing/2014/main" id="{9EA877BC-20A6-4BFB-B787-B63F68F91B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2" y="3349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3 w 3"/>
                  <a:gd name="T3" fmla="*/ 0 h 2"/>
                  <a:gd name="T4" fmla="*/ 0 w 3"/>
                  <a:gd name="T5" fmla="*/ 2 h 2"/>
                  <a:gd name="T6" fmla="*/ 0 w 3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01" name="Freeform 399">
                <a:extLst>
                  <a:ext uri="{FF2B5EF4-FFF2-40B4-BE49-F238E27FC236}">
                    <a16:creationId xmlns:a16="http://schemas.microsoft.com/office/drawing/2014/main" id="{6604079B-0C3B-47BA-A9AC-8752B73E99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5" y="2772"/>
                <a:ext cx="2" cy="3"/>
              </a:xfrm>
              <a:custGeom>
                <a:avLst/>
                <a:gdLst>
                  <a:gd name="T0" fmla="*/ 2 w 2"/>
                  <a:gd name="T1" fmla="*/ 1 h 3"/>
                  <a:gd name="T2" fmla="*/ 2 w 2"/>
                  <a:gd name="T3" fmla="*/ 3 h 3"/>
                  <a:gd name="T4" fmla="*/ 2 w 2"/>
                  <a:gd name="T5" fmla="*/ 1 h 3"/>
                  <a:gd name="T6" fmla="*/ 0 w 2"/>
                  <a:gd name="T7" fmla="*/ 0 h 3"/>
                  <a:gd name="T8" fmla="*/ 0 w 2"/>
                  <a:gd name="T9" fmla="*/ 0 h 3"/>
                  <a:gd name="T10" fmla="*/ 0 w 2"/>
                  <a:gd name="T11" fmla="*/ 0 h 3"/>
                  <a:gd name="T12" fmla="*/ 2 w 2"/>
                  <a:gd name="T13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3">
                    <a:moveTo>
                      <a:pt x="2" y="1"/>
                    </a:moveTo>
                    <a:lnTo>
                      <a:pt x="2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02" name="Freeform 400">
                <a:extLst>
                  <a:ext uri="{FF2B5EF4-FFF2-40B4-BE49-F238E27FC236}">
                    <a16:creationId xmlns:a16="http://schemas.microsoft.com/office/drawing/2014/main" id="{A666CE1D-6EF2-479D-8E69-4244DDEA7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2" y="2773"/>
                <a:ext cx="11" cy="2"/>
              </a:xfrm>
              <a:custGeom>
                <a:avLst/>
                <a:gdLst>
                  <a:gd name="T0" fmla="*/ 4 w 11"/>
                  <a:gd name="T1" fmla="*/ 0 h 2"/>
                  <a:gd name="T2" fmla="*/ 9 w 11"/>
                  <a:gd name="T3" fmla="*/ 2 h 2"/>
                  <a:gd name="T4" fmla="*/ 11 w 11"/>
                  <a:gd name="T5" fmla="*/ 0 h 2"/>
                  <a:gd name="T6" fmla="*/ 9 w 11"/>
                  <a:gd name="T7" fmla="*/ 2 h 2"/>
                  <a:gd name="T8" fmla="*/ 4 w 11"/>
                  <a:gd name="T9" fmla="*/ 0 h 2"/>
                  <a:gd name="T10" fmla="*/ 0 w 11"/>
                  <a:gd name="T11" fmla="*/ 2 h 2"/>
                  <a:gd name="T12" fmla="*/ 0 w 11"/>
                  <a:gd name="T13" fmla="*/ 2 h 2"/>
                  <a:gd name="T14" fmla="*/ 4 w 11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">
                    <a:moveTo>
                      <a:pt x="4" y="0"/>
                    </a:moveTo>
                    <a:lnTo>
                      <a:pt x="9" y="2"/>
                    </a:lnTo>
                    <a:lnTo>
                      <a:pt x="11" y="0"/>
                    </a:lnTo>
                    <a:lnTo>
                      <a:pt x="9" y="2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03" name="Freeform 401">
                <a:extLst>
                  <a:ext uri="{FF2B5EF4-FFF2-40B4-BE49-F238E27FC236}">
                    <a16:creationId xmlns:a16="http://schemas.microsoft.com/office/drawing/2014/main" id="{BD80B115-8C74-43D5-AFE6-B746317B6E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7" y="3361"/>
                <a:ext cx="35" cy="4"/>
              </a:xfrm>
              <a:custGeom>
                <a:avLst/>
                <a:gdLst>
                  <a:gd name="T0" fmla="*/ 6 w 35"/>
                  <a:gd name="T1" fmla="*/ 2 h 4"/>
                  <a:gd name="T2" fmla="*/ 0 w 35"/>
                  <a:gd name="T3" fmla="*/ 0 h 4"/>
                  <a:gd name="T4" fmla="*/ 6 w 35"/>
                  <a:gd name="T5" fmla="*/ 2 h 4"/>
                  <a:gd name="T6" fmla="*/ 22 w 35"/>
                  <a:gd name="T7" fmla="*/ 2 h 4"/>
                  <a:gd name="T8" fmla="*/ 35 w 35"/>
                  <a:gd name="T9" fmla="*/ 4 h 4"/>
                  <a:gd name="T10" fmla="*/ 22 w 35"/>
                  <a:gd name="T11" fmla="*/ 2 h 4"/>
                  <a:gd name="T12" fmla="*/ 6 w 35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" h="4">
                    <a:moveTo>
                      <a:pt x="6" y="2"/>
                    </a:moveTo>
                    <a:lnTo>
                      <a:pt x="0" y="0"/>
                    </a:lnTo>
                    <a:lnTo>
                      <a:pt x="6" y="2"/>
                    </a:lnTo>
                    <a:lnTo>
                      <a:pt x="22" y="2"/>
                    </a:lnTo>
                    <a:lnTo>
                      <a:pt x="35" y="4"/>
                    </a:lnTo>
                    <a:lnTo>
                      <a:pt x="22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04" name="Freeform 402">
                <a:extLst>
                  <a:ext uri="{FF2B5EF4-FFF2-40B4-BE49-F238E27FC236}">
                    <a16:creationId xmlns:a16="http://schemas.microsoft.com/office/drawing/2014/main" id="{C3BCC45A-D320-4E60-81C7-7B47674245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2" y="3367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05" name="Freeform 403">
                <a:extLst>
                  <a:ext uri="{FF2B5EF4-FFF2-40B4-BE49-F238E27FC236}">
                    <a16:creationId xmlns:a16="http://schemas.microsoft.com/office/drawing/2014/main" id="{B6E100B4-4DD3-4572-B48D-C8ED707313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" y="2770"/>
                <a:ext cx="14" cy="5"/>
              </a:xfrm>
              <a:custGeom>
                <a:avLst/>
                <a:gdLst>
                  <a:gd name="T0" fmla="*/ 10 w 14"/>
                  <a:gd name="T1" fmla="*/ 2 h 5"/>
                  <a:gd name="T2" fmla="*/ 12 w 14"/>
                  <a:gd name="T3" fmla="*/ 2 h 5"/>
                  <a:gd name="T4" fmla="*/ 12 w 14"/>
                  <a:gd name="T5" fmla="*/ 3 h 5"/>
                  <a:gd name="T6" fmla="*/ 14 w 14"/>
                  <a:gd name="T7" fmla="*/ 5 h 5"/>
                  <a:gd name="T8" fmla="*/ 14 w 14"/>
                  <a:gd name="T9" fmla="*/ 5 h 5"/>
                  <a:gd name="T10" fmla="*/ 14 w 14"/>
                  <a:gd name="T11" fmla="*/ 5 h 5"/>
                  <a:gd name="T12" fmla="*/ 12 w 14"/>
                  <a:gd name="T13" fmla="*/ 3 h 5"/>
                  <a:gd name="T14" fmla="*/ 12 w 14"/>
                  <a:gd name="T15" fmla="*/ 2 h 5"/>
                  <a:gd name="T16" fmla="*/ 10 w 14"/>
                  <a:gd name="T17" fmla="*/ 2 h 5"/>
                  <a:gd name="T18" fmla="*/ 4 w 14"/>
                  <a:gd name="T19" fmla="*/ 0 h 5"/>
                  <a:gd name="T20" fmla="*/ 0 w 14"/>
                  <a:gd name="T21" fmla="*/ 0 h 5"/>
                  <a:gd name="T22" fmla="*/ 4 w 14"/>
                  <a:gd name="T23" fmla="*/ 0 h 5"/>
                  <a:gd name="T24" fmla="*/ 10 w 14"/>
                  <a:gd name="T2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5">
                    <a:moveTo>
                      <a:pt x="10" y="2"/>
                    </a:moveTo>
                    <a:lnTo>
                      <a:pt x="12" y="2"/>
                    </a:lnTo>
                    <a:lnTo>
                      <a:pt x="12" y="3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2" y="3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06" name="Freeform 404">
                <a:extLst>
                  <a:ext uri="{FF2B5EF4-FFF2-40B4-BE49-F238E27FC236}">
                    <a16:creationId xmlns:a16="http://schemas.microsoft.com/office/drawing/2014/main" id="{62A920F5-B33F-4A8B-A7C1-4713DD4142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7" y="3349"/>
                <a:ext cx="20" cy="8"/>
              </a:xfrm>
              <a:custGeom>
                <a:avLst/>
                <a:gdLst>
                  <a:gd name="T0" fmla="*/ 16 w 20"/>
                  <a:gd name="T1" fmla="*/ 4 h 8"/>
                  <a:gd name="T2" fmla="*/ 14 w 20"/>
                  <a:gd name="T3" fmla="*/ 4 h 8"/>
                  <a:gd name="T4" fmla="*/ 4 w 20"/>
                  <a:gd name="T5" fmla="*/ 2 h 8"/>
                  <a:gd name="T6" fmla="*/ 0 w 20"/>
                  <a:gd name="T7" fmla="*/ 0 h 8"/>
                  <a:gd name="T8" fmla="*/ 0 w 20"/>
                  <a:gd name="T9" fmla="*/ 0 h 8"/>
                  <a:gd name="T10" fmla="*/ 0 w 20"/>
                  <a:gd name="T11" fmla="*/ 0 h 8"/>
                  <a:gd name="T12" fmla="*/ 4 w 20"/>
                  <a:gd name="T13" fmla="*/ 2 h 8"/>
                  <a:gd name="T14" fmla="*/ 14 w 20"/>
                  <a:gd name="T15" fmla="*/ 4 h 8"/>
                  <a:gd name="T16" fmla="*/ 16 w 20"/>
                  <a:gd name="T17" fmla="*/ 4 h 8"/>
                  <a:gd name="T18" fmla="*/ 20 w 20"/>
                  <a:gd name="T19" fmla="*/ 6 h 8"/>
                  <a:gd name="T20" fmla="*/ 20 w 20"/>
                  <a:gd name="T21" fmla="*/ 8 h 8"/>
                  <a:gd name="T22" fmla="*/ 20 w 20"/>
                  <a:gd name="T23" fmla="*/ 6 h 8"/>
                  <a:gd name="T24" fmla="*/ 16 w 20"/>
                  <a:gd name="T25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8">
                    <a:moveTo>
                      <a:pt x="16" y="4"/>
                    </a:moveTo>
                    <a:lnTo>
                      <a:pt x="14" y="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20" y="6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1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507" name="Freeform 405">
                <a:extLst>
                  <a:ext uri="{FF2B5EF4-FFF2-40B4-BE49-F238E27FC236}">
                    <a16:creationId xmlns:a16="http://schemas.microsoft.com/office/drawing/2014/main" id="{DBA5942D-E8DE-493F-9CD9-8E9C93479C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" y="2781"/>
                <a:ext cx="0" cy="4"/>
              </a:xfrm>
              <a:custGeom>
                <a:avLst/>
                <a:gdLst>
                  <a:gd name="T0" fmla="*/ 0 h 4"/>
                  <a:gd name="T1" fmla="*/ 0 h 4"/>
                  <a:gd name="T2" fmla="*/ 4 h 4"/>
                  <a:gd name="T3" fmla="*/ 4 h 4"/>
                  <a:gd name="T4" fmla="*/ 0 h 4"/>
                  <a:gd name="T5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</p:grpSp>
        <p:grpSp>
          <p:nvGrpSpPr>
            <p:cNvPr id="344" name="Group 607">
              <a:extLst>
                <a:ext uri="{FF2B5EF4-FFF2-40B4-BE49-F238E27FC236}">
                  <a16:creationId xmlns:a16="http://schemas.microsoft.com/office/drawing/2014/main" id="{3BC0CAAA-DF4A-4F59-9426-8EEF05C9EE7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729" y="1108952"/>
              <a:ext cx="6026158" cy="4918036"/>
              <a:chOff x="10" y="702"/>
              <a:chExt cx="3796" cy="3098"/>
            </a:xfrm>
            <a:grpFill/>
          </p:grpSpPr>
          <p:sp>
            <p:nvSpPr>
              <p:cNvPr id="1108" name="Freeform 407">
                <a:extLst>
                  <a:ext uri="{FF2B5EF4-FFF2-40B4-BE49-F238E27FC236}">
                    <a16:creationId xmlns:a16="http://schemas.microsoft.com/office/drawing/2014/main" id="{1B082480-74B0-4987-AE1F-758D8526CC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2" y="2828"/>
                <a:ext cx="8" cy="2"/>
              </a:xfrm>
              <a:custGeom>
                <a:avLst/>
                <a:gdLst>
                  <a:gd name="T0" fmla="*/ 8 w 8"/>
                  <a:gd name="T1" fmla="*/ 2 h 2"/>
                  <a:gd name="T2" fmla="*/ 6 w 8"/>
                  <a:gd name="T3" fmla="*/ 2 h 2"/>
                  <a:gd name="T4" fmla="*/ 0 w 8"/>
                  <a:gd name="T5" fmla="*/ 0 h 2"/>
                  <a:gd name="T6" fmla="*/ 6 w 8"/>
                  <a:gd name="T7" fmla="*/ 2 h 2"/>
                  <a:gd name="T8" fmla="*/ 8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8" y="2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09" name="Freeform 408">
                <a:extLst>
                  <a:ext uri="{FF2B5EF4-FFF2-40B4-BE49-F238E27FC236}">
                    <a16:creationId xmlns:a16="http://schemas.microsoft.com/office/drawing/2014/main" id="{3F4D1798-1A1E-4583-A38C-B13E94F1D2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5" y="3367"/>
                <a:ext cx="3" cy="0"/>
              </a:xfrm>
              <a:custGeom>
                <a:avLst/>
                <a:gdLst>
                  <a:gd name="T0" fmla="*/ 0 w 3"/>
                  <a:gd name="T1" fmla="*/ 0 w 3"/>
                  <a:gd name="T2" fmla="*/ 3 w 3"/>
                  <a:gd name="T3" fmla="*/ 0 w 3"/>
                  <a:gd name="T4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10" name="Freeform 409">
                <a:extLst>
                  <a:ext uri="{FF2B5EF4-FFF2-40B4-BE49-F238E27FC236}">
                    <a16:creationId xmlns:a16="http://schemas.microsoft.com/office/drawing/2014/main" id="{F3F38FA5-22B0-41CB-B445-E585A8209B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2785"/>
                <a:ext cx="10" cy="2"/>
              </a:xfrm>
              <a:custGeom>
                <a:avLst/>
                <a:gdLst>
                  <a:gd name="T0" fmla="*/ 2 w 10"/>
                  <a:gd name="T1" fmla="*/ 0 h 2"/>
                  <a:gd name="T2" fmla="*/ 0 w 10"/>
                  <a:gd name="T3" fmla="*/ 0 h 2"/>
                  <a:gd name="T4" fmla="*/ 2 w 10"/>
                  <a:gd name="T5" fmla="*/ 0 h 2"/>
                  <a:gd name="T6" fmla="*/ 8 w 10"/>
                  <a:gd name="T7" fmla="*/ 2 h 2"/>
                  <a:gd name="T8" fmla="*/ 10 w 10"/>
                  <a:gd name="T9" fmla="*/ 2 h 2"/>
                  <a:gd name="T10" fmla="*/ 8 w 10"/>
                  <a:gd name="T11" fmla="*/ 2 h 2"/>
                  <a:gd name="T12" fmla="*/ 2 w 10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11" name="Freeform 410">
                <a:extLst>
                  <a:ext uri="{FF2B5EF4-FFF2-40B4-BE49-F238E27FC236}">
                    <a16:creationId xmlns:a16="http://schemas.microsoft.com/office/drawing/2014/main" id="{E10B5D35-AA4D-4F63-9D16-5D9DD2283B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1" y="3348"/>
                <a:ext cx="4" cy="1"/>
              </a:xfrm>
              <a:custGeom>
                <a:avLst/>
                <a:gdLst>
                  <a:gd name="T0" fmla="*/ 0 w 4"/>
                  <a:gd name="T1" fmla="*/ 1 h 1"/>
                  <a:gd name="T2" fmla="*/ 4 w 4"/>
                  <a:gd name="T3" fmla="*/ 0 h 1"/>
                  <a:gd name="T4" fmla="*/ 4 w 4"/>
                  <a:gd name="T5" fmla="*/ 0 h 1"/>
                  <a:gd name="T6" fmla="*/ 4 w 4"/>
                  <a:gd name="T7" fmla="*/ 0 h 1"/>
                  <a:gd name="T8" fmla="*/ 0 w 4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">
                    <a:moveTo>
                      <a:pt x="0" y="1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12" name="Freeform 411">
                <a:extLst>
                  <a:ext uri="{FF2B5EF4-FFF2-40B4-BE49-F238E27FC236}">
                    <a16:creationId xmlns:a16="http://schemas.microsoft.com/office/drawing/2014/main" id="{46EC9F56-E5BA-4D5A-9DD6-1FC9A8B4FD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7" y="2803"/>
                <a:ext cx="4" cy="10"/>
              </a:xfrm>
              <a:custGeom>
                <a:avLst/>
                <a:gdLst>
                  <a:gd name="T0" fmla="*/ 4 w 4"/>
                  <a:gd name="T1" fmla="*/ 4 h 10"/>
                  <a:gd name="T2" fmla="*/ 0 w 4"/>
                  <a:gd name="T3" fmla="*/ 10 h 10"/>
                  <a:gd name="T4" fmla="*/ 4 w 4"/>
                  <a:gd name="T5" fmla="*/ 4 h 10"/>
                  <a:gd name="T6" fmla="*/ 4 w 4"/>
                  <a:gd name="T7" fmla="*/ 2 h 10"/>
                  <a:gd name="T8" fmla="*/ 4 w 4"/>
                  <a:gd name="T9" fmla="*/ 0 h 10"/>
                  <a:gd name="T10" fmla="*/ 4 w 4"/>
                  <a:gd name="T11" fmla="*/ 2 h 10"/>
                  <a:gd name="T12" fmla="*/ 4 w 4"/>
                  <a:gd name="T13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0">
                    <a:moveTo>
                      <a:pt x="4" y="4"/>
                    </a:moveTo>
                    <a:lnTo>
                      <a:pt x="0" y="10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13" name="Freeform 412">
                <a:extLst>
                  <a:ext uri="{FF2B5EF4-FFF2-40B4-BE49-F238E27FC236}">
                    <a16:creationId xmlns:a16="http://schemas.microsoft.com/office/drawing/2014/main" id="{2A8A4009-3D3B-405D-B4E2-F7F8178519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4" y="282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2 h 2"/>
                  <a:gd name="T4" fmla="*/ 0 w 2"/>
                  <a:gd name="T5" fmla="*/ 2 h 2"/>
                  <a:gd name="T6" fmla="*/ 2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14" name="Freeform 413">
                <a:extLst>
                  <a:ext uri="{FF2B5EF4-FFF2-40B4-BE49-F238E27FC236}">
                    <a16:creationId xmlns:a16="http://schemas.microsoft.com/office/drawing/2014/main" id="{56E03483-85DC-4A91-ADB3-35C948708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9" y="3416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0 w 4"/>
                  <a:gd name="T3" fmla="*/ 2 h 2"/>
                  <a:gd name="T4" fmla="*/ 0 w 4"/>
                  <a:gd name="T5" fmla="*/ 2 h 2"/>
                  <a:gd name="T6" fmla="*/ 4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15" name="Freeform 414">
                <a:extLst>
                  <a:ext uri="{FF2B5EF4-FFF2-40B4-BE49-F238E27FC236}">
                    <a16:creationId xmlns:a16="http://schemas.microsoft.com/office/drawing/2014/main" id="{45E98E17-5FF0-4BB2-81DD-8CAF8DC36A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0" y="3467"/>
                <a:ext cx="2" cy="5"/>
              </a:xfrm>
              <a:custGeom>
                <a:avLst/>
                <a:gdLst>
                  <a:gd name="T0" fmla="*/ 0 w 2"/>
                  <a:gd name="T1" fmla="*/ 4 h 5"/>
                  <a:gd name="T2" fmla="*/ 0 w 2"/>
                  <a:gd name="T3" fmla="*/ 4 h 5"/>
                  <a:gd name="T4" fmla="*/ 0 w 2"/>
                  <a:gd name="T5" fmla="*/ 2 h 5"/>
                  <a:gd name="T6" fmla="*/ 2 w 2"/>
                  <a:gd name="T7" fmla="*/ 2 h 5"/>
                  <a:gd name="T8" fmla="*/ 0 w 2"/>
                  <a:gd name="T9" fmla="*/ 0 h 5"/>
                  <a:gd name="T10" fmla="*/ 2 w 2"/>
                  <a:gd name="T11" fmla="*/ 2 h 5"/>
                  <a:gd name="T12" fmla="*/ 0 w 2"/>
                  <a:gd name="T13" fmla="*/ 2 h 5"/>
                  <a:gd name="T14" fmla="*/ 0 w 2"/>
                  <a:gd name="T15" fmla="*/ 4 h 5"/>
                  <a:gd name="T16" fmla="*/ 0 w 2"/>
                  <a:gd name="T17" fmla="*/ 4 h 5"/>
                  <a:gd name="T18" fmla="*/ 0 w 2"/>
                  <a:gd name="T19" fmla="*/ 5 h 5"/>
                  <a:gd name="T20" fmla="*/ 0 w 2"/>
                  <a:gd name="T21" fmla="*/ 5 h 5"/>
                  <a:gd name="T22" fmla="*/ 0 w 2"/>
                  <a:gd name="T23" fmla="*/ 5 h 5"/>
                  <a:gd name="T24" fmla="*/ 0 w 2"/>
                  <a:gd name="T2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5">
                    <a:moveTo>
                      <a:pt x="0" y="4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16" name="Rectangle 415">
                <a:extLst>
                  <a:ext uri="{FF2B5EF4-FFF2-40B4-BE49-F238E27FC236}">
                    <a16:creationId xmlns:a16="http://schemas.microsoft.com/office/drawing/2014/main" id="{B4F09F8C-4224-4EE0-9E0C-EB520A0D01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24" y="284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17" name="Freeform 416">
                <a:extLst>
                  <a:ext uri="{FF2B5EF4-FFF2-40B4-BE49-F238E27FC236}">
                    <a16:creationId xmlns:a16="http://schemas.microsoft.com/office/drawing/2014/main" id="{2889E020-FA6A-427E-B850-92690C6837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2" y="2820"/>
                <a:ext cx="6" cy="4"/>
              </a:xfrm>
              <a:custGeom>
                <a:avLst/>
                <a:gdLst>
                  <a:gd name="T0" fmla="*/ 4 w 6"/>
                  <a:gd name="T1" fmla="*/ 2 h 4"/>
                  <a:gd name="T2" fmla="*/ 6 w 6"/>
                  <a:gd name="T3" fmla="*/ 4 h 4"/>
                  <a:gd name="T4" fmla="*/ 4 w 6"/>
                  <a:gd name="T5" fmla="*/ 2 h 4"/>
                  <a:gd name="T6" fmla="*/ 2 w 6"/>
                  <a:gd name="T7" fmla="*/ 0 h 4"/>
                  <a:gd name="T8" fmla="*/ 0 w 6"/>
                  <a:gd name="T9" fmla="*/ 0 h 4"/>
                  <a:gd name="T10" fmla="*/ 2 w 6"/>
                  <a:gd name="T11" fmla="*/ 0 h 4"/>
                  <a:gd name="T12" fmla="*/ 4 w 6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4" y="2"/>
                    </a:move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18" name="Rectangle 417">
                <a:extLst>
                  <a:ext uri="{FF2B5EF4-FFF2-40B4-BE49-F238E27FC236}">
                    <a16:creationId xmlns:a16="http://schemas.microsoft.com/office/drawing/2014/main" id="{5902564E-D85D-4BAE-A1C8-A4F3129FBC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3" y="348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19" name="Freeform 418">
                <a:extLst>
                  <a:ext uri="{FF2B5EF4-FFF2-40B4-BE49-F238E27FC236}">
                    <a16:creationId xmlns:a16="http://schemas.microsoft.com/office/drawing/2014/main" id="{E0BD08B1-32EA-4959-B973-4DB0A8C3F5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4" y="2797"/>
                <a:ext cx="2" cy="12"/>
              </a:xfrm>
              <a:custGeom>
                <a:avLst/>
                <a:gdLst>
                  <a:gd name="T0" fmla="*/ 0 w 2"/>
                  <a:gd name="T1" fmla="*/ 6 h 12"/>
                  <a:gd name="T2" fmla="*/ 0 w 2"/>
                  <a:gd name="T3" fmla="*/ 10 h 12"/>
                  <a:gd name="T4" fmla="*/ 2 w 2"/>
                  <a:gd name="T5" fmla="*/ 12 h 12"/>
                  <a:gd name="T6" fmla="*/ 0 w 2"/>
                  <a:gd name="T7" fmla="*/ 10 h 12"/>
                  <a:gd name="T8" fmla="*/ 0 w 2"/>
                  <a:gd name="T9" fmla="*/ 6 h 12"/>
                  <a:gd name="T10" fmla="*/ 2 w 2"/>
                  <a:gd name="T11" fmla="*/ 0 h 12"/>
                  <a:gd name="T12" fmla="*/ 2 w 2"/>
                  <a:gd name="T13" fmla="*/ 0 h 12"/>
                  <a:gd name="T14" fmla="*/ 2 w 2"/>
                  <a:gd name="T15" fmla="*/ 0 h 12"/>
                  <a:gd name="T16" fmla="*/ 0 w 2"/>
                  <a:gd name="T1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12">
                    <a:moveTo>
                      <a:pt x="0" y="6"/>
                    </a:moveTo>
                    <a:lnTo>
                      <a:pt x="0" y="10"/>
                    </a:lnTo>
                    <a:lnTo>
                      <a:pt x="2" y="12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20" name="Freeform 419">
                <a:extLst>
                  <a:ext uri="{FF2B5EF4-FFF2-40B4-BE49-F238E27FC236}">
                    <a16:creationId xmlns:a16="http://schemas.microsoft.com/office/drawing/2014/main" id="{C96B2EC5-168B-47D5-8932-E347A38BBE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7" y="3508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0 w 4"/>
                  <a:gd name="T3" fmla="*/ 2 h 2"/>
                  <a:gd name="T4" fmla="*/ 4 w 4"/>
                  <a:gd name="T5" fmla="*/ 0 h 2"/>
                  <a:gd name="T6" fmla="*/ 0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0" y="2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21" name="Freeform 420">
                <a:extLst>
                  <a:ext uri="{FF2B5EF4-FFF2-40B4-BE49-F238E27FC236}">
                    <a16:creationId xmlns:a16="http://schemas.microsoft.com/office/drawing/2014/main" id="{2AE10B87-D31E-40B1-A801-5020BB9603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6" y="3512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22" name="Freeform 421">
                <a:extLst>
                  <a:ext uri="{FF2B5EF4-FFF2-40B4-BE49-F238E27FC236}">
                    <a16:creationId xmlns:a16="http://schemas.microsoft.com/office/drawing/2014/main" id="{58938AD6-CCCF-4CA7-A72B-FB630BA01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8" y="3459"/>
                <a:ext cx="10" cy="4"/>
              </a:xfrm>
              <a:custGeom>
                <a:avLst/>
                <a:gdLst>
                  <a:gd name="T0" fmla="*/ 10 w 10"/>
                  <a:gd name="T1" fmla="*/ 0 h 4"/>
                  <a:gd name="T2" fmla="*/ 6 w 10"/>
                  <a:gd name="T3" fmla="*/ 2 h 4"/>
                  <a:gd name="T4" fmla="*/ 0 w 10"/>
                  <a:gd name="T5" fmla="*/ 4 h 4"/>
                  <a:gd name="T6" fmla="*/ 6 w 10"/>
                  <a:gd name="T7" fmla="*/ 2 h 4"/>
                  <a:gd name="T8" fmla="*/ 10 w 10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4">
                    <a:moveTo>
                      <a:pt x="10" y="0"/>
                    </a:moveTo>
                    <a:lnTo>
                      <a:pt x="6" y="2"/>
                    </a:lnTo>
                    <a:lnTo>
                      <a:pt x="0" y="4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23" name="Freeform 422">
                <a:extLst>
                  <a:ext uri="{FF2B5EF4-FFF2-40B4-BE49-F238E27FC236}">
                    <a16:creationId xmlns:a16="http://schemas.microsoft.com/office/drawing/2014/main" id="{F3EA6E3E-B352-46B6-8F03-0B779CED3C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4" y="2848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24" name="Freeform 423">
                <a:extLst>
                  <a:ext uri="{FF2B5EF4-FFF2-40B4-BE49-F238E27FC236}">
                    <a16:creationId xmlns:a16="http://schemas.microsoft.com/office/drawing/2014/main" id="{4A59FA98-9E41-4363-BD70-53B205BEA3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1" y="2846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4 h 4"/>
                  <a:gd name="T4" fmla="*/ 2 w 2"/>
                  <a:gd name="T5" fmla="*/ 4 h 4"/>
                  <a:gd name="T6" fmla="*/ 0 w 2"/>
                  <a:gd name="T7" fmla="*/ 0 h 4"/>
                  <a:gd name="T8" fmla="*/ 0 w 2"/>
                  <a:gd name="T9" fmla="*/ 0 h 4"/>
                  <a:gd name="T10" fmla="*/ 0 w 2"/>
                  <a:gd name="T11" fmla="*/ 0 h 4"/>
                  <a:gd name="T12" fmla="*/ 2 w 2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25" name="Freeform 424">
                <a:extLst>
                  <a:ext uri="{FF2B5EF4-FFF2-40B4-BE49-F238E27FC236}">
                    <a16:creationId xmlns:a16="http://schemas.microsoft.com/office/drawing/2014/main" id="{1CB8DBD6-92DE-443E-B1AA-39FCBB428B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0" y="3277"/>
                <a:ext cx="11" cy="2"/>
              </a:xfrm>
              <a:custGeom>
                <a:avLst/>
                <a:gdLst>
                  <a:gd name="T0" fmla="*/ 11 w 11"/>
                  <a:gd name="T1" fmla="*/ 2 h 2"/>
                  <a:gd name="T2" fmla="*/ 7 w 11"/>
                  <a:gd name="T3" fmla="*/ 0 h 2"/>
                  <a:gd name="T4" fmla="*/ 0 w 11"/>
                  <a:gd name="T5" fmla="*/ 0 h 2"/>
                  <a:gd name="T6" fmla="*/ 7 w 11"/>
                  <a:gd name="T7" fmla="*/ 0 h 2"/>
                  <a:gd name="T8" fmla="*/ 11 w 11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lnTo>
                      <a:pt x="7" y="0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11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26" name="Freeform 425">
                <a:extLst>
                  <a:ext uri="{FF2B5EF4-FFF2-40B4-BE49-F238E27FC236}">
                    <a16:creationId xmlns:a16="http://schemas.microsoft.com/office/drawing/2014/main" id="{DE9F261A-3B49-4DCB-8285-3A1F2A03A9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1" y="3451"/>
                <a:ext cx="12" cy="6"/>
              </a:xfrm>
              <a:custGeom>
                <a:avLst/>
                <a:gdLst>
                  <a:gd name="T0" fmla="*/ 8 w 12"/>
                  <a:gd name="T1" fmla="*/ 4 h 6"/>
                  <a:gd name="T2" fmla="*/ 12 w 12"/>
                  <a:gd name="T3" fmla="*/ 2 h 6"/>
                  <a:gd name="T4" fmla="*/ 12 w 12"/>
                  <a:gd name="T5" fmla="*/ 0 h 6"/>
                  <a:gd name="T6" fmla="*/ 12 w 12"/>
                  <a:gd name="T7" fmla="*/ 2 h 6"/>
                  <a:gd name="T8" fmla="*/ 8 w 12"/>
                  <a:gd name="T9" fmla="*/ 4 h 6"/>
                  <a:gd name="T10" fmla="*/ 6 w 12"/>
                  <a:gd name="T11" fmla="*/ 6 h 6"/>
                  <a:gd name="T12" fmla="*/ 0 w 12"/>
                  <a:gd name="T13" fmla="*/ 6 h 6"/>
                  <a:gd name="T14" fmla="*/ 6 w 12"/>
                  <a:gd name="T15" fmla="*/ 6 h 6"/>
                  <a:gd name="T16" fmla="*/ 8 w 12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6">
                    <a:moveTo>
                      <a:pt x="8" y="4"/>
                    </a:moveTo>
                    <a:lnTo>
                      <a:pt x="12" y="2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27" name="Freeform 426">
                <a:extLst>
                  <a:ext uri="{FF2B5EF4-FFF2-40B4-BE49-F238E27FC236}">
                    <a16:creationId xmlns:a16="http://schemas.microsoft.com/office/drawing/2014/main" id="{BC7D1DF6-BC0C-4814-9ABB-CB13BA45A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5" y="2848"/>
                <a:ext cx="19" cy="4"/>
              </a:xfrm>
              <a:custGeom>
                <a:avLst/>
                <a:gdLst>
                  <a:gd name="T0" fmla="*/ 15 w 19"/>
                  <a:gd name="T1" fmla="*/ 0 h 4"/>
                  <a:gd name="T2" fmla="*/ 19 w 19"/>
                  <a:gd name="T3" fmla="*/ 0 h 4"/>
                  <a:gd name="T4" fmla="*/ 15 w 19"/>
                  <a:gd name="T5" fmla="*/ 0 h 4"/>
                  <a:gd name="T6" fmla="*/ 2 w 19"/>
                  <a:gd name="T7" fmla="*/ 4 h 4"/>
                  <a:gd name="T8" fmla="*/ 0 w 19"/>
                  <a:gd name="T9" fmla="*/ 2 h 4"/>
                  <a:gd name="T10" fmla="*/ 2 w 19"/>
                  <a:gd name="T11" fmla="*/ 4 h 4"/>
                  <a:gd name="T12" fmla="*/ 15 w 19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4">
                    <a:moveTo>
                      <a:pt x="15" y="0"/>
                    </a:moveTo>
                    <a:lnTo>
                      <a:pt x="19" y="0"/>
                    </a:lnTo>
                    <a:lnTo>
                      <a:pt x="15" y="0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28" name="Freeform 427">
                <a:extLst>
                  <a:ext uri="{FF2B5EF4-FFF2-40B4-BE49-F238E27FC236}">
                    <a16:creationId xmlns:a16="http://schemas.microsoft.com/office/drawing/2014/main" id="{3312B212-2F3C-42F4-9BFE-AFC5134FDE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834"/>
                <a:ext cx="4" cy="4"/>
              </a:xfrm>
              <a:custGeom>
                <a:avLst/>
                <a:gdLst>
                  <a:gd name="T0" fmla="*/ 2 w 4"/>
                  <a:gd name="T1" fmla="*/ 2 h 4"/>
                  <a:gd name="T2" fmla="*/ 4 w 4"/>
                  <a:gd name="T3" fmla="*/ 0 h 4"/>
                  <a:gd name="T4" fmla="*/ 4 w 4"/>
                  <a:gd name="T5" fmla="*/ 0 h 4"/>
                  <a:gd name="T6" fmla="*/ 2 w 4"/>
                  <a:gd name="T7" fmla="*/ 2 h 4"/>
                  <a:gd name="T8" fmla="*/ 0 w 4"/>
                  <a:gd name="T9" fmla="*/ 4 h 4"/>
                  <a:gd name="T10" fmla="*/ 0 w 4"/>
                  <a:gd name="T11" fmla="*/ 4 h 4"/>
                  <a:gd name="T12" fmla="*/ 0 w 4"/>
                  <a:gd name="T13" fmla="*/ 4 h 4"/>
                  <a:gd name="T14" fmla="*/ 2 w 4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4">
                    <a:moveTo>
                      <a:pt x="2" y="2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29" name="Freeform 428">
                <a:extLst>
                  <a:ext uri="{FF2B5EF4-FFF2-40B4-BE49-F238E27FC236}">
                    <a16:creationId xmlns:a16="http://schemas.microsoft.com/office/drawing/2014/main" id="{F2E8E14B-6651-4344-B28B-6ABD89BB5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7" y="3480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0 w 2"/>
                  <a:gd name="T5" fmla="*/ 2 h 2"/>
                  <a:gd name="T6" fmla="*/ 2 w 2"/>
                  <a:gd name="T7" fmla="*/ 2 h 2"/>
                  <a:gd name="T8" fmla="*/ 2 w 2"/>
                  <a:gd name="T9" fmla="*/ 2 h 2"/>
                  <a:gd name="T10" fmla="*/ 2 w 2"/>
                  <a:gd name="T11" fmla="*/ 2 h 2"/>
                  <a:gd name="T12" fmla="*/ 0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30" name="Freeform 429">
                <a:extLst>
                  <a:ext uri="{FF2B5EF4-FFF2-40B4-BE49-F238E27FC236}">
                    <a16:creationId xmlns:a16="http://schemas.microsoft.com/office/drawing/2014/main" id="{3910B163-3702-401E-83FE-1933BEF00B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" y="278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31" name="Freeform 430">
                <a:extLst>
                  <a:ext uri="{FF2B5EF4-FFF2-40B4-BE49-F238E27FC236}">
                    <a16:creationId xmlns:a16="http://schemas.microsoft.com/office/drawing/2014/main" id="{D566672C-2D8C-40D3-8E2F-C8C355E23F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9" y="2777"/>
                <a:ext cx="6" cy="2"/>
              </a:xfrm>
              <a:custGeom>
                <a:avLst/>
                <a:gdLst>
                  <a:gd name="T0" fmla="*/ 6 w 6"/>
                  <a:gd name="T1" fmla="*/ 2 h 2"/>
                  <a:gd name="T2" fmla="*/ 6 w 6"/>
                  <a:gd name="T3" fmla="*/ 2 h 2"/>
                  <a:gd name="T4" fmla="*/ 0 w 6"/>
                  <a:gd name="T5" fmla="*/ 0 h 2"/>
                  <a:gd name="T6" fmla="*/ 6 w 6"/>
                  <a:gd name="T7" fmla="*/ 2 h 2"/>
                  <a:gd name="T8" fmla="*/ 6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2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32" name="Rectangle 431">
                <a:extLst>
                  <a:ext uri="{FF2B5EF4-FFF2-40B4-BE49-F238E27FC236}">
                    <a16:creationId xmlns:a16="http://schemas.microsoft.com/office/drawing/2014/main" id="{42B84C98-3878-4A07-AFB9-70A80C28A4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54" y="350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33" name="Freeform 432">
                <a:extLst>
                  <a:ext uri="{FF2B5EF4-FFF2-40B4-BE49-F238E27FC236}">
                    <a16:creationId xmlns:a16="http://schemas.microsoft.com/office/drawing/2014/main" id="{6D2B1F93-F33E-4EFB-8F8B-0880C77166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2" y="3472"/>
                <a:ext cx="5" cy="8"/>
              </a:xfrm>
              <a:custGeom>
                <a:avLst/>
                <a:gdLst>
                  <a:gd name="T0" fmla="*/ 2 w 5"/>
                  <a:gd name="T1" fmla="*/ 6 h 8"/>
                  <a:gd name="T2" fmla="*/ 0 w 5"/>
                  <a:gd name="T3" fmla="*/ 6 h 8"/>
                  <a:gd name="T4" fmla="*/ 0 w 5"/>
                  <a:gd name="T5" fmla="*/ 4 h 8"/>
                  <a:gd name="T6" fmla="*/ 0 w 5"/>
                  <a:gd name="T7" fmla="*/ 2 h 8"/>
                  <a:gd name="T8" fmla="*/ 0 w 5"/>
                  <a:gd name="T9" fmla="*/ 2 h 8"/>
                  <a:gd name="T10" fmla="*/ 0 w 5"/>
                  <a:gd name="T11" fmla="*/ 0 h 8"/>
                  <a:gd name="T12" fmla="*/ 0 w 5"/>
                  <a:gd name="T13" fmla="*/ 2 h 8"/>
                  <a:gd name="T14" fmla="*/ 0 w 5"/>
                  <a:gd name="T15" fmla="*/ 2 h 8"/>
                  <a:gd name="T16" fmla="*/ 0 w 5"/>
                  <a:gd name="T17" fmla="*/ 4 h 8"/>
                  <a:gd name="T18" fmla="*/ 0 w 5"/>
                  <a:gd name="T19" fmla="*/ 6 h 8"/>
                  <a:gd name="T20" fmla="*/ 2 w 5"/>
                  <a:gd name="T21" fmla="*/ 6 h 8"/>
                  <a:gd name="T22" fmla="*/ 4 w 5"/>
                  <a:gd name="T23" fmla="*/ 8 h 8"/>
                  <a:gd name="T24" fmla="*/ 5 w 5"/>
                  <a:gd name="T25" fmla="*/ 8 h 8"/>
                  <a:gd name="T26" fmla="*/ 4 w 5"/>
                  <a:gd name="T27" fmla="*/ 8 h 8"/>
                  <a:gd name="T28" fmla="*/ 2 w 5"/>
                  <a:gd name="T2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" h="8">
                    <a:moveTo>
                      <a:pt x="2" y="6"/>
                    </a:move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5" y="8"/>
                    </a:lnTo>
                    <a:lnTo>
                      <a:pt x="4" y="8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34" name="Freeform 433">
                <a:extLst>
                  <a:ext uri="{FF2B5EF4-FFF2-40B4-BE49-F238E27FC236}">
                    <a16:creationId xmlns:a16="http://schemas.microsoft.com/office/drawing/2014/main" id="{04324BC5-5F7F-4112-8C42-3E6B9CFF69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777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35" name="Freeform 434">
                <a:extLst>
                  <a:ext uri="{FF2B5EF4-FFF2-40B4-BE49-F238E27FC236}">
                    <a16:creationId xmlns:a16="http://schemas.microsoft.com/office/drawing/2014/main" id="{0709F67F-4414-433C-BA05-5A4DA210EA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9" y="3484"/>
                <a:ext cx="10" cy="31"/>
              </a:xfrm>
              <a:custGeom>
                <a:avLst/>
                <a:gdLst>
                  <a:gd name="T0" fmla="*/ 4 w 10"/>
                  <a:gd name="T1" fmla="*/ 26 h 31"/>
                  <a:gd name="T2" fmla="*/ 2 w 10"/>
                  <a:gd name="T3" fmla="*/ 22 h 31"/>
                  <a:gd name="T4" fmla="*/ 2 w 10"/>
                  <a:gd name="T5" fmla="*/ 18 h 31"/>
                  <a:gd name="T6" fmla="*/ 2 w 10"/>
                  <a:gd name="T7" fmla="*/ 12 h 31"/>
                  <a:gd name="T8" fmla="*/ 0 w 10"/>
                  <a:gd name="T9" fmla="*/ 4 h 31"/>
                  <a:gd name="T10" fmla="*/ 0 w 10"/>
                  <a:gd name="T11" fmla="*/ 2 h 31"/>
                  <a:gd name="T12" fmla="*/ 0 w 10"/>
                  <a:gd name="T13" fmla="*/ 0 h 31"/>
                  <a:gd name="T14" fmla="*/ 0 w 10"/>
                  <a:gd name="T15" fmla="*/ 2 h 31"/>
                  <a:gd name="T16" fmla="*/ 0 w 10"/>
                  <a:gd name="T17" fmla="*/ 4 h 31"/>
                  <a:gd name="T18" fmla="*/ 2 w 10"/>
                  <a:gd name="T19" fmla="*/ 12 h 31"/>
                  <a:gd name="T20" fmla="*/ 2 w 10"/>
                  <a:gd name="T21" fmla="*/ 18 h 31"/>
                  <a:gd name="T22" fmla="*/ 2 w 10"/>
                  <a:gd name="T23" fmla="*/ 22 h 31"/>
                  <a:gd name="T24" fmla="*/ 4 w 10"/>
                  <a:gd name="T25" fmla="*/ 26 h 31"/>
                  <a:gd name="T26" fmla="*/ 8 w 10"/>
                  <a:gd name="T27" fmla="*/ 31 h 31"/>
                  <a:gd name="T28" fmla="*/ 10 w 10"/>
                  <a:gd name="T29" fmla="*/ 31 h 31"/>
                  <a:gd name="T30" fmla="*/ 8 w 10"/>
                  <a:gd name="T31" fmla="*/ 31 h 31"/>
                  <a:gd name="T32" fmla="*/ 4 w 10"/>
                  <a:gd name="T33" fmla="*/ 2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31">
                    <a:moveTo>
                      <a:pt x="4" y="26"/>
                    </a:moveTo>
                    <a:lnTo>
                      <a:pt x="2" y="22"/>
                    </a:lnTo>
                    <a:lnTo>
                      <a:pt x="2" y="18"/>
                    </a:lnTo>
                    <a:lnTo>
                      <a:pt x="2" y="1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12"/>
                    </a:lnTo>
                    <a:lnTo>
                      <a:pt x="2" y="18"/>
                    </a:lnTo>
                    <a:lnTo>
                      <a:pt x="2" y="22"/>
                    </a:lnTo>
                    <a:lnTo>
                      <a:pt x="4" y="26"/>
                    </a:lnTo>
                    <a:lnTo>
                      <a:pt x="8" y="31"/>
                    </a:lnTo>
                    <a:lnTo>
                      <a:pt x="10" y="31"/>
                    </a:lnTo>
                    <a:lnTo>
                      <a:pt x="8" y="31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36" name="Freeform 435">
                <a:extLst>
                  <a:ext uri="{FF2B5EF4-FFF2-40B4-BE49-F238E27FC236}">
                    <a16:creationId xmlns:a16="http://schemas.microsoft.com/office/drawing/2014/main" id="{17D6BD1F-70BF-4ACD-8895-8D2C3C1A10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3" y="2777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0 h 6"/>
                  <a:gd name="T4" fmla="*/ 2 w 2"/>
                  <a:gd name="T5" fmla="*/ 0 h 6"/>
                  <a:gd name="T6" fmla="*/ 0 w 2"/>
                  <a:gd name="T7" fmla="*/ 4 h 6"/>
                  <a:gd name="T8" fmla="*/ 0 w 2"/>
                  <a:gd name="T9" fmla="*/ 6 h 6"/>
                  <a:gd name="T10" fmla="*/ 0 w 2"/>
                  <a:gd name="T11" fmla="*/ 4 h 6"/>
                  <a:gd name="T12" fmla="*/ 2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37" name="Freeform 436">
                <a:extLst>
                  <a:ext uri="{FF2B5EF4-FFF2-40B4-BE49-F238E27FC236}">
                    <a16:creationId xmlns:a16="http://schemas.microsoft.com/office/drawing/2014/main" id="{6CB3EC7D-2F2E-4624-A17B-FE08BA820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7" y="3529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0 h 6"/>
                  <a:gd name="T4" fmla="*/ 0 w 2"/>
                  <a:gd name="T5" fmla="*/ 2 h 6"/>
                  <a:gd name="T6" fmla="*/ 0 w 2"/>
                  <a:gd name="T7" fmla="*/ 6 h 6"/>
                  <a:gd name="T8" fmla="*/ 0 w 2"/>
                  <a:gd name="T9" fmla="*/ 6 h 6"/>
                  <a:gd name="T10" fmla="*/ 0 w 2"/>
                  <a:gd name="T11" fmla="*/ 2 h 6"/>
                  <a:gd name="T12" fmla="*/ 2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38" name="Freeform 437">
                <a:extLst>
                  <a:ext uri="{FF2B5EF4-FFF2-40B4-BE49-F238E27FC236}">
                    <a16:creationId xmlns:a16="http://schemas.microsoft.com/office/drawing/2014/main" id="{A1E0A79D-AEB7-4E90-99BE-E1479D96D6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9" y="2779"/>
                <a:ext cx="9" cy="6"/>
              </a:xfrm>
              <a:custGeom>
                <a:avLst/>
                <a:gdLst>
                  <a:gd name="T0" fmla="*/ 2 w 9"/>
                  <a:gd name="T1" fmla="*/ 6 h 6"/>
                  <a:gd name="T2" fmla="*/ 9 w 9"/>
                  <a:gd name="T3" fmla="*/ 6 h 6"/>
                  <a:gd name="T4" fmla="*/ 2 w 9"/>
                  <a:gd name="T5" fmla="*/ 6 h 6"/>
                  <a:gd name="T6" fmla="*/ 0 w 9"/>
                  <a:gd name="T7" fmla="*/ 2 h 6"/>
                  <a:gd name="T8" fmla="*/ 0 w 9"/>
                  <a:gd name="T9" fmla="*/ 0 h 6"/>
                  <a:gd name="T10" fmla="*/ 0 w 9"/>
                  <a:gd name="T11" fmla="*/ 2 h 6"/>
                  <a:gd name="T12" fmla="*/ 2 w 9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6">
                    <a:moveTo>
                      <a:pt x="2" y="6"/>
                    </a:moveTo>
                    <a:lnTo>
                      <a:pt x="9" y="6"/>
                    </a:lnTo>
                    <a:lnTo>
                      <a:pt x="2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39" name="Freeform 438">
                <a:extLst>
                  <a:ext uri="{FF2B5EF4-FFF2-40B4-BE49-F238E27FC236}">
                    <a16:creationId xmlns:a16="http://schemas.microsoft.com/office/drawing/2014/main" id="{0CFD920B-2558-4ABE-A52E-C112C20735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3" y="3517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40" name="Freeform 439">
                <a:extLst>
                  <a:ext uri="{FF2B5EF4-FFF2-40B4-BE49-F238E27FC236}">
                    <a16:creationId xmlns:a16="http://schemas.microsoft.com/office/drawing/2014/main" id="{D8416E54-A98C-4AE3-8EFA-1B028FD533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5" y="3517"/>
                <a:ext cx="4" cy="10"/>
              </a:xfrm>
              <a:custGeom>
                <a:avLst/>
                <a:gdLst>
                  <a:gd name="T0" fmla="*/ 2 w 4"/>
                  <a:gd name="T1" fmla="*/ 6 h 10"/>
                  <a:gd name="T2" fmla="*/ 2 w 4"/>
                  <a:gd name="T3" fmla="*/ 6 h 10"/>
                  <a:gd name="T4" fmla="*/ 0 w 4"/>
                  <a:gd name="T5" fmla="*/ 0 h 10"/>
                  <a:gd name="T6" fmla="*/ 2 w 4"/>
                  <a:gd name="T7" fmla="*/ 6 h 10"/>
                  <a:gd name="T8" fmla="*/ 2 w 4"/>
                  <a:gd name="T9" fmla="*/ 6 h 10"/>
                  <a:gd name="T10" fmla="*/ 4 w 4"/>
                  <a:gd name="T11" fmla="*/ 8 h 10"/>
                  <a:gd name="T12" fmla="*/ 4 w 4"/>
                  <a:gd name="T13" fmla="*/ 10 h 10"/>
                  <a:gd name="T14" fmla="*/ 4 w 4"/>
                  <a:gd name="T15" fmla="*/ 8 h 10"/>
                  <a:gd name="T16" fmla="*/ 2 w 4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0">
                    <a:moveTo>
                      <a:pt x="2" y="6"/>
                    </a:moveTo>
                    <a:lnTo>
                      <a:pt x="2" y="6"/>
                    </a:lnTo>
                    <a:lnTo>
                      <a:pt x="0" y="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41" name="Freeform 440">
                <a:extLst>
                  <a:ext uri="{FF2B5EF4-FFF2-40B4-BE49-F238E27FC236}">
                    <a16:creationId xmlns:a16="http://schemas.microsoft.com/office/drawing/2014/main" id="{FF02D055-3C32-450E-8335-7A33C3FA47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1" y="2785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42" name="Freeform 441">
                <a:extLst>
                  <a:ext uri="{FF2B5EF4-FFF2-40B4-BE49-F238E27FC236}">
                    <a16:creationId xmlns:a16="http://schemas.microsoft.com/office/drawing/2014/main" id="{280E25A4-FEC2-41EE-86E3-8AA744A477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9" y="2963"/>
                <a:ext cx="6" cy="6"/>
              </a:xfrm>
              <a:custGeom>
                <a:avLst/>
                <a:gdLst>
                  <a:gd name="T0" fmla="*/ 2 w 6"/>
                  <a:gd name="T1" fmla="*/ 2 h 6"/>
                  <a:gd name="T2" fmla="*/ 0 w 6"/>
                  <a:gd name="T3" fmla="*/ 0 h 6"/>
                  <a:gd name="T4" fmla="*/ 2 w 6"/>
                  <a:gd name="T5" fmla="*/ 2 h 6"/>
                  <a:gd name="T6" fmla="*/ 6 w 6"/>
                  <a:gd name="T7" fmla="*/ 6 h 6"/>
                  <a:gd name="T8" fmla="*/ 6 w 6"/>
                  <a:gd name="T9" fmla="*/ 6 h 6"/>
                  <a:gd name="T10" fmla="*/ 6 w 6"/>
                  <a:gd name="T11" fmla="*/ 6 h 6"/>
                  <a:gd name="T12" fmla="*/ 2 w 6"/>
                  <a:gd name="T1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43" name="Freeform 442">
                <a:extLst>
                  <a:ext uri="{FF2B5EF4-FFF2-40B4-BE49-F238E27FC236}">
                    <a16:creationId xmlns:a16="http://schemas.microsoft.com/office/drawing/2014/main" id="{29575E76-73D4-42FE-95EC-DDC0009F0E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3" y="3453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44" name="Freeform 443">
                <a:extLst>
                  <a:ext uri="{FF2B5EF4-FFF2-40B4-BE49-F238E27FC236}">
                    <a16:creationId xmlns:a16="http://schemas.microsoft.com/office/drawing/2014/main" id="{05640208-60C2-4FBF-BC6F-AE7268539C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5" y="3457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45" name="Rectangle 444">
                <a:extLst>
                  <a:ext uri="{FF2B5EF4-FFF2-40B4-BE49-F238E27FC236}">
                    <a16:creationId xmlns:a16="http://schemas.microsoft.com/office/drawing/2014/main" id="{774F582A-0BD6-4222-AA3D-9358FB0E9A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75" y="34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46" name="Freeform 445">
                <a:extLst>
                  <a:ext uri="{FF2B5EF4-FFF2-40B4-BE49-F238E27FC236}">
                    <a16:creationId xmlns:a16="http://schemas.microsoft.com/office/drawing/2014/main" id="{0AEA9773-D1F5-4835-A885-6E0A2643EC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0" y="3453"/>
                <a:ext cx="2" cy="4"/>
              </a:xfrm>
              <a:custGeom>
                <a:avLst/>
                <a:gdLst>
                  <a:gd name="T0" fmla="*/ 0 w 2"/>
                  <a:gd name="T1" fmla="*/ 2 h 4"/>
                  <a:gd name="T2" fmla="*/ 2 w 2"/>
                  <a:gd name="T3" fmla="*/ 0 h 4"/>
                  <a:gd name="T4" fmla="*/ 0 w 2"/>
                  <a:gd name="T5" fmla="*/ 2 h 4"/>
                  <a:gd name="T6" fmla="*/ 0 w 2"/>
                  <a:gd name="T7" fmla="*/ 4 h 4"/>
                  <a:gd name="T8" fmla="*/ 0 w 2"/>
                  <a:gd name="T9" fmla="*/ 4 h 4"/>
                  <a:gd name="T10" fmla="*/ 0 w 2"/>
                  <a:gd name="T1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47" name="Freeform 446">
                <a:extLst>
                  <a:ext uri="{FF2B5EF4-FFF2-40B4-BE49-F238E27FC236}">
                    <a16:creationId xmlns:a16="http://schemas.microsoft.com/office/drawing/2014/main" id="{D3C0DEA3-B578-4DE6-A07B-72A40D781A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8" y="3461"/>
                <a:ext cx="6" cy="2"/>
              </a:xfrm>
              <a:custGeom>
                <a:avLst/>
                <a:gdLst>
                  <a:gd name="T0" fmla="*/ 6 w 6"/>
                  <a:gd name="T1" fmla="*/ 2 h 2"/>
                  <a:gd name="T2" fmla="*/ 2 w 6"/>
                  <a:gd name="T3" fmla="*/ 2 h 2"/>
                  <a:gd name="T4" fmla="*/ 0 w 6"/>
                  <a:gd name="T5" fmla="*/ 0 h 2"/>
                  <a:gd name="T6" fmla="*/ 2 w 6"/>
                  <a:gd name="T7" fmla="*/ 2 h 2"/>
                  <a:gd name="T8" fmla="*/ 6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48" name="Freeform 447">
                <a:extLst>
                  <a:ext uri="{FF2B5EF4-FFF2-40B4-BE49-F238E27FC236}">
                    <a16:creationId xmlns:a16="http://schemas.microsoft.com/office/drawing/2014/main" id="{C3A1578F-EEE4-4A77-B733-E6BA65256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1" y="3461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2 w 2"/>
                  <a:gd name="T3" fmla="*/ 0 w 2"/>
                  <a:gd name="T4" fmla="*/ 0 w 2"/>
                  <a:gd name="T5" fmla="*/ 0 w 2"/>
                  <a:gd name="T6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49" name="Freeform 448">
                <a:extLst>
                  <a:ext uri="{FF2B5EF4-FFF2-40B4-BE49-F238E27FC236}">
                    <a16:creationId xmlns:a16="http://schemas.microsoft.com/office/drawing/2014/main" id="{FE71E2FE-E9E8-4354-9934-66C8BED69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" y="3443"/>
                <a:ext cx="10" cy="8"/>
              </a:xfrm>
              <a:custGeom>
                <a:avLst/>
                <a:gdLst>
                  <a:gd name="T0" fmla="*/ 10 w 10"/>
                  <a:gd name="T1" fmla="*/ 0 h 8"/>
                  <a:gd name="T2" fmla="*/ 6 w 10"/>
                  <a:gd name="T3" fmla="*/ 2 h 8"/>
                  <a:gd name="T4" fmla="*/ 0 w 10"/>
                  <a:gd name="T5" fmla="*/ 8 h 8"/>
                  <a:gd name="T6" fmla="*/ 6 w 10"/>
                  <a:gd name="T7" fmla="*/ 2 h 8"/>
                  <a:gd name="T8" fmla="*/ 10 w 10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">
                    <a:moveTo>
                      <a:pt x="10" y="0"/>
                    </a:moveTo>
                    <a:lnTo>
                      <a:pt x="6" y="2"/>
                    </a:lnTo>
                    <a:lnTo>
                      <a:pt x="0" y="8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50" name="Freeform 449">
                <a:extLst>
                  <a:ext uri="{FF2B5EF4-FFF2-40B4-BE49-F238E27FC236}">
                    <a16:creationId xmlns:a16="http://schemas.microsoft.com/office/drawing/2014/main" id="{0CE23882-9771-4D14-B4B1-DF4834B977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4" y="344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51" name="Freeform 450">
                <a:extLst>
                  <a:ext uri="{FF2B5EF4-FFF2-40B4-BE49-F238E27FC236}">
                    <a16:creationId xmlns:a16="http://schemas.microsoft.com/office/drawing/2014/main" id="{4F2BFB8A-F667-46F2-AB75-D16C3FC728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3" y="3451"/>
                <a:ext cx="30" cy="10"/>
              </a:xfrm>
              <a:custGeom>
                <a:avLst/>
                <a:gdLst>
                  <a:gd name="T0" fmla="*/ 2 w 30"/>
                  <a:gd name="T1" fmla="*/ 0 h 10"/>
                  <a:gd name="T2" fmla="*/ 4 w 30"/>
                  <a:gd name="T3" fmla="*/ 0 h 10"/>
                  <a:gd name="T4" fmla="*/ 8 w 30"/>
                  <a:gd name="T5" fmla="*/ 2 h 10"/>
                  <a:gd name="T6" fmla="*/ 26 w 30"/>
                  <a:gd name="T7" fmla="*/ 10 h 10"/>
                  <a:gd name="T8" fmla="*/ 30 w 30"/>
                  <a:gd name="T9" fmla="*/ 10 h 10"/>
                  <a:gd name="T10" fmla="*/ 26 w 30"/>
                  <a:gd name="T11" fmla="*/ 10 h 10"/>
                  <a:gd name="T12" fmla="*/ 8 w 30"/>
                  <a:gd name="T13" fmla="*/ 2 h 10"/>
                  <a:gd name="T14" fmla="*/ 4 w 30"/>
                  <a:gd name="T15" fmla="*/ 0 h 10"/>
                  <a:gd name="T16" fmla="*/ 2 w 30"/>
                  <a:gd name="T17" fmla="*/ 0 h 10"/>
                  <a:gd name="T18" fmla="*/ 0 w 30"/>
                  <a:gd name="T19" fmla="*/ 0 h 10"/>
                  <a:gd name="T20" fmla="*/ 0 w 30"/>
                  <a:gd name="T21" fmla="*/ 2 h 10"/>
                  <a:gd name="T22" fmla="*/ 0 w 30"/>
                  <a:gd name="T23" fmla="*/ 0 h 10"/>
                  <a:gd name="T24" fmla="*/ 2 w 30"/>
                  <a:gd name="T2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10">
                    <a:moveTo>
                      <a:pt x="2" y="0"/>
                    </a:moveTo>
                    <a:lnTo>
                      <a:pt x="4" y="0"/>
                    </a:lnTo>
                    <a:lnTo>
                      <a:pt x="8" y="2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8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52" name="Freeform 451">
                <a:extLst>
                  <a:ext uri="{FF2B5EF4-FFF2-40B4-BE49-F238E27FC236}">
                    <a16:creationId xmlns:a16="http://schemas.microsoft.com/office/drawing/2014/main" id="{5CFF9FBF-72B1-45C9-A2A3-8E610F5DEE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5" y="3457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6 w 6"/>
                  <a:gd name="T3" fmla="*/ 0 h 4"/>
                  <a:gd name="T4" fmla="*/ 6 w 6"/>
                  <a:gd name="T5" fmla="*/ 0 h 4"/>
                  <a:gd name="T6" fmla="*/ 0 w 6"/>
                  <a:gd name="T7" fmla="*/ 4 h 4"/>
                  <a:gd name="T8" fmla="*/ 0 w 6"/>
                  <a:gd name="T9" fmla="*/ 4 h 4"/>
                  <a:gd name="T10" fmla="*/ 6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53" name="Freeform 452">
                <a:extLst>
                  <a:ext uri="{FF2B5EF4-FFF2-40B4-BE49-F238E27FC236}">
                    <a16:creationId xmlns:a16="http://schemas.microsoft.com/office/drawing/2014/main" id="{3FC3C3DE-0BB5-4B9F-9275-115B62913A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2" y="3457"/>
                <a:ext cx="2" cy="14"/>
              </a:xfrm>
              <a:custGeom>
                <a:avLst/>
                <a:gdLst>
                  <a:gd name="T0" fmla="*/ 2 w 2"/>
                  <a:gd name="T1" fmla="*/ 8 h 14"/>
                  <a:gd name="T2" fmla="*/ 0 w 2"/>
                  <a:gd name="T3" fmla="*/ 4 h 14"/>
                  <a:gd name="T4" fmla="*/ 0 w 2"/>
                  <a:gd name="T5" fmla="*/ 2 h 14"/>
                  <a:gd name="T6" fmla="*/ 2 w 2"/>
                  <a:gd name="T7" fmla="*/ 0 h 14"/>
                  <a:gd name="T8" fmla="*/ 2 w 2"/>
                  <a:gd name="T9" fmla="*/ 0 h 14"/>
                  <a:gd name="T10" fmla="*/ 0 w 2"/>
                  <a:gd name="T11" fmla="*/ 2 h 14"/>
                  <a:gd name="T12" fmla="*/ 0 w 2"/>
                  <a:gd name="T13" fmla="*/ 4 h 14"/>
                  <a:gd name="T14" fmla="*/ 2 w 2"/>
                  <a:gd name="T15" fmla="*/ 8 h 14"/>
                  <a:gd name="T16" fmla="*/ 2 w 2"/>
                  <a:gd name="T17" fmla="*/ 12 h 14"/>
                  <a:gd name="T18" fmla="*/ 2 w 2"/>
                  <a:gd name="T19" fmla="*/ 14 h 14"/>
                  <a:gd name="T20" fmla="*/ 2 w 2"/>
                  <a:gd name="T21" fmla="*/ 12 h 14"/>
                  <a:gd name="T22" fmla="*/ 2 w 2"/>
                  <a:gd name="T23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" h="14">
                    <a:moveTo>
                      <a:pt x="2" y="8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2" y="12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54" name="Freeform 453">
                <a:extLst>
                  <a:ext uri="{FF2B5EF4-FFF2-40B4-BE49-F238E27FC236}">
                    <a16:creationId xmlns:a16="http://schemas.microsoft.com/office/drawing/2014/main" id="{51BE57F8-9C64-4BCC-AA18-D94031C2DD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9" y="3529"/>
                <a:ext cx="7" cy="10"/>
              </a:xfrm>
              <a:custGeom>
                <a:avLst/>
                <a:gdLst>
                  <a:gd name="T0" fmla="*/ 4 w 7"/>
                  <a:gd name="T1" fmla="*/ 6 h 10"/>
                  <a:gd name="T2" fmla="*/ 5 w 7"/>
                  <a:gd name="T3" fmla="*/ 4 h 10"/>
                  <a:gd name="T4" fmla="*/ 7 w 7"/>
                  <a:gd name="T5" fmla="*/ 0 h 10"/>
                  <a:gd name="T6" fmla="*/ 5 w 7"/>
                  <a:gd name="T7" fmla="*/ 4 h 10"/>
                  <a:gd name="T8" fmla="*/ 4 w 7"/>
                  <a:gd name="T9" fmla="*/ 6 h 10"/>
                  <a:gd name="T10" fmla="*/ 0 w 7"/>
                  <a:gd name="T11" fmla="*/ 10 h 10"/>
                  <a:gd name="T12" fmla="*/ 0 w 7"/>
                  <a:gd name="T13" fmla="*/ 10 h 10"/>
                  <a:gd name="T14" fmla="*/ 0 w 7"/>
                  <a:gd name="T15" fmla="*/ 10 h 10"/>
                  <a:gd name="T16" fmla="*/ 4 w 7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10">
                    <a:moveTo>
                      <a:pt x="4" y="6"/>
                    </a:moveTo>
                    <a:lnTo>
                      <a:pt x="5" y="4"/>
                    </a:lnTo>
                    <a:lnTo>
                      <a:pt x="7" y="0"/>
                    </a:lnTo>
                    <a:lnTo>
                      <a:pt x="5" y="4"/>
                    </a:lnTo>
                    <a:lnTo>
                      <a:pt x="4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55" name="Freeform 454">
                <a:extLst>
                  <a:ext uri="{FF2B5EF4-FFF2-40B4-BE49-F238E27FC236}">
                    <a16:creationId xmlns:a16="http://schemas.microsoft.com/office/drawing/2014/main" id="{ABEB942B-417E-47F0-89E8-9A60414381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4" y="3498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56" name="Freeform 455">
                <a:extLst>
                  <a:ext uri="{FF2B5EF4-FFF2-40B4-BE49-F238E27FC236}">
                    <a16:creationId xmlns:a16="http://schemas.microsoft.com/office/drawing/2014/main" id="{458E9F16-FC65-43C5-96A8-1E2E8A237A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8" y="3494"/>
                <a:ext cx="10" cy="0"/>
              </a:xfrm>
              <a:custGeom>
                <a:avLst/>
                <a:gdLst>
                  <a:gd name="T0" fmla="*/ 10 w 10"/>
                  <a:gd name="T1" fmla="*/ 10 w 10"/>
                  <a:gd name="T2" fmla="*/ 10 w 10"/>
                  <a:gd name="T3" fmla="*/ 2 w 10"/>
                  <a:gd name="T4" fmla="*/ 0 w 10"/>
                  <a:gd name="T5" fmla="*/ 2 w 10"/>
                  <a:gd name="T6" fmla="*/ 10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10">
                    <a:moveTo>
                      <a:pt x="10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57" name="Freeform 456">
                <a:extLst>
                  <a:ext uri="{FF2B5EF4-FFF2-40B4-BE49-F238E27FC236}">
                    <a16:creationId xmlns:a16="http://schemas.microsoft.com/office/drawing/2014/main" id="{C4AADCC9-1B03-401F-90A6-1B7ED6AB2C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1" y="3547"/>
                <a:ext cx="4" cy="6"/>
              </a:xfrm>
              <a:custGeom>
                <a:avLst/>
                <a:gdLst>
                  <a:gd name="T0" fmla="*/ 2 w 4"/>
                  <a:gd name="T1" fmla="*/ 4 h 6"/>
                  <a:gd name="T2" fmla="*/ 4 w 4"/>
                  <a:gd name="T3" fmla="*/ 0 h 6"/>
                  <a:gd name="T4" fmla="*/ 2 w 4"/>
                  <a:gd name="T5" fmla="*/ 4 h 6"/>
                  <a:gd name="T6" fmla="*/ 0 w 4"/>
                  <a:gd name="T7" fmla="*/ 6 h 6"/>
                  <a:gd name="T8" fmla="*/ 0 w 4"/>
                  <a:gd name="T9" fmla="*/ 6 h 6"/>
                  <a:gd name="T10" fmla="*/ 2 w 4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2" y="4"/>
                    </a:moveTo>
                    <a:lnTo>
                      <a:pt x="4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58" name="Freeform 457">
                <a:extLst>
                  <a:ext uri="{FF2B5EF4-FFF2-40B4-BE49-F238E27FC236}">
                    <a16:creationId xmlns:a16="http://schemas.microsoft.com/office/drawing/2014/main" id="{51C530E5-79DC-47FA-8081-14868E9642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" y="3482"/>
                <a:ext cx="10" cy="6"/>
              </a:xfrm>
              <a:custGeom>
                <a:avLst/>
                <a:gdLst>
                  <a:gd name="T0" fmla="*/ 8 w 10"/>
                  <a:gd name="T1" fmla="*/ 4 h 6"/>
                  <a:gd name="T2" fmla="*/ 8 w 10"/>
                  <a:gd name="T3" fmla="*/ 2 h 6"/>
                  <a:gd name="T4" fmla="*/ 10 w 10"/>
                  <a:gd name="T5" fmla="*/ 0 h 6"/>
                  <a:gd name="T6" fmla="*/ 8 w 10"/>
                  <a:gd name="T7" fmla="*/ 2 h 6"/>
                  <a:gd name="T8" fmla="*/ 8 w 10"/>
                  <a:gd name="T9" fmla="*/ 4 h 6"/>
                  <a:gd name="T10" fmla="*/ 4 w 10"/>
                  <a:gd name="T11" fmla="*/ 6 h 6"/>
                  <a:gd name="T12" fmla="*/ 0 w 10"/>
                  <a:gd name="T13" fmla="*/ 6 h 6"/>
                  <a:gd name="T14" fmla="*/ 4 w 10"/>
                  <a:gd name="T15" fmla="*/ 6 h 6"/>
                  <a:gd name="T16" fmla="*/ 8 w 10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6">
                    <a:moveTo>
                      <a:pt x="8" y="4"/>
                    </a:moveTo>
                    <a:lnTo>
                      <a:pt x="8" y="2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59" name="Freeform 458">
                <a:extLst>
                  <a:ext uri="{FF2B5EF4-FFF2-40B4-BE49-F238E27FC236}">
                    <a16:creationId xmlns:a16="http://schemas.microsoft.com/office/drawing/2014/main" id="{60F5C468-35C2-4B1B-B973-427EDE3708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6" y="3431"/>
                <a:ext cx="8" cy="10"/>
              </a:xfrm>
              <a:custGeom>
                <a:avLst/>
                <a:gdLst>
                  <a:gd name="T0" fmla="*/ 8 w 8"/>
                  <a:gd name="T1" fmla="*/ 0 h 10"/>
                  <a:gd name="T2" fmla="*/ 8 w 8"/>
                  <a:gd name="T3" fmla="*/ 0 h 10"/>
                  <a:gd name="T4" fmla="*/ 4 w 8"/>
                  <a:gd name="T5" fmla="*/ 6 h 10"/>
                  <a:gd name="T6" fmla="*/ 0 w 8"/>
                  <a:gd name="T7" fmla="*/ 10 h 10"/>
                  <a:gd name="T8" fmla="*/ 4 w 8"/>
                  <a:gd name="T9" fmla="*/ 6 h 10"/>
                  <a:gd name="T10" fmla="*/ 8 w 8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0">
                    <a:moveTo>
                      <a:pt x="8" y="0"/>
                    </a:moveTo>
                    <a:lnTo>
                      <a:pt x="8" y="0"/>
                    </a:lnTo>
                    <a:lnTo>
                      <a:pt x="4" y="6"/>
                    </a:lnTo>
                    <a:lnTo>
                      <a:pt x="0" y="10"/>
                    </a:lnTo>
                    <a:lnTo>
                      <a:pt x="4" y="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60" name="Freeform 459">
                <a:extLst>
                  <a:ext uri="{FF2B5EF4-FFF2-40B4-BE49-F238E27FC236}">
                    <a16:creationId xmlns:a16="http://schemas.microsoft.com/office/drawing/2014/main" id="{5DDC333E-A87B-494C-A85B-1CDCF1E632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0" y="3478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61" name="Rectangle 460">
                <a:extLst>
                  <a:ext uri="{FF2B5EF4-FFF2-40B4-BE49-F238E27FC236}">
                    <a16:creationId xmlns:a16="http://schemas.microsoft.com/office/drawing/2014/main" id="{8B8F00EE-28A8-4B95-B303-2B697F2346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5" y="347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62" name="Freeform 461">
                <a:extLst>
                  <a:ext uri="{FF2B5EF4-FFF2-40B4-BE49-F238E27FC236}">
                    <a16:creationId xmlns:a16="http://schemas.microsoft.com/office/drawing/2014/main" id="{EEB3C008-4397-4606-A44A-DA5223696D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4" y="3457"/>
                <a:ext cx="4" cy="0"/>
              </a:xfrm>
              <a:custGeom>
                <a:avLst/>
                <a:gdLst>
                  <a:gd name="T0" fmla="*/ 4 w 4"/>
                  <a:gd name="T1" fmla="*/ 4 w 4"/>
                  <a:gd name="T2" fmla="*/ 4 w 4"/>
                  <a:gd name="T3" fmla="*/ 0 w 4"/>
                  <a:gd name="T4" fmla="*/ 0 w 4"/>
                  <a:gd name="T5" fmla="*/ 0 w 4"/>
                  <a:gd name="T6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63" name="Freeform 462">
                <a:extLst>
                  <a:ext uri="{FF2B5EF4-FFF2-40B4-BE49-F238E27FC236}">
                    <a16:creationId xmlns:a16="http://schemas.microsoft.com/office/drawing/2014/main" id="{7EB8FB1C-2214-4BFD-8E7D-E56ED9B0D2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0" y="3490"/>
                <a:ext cx="6" cy="0"/>
              </a:xfrm>
              <a:custGeom>
                <a:avLst/>
                <a:gdLst>
                  <a:gd name="T0" fmla="*/ 6 w 6"/>
                  <a:gd name="T1" fmla="*/ 6 w 6"/>
                  <a:gd name="T2" fmla="*/ 4 w 6"/>
                  <a:gd name="T3" fmla="*/ 0 w 6"/>
                  <a:gd name="T4" fmla="*/ 4 w 6"/>
                  <a:gd name="T5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64" name="Freeform 463">
                <a:extLst>
                  <a:ext uri="{FF2B5EF4-FFF2-40B4-BE49-F238E27FC236}">
                    <a16:creationId xmlns:a16="http://schemas.microsoft.com/office/drawing/2014/main" id="{046F4AA2-61DB-4613-BD74-30A65ED1C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0" y="3512"/>
                <a:ext cx="0" cy="3"/>
              </a:xfrm>
              <a:custGeom>
                <a:avLst/>
                <a:gdLst>
                  <a:gd name="T0" fmla="*/ 3 h 3"/>
                  <a:gd name="T1" fmla="*/ 1 h 3"/>
                  <a:gd name="T2" fmla="*/ 0 h 3"/>
                  <a:gd name="T3" fmla="*/ 1 h 3"/>
                  <a:gd name="T4" fmla="*/ 3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65" name="Freeform 464">
                <a:extLst>
                  <a:ext uri="{FF2B5EF4-FFF2-40B4-BE49-F238E27FC236}">
                    <a16:creationId xmlns:a16="http://schemas.microsoft.com/office/drawing/2014/main" id="{4114B002-7FFA-455B-9ACE-558C20D46A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" y="3508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6 w 6"/>
                  <a:gd name="T3" fmla="*/ 0 h 2"/>
                  <a:gd name="T4" fmla="*/ 2 w 6"/>
                  <a:gd name="T5" fmla="*/ 0 h 2"/>
                  <a:gd name="T6" fmla="*/ 0 w 6"/>
                  <a:gd name="T7" fmla="*/ 2 h 2"/>
                  <a:gd name="T8" fmla="*/ 2 w 6"/>
                  <a:gd name="T9" fmla="*/ 0 h 2"/>
                  <a:gd name="T10" fmla="*/ 6 w 6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66" name="Freeform 465">
                <a:extLst>
                  <a:ext uri="{FF2B5EF4-FFF2-40B4-BE49-F238E27FC236}">
                    <a16:creationId xmlns:a16="http://schemas.microsoft.com/office/drawing/2014/main" id="{1D3EB623-C275-4BB3-820D-13718DCB71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3" y="3437"/>
                <a:ext cx="8" cy="0"/>
              </a:xfrm>
              <a:custGeom>
                <a:avLst/>
                <a:gdLst>
                  <a:gd name="T0" fmla="*/ 8 w 8"/>
                  <a:gd name="T1" fmla="*/ 2 w 8"/>
                  <a:gd name="T2" fmla="*/ 0 w 8"/>
                  <a:gd name="T3" fmla="*/ 2 w 8"/>
                  <a:gd name="T4" fmla="*/ 8 w 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8">
                    <a:moveTo>
                      <a:pt x="8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67" name="Freeform 466">
                <a:extLst>
                  <a:ext uri="{FF2B5EF4-FFF2-40B4-BE49-F238E27FC236}">
                    <a16:creationId xmlns:a16="http://schemas.microsoft.com/office/drawing/2014/main" id="{FCB70B95-34E1-403D-8067-A6370233AA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0" y="3515"/>
                <a:ext cx="8" cy="4"/>
              </a:xfrm>
              <a:custGeom>
                <a:avLst/>
                <a:gdLst>
                  <a:gd name="T0" fmla="*/ 6 w 8"/>
                  <a:gd name="T1" fmla="*/ 2 h 4"/>
                  <a:gd name="T2" fmla="*/ 8 w 8"/>
                  <a:gd name="T3" fmla="*/ 0 h 4"/>
                  <a:gd name="T4" fmla="*/ 6 w 8"/>
                  <a:gd name="T5" fmla="*/ 2 h 4"/>
                  <a:gd name="T6" fmla="*/ 2 w 8"/>
                  <a:gd name="T7" fmla="*/ 4 h 4"/>
                  <a:gd name="T8" fmla="*/ 0 w 8"/>
                  <a:gd name="T9" fmla="*/ 2 h 4"/>
                  <a:gd name="T10" fmla="*/ 2 w 8"/>
                  <a:gd name="T11" fmla="*/ 4 h 4"/>
                  <a:gd name="T12" fmla="*/ 6 w 8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6" y="2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68" name="Rectangle 467">
                <a:extLst>
                  <a:ext uri="{FF2B5EF4-FFF2-40B4-BE49-F238E27FC236}">
                    <a16:creationId xmlns:a16="http://schemas.microsoft.com/office/drawing/2014/main" id="{884D366F-2CD6-4098-9B93-9C3723012C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0" y="351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69" name="Freeform 468">
                <a:extLst>
                  <a:ext uri="{FF2B5EF4-FFF2-40B4-BE49-F238E27FC236}">
                    <a16:creationId xmlns:a16="http://schemas.microsoft.com/office/drawing/2014/main" id="{164406F2-F48D-4D6A-B523-A3ACD9188D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3519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0 h 2"/>
                  <a:gd name="T4" fmla="*/ 0 w 4"/>
                  <a:gd name="T5" fmla="*/ 0 h 2"/>
                  <a:gd name="T6" fmla="*/ 2 w 4"/>
                  <a:gd name="T7" fmla="*/ 0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70" name="Freeform 469">
                <a:extLst>
                  <a:ext uri="{FF2B5EF4-FFF2-40B4-BE49-F238E27FC236}">
                    <a16:creationId xmlns:a16="http://schemas.microsoft.com/office/drawing/2014/main" id="{D42E9B6F-3638-47A6-8393-3559476FED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2" y="3525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71" name="Freeform 470">
                <a:extLst>
                  <a:ext uri="{FF2B5EF4-FFF2-40B4-BE49-F238E27FC236}">
                    <a16:creationId xmlns:a16="http://schemas.microsoft.com/office/drawing/2014/main" id="{5EF97C67-F702-4E6C-8113-89502E5D14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7" y="3512"/>
                <a:ext cx="20" cy="5"/>
              </a:xfrm>
              <a:custGeom>
                <a:avLst/>
                <a:gdLst>
                  <a:gd name="T0" fmla="*/ 20 w 20"/>
                  <a:gd name="T1" fmla="*/ 5 h 5"/>
                  <a:gd name="T2" fmla="*/ 6 w 20"/>
                  <a:gd name="T3" fmla="*/ 0 h 5"/>
                  <a:gd name="T4" fmla="*/ 0 w 20"/>
                  <a:gd name="T5" fmla="*/ 0 h 5"/>
                  <a:gd name="T6" fmla="*/ 6 w 20"/>
                  <a:gd name="T7" fmla="*/ 0 h 5"/>
                  <a:gd name="T8" fmla="*/ 20 w 20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5">
                    <a:moveTo>
                      <a:pt x="20" y="5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20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72" name="Freeform 471">
                <a:extLst>
                  <a:ext uri="{FF2B5EF4-FFF2-40B4-BE49-F238E27FC236}">
                    <a16:creationId xmlns:a16="http://schemas.microsoft.com/office/drawing/2014/main" id="{AAF1EE1E-CD88-485B-BA44-ACC3495B04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0" y="3513"/>
                <a:ext cx="3" cy="12"/>
              </a:xfrm>
              <a:custGeom>
                <a:avLst/>
                <a:gdLst>
                  <a:gd name="T0" fmla="*/ 2 w 3"/>
                  <a:gd name="T1" fmla="*/ 10 h 12"/>
                  <a:gd name="T2" fmla="*/ 3 w 3"/>
                  <a:gd name="T3" fmla="*/ 0 h 12"/>
                  <a:gd name="T4" fmla="*/ 3 w 3"/>
                  <a:gd name="T5" fmla="*/ 0 h 12"/>
                  <a:gd name="T6" fmla="*/ 2 w 3"/>
                  <a:gd name="T7" fmla="*/ 10 h 12"/>
                  <a:gd name="T8" fmla="*/ 2 w 3"/>
                  <a:gd name="T9" fmla="*/ 10 h 12"/>
                  <a:gd name="T10" fmla="*/ 0 w 3"/>
                  <a:gd name="T11" fmla="*/ 12 h 12"/>
                  <a:gd name="T12" fmla="*/ 2 w 3"/>
                  <a:gd name="T13" fmla="*/ 10 h 12"/>
                  <a:gd name="T14" fmla="*/ 2 w 3"/>
                  <a:gd name="T15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12">
                    <a:moveTo>
                      <a:pt x="2" y="10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2" y="1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73" name="Freeform 472">
                <a:extLst>
                  <a:ext uri="{FF2B5EF4-FFF2-40B4-BE49-F238E27FC236}">
                    <a16:creationId xmlns:a16="http://schemas.microsoft.com/office/drawing/2014/main" id="{85C1CDE9-D934-4E7C-80EF-31DE7D1D85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8" y="3517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74" name="Freeform 473">
                <a:extLst>
                  <a:ext uri="{FF2B5EF4-FFF2-40B4-BE49-F238E27FC236}">
                    <a16:creationId xmlns:a16="http://schemas.microsoft.com/office/drawing/2014/main" id="{41507E02-142E-4011-B811-109B289C9F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4" y="3463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75" name="Freeform 474">
                <a:extLst>
                  <a:ext uri="{FF2B5EF4-FFF2-40B4-BE49-F238E27FC236}">
                    <a16:creationId xmlns:a16="http://schemas.microsoft.com/office/drawing/2014/main" id="{807F3D13-35CC-493E-8B27-E0A61D672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8" y="3467"/>
                <a:ext cx="8" cy="2"/>
              </a:xfrm>
              <a:custGeom>
                <a:avLst/>
                <a:gdLst>
                  <a:gd name="T0" fmla="*/ 8 w 8"/>
                  <a:gd name="T1" fmla="*/ 2 h 2"/>
                  <a:gd name="T2" fmla="*/ 4 w 8"/>
                  <a:gd name="T3" fmla="*/ 2 h 2"/>
                  <a:gd name="T4" fmla="*/ 0 w 8"/>
                  <a:gd name="T5" fmla="*/ 0 h 2"/>
                  <a:gd name="T6" fmla="*/ 4 w 8"/>
                  <a:gd name="T7" fmla="*/ 2 h 2"/>
                  <a:gd name="T8" fmla="*/ 8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8" y="2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76" name="Freeform 475">
                <a:extLst>
                  <a:ext uri="{FF2B5EF4-FFF2-40B4-BE49-F238E27FC236}">
                    <a16:creationId xmlns:a16="http://schemas.microsoft.com/office/drawing/2014/main" id="{8CAD77FF-9091-463D-9F34-F4A99E58C0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0" y="3457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77" name="Freeform 476">
                <a:extLst>
                  <a:ext uri="{FF2B5EF4-FFF2-40B4-BE49-F238E27FC236}">
                    <a16:creationId xmlns:a16="http://schemas.microsoft.com/office/drawing/2014/main" id="{44AF4AA5-F8E6-4F77-A993-0A8C0BB1C2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4" y="3506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78" name="Freeform 477">
                <a:extLst>
                  <a:ext uri="{FF2B5EF4-FFF2-40B4-BE49-F238E27FC236}">
                    <a16:creationId xmlns:a16="http://schemas.microsoft.com/office/drawing/2014/main" id="{FFBF7869-193A-4F2A-B843-BCE31C75E2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2" y="3449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2 w 4"/>
                  <a:gd name="T3" fmla="*/ 2 h 4"/>
                  <a:gd name="T4" fmla="*/ 0 w 4"/>
                  <a:gd name="T5" fmla="*/ 0 h 4"/>
                  <a:gd name="T6" fmla="*/ 2 w 4"/>
                  <a:gd name="T7" fmla="*/ 2 h 4"/>
                  <a:gd name="T8" fmla="*/ 4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79" name="Freeform 478">
                <a:extLst>
                  <a:ext uri="{FF2B5EF4-FFF2-40B4-BE49-F238E27FC236}">
                    <a16:creationId xmlns:a16="http://schemas.microsoft.com/office/drawing/2014/main" id="{B9200A41-FB24-4899-BB49-A80D2A8EA0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2" y="3556"/>
                <a:ext cx="21" cy="2"/>
              </a:xfrm>
              <a:custGeom>
                <a:avLst/>
                <a:gdLst>
                  <a:gd name="T0" fmla="*/ 15 w 21"/>
                  <a:gd name="T1" fmla="*/ 0 h 2"/>
                  <a:gd name="T2" fmla="*/ 21 w 21"/>
                  <a:gd name="T3" fmla="*/ 0 h 2"/>
                  <a:gd name="T4" fmla="*/ 15 w 21"/>
                  <a:gd name="T5" fmla="*/ 0 h 2"/>
                  <a:gd name="T6" fmla="*/ 6 w 21"/>
                  <a:gd name="T7" fmla="*/ 2 h 2"/>
                  <a:gd name="T8" fmla="*/ 0 w 21"/>
                  <a:gd name="T9" fmla="*/ 2 h 2"/>
                  <a:gd name="T10" fmla="*/ 6 w 21"/>
                  <a:gd name="T11" fmla="*/ 2 h 2"/>
                  <a:gd name="T12" fmla="*/ 15 w 21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">
                    <a:moveTo>
                      <a:pt x="15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6" y="2"/>
                    </a:lnTo>
                    <a:lnTo>
                      <a:pt x="0" y="2"/>
                    </a:lnTo>
                    <a:lnTo>
                      <a:pt x="6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80" name="Freeform 479">
                <a:extLst>
                  <a:ext uri="{FF2B5EF4-FFF2-40B4-BE49-F238E27FC236}">
                    <a16:creationId xmlns:a16="http://schemas.microsoft.com/office/drawing/2014/main" id="{4CDED426-2BC0-4BEF-B353-62F3248C9F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1" y="3482"/>
                <a:ext cx="6" cy="10"/>
              </a:xfrm>
              <a:custGeom>
                <a:avLst/>
                <a:gdLst>
                  <a:gd name="T0" fmla="*/ 2 w 6"/>
                  <a:gd name="T1" fmla="*/ 10 h 10"/>
                  <a:gd name="T2" fmla="*/ 6 w 6"/>
                  <a:gd name="T3" fmla="*/ 10 h 10"/>
                  <a:gd name="T4" fmla="*/ 6 w 6"/>
                  <a:gd name="T5" fmla="*/ 10 h 10"/>
                  <a:gd name="T6" fmla="*/ 2 w 6"/>
                  <a:gd name="T7" fmla="*/ 10 h 10"/>
                  <a:gd name="T8" fmla="*/ 0 w 6"/>
                  <a:gd name="T9" fmla="*/ 8 h 10"/>
                  <a:gd name="T10" fmla="*/ 2 w 6"/>
                  <a:gd name="T11" fmla="*/ 0 h 10"/>
                  <a:gd name="T12" fmla="*/ 0 w 6"/>
                  <a:gd name="T13" fmla="*/ 8 h 10"/>
                  <a:gd name="T14" fmla="*/ 2 w 6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0">
                    <a:moveTo>
                      <a:pt x="2" y="10"/>
                    </a:moveTo>
                    <a:lnTo>
                      <a:pt x="6" y="10"/>
                    </a:lnTo>
                    <a:lnTo>
                      <a:pt x="6" y="10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2" y="0"/>
                    </a:lnTo>
                    <a:lnTo>
                      <a:pt x="0" y="8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81" name="Freeform 480">
                <a:extLst>
                  <a:ext uri="{FF2B5EF4-FFF2-40B4-BE49-F238E27FC236}">
                    <a16:creationId xmlns:a16="http://schemas.microsoft.com/office/drawing/2014/main" id="{DFB78296-405A-4FE2-B9B3-6123B8D18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3" y="3498"/>
                <a:ext cx="6" cy="0"/>
              </a:xfrm>
              <a:custGeom>
                <a:avLst/>
                <a:gdLst>
                  <a:gd name="T0" fmla="*/ 4 w 6"/>
                  <a:gd name="T1" fmla="*/ 6 w 6"/>
                  <a:gd name="T2" fmla="*/ 4 w 6"/>
                  <a:gd name="T3" fmla="*/ 0 w 6"/>
                  <a:gd name="T4" fmla="*/ 0 w 6"/>
                  <a:gd name="T5" fmla="*/ 4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4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82" name="Freeform 481">
                <a:extLst>
                  <a:ext uri="{FF2B5EF4-FFF2-40B4-BE49-F238E27FC236}">
                    <a16:creationId xmlns:a16="http://schemas.microsoft.com/office/drawing/2014/main" id="{850ADC9F-B78E-4EFB-9D98-CA3A73558D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7" y="3486"/>
                <a:ext cx="6" cy="12"/>
              </a:xfrm>
              <a:custGeom>
                <a:avLst/>
                <a:gdLst>
                  <a:gd name="T0" fmla="*/ 2 w 6"/>
                  <a:gd name="T1" fmla="*/ 8 h 12"/>
                  <a:gd name="T2" fmla="*/ 4 w 6"/>
                  <a:gd name="T3" fmla="*/ 12 h 12"/>
                  <a:gd name="T4" fmla="*/ 6 w 6"/>
                  <a:gd name="T5" fmla="*/ 12 h 12"/>
                  <a:gd name="T6" fmla="*/ 4 w 6"/>
                  <a:gd name="T7" fmla="*/ 12 h 12"/>
                  <a:gd name="T8" fmla="*/ 2 w 6"/>
                  <a:gd name="T9" fmla="*/ 8 h 12"/>
                  <a:gd name="T10" fmla="*/ 2 w 6"/>
                  <a:gd name="T11" fmla="*/ 4 h 12"/>
                  <a:gd name="T12" fmla="*/ 0 w 6"/>
                  <a:gd name="T13" fmla="*/ 0 h 12"/>
                  <a:gd name="T14" fmla="*/ 0 w 6"/>
                  <a:gd name="T15" fmla="*/ 0 h 12"/>
                  <a:gd name="T16" fmla="*/ 2 w 6"/>
                  <a:gd name="T17" fmla="*/ 4 h 12"/>
                  <a:gd name="T18" fmla="*/ 2 w 6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12">
                    <a:moveTo>
                      <a:pt x="2" y="8"/>
                    </a:moveTo>
                    <a:lnTo>
                      <a:pt x="4" y="12"/>
                    </a:lnTo>
                    <a:lnTo>
                      <a:pt x="6" y="12"/>
                    </a:lnTo>
                    <a:lnTo>
                      <a:pt x="4" y="12"/>
                    </a:lnTo>
                    <a:lnTo>
                      <a:pt x="2" y="8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83" name="Freeform 482">
                <a:extLst>
                  <a:ext uri="{FF2B5EF4-FFF2-40B4-BE49-F238E27FC236}">
                    <a16:creationId xmlns:a16="http://schemas.microsoft.com/office/drawing/2014/main" id="{092F070F-2632-4157-BB69-4B22E025C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7" y="3594"/>
                <a:ext cx="13" cy="5"/>
              </a:xfrm>
              <a:custGeom>
                <a:avLst/>
                <a:gdLst>
                  <a:gd name="T0" fmla="*/ 13 w 13"/>
                  <a:gd name="T1" fmla="*/ 5 h 5"/>
                  <a:gd name="T2" fmla="*/ 13 w 13"/>
                  <a:gd name="T3" fmla="*/ 5 h 5"/>
                  <a:gd name="T4" fmla="*/ 13 w 13"/>
                  <a:gd name="T5" fmla="*/ 5 h 5"/>
                  <a:gd name="T6" fmla="*/ 0 w 13"/>
                  <a:gd name="T7" fmla="*/ 0 h 5"/>
                  <a:gd name="T8" fmla="*/ 0 w 13"/>
                  <a:gd name="T9" fmla="*/ 0 h 5"/>
                  <a:gd name="T10" fmla="*/ 13 w 13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5">
                    <a:moveTo>
                      <a:pt x="13" y="5"/>
                    </a:moveTo>
                    <a:lnTo>
                      <a:pt x="13" y="5"/>
                    </a:lnTo>
                    <a:lnTo>
                      <a:pt x="13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3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84" name="Freeform 483">
                <a:extLst>
                  <a:ext uri="{FF2B5EF4-FFF2-40B4-BE49-F238E27FC236}">
                    <a16:creationId xmlns:a16="http://schemas.microsoft.com/office/drawing/2014/main" id="{48A988A8-A114-4833-AC8C-C1474884D5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1" y="3701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0 h 6"/>
                  <a:gd name="T4" fmla="*/ 0 w 2"/>
                  <a:gd name="T5" fmla="*/ 6 h 6"/>
                  <a:gd name="T6" fmla="*/ 2 w 2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6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85" name="Rectangle 484">
                <a:extLst>
                  <a:ext uri="{FF2B5EF4-FFF2-40B4-BE49-F238E27FC236}">
                    <a16:creationId xmlns:a16="http://schemas.microsoft.com/office/drawing/2014/main" id="{5B324DD8-0A35-4D47-AD54-E6D459AEA5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9" y="379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86" name="Freeform 485">
                <a:extLst>
                  <a:ext uri="{FF2B5EF4-FFF2-40B4-BE49-F238E27FC236}">
                    <a16:creationId xmlns:a16="http://schemas.microsoft.com/office/drawing/2014/main" id="{4D66411C-B860-4FB2-B5BE-FD6D0C819F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0" y="3576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87" name="Freeform 486">
                <a:extLst>
                  <a:ext uri="{FF2B5EF4-FFF2-40B4-BE49-F238E27FC236}">
                    <a16:creationId xmlns:a16="http://schemas.microsoft.com/office/drawing/2014/main" id="{3F5144FF-9F7C-4054-9C53-620BFC3CAB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7" y="379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88" name="Rectangle 487">
                <a:extLst>
                  <a:ext uri="{FF2B5EF4-FFF2-40B4-BE49-F238E27FC236}">
                    <a16:creationId xmlns:a16="http://schemas.microsoft.com/office/drawing/2014/main" id="{0B5D0DF3-529A-43DF-82E5-7689894081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5" y="379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89" name="Rectangle 488">
                <a:extLst>
                  <a:ext uri="{FF2B5EF4-FFF2-40B4-BE49-F238E27FC236}">
                    <a16:creationId xmlns:a16="http://schemas.microsoft.com/office/drawing/2014/main" id="{4F5DDC4B-AB46-4906-8A38-057715F666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4" y="376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90" name="Rectangle 489">
                <a:extLst>
                  <a:ext uri="{FF2B5EF4-FFF2-40B4-BE49-F238E27FC236}">
                    <a16:creationId xmlns:a16="http://schemas.microsoft.com/office/drawing/2014/main" id="{ADF6F087-AAF7-4151-8899-715E4ACA06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84" y="356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91" name="Freeform 490">
                <a:extLst>
                  <a:ext uri="{FF2B5EF4-FFF2-40B4-BE49-F238E27FC236}">
                    <a16:creationId xmlns:a16="http://schemas.microsoft.com/office/drawing/2014/main" id="{066CCFE4-54DF-477D-BAA2-D988867EA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1" y="3553"/>
                <a:ext cx="6" cy="1"/>
              </a:xfrm>
              <a:custGeom>
                <a:avLst/>
                <a:gdLst>
                  <a:gd name="T0" fmla="*/ 2 w 6"/>
                  <a:gd name="T1" fmla="*/ 1 h 1"/>
                  <a:gd name="T2" fmla="*/ 6 w 6"/>
                  <a:gd name="T3" fmla="*/ 0 h 1"/>
                  <a:gd name="T4" fmla="*/ 2 w 6"/>
                  <a:gd name="T5" fmla="*/ 1 h 1"/>
                  <a:gd name="T6" fmla="*/ 0 w 6"/>
                  <a:gd name="T7" fmla="*/ 1 h 1"/>
                  <a:gd name="T8" fmla="*/ 0 w 6"/>
                  <a:gd name="T9" fmla="*/ 1 h 1"/>
                  <a:gd name="T10" fmla="*/ 0 w 6"/>
                  <a:gd name="T11" fmla="*/ 1 h 1"/>
                  <a:gd name="T12" fmla="*/ 2 w 6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">
                    <a:moveTo>
                      <a:pt x="2" y="1"/>
                    </a:moveTo>
                    <a:lnTo>
                      <a:pt x="6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92" name="Freeform 491">
                <a:extLst>
                  <a:ext uri="{FF2B5EF4-FFF2-40B4-BE49-F238E27FC236}">
                    <a16:creationId xmlns:a16="http://schemas.microsoft.com/office/drawing/2014/main" id="{8ADB1AA3-3953-4E4F-89A7-63EDE50392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6" y="3553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93" name="Freeform 492">
                <a:extLst>
                  <a:ext uri="{FF2B5EF4-FFF2-40B4-BE49-F238E27FC236}">
                    <a16:creationId xmlns:a16="http://schemas.microsoft.com/office/drawing/2014/main" id="{786E245C-7401-4F07-8358-CD45D24E2A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6" y="3549"/>
                <a:ext cx="6" cy="11"/>
              </a:xfrm>
              <a:custGeom>
                <a:avLst/>
                <a:gdLst>
                  <a:gd name="T0" fmla="*/ 2 w 6"/>
                  <a:gd name="T1" fmla="*/ 7 h 11"/>
                  <a:gd name="T2" fmla="*/ 0 w 6"/>
                  <a:gd name="T3" fmla="*/ 4 h 11"/>
                  <a:gd name="T4" fmla="*/ 2 w 6"/>
                  <a:gd name="T5" fmla="*/ 0 h 11"/>
                  <a:gd name="T6" fmla="*/ 4 w 6"/>
                  <a:gd name="T7" fmla="*/ 0 h 11"/>
                  <a:gd name="T8" fmla="*/ 6 w 6"/>
                  <a:gd name="T9" fmla="*/ 2 h 11"/>
                  <a:gd name="T10" fmla="*/ 4 w 6"/>
                  <a:gd name="T11" fmla="*/ 0 h 11"/>
                  <a:gd name="T12" fmla="*/ 2 w 6"/>
                  <a:gd name="T13" fmla="*/ 0 h 11"/>
                  <a:gd name="T14" fmla="*/ 0 w 6"/>
                  <a:gd name="T15" fmla="*/ 4 h 11"/>
                  <a:gd name="T16" fmla="*/ 2 w 6"/>
                  <a:gd name="T17" fmla="*/ 7 h 11"/>
                  <a:gd name="T18" fmla="*/ 0 w 6"/>
                  <a:gd name="T19" fmla="*/ 11 h 11"/>
                  <a:gd name="T20" fmla="*/ 0 w 6"/>
                  <a:gd name="T21" fmla="*/ 11 h 11"/>
                  <a:gd name="T22" fmla="*/ 2 w 6"/>
                  <a:gd name="T23" fmla="*/ 7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11">
                    <a:moveTo>
                      <a:pt x="2" y="7"/>
                    </a:moveTo>
                    <a:lnTo>
                      <a:pt x="0" y="4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94" name="Freeform 493">
                <a:extLst>
                  <a:ext uri="{FF2B5EF4-FFF2-40B4-BE49-F238E27FC236}">
                    <a16:creationId xmlns:a16="http://schemas.microsoft.com/office/drawing/2014/main" id="{E61C9362-0A52-4385-B238-E6D42BFCF1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3342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95" name="Freeform 494">
                <a:extLst>
                  <a:ext uri="{FF2B5EF4-FFF2-40B4-BE49-F238E27FC236}">
                    <a16:creationId xmlns:a16="http://schemas.microsoft.com/office/drawing/2014/main" id="{BFBB5414-5F45-42E6-B460-4D9CA94BBD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3" y="3537"/>
                <a:ext cx="2" cy="10"/>
              </a:xfrm>
              <a:custGeom>
                <a:avLst/>
                <a:gdLst>
                  <a:gd name="T0" fmla="*/ 2 w 2"/>
                  <a:gd name="T1" fmla="*/ 0 h 10"/>
                  <a:gd name="T2" fmla="*/ 0 w 2"/>
                  <a:gd name="T3" fmla="*/ 8 h 10"/>
                  <a:gd name="T4" fmla="*/ 0 w 2"/>
                  <a:gd name="T5" fmla="*/ 10 h 10"/>
                  <a:gd name="T6" fmla="*/ 0 w 2"/>
                  <a:gd name="T7" fmla="*/ 8 h 10"/>
                  <a:gd name="T8" fmla="*/ 2 w 2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0">
                    <a:moveTo>
                      <a:pt x="2" y="0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96" name="Rectangle 495">
                <a:extLst>
                  <a:ext uri="{FF2B5EF4-FFF2-40B4-BE49-F238E27FC236}">
                    <a16:creationId xmlns:a16="http://schemas.microsoft.com/office/drawing/2014/main" id="{4F10BC16-65C1-4CAD-894B-28D9D29454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9" y="332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97" name="Freeform 496">
                <a:extLst>
                  <a:ext uri="{FF2B5EF4-FFF2-40B4-BE49-F238E27FC236}">
                    <a16:creationId xmlns:a16="http://schemas.microsoft.com/office/drawing/2014/main" id="{674BEADD-A6DE-4610-8021-DA38703FBA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" y="1723"/>
                <a:ext cx="6" cy="2"/>
              </a:xfrm>
              <a:custGeom>
                <a:avLst/>
                <a:gdLst>
                  <a:gd name="T0" fmla="*/ 0 w 6"/>
                  <a:gd name="T1" fmla="*/ 0 h 2"/>
                  <a:gd name="T2" fmla="*/ 0 w 6"/>
                  <a:gd name="T3" fmla="*/ 0 h 2"/>
                  <a:gd name="T4" fmla="*/ 2 w 6"/>
                  <a:gd name="T5" fmla="*/ 0 h 2"/>
                  <a:gd name="T6" fmla="*/ 6 w 6"/>
                  <a:gd name="T7" fmla="*/ 2 h 2"/>
                  <a:gd name="T8" fmla="*/ 2 w 6"/>
                  <a:gd name="T9" fmla="*/ 0 h 2"/>
                  <a:gd name="T10" fmla="*/ 0 w 6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98" name="Freeform 497">
                <a:extLst>
                  <a:ext uri="{FF2B5EF4-FFF2-40B4-BE49-F238E27FC236}">
                    <a16:creationId xmlns:a16="http://schemas.microsoft.com/office/drawing/2014/main" id="{4AC1DEEC-B0B1-42C5-9F2A-C03962C722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1" y="3299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99" name="Freeform 498">
                <a:extLst>
                  <a:ext uri="{FF2B5EF4-FFF2-40B4-BE49-F238E27FC236}">
                    <a16:creationId xmlns:a16="http://schemas.microsoft.com/office/drawing/2014/main" id="{57AD44F9-6B4C-4C87-8C0F-A6CF9155A3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2" y="336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00" name="Freeform 499">
                <a:extLst>
                  <a:ext uri="{FF2B5EF4-FFF2-40B4-BE49-F238E27FC236}">
                    <a16:creationId xmlns:a16="http://schemas.microsoft.com/office/drawing/2014/main" id="{61BDD036-0D2D-4014-8DB0-EFE64FDC87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" y="336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01" name="Rectangle 500">
                <a:extLst>
                  <a:ext uri="{FF2B5EF4-FFF2-40B4-BE49-F238E27FC236}">
                    <a16:creationId xmlns:a16="http://schemas.microsoft.com/office/drawing/2014/main" id="{D15665A4-9A3A-4CB1-91BD-EEFC4F9A67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11" y="334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02" name="Freeform 501">
                <a:extLst>
                  <a:ext uri="{FF2B5EF4-FFF2-40B4-BE49-F238E27FC236}">
                    <a16:creationId xmlns:a16="http://schemas.microsoft.com/office/drawing/2014/main" id="{A90A7767-9C6C-4A3C-933E-2FBB6FAF37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4" y="3344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03" name="Freeform 502">
                <a:extLst>
                  <a:ext uri="{FF2B5EF4-FFF2-40B4-BE49-F238E27FC236}">
                    <a16:creationId xmlns:a16="http://schemas.microsoft.com/office/drawing/2014/main" id="{CCFC4F91-CA87-4713-82F3-CB53D04C26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" y="3611"/>
                <a:ext cx="41" cy="25"/>
              </a:xfrm>
              <a:custGeom>
                <a:avLst/>
                <a:gdLst>
                  <a:gd name="T0" fmla="*/ 11 w 41"/>
                  <a:gd name="T1" fmla="*/ 25 h 25"/>
                  <a:gd name="T2" fmla="*/ 17 w 41"/>
                  <a:gd name="T3" fmla="*/ 24 h 25"/>
                  <a:gd name="T4" fmla="*/ 19 w 41"/>
                  <a:gd name="T5" fmla="*/ 20 h 25"/>
                  <a:gd name="T6" fmla="*/ 23 w 41"/>
                  <a:gd name="T7" fmla="*/ 20 h 25"/>
                  <a:gd name="T8" fmla="*/ 41 w 41"/>
                  <a:gd name="T9" fmla="*/ 22 h 25"/>
                  <a:gd name="T10" fmla="*/ 37 w 41"/>
                  <a:gd name="T11" fmla="*/ 14 h 25"/>
                  <a:gd name="T12" fmla="*/ 31 w 41"/>
                  <a:gd name="T13" fmla="*/ 8 h 25"/>
                  <a:gd name="T14" fmla="*/ 17 w 41"/>
                  <a:gd name="T15" fmla="*/ 0 h 25"/>
                  <a:gd name="T16" fmla="*/ 17 w 41"/>
                  <a:gd name="T17" fmla="*/ 2 h 25"/>
                  <a:gd name="T18" fmla="*/ 21 w 41"/>
                  <a:gd name="T19" fmla="*/ 4 h 25"/>
                  <a:gd name="T20" fmla="*/ 21 w 41"/>
                  <a:gd name="T21" fmla="*/ 6 h 25"/>
                  <a:gd name="T22" fmla="*/ 17 w 41"/>
                  <a:gd name="T23" fmla="*/ 4 h 25"/>
                  <a:gd name="T24" fmla="*/ 17 w 41"/>
                  <a:gd name="T25" fmla="*/ 4 h 25"/>
                  <a:gd name="T26" fmla="*/ 15 w 41"/>
                  <a:gd name="T27" fmla="*/ 4 h 25"/>
                  <a:gd name="T28" fmla="*/ 15 w 41"/>
                  <a:gd name="T29" fmla="*/ 4 h 25"/>
                  <a:gd name="T30" fmla="*/ 13 w 41"/>
                  <a:gd name="T31" fmla="*/ 2 h 25"/>
                  <a:gd name="T32" fmla="*/ 13 w 41"/>
                  <a:gd name="T33" fmla="*/ 2 h 25"/>
                  <a:gd name="T34" fmla="*/ 11 w 41"/>
                  <a:gd name="T35" fmla="*/ 2 h 25"/>
                  <a:gd name="T36" fmla="*/ 11 w 41"/>
                  <a:gd name="T37" fmla="*/ 4 h 25"/>
                  <a:gd name="T38" fmla="*/ 11 w 41"/>
                  <a:gd name="T39" fmla="*/ 4 h 25"/>
                  <a:gd name="T40" fmla="*/ 11 w 41"/>
                  <a:gd name="T41" fmla="*/ 6 h 25"/>
                  <a:gd name="T42" fmla="*/ 11 w 41"/>
                  <a:gd name="T43" fmla="*/ 6 h 25"/>
                  <a:gd name="T44" fmla="*/ 13 w 41"/>
                  <a:gd name="T45" fmla="*/ 8 h 25"/>
                  <a:gd name="T46" fmla="*/ 21 w 41"/>
                  <a:gd name="T47" fmla="*/ 14 h 25"/>
                  <a:gd name="T48" fmla="*/ 17 w 41"/>
                  <a:gd name="T49" fmla="*/ 18 h 25"/>
                  <a:gd name="T50" fmla="*/ 9 w 41"/>
                  <a:gd name="T51" fmla="*/ 22 h 25"/>
                  <a:gd name="T52" fmla="*/ 5 w 41"/>
                  <a:gd name="T53" fmla="*/ 25 h 25"/>
                  <a:gd name="T54" fmla="*/ 0 w 41"/>
                  <a:gd name="T55" fmla="*/ 25 h 25"/>
                  <a:gd name="T56" fmla="*/ 4 w 41"/>
                  <a:gd name="T57" fmla="*/ 25 h 25"/>
                  <a:gd name="T58" fmla="*/ 11 w 41"/>
                  <a:gd name="T5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1" h="25">
                    <a:moveTo>
                      <a:pt x="11" y="25"/>
                    </a:moveTo>
                    <a:lnTo>
                      <a:pt x="17" y="24"/>
                    </a:lnTo>
                    <a:lnTo>
                      <a:pt x="19" y="20"/>
                    </a:lnTo>
                    <a:lnTo>
                      <a:pt x="23" y="20"/>
                    </a:lnTo>
                    <a:lnTo>
                      <a:pt x="41" y="22"/>
                    </a:lnTo>
                    <a:lnTo>
                      <a:pt x="37" y="14"/>
                    </a:lnTo>
                    <a:lnTo>
                      <a:pt x="31" y="8"/>
                    </a:lnTo>
                    <a:lnTo>
                      <a:pt x="17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1" y="6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15" y="4"/>
                    </a:lnTo>
                    <a:lnTo>
                      <a:pt x="15" y="4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13" y="8"/>
                    </a:lnTo>
                    <a:lnTo>
                      <a:pt x="21" y="14"/>
                    </a:lnTo>
                    <a:lnTo>
                      <a:pt x="17" y="18"/>
                    </a:lnTo>
                    <a:lnTo>
                      <a:pt x="9" y="22"/>
                    </a:lnTo>
                    <a:lnTo>
                      <a:pt x="5" y="25"/>
                    </a:lnTo>
                    <a:lnTo>
                      <a:pt x="0" y="25"/>
                    </a:lnTo>
                    <a:lnTo>
                      <a:pt x="4" y="25"/>
                    </a:lnTo>
                    <a:lnTo>
                      <a:pt x="11" y="2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04" name="Rectangle 503">
                <a:extLst>
                  <a:ext uri="{FF2B5EF4-FFF2-40B4-BE49-F238E27FC236}">
                    <a16:creationId xmlns:a16="http://schemas.microsoft.com/office/drawing/2014/main" id="{130716A1-3359-4BEF-99B4-4AE5DBD026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6" y="355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05" name="Freeform 504">
                <a:extLst>
                  <a:ext uri="{FF2B5EF4-FFF2-40B4-BE49-F238E27FC236}">
                    <a16:creationId xmlns:a16="http://schemas.microsoft.com/office/drawing/2014/main" id="{3F6B42CB-DC1E-46B7-AA6C-D7D8736E6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3" y="3566"/>
                <a:ext cx="12" cy="8"/>
              </a:xfrm>
              <a:custGeom>
                <a:avLst/>
                <a:gdLst>
                  <a:gd name="T0" fmla="*/ 6 w 12"/>
                  <a:gd name="T1" fmla="*/ 4 h 8"/>
                  <a:gd name="T2" fmla="*/ 10 w 12"/>
                  <a:gd name="T3" fmla="*/ 8 h 8"/>
                  <a:gd name="T4" fmla="*/ 12 w 12"/>
                  <a:gd name="T5" fmla="*/ 8 h 8"/>
                  <a:gd name="T6" fmla="*/ 10 w 12"/>
                  <a:gd name="T7" fmla="*/ 8 h 8"/>
                  <a:gd name="T8" fmla="*/ 6 w 12"/>
                  <a:gd name="T9" fmla="*/ 4 h 8"/>
                  <a:gd name="T10" fmla="*/ 0 w 12"/>
                  <a:gd name="T11" fmla="*/ 0 h 8"/>
                  <a:gd name="T12" fmla="*/ 0 w 12"/>
                  <a:gd name="T13" fmla="*/ 0 h 8"/>
                  <a:gd name="T14" fmla="*/ 0 w 12"/>
                  <a:gd name="T15" fmla="*/ 0 h 8"/>
                  <a:gd name="T16" fmla="*/ 6 w 12"/>
                  <a:gd name="T1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8">
                    <a:moveTo>
                      <a:pt x="6" y="4"/>
                    </a:moveTo>
                    <a:lnTo>
                      <a:pt x="10" y="8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06" name="Freeform 505">
                <a:extLst>
                  <a:ext uri="{FF2B5EF4-FFF2-40B4-BE49-F238E27FC236}">
                    <a16:creationId xmlns:a16="http://schemas.microsoft.com/office/drawing/2014/main" id="{B605BC3B-ED4C-45ED-A4EE-7A2A0E9B0D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3" y="3566"/>
                <a:ext cx="8" cy="6"/>
              </a:xfrm>
              <a:custGeom>
                <a:avLst/>
                <a:gdLst>
                  <a:gd name="T0" fmla="*/ 6 w 8"/>
                  <a:gd name="T1" fmla="*/ 6 h 6"/>
                  <a:gd name="T2" fmla="*/ 8 w 8"/>
                  <a:gd name="T3" fmla="*/ 6 h 6"/>
                  <a:gd name="T4" fmla="*/ 6 w 8"/>
                  <a:gd name="T5" fmla="*/ 6 h 6"/>
                  <a:gd name="T6" fmla="*/ 0 w 8"/>
                  <a:gd name="T7" fmla="*/ 0 h 6"/>
                  <a:gd name="T8" fmla="*/ 0 w 8"/>
                  <a:gd name="T9" fmla="*/ 0 h 6"/>
                  <a:gd name="T10" fmla="*/ 0 w 8"/>
                  <a:gd name="T11" fmla="*/ 0 h 6"/>
                  <a:gd name="T12" fmla="*/ 6 w 8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6" y="6"/>
                    </a:moveTo>
                    <a:lnTo>
                      <a:pt x="8" y="6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07" name="Freeform 506">
                <a:extLst>
                  <a:ext uri="{FF2B5EF4-FFF2-40B4-BE49-F238E27FC236}">
                    <a16:creationId xmlns:a16="http://schemas.microsoft.com/office/drawing/2014/main" id="{174EA4CA-7353-48FE-8BAF-54C8DD0AF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8" y="3564"/>
                <a:ext cx="24" cy="12"/>
              </a:xfrm>
              <a:custGeom>
                <a:avLst/>
                <a:gdLst>
                  <a:gd name="T0" fmla="*/ 18 w 24"/>
                  <a:gd name="T1" fmla="*/ 6 h 12"/>
                  <a:gd name="T2" fmla="*/ 24 w 24"/>
                  <a:gd name="T3" fmla="*/ 0 h 12"/>
                  <a:gd name="T4" fmla="*/ 24 w 24"/>
                  <a:gd name="T5" fmla="*/ 0 h 12"/>
                  <a:gd name="T6" fmla="*/ 24 w 24"/>
                  <a:gd name="T7" fmla="*/ 0 h 12"/>
                  <a:gd name="T8" fmla="*/ 18 w 24"/>
                  <a:gd name="T9" fmla="*/ 6 h 12"/>
                  <a:gd name="T10" fmla="*/ 10 w 24"/>
                  <a:gd name="T11" fmla="*/ 6 h 12"/>
                  <a:gd name="T12" fmla="*/ 0 w 24"/>
                  <a:gd name="T13" fmla="*/ 12 h 12"/>
                  <a:gd name="T14" fmla="*/ 10 w 24"/>
                  <a:gd name="T15" fmla="*/ 6 h 12"/>
                  <a:gd name="T16" fmla="*/ 18 w 24"/>
                  <a:gd name="T1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12">
                    <a:moveTo>
                      <a:pt x="18" y="6"/>
                    </a:move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6"/>
                    </a:lnTo>
                    <a:lnTo>
                      <a:pt x="10" y="6"/>
                    </a:lnTo>
                    <a:lnTo>
                      <a:pt x="0" y="12"/>
                    </a:lnTo>
                    <a:lnTo>
                      <a:pt x="10" y="6"/>
                    </a:lnTo>
                    <a:lnTo>
                      <a:pt x="18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08" name="Rectangle 507">
                <a:extLst>
                  <a:ext uri="{FF2B5EF4-FFF2-40B4-BE49-F238E27FC236}">
                    <a16:creationId xmlns:a16="http://schemas.microsoft.com/office/drawing/2014/main" id="{C591E578-C016-4471-B0AB-86FF87C40C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93" y="357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09" name="Freeform 508">
                <a:extLst>
                  <a:ext uri="{FF2B5EF4-FFF2-40B4-BE49-F238E27FC236}">
                    <a16:creationId xmlns:a16="http://schemas.microsoft.com/office/drawing/2014/main" id="{D748B6B2-0453-4DD5-8302-5FEED123DC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" y="3562"/>
                <a:ext cx="6" cy="0"/>
              </a:xfrm>
              <a:custGeom>
                <a:avLst/>
                <a:gdLst>
                  <a:gd name="T0" fmla="*/ 6 w 6"/>
                  <a:gd name="T1" fmla="*/ 2 w 6"/>
                  <a:gd name="T2" fmla="*/ 0 w 6"/>
                  <a:gd name="T3" fmla="*/ 2 w 6"/>
                  <a:gd name="T4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10" name="Freeform 509">
                <a:extLst>
                  <a:ext uri="{FF2B5EF4-FFF2-40B4-BE49-F238E27FC236}">
                    <a16:creationId xmlns:a16="http://schemas.microsoft.com/office/drawing/2014/main" id="{C413C435-59AE-4CD6-ABBE-C1A7F3117B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" y="3576"/>
                <a:ext cx="19" cy="27"/>
              </a:xfrm>
              <a:custGeom>
                <a:avLst/>
                <a:gdLst>
                  <a:gd name="T0" fmla="*/ 19 w 19"/>
                  <a:gd name="T1" fmla="*/ 0 h 27"/>
                  <a:gd name="T2" fmla="*/ 19 w 19"/>
                  <a:gd name="T3" fmla="*/ 0 h 27"/>
                  <a:gd name="T4" fmla="*/ 14 w 19"/>
                  <a:gd name="T5" fmla="*/ 4 h 27"/>
                  <a:gd name="T6" fmla="*/ 0 w 19"/>
                  <a:gd name="T7" fmla="*/ 27 h 27"/>
                  <a:gd name="T8" fmla="*/ 14 w 19"/>
                  <a:gd name="T9" fmla="*/ 4 h 27"/>
                  <a:gd name="T10" fmla="*/ 19 w 19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7">
                    <a:moveTo>
                      <a:pt x="19" y="0"/>
                    </a:moveTo>
                    <a:lnTo>
                      <a:pt x="19" y="0"/>
                    </a:lnTo>
                    <a:lnTo>
                      <a:pt x="14" y="4"/>
                    </a:lnTo>
                    <a:lnTo>
                      <a:pt x="0" y="27"/>
                    </a:lnTo>
                    <a:lnTo>
                      <a:pt x="14" y="4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11" name="Freeform 510">
                <a:extLst>
                  <a:ext uri="{FF2B5EF4-FFF2-40B4-BE49-F238E27FC236}">
                    <a16:creationId xmlns:a16="http://schemas.microsoft.com/office/drawing/2014/main" id="{00057C99-ECE4-498B-9F0B-20B1244E6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2" y="3562"/>
                <a:ext cx="84" cy="12"/>
              </a:xfrm>
              <a:custGeom>
                <a:avLst/>
                <a:gdLst>
                  <a:gd name="T0" fmla="*/ 80 w 84"/>
                  <a:gd name="T1" fmla="*/ 0 h 12"/>
                  <a:gd name="T2" fmla="*/ 84 w 84"/>
                  <a:gd name="T3" fmla="*/ 0 h 12"/>
                  <a:gd name="T4" fmla="*/ 80 w 84"/>
                  <a:gd name="T5" fmla="*/ 0 h 12"/>
                  <a:gd name="T6" fmla="*/ 68 w 84"/>
                  <a:gd name="T7" fmla="*/ 4 h 12"/>
                  <a:gd name="T8" fmla="*/ 0 w 84"/>
                  <a:gd name="T9" fmla="*/ 12 h 12"/>
                  <a:gd name="T10" fmla="*/ 68 w 84"/>
                  <a:gd name="T11" fmla="*/ 4 h 12"/>
                  <a:gd name="T12" fmla="*/ 80 w 84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80" y="0"/>
                    </a:moveTo>
                    <a:lnTo>
                      <a:pt x="84" y="0"/>
                    </a:lnTo>
                    <a:lnTo>
                      <a:pt x="80" y="0"/>
                    </a:lnTo>
                    <a:lnTo>
                      <a:pt x="68" y="4"/>
                    </a:lnTo>
                    <a:lnTo>
                      <a:pt x="0" y="12"/>
                    </a:lnTo>
                    <a:lnTo>
                      <a:pt x="68" y="4"/>
                    </a:lnTo>
                    <a:lnTo>
                      <a:pt x="8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12" name="Freeform 511">
                <a:extLst>
                  <a:ext uri="{FF2B5EF4-FFF2-40B4-BE49-F238E27FC236}">
                    <a16:creationId xmlns:a16="http://schemas.microsoft.com/office/drawing/2014/main" id="{8B4099E5-DF2C-4226-8DE0-AB3B16B96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4" y="353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13" name="Freeform 512">
                <a:extLst>
                  <a:ext uri="{FF2B5EF4-FFF2-40B4-BE49-F238E27FC236}">
                    <a16:creationId xmlns:a16="http://schemas.microsoft.com/office/drawing/2014/main" id="{CE980DC4-CE5E-4340-B0E0-09C3CEA53E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" y="3609"/>
                <a:ext cx="39" cy="14"/>
              </a:xfrm>
              <a:custGeom>
                <a:avLst/>
                <a:gdLst>
                  <a:gd name="T0" fmla="*/ 8 w 39"/>
                  <a:gd name="T1" fmla="*/ 12 h 14"/>
                  <a:gd name="T2" fmla="*/ 10 w 39"/>
                  <a:gd name="T3" fmla="*/ 12 h 14"/>
                  <a:gd name="T4" fmla="*/ 21 w 39"/>
                  <a:gd name="T5" fmla="*/ 10 h 14"/>
                  <a:gd name="T6" fmla="*/ 33 w 39"/>
                  <a:gd name="T7" fmla="*/ 6 h 14"/>
                  <a:gd name="T8" fmla="*/ 33 w 39"/>
                  <a:gd name="T9" fmla="*/ 6 h 14"/>
                  <a:gd name="T10" fmla="*/ 33 w 39"/>
                  <a:gd name="T11" fmla="*/ 6 h 14"/>
                  <a:gd name="T12" fmla="*/ 39 w 39"/>
                  <a:gd name="T13" fmla="*/ 0 h 14"/>
                  <a:gd name="T14" fmla="*/ 33 w 39"/>
                  <a:gd name="T15" fmla="*/ 6 h 14"/>
                  <a:gd name="T16" fmla="*/ 33 w 39"/>
                  <a:gd name="T17" fmla="*/ 6 h 14"/>
                  <a:gd name="T18" fmla="*/ 33 w 39"/>
                  <a:gd name="T19" fmla="*/ 6 h 14"/>
                  <a:gd name="T20" fmla="*/ 21 w 39"/>
                  <a:gd name="T21" fmla="*/ 10 h 14"/>
                  <a:gd name="T22" fmla="*/ 10 w 39"/>
                  <a:gd name="T23" fmla="*/ 12 h 14"/>
                  <a:gd name="T24" fmla="*/ 8 w 39"/>
                  <a:gd name="T25" fmla="*/ 12 h 14"/>
                  <a:gd name="T26" fmla="*/ 2 w 39"/>
                  <a:gd name="T27" fmla="*/ 14 h 14"/>
                  <a:gd name="T28" fmla="*/ 0 w 39"/>
                  <a:gd name="T29" fmla="*/ 12 h 14"/>
                  <a:gd name="T30" fmla="*/ 2 w 39"/>
                  <a:gd name="T31" fmla="*/ 14 h 14"/>
                  <a:gd name="T32" fmla="*/ 8 w 39"/>
                  <a:gd name="T33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" h="14">
                    <a:moveTo>
                      <a:pt x="8" y="12"/>
                    </a:moveTo>
                    <a:lnTo>
                      <a:pt x="10" y="12"/>
                    </a:lnTo>
                    <a:lnTo>
                      <a:pt x="21" y="10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9" y="0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21" y="10"/>
                    </a:lnTo>
                    <a:lnTo>
                      <a:pt x="10" y="12"/>
                    </a:lnTo>
                    <a:lnTo>
                      <a:pt x="8" y="12"/>
                    </a:lnTo>
                    <a:lnTo>
                      <a:pt x="2" y="14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14" name="Freeform 513">
                <a:extLst>
                  <a:ext uri="{FF2B5EF4-FFF2-40B4-BE49-F238E27FC236}">
                    <a16:creationId xmlns:a16="http://schemas.microsoft.com/office/drawing/2014/main" id="{1006D28E-1D33-4EAA-B5C6-B26E3DB81D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9" y="3554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15" name="Freeform 514">
                <a:extLst>
                  <a:ext uri="{FF2B5EF4-FFF2-40B4-BE49-F238E27FC236}">
                    <a16:creationId xmlns:a16="http://schemas.microsoft.com/office/drawing/2014/main" id="{23C3C8EF-8EBC-42F5-B9E4-5531C029D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3182"/>
                <a:ext cx="4" cy="1"/>
              </a:xfrm>
              <a:custGeom>
                <a:avLst/>
                <a:gdLst>
                  <a:gd name="T0" fmla="*/ 4 w 4"/>
                  <a:gd name="T1" fmla="*/ 1 h 1"/>
                  <a:gd name="T2" fmla="*/ 4 w 4"/>
                  <a:gd name="T3" fmla="*/ 1 h 1"/>
                  <a:gd name="T4" fmla="*/ 0 w 4"/>
                  <a:gd name="T5" fmla="*/ 0 h 1"/>
                  <a:gd name="T6" fmla="*/ 0 w 4"/>
                  <a:gd name="T7" fmla="*/ 0 h 1"/>
                  <a:gd name="T8" fmla="*/ 0 w 4"/>
                  <a:gd name="T9" fmla="*/ 0 h 1"/>
                  <a:gd name="T10" fmla="*/ 0 w 4"/>
                  <a:gd name="T11" fmla="*/ 0 h 1"/>
                  <a:gd name="T12" fmla="*/ 4 w 4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">
                    <a:moveTo>
                      <a:pt x="4" y="1"/>
                    </a:moveTo>
                    <a:lnTo>
                      <a:pt x="4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16" name="Freeform 515">
                <a:extLst>
                  <a:ext uri="{FF2B5EF4-FFF2-40B4-BE49-F238E27FC236}">
                    <a16:creationId xmlns:a16="http://schemas.microsoft.com/office/drawing/2014/main" id="{041927CE-9D27-4A5E-8E32-F4C64E501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2" y="355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17" name="Freeform 516">
                <a:extLst>
                  <a:ext uri="{FF2B5EF4-FFF2-40B4-BE49-F238E27FC236}">
                    <a16:creationId xmlns:a16="http://schemas.microsoft.com/office/drawing/2014/main" id="{7B306509-41FD-44B5-A4F1-4A25BE403F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4" y="3558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0 h 2"/>
                  <a:gd name="T4" fmla="*/ 0 w 4"/>
                  <a:gd name="T5" fmla="*/ 2 h 2"/>
                  <a:gd name="T6" fmla="*/ 2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18" name="Freeform 517">
                <a:extLst>
                  <a:ext uri="{FF2B5EF4-FFF2-40B4-BE49-F238E27FC236}">
                    <a16:creationId xmlns:a16="http://schemas.microsoft.com/office/drawing/2014/main" id="{BF60D414-EF0C-4147-9B07-EE4664F88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" y="3533"/>
                <a:ext cx="12" cy="12"/>
              </a:xfrm>
              <a:custGeom>
                <a:avLst/>
                <a:gdLst>
                  <a:gd name="T0" fmla="*/ 8 w 12"/>
                  <a:gd name="T1" fmla="*/ 8 h 12"/>
                  <a:gd name="T2" fmla="*/ 12 w 12"/>
                  <a:gd name="T3" fmla="*/ 12 h 12"/>
                  <a:gd name="T4" fmla="*/ 8 w 12"/>
                  <a:gd name="T5" fmla="*/ 8 h 12"/>
                  <a:gd name="T6" fmla="*/ 2 w 12"/>
                  <a:gd name="T7" fmla="*/ 0 h 12"/>
                  <a:gd name="T8" fmla="*/ 0 w 12"/>
                  <a:gd name="T9" fmla="*/ 0 h 12"/>
                  <a:gd name="T10" fmla="*/ 2 w 12"/>
                  <a:gd name="T11" fmla="*/ 0 h 12"/>
                  <a:gd name="T12" fmla="*/ 8 w 12"/>
                  <a:gd name="T13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2">
                    <a:moveTo>
                      <a:pt x="8" y="8"/>
                    </a:moveTo>
                    <a:lnTo>
                      <a:pt x="12" y="12"/>
                    </a:lnTo>
                    <a:lnTo>
                      <a:pt x="8" y="8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19" name="Freeform 518">
                <a:extLst>
                  <a:ext uri="{FF2B5EF4-FFF2-40B4-BE49-F238E27FC236}">
                    <a16:creationId xmlns:a16="http://schemas.microsoft.com/office/drawing/2014/main" id="{4992B23C-512B-4242-86F0-C950FAD522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5" y="3549"/>
                <a:ext cx="12" cy="4"/>
              </a:xfrm>
              <a:custGeom>
                <a:avLst/>
                <a:gdLst>
                  <a:gd name="T0" fmla="*/ 2 w 12"/>
                  <a:gd name="T1" fmla="*/ 2 h 4"/>
                  <a:gd name="T2" fmla="*/ 4 w 12"/>
                  <a:gd name="T3" fmla="*/ 2 h 4"/>
                  <a:gd name="T4" fmla="*/ 10 w 12"/>
                  <a:gd name="T5" fmla="*/ 0 h 4"/>
                  <a:gd name="T6" fmla="*/ 12 w 12"/>
                  <a:gd name="T7" fmla="*/ 2 h 4"/>
                  <a:gd name="T8" fmla="*/ 10 w 12"/>
                  <a:gd name="T9" fmla="*/ 0 h 4"/>
                  <a:gd name="T10" fmla="*/ 4 w 12"/>
                  <a:gd name="T11" fmla="*/ 2 h 4"/>
                  <a:gd name="T12" fmla="*/ 2 w 12"/>
                  <a:gd name="T13" fmla="*/ 2 h 4"/>
                  <a:gd name="T14" fmla="*/ 0 w 12"/>
                  <a:gd name="T15" fmla="*/ 4 h 4"/>
                  <a:gd name="T16" fmla="*/ 0 w 12"/>
                  <a:gd name="T17" fmla="*/ 4 h 4"/>
                  <a:gd name="T18" fmla="*/ 0 w 12"/>
                  <a:gd name="T19" fmla="*/ 4 h 4"/>
                  <a:gd name="T20" fmla="*/ 2 w 12"/>
                  <a:gd name="T2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4">
                    <a:moveTo>
                      <a:pt x="2" y="2"/>
                    </a:moveTo>
                    <a:lnTo>
                      <a:pt x="4" y="2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20" name="Freeform 519">
                <a:extLst>
                  <a:ext uri="{FF2B5EF4-FFF2-40B4-BE49-F238E27FC236}">
                    <a16:creationId xmlns:a16="http://schemas.microsoft.com/office/drawing/2014/main" id="{2CC6BF2A-0D10-4CC8-B749-81D7008051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" y="3527"/>
                <a:ext cx="8" cy="2"/>
              </a:xfrm>
              <a:custGeom>
                <a:avLst/>
                <a:gdLst>
                  <a:gd name="T0" fmla="*/ 8 w 8"/>
                  <a:gd name="T1" fmla="*/ 2 h 2"/>
                  <a:gd name="T2" fmla="*/ 0 w 8"/>
                  <a:gd name="T3" fmla="*/ 0 h 2"/>
                  <a:gd name="T4" fmla="*/ 0 w 8"/>
                  <a:gd name="T5" fmla="*/ 0 h 2"/>
                  <a:gd name="T6" fmla="*/ 0 w 8"/>
                  <a:gd name="T7" fmla="*/ 0 h 2"/>
                  <a:gd name="T8" fmla="*/ 8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8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21" name="Freeform 520">
                <a:extLst>
                  <a:ext uri="{FF2B5EF4-FFF2-40B4-BE49-F238E27FC236}">
                    <a16:creationId xmlns:a16="http://schemas.microsoft.com/office/drawing/2014/main" id="{88145225-9FC4-404F-9CAF-8AFE5B8736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9" y="3551"/>
                <a:ext cx="16" cy="2"/>
              </a:xfrm>
              <a:custGeom>
                <a:avLst/>
                <a:gdLst>
                  <a:gd name="T0" fmla="*/ 16 w 16"/>
                  <a:gd name="T1" fmla="*/ 2 h 2"/>
                  <a:gd name="T2" fmla="*/ 10 w 16"/>
                  <a:gd name="T3" fmla="*/ 0 h 2"/>
                  <a:gd name="T4" fmla="*/ 0 w 16"/>
                  <a:gd name="T5" fmla="*/ 0 h 2"/>
                  <a:gd name="T6" fmla="*/ 10 w 16"/>
                  <a:gd name="T7" fmla="*/ 0 h 2"/>
                  <a:gd name="T8" fmla="*/ 16 w 1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">
                    <a:moveTo>
                      <a:pt x="16" y="2"/>
                    </a:moveTo>
                    <a:lnTo>
                      <a:pt x="10" y="0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22" name="Freeform 521">
                <a:extLst>
                  <a:ext uri="{FF2B5EF4-FFF2-40B4-BE49-F238E27FC236}">
                    <a16:creationId xmlns:a16="http://schemas.microsoft.com/office/drawing/2014/main" id="{CD5161C5-78D7-4D91-8213-EDC9D0EE37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4" y="3560"/>
                <a:ext cx="23" cy="6"/>
              </a:xfrm>
              <a:custGeom>
                <a:avLst/>
                <a:gdLst>
                  <a:gd name="T0" fmla="*/ 4 w 23"/>
                  <a:gd name="T1" fmla="*/ 6 h 6"/>
                  <a:gd name="T2" fmla="*/ 20 w 23"/>
                  <a:gd name="T3" fmla="*/ 0 h 6"/>
                  <a:gd name="T4" fmla="*/ 23 w 23"/>
                  <a:gd name="T5" fmla="*/ 0 h 6"/>
                  <a:gd name="T6" fmla="*/ 20 w 23"/>
                  <a:gd name="T7" fmla="*/ 0 h 6"/>
                  <a:gd name="T8" fmla="*/ 4 w 23"/>
                  <a:gd name="T9" fmla="*/ 6 h 6"/>
                  <a:gd name="T10" fmla="*/ 0 w 23"/>
                  <a:gd name="T11" fmla="*/ 6 h 6"/>
                  <a:gd name="T12" fmla="*/ 0 w 23"/>
                  <a:gd name="T13" fmla="*/ 6 h 6"/>
                  <a:gd name="T14" fmla="*/ 4 w 23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6">
                    <a:moveTo>
                      <a:pt x="4" y="6"/>
                    </a:moveTo>
                    <a:lnTo>
                      <a:pt x="20" y="0"/>
                    </a:lnTo>
                    <a:lnTo>
                      <a:pt x="23" y="0"/>
                    </a:lnTo>
                    <a:lnTo>
                      <a:pt x="20" y="0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23" name="Freeform 522">
                <a:extLst>
                  <a:ext uri="{FF2B5EF4-FFF2-40B4-BE49-F238E27FC236}">
                    <a16:creationId xmlns:a16="http://schemas.microsoft.com/office/drawing/2014/main" id="{D8D9217F-8C7F-49F6-8D13-8585D1FC4A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8" y="3553"/>
                <a:ext cx="15" cy="5"/>
              </a:xfrm>
              <a:custGeom>
                <a:avLst/>
                <a:gdLst>
                  <a:gd name="T0" fmla="*/ 13 w 15"/>
                  <a:gd name="T1" fmla="*/ 3 h 5"/>
                  <a:gd name="T2" fmla="*/ 13 w 15"/>
                  <a:gd name="T3" fmla="*/ 3 h 5"/>
                  <a:gd name="T4" fmla="*/ 13 w 15"/>
                  <a:gd name="T5" fmla="*/ 3 h 5"/>
                  <a:gd name="T6" fmla="*/ 15 w 15"/>
                  <a:gd name="T7" fmla="*/ 1 h 5"/>
                  <a:gd name="T8" fmla="*/ 15 w 15"/>
                  <a:gd name="T9" fmla="*/ 1 h 5"/>
                  <a:gd name="T10" fmla="*/ 15 w 15"/>
                  <a:gd name="T11" fmla="*/ 1 h 5"/>
                  <a:gd name="T12" fmla="*/ 13 w 15"/>
                  <a:gd name="T13" fmla="*/ 3 h 5"/>
                  <a:gd name="T14" fmla="*/ 13 w 15"/>
                  <a:gd name="T15" fmla="*/ 3 h 5"/>
                  <a:gd name="T16" fmla="*/ 13 w 15"/>
                  <a:gd name="T17" fmla="*/ 3 h 5"/>
                  <a:gd name="T18" fmla="*/ 10 w 15"/>
                  <a:gd name="T19" fmla="*/ 5 h 5"/>
                  <a:gd name="T20" fmla="*/ 0 w 15"/>
                  <a:gd name="T21" fmla="*/ 0 h 5"/>
                  <a:gd name="T22" fmla="*/ 10 w 15"/>
                  <a:gd name="T23" fmla="*/ 5 h 5"/>
                  <a:gd name="T24" fmla="*/ 13 w 15"/>
                  <a:gd name="T2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" h="5">
                    <a:moveTo>
                      <a:pt x="13" y="3"/>
                    </a:moveTo>
                    <a:lnTo>
                      <a:pt x="13" y="3"/>
                    </a:lnTo>
                    <a:lnTo>
                      <a:pt x="13" y="3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3" y="3"/>
                    </a:lnTo>
                    <a:lnTo>
                      <a:pt x="13" y="3"/>
                    </a:lnTo>
                    <a:lnTo>
                      <a:pt x="13" y="3"/>
                    </a:lnTo>
                    <a:lnTo>
                      <a:pt x="10" y="5"/>
                    </a:lnTo>
                    <a:lnTo>
                      <a:pt x="0" y="0"/>
                    </a:lnTo>
                    <a:lnTo>
                      <a:pt x="10" y="5"/>
                    </a:lnTo>
                    <a:lnTo>
                      <a:pt x="13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24" name="Freeform 523">
                <a:extLst>
                  <a:ext uri="{FF2B5EF4-FFF2-40B4-BE49-F238E27FC236}">
                    <a16:creationId xmlns:a16="http://schemas.microsoft.com/office/drawing/2014/main" id="{7A8F4EAF-A158-4181-ADE4-1B98D9879D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9" y="702"/>
                <a:ext cx="82" cy="129"/>
              </a:xfrm>
              <a:custGeom>
                <a:avLst/>
                <a:gdLst>
                  <a:gd name="T0" fmla="*/ 21 w 82"/>
                  <a:gd name="T1" fmla="*/ 14 h 129"/>
                  <a:gd name="T2" fmla="*/ 19 w 82"/>
                  <a:gd name="T3" fmla="*/ 19 h 129"/>
                  <a:gd name="T4" fmla="*/ 16 w 82"/>
                  <a:gd name="T5" fmla="*/ 31 h 129"/>
                  <a:gd name="T6" fmla="*/ 14 w 82"/>
                  <a:gd name="T7" fmla="*/ 43 h 129"/>
                  <a:gd name="T8" fmla="*/ 12 w 82"/>
                  <a:gd name="T9" fmla="*/ 49 h 129"/>
                  <a:gd name="T10" fmla="*/ 12 w 82"/>
                  <a:gd name="T11" fmla="*/ 51 h 129"/>
                  <a:gd name="T12" fmla="*/ 12 w 82"/>
                  <a:gd name="T13" fmla="*/ 53 h 129"/>
                  <a:gd name="T14" fmla="*/ 12 w 82"/>
                  <a:gd name="T15" fmla="*/ 55 h 129"/>
                  <a:gd name="T16" fmla="*/ 6 w 82"/>
                  <a:gd name="T17" fmla="*/ 68 h 129"/>
                  <a:gd name="T18" fmla="*/ 0 w 82"/>
                  <a:gd name="T19" fmla="*/ 78 h 129"/>
                  <a:gd name="T20" fmla="*/ 0 w 82"/>
                  <a:gd name="T21" fmla="*/ 82 h 129"/>
                  <a:gd name="T22" fmla="*/ 2 w 82"/>
                  <a:gd name="T23" fmla="*/ 86 h 129"/>
                  <a:gd name="T24" fmla="*/ 2 w 82"/>
                  <a:gd name="T25" fmla="*/ 86 h 129"/>
                  <a:gd name="T26" fmla="*/ 2 w 82"/>
                  <a:gd name="T27" fmla="*/ 92 h 129"/>
                  <a:gd name="T28" fmla="*/ 4 w 82"/>
                  <a:gd name="T29" fmla="*/ 98 h 129"/>
                  <a:gd name="T30" fmla="*/ 6 w 82"/>
                  <a:gd name="T31" fmla="*/ 101 h 129"/>
                  <a:gd name="T32" fmla="*/ 8 w 82"/>
                  <a:gd name="T33" fmla="*/ 105 h 129"/>
                  <a:gd name="T34" fmla="*/ 10 w 82"/>
                  <a:gd name="T35" fmla="*/ 121 h 129"/>
                  <a:gd name="T36" fmla="*/ 12 w 82"/>
                  <a:gd name="T37" fmla="*/ 125 h 129"/>
                  <a:gd name="T38" fmla="*/ 16 w 82"/>
                  <a:gd name="T39" fmla="*/ 129 h 129"/>
                  <a:gd name="T40" fmla="*/ 19 w 82"/>
                  <a:gd name="T41" fmla="*/ 127 h 129"/>
                  <a:gd name="T42" fmla="*/ 23 w 82"/>
                  <a:gd name="T43" fmla="*/ 125 h 129"/>
                  <a:gd name="T44" fmla="*/ 27 w 82"/>
                  <a:gd name="T45" fmla="*/ 121 h 129"/>
                  <a:gd name="T46" fmla="*/ 31 w 82"/>
                  <a:gd name="T47" fmla="*/ 117 h 129"/>
                  <a:gd name="T48" fmla="*/ 29 w 82"/>
                  <a:gd name="T49" fmla="*/ 117 h 129"/>
                  <a:gd name="T50" fmla="*/ 29 w 82"/>
                  <a:gd name="T51" fmla="*/ 113 h 129"/>
                  <a:gd name="T52" fmla="*/ 29 w 82"/>
                  <a:gd name="T53" fmla="*/ 109 h 129"/>
                  <a:gd name="T54" fmla="*/ 31 w 82"/>
                  <a:gd name="T55" fmla="*/ 105 h 129"/>
                  <a:gd name="T56" fmla="*/ 31 w 82"/>
                  <a:gd name="T57" fmla="*/ 101 h 129"/>
                  <a:gd name="T58" fmla="*/ 33 w 82"/>
                  <a:gd name="T59" fmla="*/ 96 h 129"/>
                  <a:gd name="T60" fmla="*/ 43 w 82"/>
                  <a:gd name="T61" fmla="*/ 72 h 129"/>
                  <a:gd name="T62" fmla="*/ 45 w 82"/>
                  <a:gd name="T63" fmla="*/ 68 h 129"/>
                  <a:gd name="T64" fmla="*/ 57 w 82"/>
                  <a:gd name="T65" fmla="*/ 58 h 129"/>
                  <a:gd name="T66" fmla="*/ 58 w 82"/>
                  <a:gd name="T67" fmla="*/ 55 h 129"/>
                  <a:gd name="T68" fmla="*/ 60 w 82"/>
                  <a:gd name="T69" fmla="*/ 47 h 129"/>
                  <a:gd name="T70" fmla="*/ 62 w 82"/>
                  <a:gd name="T71" fmla="*/ 41 h 129"/>
                  <a:gd name="T72" fmla="*/ 68 w 82"/>
                  <a:gd name="T73" fmla="*/ 31 h 129"/>
                  <a:gd name="T74" fmla="*/ 72 w 82"/>
                  <a:gd name="T75" fmla="*/ 27 h 129"/>
                  <a:gd name="T76" fmla="*/ 74 w 82"/>
                  <a:gd name="T77" fmla="*/ 25 h 129"/>
                  <a:gd name="T78" fmla="*/ 76 w 82"/>
                  <a:gd name="T79" fmla="*/ 12 h 129"/>
                  <a:gd name="T80" fmla="*/ 76 w 82"/>
                  <a:gd name="T81" fmla="*/ 10 h 129"/>
                  <a:gd name="T82" fmla="*/ 82 w 82"/>
                  <a:gd name="T83" fmla="*/ 0 h 129"/>
                  <a:gd name="T84" fmla="*/ 21 w 82"/>
                  <a:gd name="T85" fmla="*/ 0 h 129"/>
                  <a:gd name="T86" fmla="*/ 21 w 82"/>
                  <a:gd name="T87" fmla="*/ 4 h 129"/>
                  <a:gd name="T88" fmla="*/ 21 w 82"/>
                  <a:gd name="T89" fmla="*/ 14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2" h="129">
                    <a:moveTo>
                      <a:pt x="21" y="14"/>
                    </a:moveTo>
                    <a:lnTo>
                      <a:pt x="19" y="19"/>
                    </a:lnTo>
                    <a:lnTo>
                      <a:pt x="16" y="31"/>
                    </a:lnTo>
                    <a:lnTo>
                      <a:pt x="14" y="43"/>
                    </a:lnTo>
                    <a:lnTo>
                      <a:pt x="12" y="49"/>
                    </a:lnTo>
                    <a:lnTo>
                      <a:pt x="12" y="51"/>
                    </a:lnTo>
                    <a:lnTo>
                      <a:pt x="12" y="53"/>
                    </a:lnTo>
                    <a:lnTo>
                      <a:pt x="12" y="55"/>
                    </a:lnTo>
                    <a:lnTo>
                      <a:pt x="6" y="68"/>
                    </a:lnTo>
                    <a:lnTo>
                      <a:pt x="0" y="78"/>
                    </a:lnTo>
                    <a:lnTo>
                      <a:pt x="0" y="82"/>
                    </a:lnTo>
                    <a:lnTo>
                      <a:pt x="2" y="86"/>
                    </a:lnTo>
                    <a:lnTo>
                      <a:pt x="2" y="86"/>
                    </a:lnTo>
                    <a:lnTo>
                      <a:pt x="2" y="92"/>
                    </a:lnTo>
                    <a:lnTo>
                      <a:pt x="4" y="98"/>
                    </a:lnTo>
                    <a:lnTo>
                      <a:pt x="6" y="101"/>
                    </a:lnTo>
                    <a:lnTo>
                      <a:pt x="8" y="105"/>
                    </a:lnTo>
                    <a:lnTo>
                      <a:pt x="10" y="121"/>
                    </a:lnTo>
                    <a:lnTo>
                      <a:pt x="12" y="125"/>
                    </a:lnTo>
                    <a:lnTo>
                      <a:pt x="16" y="129"/>
                    </a:lnTo>
                    <a:lnTo>
                      <a:pt x="19" y="127"/>
                    </a:lnTo>
                    <a:lnTo>
                      <a:pt x="23" y="125"/>
                    </a:lnTo>
                    <a:lnTo>
                      <a:pt x="27" y="121"/>
                    </a:lnTo>
                    <a:lnTo>
                      <a:pt x="31" y="117"/>
                    </a:lnTo>
                    <a:lnTo>
                      <a:pt x="29" y="117"/>
                    </a:lnTo>
                    <a:lnTo>
                      <a:pt x="29" y="113"/>
                    </a:lnTo>
                    <a:lnTo>
                      <a:pt x="29" y="109"/>
                    </a:lnTo>
                    <a:lnTo>
                      <a:pt x="31" y="105"/>
                    </a:lnTo>
                    <a:lnTo>
                      <a:pt x="31" y="101"/>
                    </a:lnTo>
                    <a:lnTo>
                      <a:pt x="33" y="96"/>
                    </a:lnTo>
                    <a:lnTo>
                      <a:pt x="43" y="72"/>
                    </a:lnTo>
                    <a:lnTo>
                      <a:pt x="45" y="68"/>
                    </a:lnTo>
                    <a:lnTo>
                      <a:pt x="57" y="58"/>
                    </a:lnTo>
                    <a:lnTo>
                      <a:pt x="58" y="55"/>
                    </a:lnTo>
                    <a:lnTo>
                      <a:pt x="60" y="47"/>
                    </a:lnTo>
                    <a:lnTo>
                      <a:pt x="62" y="41"/>
                    </a:lnTo>
                    <a:lnTo>
                      <a:pt x="68" y="31"/>
                    </a:lnTo>
                    <a:lnTo>
                      <a:pt x="72" y="27"/>
                    </a:lnTo>
                    <a:lnTo>
                      <a:pt x="74" y="25"/>
                    </a:lnTo>
                    <a:lnTo>
                      <a:pt x="76" y="12"/>
                    </a:lnTo>
                    <a:lnTo>
                      <a:pt x="76" y="10"/>
                    </a:lnTo>
                    <a:lnTo>
                      <a:pt x="82" y="0"/>
                    </a:lnTo>
                    <a:lnTo>
                      <a:pt x="21" y="0"/>
                    </a:lnTo>
                    <a:lnTo>
                      <a:pt x="21" y="4"/>
                    </a:lnTo>
                    <a:lnTo>
                      <a:pt x="21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25" name="Freeform 524">
                <a:extLst>
                  <a:ext uri="{FF2B5EF4-FFF2-40B4-BE49-F238E27FC236}">
                    <a16:creationId xmlns:a16="http://schemas.microsoft.com/office/drawing/2014/main" id="{D82B9185-B4EE-40E9-B20E-875E0C9D8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2633"/>
                <a:ext cx="12" cy="14"/>
              </a:xfrm>
              <a:custGeom>
                <a:avLst/>
                <a:gdLst>
                  <a:gd name="T0" fmla="*/ 6 w 12"/>
                  <a:gd name="T1" fmla="*/ 6 h 14"/>
                  <a:gd name="T2" fmla="*/ 12 w 12"/>
                  <a:gd name="T3" fmla="*/ 0 h 14"/>
                  <a:gd name="T4" fmla="*/ 6 w 12"/>
                  <a:gd name="T5" fmla="*/ 6 h 14"/>
                  <a:gd name="T6" fmla="*/ 2 w 12"/>
                  <a:gd name="T7" fmla="*/ 10 h 14"/>
                  <a:gd name="T8" fmla="*/ 0 w 12"/>
                  <a:gd name="T9" fmla="*/ 14 h 14"/>
                  <a:gd name="T10" fmla="*/ 2 w 12"/>
                  <a:gd name="T11" fmla="*/ 10 h 14"/>
                  <a:gd name="T12" fmla="*/ 6 w 12"/>
                  <a:gd name="T13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4">
                    <a:moveTo>
                      <a:pt x="6" y="6"/>
                    </a:moveTo>
                    <a:lnTo>
                      <a:pt x="12" y="0"/>
                    </a:lnTo>
                    <a:lnTo>
                      <a:pt x="6" y="6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26" name="Freeform 525">
                <a:extLst>
                  <a:ext uri="{FF2B5EF4-FFF2-40B4-BE49-F238E27FC236}">
                    <a16:creationId xmlns:a16="http://schemas.microsoft.com/office/drawing/2014/main" id="{BD5E7A75-7CB3-4DCD-A659-F40A6ACC6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666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27" name="Freeform 526">
                <a:extLst>
                  <a:ext uri="{FF2B5EF4-FFF2-40B4-BE49-F238E27FC236}">
                    <a16:creationId xmlns:a16="http://schemas.microsoft.com/office/drawing/2014/main" id="{235698AB-9A8F-4D02-B5C3-468AB92AD1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" y="2670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0 h 4"/>
                  <a:gd name="T4" fmla="*/ 2 w 2"/>
                  <a:gd name="T5" fmla="*/ 4 h 4"/>
                  <a:gd name="T6" fmla="*/ 2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28" name="Freeform 527">
                <a:extLst>
                  <a:ext uri="{FF2B5EF4-FFF2-40B4-BE49-F238E27FC236}">
                    <a16:creationId xmlns:a16="http://schemas.microsoft.com/office/drawing/2014/main" id="{6DE88C14-D6B9-4465-8FF1-05CE2A674B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5" y="2662"/>
                <a:ext cx="2" cy="8"/>
              </a:xfrm>
              <a:custGeom>
                <a:avLst/>
                <a:gdLst>
                  <a:gd name="T0" fmla="*/ 2 w 2"/>
                  <a:gd name="T1" fmla="*/ 8 h 8"/>
                  <a:gd name="T2" fmla="*/ 2 w 2"/>
                  <a:gd name="T3" fmla="*/ 4 h 8"/>
                  <a:gd name="T4" fmla="*/ 0 w 2"/>
                  <a:gd name="T5" fmla="*/ 0 h 8"/>
                  <a:gd name="T6" fmla="*/ 0 w 2"/>
                  <a:gd name="T7" fmla="*/ 0 h 8"/>
                  <a:gd name="T8" fmla="*/ 2 w 2"/>
                  <a:gd name="T9" fmla="*/ 4 h 8"/>
                  <a:gd name="T10" fmla="*/ 2 w 2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8">
                    <a:moveTo>
                      <a:pt x="2" y="8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29" name="Freeform 528">
                <a:extLst>
                  <a:ext uri="{FF2B5EF4-FFF2-40B4-BE49-F238E27FC236}">
                    <a16:creationId xmlns:a16="http://schemas.microsoft.com/office/drawing/2014/main" id="{FDC495F7-161A-4992-9999-1EE8282B5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8" y="2629"/>
                <a:ext cx="16" cy="4"/>
              </a:xfrm>
              <a:custGeom>
                <a:avLst/>
                <a:gdLst>
                  <a:gd name="T0" fmla="*/ 8 w 16"/>
                  <a:gd name="T1" fmla="*/ 0 h 4"/>
                  <a:gd name="T2" fmla="*/ 16 w 16"/>
                  <a:gd name="T3" fmla="*/ 0 h 4"/>
                  <a:gd name="T4" fmla="*/ 8 w 16"/>
                  <a:gd name="T5" fmla="*/ 0 h 4"/>
                  <a:gd name="T6" fmla="*/ 4 w 16"/>
                  <a:gd name="T7" fmla="*/ 2 h 4"/>
                  <a:gd name="T8" fmla="*/ 0 w 16"/>
                  <a:gd name="T9" fmla="*/ 4 h 4"/>
                  <a:gd name="T10" fmla="*/ 4 w 16"/>
                  <a:gd name="T11" fmla="*/ 2 h 4"/>
                  <a:gd name="T12" fmla="*/ 8 w 1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4">
                    <a:moveTo>
                      <a:pt x="8" y="0"/>
                    </a:moveTo>
                    <a:lnTo>
                      <a:pt x="16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30" name="Rectangle 529">
                <a:extLst>
                  <a:ext uri="{FF2B5EF4-FFF2-40B4-BE49-F238E27FC236}">
                    <a16:creationId xmlns:a16="http://schemas.microsoft.com/office/drawing/2014/main" id="{DD93F14D-4E22-40AC-838A-522B76FD2E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48" y="261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31" name="Freeform 530">
                <a:extLst>
                  <a:ext uri="{FF2B5EF4-FFF2-40B4-BE49-F238E27FC236}">
                    <a16:creationId xmlns:a16="http://schemas.microsoft.com/office/drawing/2014/main" id="{CB482350-BAC0-45E5-84F3-C241E8926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6" y="354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32" name="Rectangle 531">
                <a:extLst>
                  <a:ext uri="{FF2B5EF4-FFF2-40B4-BE49-F238E27FC236}">
                    <a16:creationId xmlns:a16="http://schemas.microsoft.com/office/drawing/2014/main" id="{6FB90A49-4438-4949-AC71-444F614548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3" y="259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33" name="Freeform 532">
                <a:extLst>
                  <a:ext uri="{FF2B5EF4-FFF2-40B4-BE49-F238E27FC236}">
                    <a16:creationId xmlns:a16="http://schemas.microsoft.com/office/drawing/2014/main" id="{02A66EF8-90E9-4770-8813-7F444123EC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0" y="2629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34" name="Rectangle 533">
                <a:extLst>
                  <a:ext uri="{FF2B5EF4-FFF2-40B4-BE49-F238E27FC236}">
                    <a16:creationId xmlns:a16="http://schemas.microsoft.com/office/drawing/2014/main" id="{921F4CCA-0AD1-4779-9F4C-A743B3AE22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1" y="266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35" name="Rectangle 534">
                <a:extLst>
                  <a:ext uri="{FF2B5EF4-FFF2-40B4-BE49-F238E27FC236}">
                    <a16:creationId xmlns:a16="http://schemas.microsoft.com/office/drawing/2014/main" id="{CE19B682-F049-4B3A-9DB2-D0F8A464A1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1" y="260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36" name="Freeform 535">
                <a:extLst>
                  <a:ext uri="{FF2B5EF4-FFF2-40B4-BE49-F238E27FC236}">
                    <a16:creationId xmlns:a16="http://schemas.microsoft.com/office/drawing/2014/main" id="{46D635E6-8B9C-4D51-9864-6706E00F66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7" y="2608"/>
                <a:ext cx="2" cy="5"/>
              </a:xfrm>
              <a:custGeom>
                <a:avLst/>
                <a:gdLst>
                  <a:gd name="T0" fmla="*/ 2 w 2"/>
                  <a:gd name="T1" fmla="*/ 3 h 5"/>
                  <a:gd name="T2" fmla="*/ 2 w 2"/>
                  <a:gd name="T3" fmla="*/ 5 h 5"/>
                  <a:gd name="T4" fmla="*/ 2 w 2"/>
                  <a:gd name="T5" fmla="*/ 3 h 5"/>
                  <a:gd name="T6" fmla="*/ 2 w 2"/>
                  <a:gd name="T7" fmla="*/ 1 h 5"/>
                  <a:gd name="T8" fmla="*/ 0 w 2"/>
                  <a:gd name="T9" fmla="*/ 0 h 5"/>
                  <a:gd name="T10" fmla="*/ 2 w 2"/>
                  <a:gd name="T11" fmla="*/ 1 h 5"/>
                  <a:gd name="T12" fmla="*/ 2 w 2"/>
                  <a:gd name="T13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5">
                    <a:moveTo>
                      <a:pt x="2" y="3"/>
                    </a:moveTo>
                    <a:lnTo>
                      <a:pt x="2" y="5"/>
                    </a:lnTo>
                    <a:lnTo>
                      <a:pt x="2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2" y="1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37" name="Freeform 536">
                <a:extLst>
                  <a:ext uri="{FF2B5EF4-FFF2-40B4-BE49-F238E27FC236}">
                    <a16:creationId xmlns:a16="http://schemas.microsoft.com/office/drawing/2014/main" id="{A3BEE87B-CF9B-4157-BE82-9DE152D934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3" y="2609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2 w 4"/>
                  <a:gd name="T3" fmla="*/ 2 h 4"/>
                  <a:gd name="T4" fmla="*/ 0 w 4"/>
                  <a:gd name="T5" fmla="*/ 4 h 4"/>
                  <a:gd name="T6" fmla="*/ 2 w 4"/>
                  <a:gd name="T7" fmla="*/ 2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38" name="Freeform 537">
                <a:extLst>
                  <a:ext uri="{FF2B5EF4-FFF2-40B4-BE49-F238E27FC236}">
                    <a16:creationId xmlns:a16="http://schemas.microsoft.com/office/drawing/2014/main" id="{7A00348B-019E-450A-8340-D83A4850A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2" y="2621"/>
                <a:ext cx="6" cy="6"/>
              </a:xfrm>
              <a:custGeom>
                <a:avLst/>
                <a:gdLst>
                  <a:gd name="T0" fmla="*/ 4 w 6"/>
                  <a:gd name="T1" fmla="*/ 4 h 6"/>
                  <a:gd name="T2" fmla="*/ 6 w 6"/>
                  <a:gd name="T3" fmla="*/ 6 h 6"/>
                  <a:gd name="T4" fmla="*/ 4 w 6"/>
                  <a:gd name="T5" fmla="*/ 4 h 6"/>
                  <a:gd name="T6" fmla="*/ 0 w 6"/>
                  <a:gd name="T7" fmla="*/ 0 h 6"/>
                  <a:gd name="T8" fmla="*/ 0 w 6"/>
                  <a:gd name="T9" fmla="*/ 0 h 6"/>
                  <a:gd name="T10" fmla="*/ 4 w 6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6">
                    <a:moveTo>
                      <a:pt x="4" y="4"/>
                    </a:moveTo>
                    <a:lnTo>
                      <a:pt x="6" y="6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39" name="Freeform 538">
                <a:extLst>
                  <a:ext uri="{FF2B5EF4-FFF2-40B4-BE49-F238E27FC236}">
                    <a16:creationId xmlns:a16="http://schemas.microsoft.com/office/drawing/2014/main" id="{85CF2702-F2C6-4F68-8218-4D0F338394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3" y="2625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2 h 4"/>
                  <a:gd name="T4" fmla="*/ 0 w 4"/>
                  <a:gd name="T5" fmla="*/ 4 h 4"/>
                  <a:gd name="T6" fmla="*/ 4 w 4"/>
                  <a:gd name="T7" fmla="*/ 2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2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40" name="Freeform 539">
                <a:extLst>
                  <a:ext uri="{FF2B5EF4-FFF2-40B4-BE49-F238E27FC236}">
                    <a16:creationId xmlns:a16="http://schemas.microsoft.com/office/drawing/2014/main" id="{6E87595C-70D6-4501-8AD4-F254F49EA7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9" y="2629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41" name="Freeform 540">
                <a:extLst>
                  <a:ext uri="{FF2B5EF4-FFF2-40B4-BE49-F238E27FC236}">
                    <a16:creationId xmlns:a16="http://schemas.microsoft.com/office/drawing/2014/main" id="{68ABD088-989E-417B-94F3-17F2392B7E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0" y="2627"/>
                <a:ext cx="15" cy="4"/>
              </a:xfrm>
              <a:custGeom>
                <a:avLst/>
                <a:gdLst>
                  <a:gd name="T0" fmla="*/ 15 w 15"/>
                  <a:gd name="T1" fmla="*/ 4 h 4"/>
                  <a:gd name="T2" fmla="*/ 13 w 15"/>
                  <a:gd name="T3" fmla="*/ 4 h 4"/>
                  <a:gd name="T4" fmla="*/ 0 w 15"/>
                  <a:gd name="T5" fmla="*/ 0 h 4"/>
                  <a:gd name="T6" fmla="*/ 0 w 15"/>
                  <a:gd name="T7" fmla="*/ 0 h 4"/>
                  <a:gd name="T8" fmla="*/ 13 w 15"/>
                  <a:gd name="T9" fmla="*/ 4 h 4"/>
                  <a:gd name="T10" fmla="*/ 15 w 15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4">
                    <a:moveTo>
                      <a:pt x="15" y="4"/>
                    </a:moveTo>
                    <a:lnTo>
                      <a:pt x="13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3" y="4"/>
                    </a:lnTo>
                    <a:lnTo>
                      <a:pt x="15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42" name="Freeform 541">
                <a:extLst>
                  <a:ext uri="{FF2B5EF4-FFF2-40B4-BE49-F238E27FC236}">
                    <a16:creationId xmlns:a16="http://schemas.microsoft.com/office/drawing/2014/main" id="{21964A3F-F653-4EBD-B33B-F1AE792F53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9" y="2635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2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43" name="Freeform 542">
                <a:extLst>
                  <a:ext uri="{FF2B5EF4-FFF2-40B4-BE49-F238E27FC236}">
                    <a16:creationId xmlns:a16="http://schemas.microsoft.com/office/drawing/2014/main" id="{8AB9B0AC-7F72-4379-8048-E096BB7D03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6" y="2627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4 w 8"/>
                  <a:gd name="T3" fmla="*/ 2 h 4"/>
                  <a:gd name="T4" fmla="*/ 0 w 8"/>
                  <a:gd name="T5" fmla="*/ 4 h 4"/>
                  <a:gd name="T6" fmla="*/ 4 w 8"/>
                  <a:gd name="T7" fmla="*/ 2 h 4"/>
                  <a:gd name="T8" fmla="*/ 8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4" y="2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44" name="Freeform 543">
                <a:extLst>
                  <a:ext uri="{FF2B5EF4-FFF2-40B4-BE49-F238E27FC236}">
                    <a16:creationId xmlns:a16="http://schemas.microsoft.com/office/drawing/2014/main" id="{7151A4BB-E852-449A-9F0E-1C00D220FD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0" y="2629"/>
                <a:ext cx="10" cy="12"/>
              </a:xfrm>
              <a:custGeom>
                <a:avLst/>
                <a:gdLst>
                  <a:gd name="T0" fmla="*/ 2 w 10"/>
                  <a:gd name="T1" fmla="*/ 8 h 12"/>
                  <a:gd name="T2" fmla="*/ 2 w 10"/>
                  <a:gd name="T3" fmla="*/ 10 h 12"/>
                  <a:gd name="T4" fmla="*/ 4 w 10"/>
                  <a:gd name="T5" fmla="*/ 12 h 12"/>
                  <a:gd name="T6" fmla="*/ 8 w 10"/>
                  <a:gd name="T7" fmla="*/ 10 h 12"/>
                  <a:gd name="T8" fmla="*/ 10 w 10"/>
                  <a:gd name="T9" fmla="*/ 6 h 12"/>
                  <a:gd name="T10" fmla="*/ 8 w 10"/>
                  <a:gd name="T11" fmla="*/ 10 h 12"/>
                  <a:gd name="T12" fmla="*/ 4 w 10"/>
                  <a:gd name="T13" fmla="*/ 12 h 12"/>
                  <a:gd name="T14" fmla="*/ 2 w 10"/>
                  <a:gd name="T15" fmla="*/ 10 h 12"/>
                  <a:gd name="T16" fmla="*/ 2 w 10"/>
                  <a:gd name="T17" fmla="*/ 8 h 12"/>
                  <a:gd name="T18" fmla="*/ 0 w 10"/>
                  <a:gd name="T19" fmla="*/ 0 h 12"/>
                  <a:gd name="T20" fmla="*/ 0 w 10"/>
                  <a:gd name="T21" fmla="*/ 0 h 12"/>
                  <a:gd name="T22" fmla="*/ 0 w 10"/>
                  <a:gd name="T23" fmla="*/ 0 h 12"/>
                  <a:gd name="T24" fmla="*/ 2 w 10"/>
                  <a:gd name="T25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" h="12">
                    <a:moveTo>
                      <a:pt x="2" y="8"/>
                    </a:moveTo>
                    <a:lnTo>
                      <a:pt x="2" y="10"/>
                    </a:lnTo>
                    <a:lnTo>
                      <a:pt x="4" y="12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10"/>
                    </a:lnTo>
                    <a:lnTo>
                      <a:pt x="4" y="12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45" name="Freeform 544">
                <a:extLst>
                  <a:ext uri="{FF2B5EF4-FFF2-40B4-BE49-F238E27FC236}">
                    <a16:creationId xmlns:a16="http://schemas.microsoft.com/office/drawing/2014/main" id="{8BF65EB7-95D0-4F51-AF12-1478B50CA4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3" y="2658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46" name="Rectangle 545">
                <a:extLst>
                  <a:ext uri="{FF2B5EF4-FFF2-40B4-BE49-F238E27FC236}">
                    <a16:creationId xmlns:a16="http://schemas.microsoft.com/office/drawing/2014/main" id="{8D057AA0-3E00-4E19-97AC-EA20D88A8C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6" y="172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47" name="Freeform 546">
                <a:extLst>
                  <a:ext uri="{FF2B5EF4-FFF2-40B4-BE49-F238E27FC236}">
                    <a16:creationId xmlns:a16="http://schemas.microsoft.com/office/drawing/2014/main" id="{AF15C107-50F2-4A14-8621-FF096F0D81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3" y="2512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48" name="Freeform 547">
                <a:extLst>
                  <a:ext uri="{FF2B5EF4-FFF2-40B4-BE49-F238E27FC236}">
                    <a16:creationId xmlns:a16="http://schemas.microsoft.com/office/drawing/2014/main" id="{24AEAD8B-141E-406E-87CF-3C6130CA54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6" y="3566"/>
                <a:ext cx="10" cy="2"/>
              </a:xfrm>
              <a:custGeom>
                <a:avLst/>
                <a:gdLst>
                  <a:gd name="T0" fmla="*/ 0 w 10"/>
                  <a:gd name="T1" fmla="*/ 0 h 2"/>
                  <a:gd name="T2" fmla="*/ 0 w 10"/>
                  <a:gd name="T3" fmla="*/ 0 h 2"/>
                  <a:gd name="T4" fmla="*/ 0 w 10"/>
                  <a:gd name="T5" fmla="*/ 0 h 2"/>
                  <a:gd name="T6" fmla="*/ 6 w 10"/>
                  <a:gd name="T7" fmla="*/ 2 h 2"/>
                  <a:gd name="T8" fmla="*/ 10 w 10"/>
                  <a:gd name="T9" fmla="*/ 2 h 2"/>
                  <a:gd name="T10" fmla="*/ 10 w 10"/>
                  <a:gd name="T11" fmla="*/ 2 h 2"/>
                  <a:gd name="T12" fmla="*/ 6 w 10"/>
                  <a:gd name="T13" fmla="*/ 2 h 2"/>
                  <a:gd name="T14" fmla="*/ 0 w 10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49" name="Freeform 548">
                <a:extLst>
                  <a:ext uri="{FF2B5EF4-FFF2-40B4-BE49-F238E27FC236}">
                    <a16:creationId xmlns:a16="http://schemas.microsoft.com/office/drawing/2014/main" id="{F68FD2CA-7402-4688-A5B9-8CA456A12F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3" y="716"/>
                <a:ext cx="61" cy="82"/>
              </a:xfrm>
              <a:custGeom>
                <a:avLst/>
                <a:gdLst>
                  <a:gd name="T0" fmla="*/ 8 w 61"/>
                  <a:gd name="T1" fmla="*/ 39 h 82"/>
                  <a:gd name="T2" fmla="*/ 16 w 61"/>
                  <a:gd name="T3" fmla="*/ 52 h 82"/>
                  <a:gd name="T4" fmla="*/ 24 w 61"/>
                  <a:gd name="T5" fmla="*/ 62 h 82"/>
                  <a:gd name="T6" fmla="*/ 28 w 61"/>
                  <a:gd name="T7" fmla="*/ 70 h 82"/>
                  <a:gd name="T8" fmla="*/ 33 w 61"/>
                  <a:gd name="T9" fmla="*/ 74 h 82"/>
                  <a:gd name="T10" fmla="*/ 31 w 61"/>
                  <a:gd name="T11" fmla="*/ 64 h 82"/>
                  <a:gd name="T12" fmla="*/ 33 w 61"/>
                  <a:gd name="T13" fmla="*/ 54 h 82"/>
                  <a:gd name="T14" fmla="*/ 35 w 61"/>
                  <a:gd name="T15" fmla="*/ 48 h 82"/>
                  <a:gd name="T16" fmla="*/ 39 w 61"/>
                  <a:gd name="T17" fmla="*/ 46 h 82"/>
                  <a:gd name="T18" fmla="*/ 41 w 61"/>
                  <a:gd name="T19" fmla="*/ 50 h 82"/>
                  <a:gd name="T20" fmla="*/ 53 w 61"/>
                  <a:gd name="T21" fmla="*/ 80 h 82"/>
                  <a:gd name="T22" fmla="*/ 59 w 61"/>
                  <a:gd name="T23" fmla="*/ 82 h 82"/>
                  <a:gd name="T24" fmla="*/ 57 w 61"/>
                  <a:gd name="T25" fmla="*/ 76 h 82"/>
                  <a:gd name="T26" fmla="*/ 59 w 61"/>
                  <a:gd name="T27" fmla="*/ 68 h 82"/>
                  <a:gd name="T28" fmla="*/ 55 w 61"/>
                  <a:gd name="T29" fmla="*/ 64 h 82"/>
                  <a:gd name="T30" fmla="*/ 53 w 61"/>
                  <a:gd name="T31" fmla="*/ 58 h 82"/>
                  <a:gd name="T32" fmla="*/ 49 w 61"/>
                  <a:gd name="T33" fmla="*/ 52 h 82"/>
                  <a:gd name="T34" fmla="*/ 49 w 61"/>
                  <a:gd name="T35" fmla="*/ 43 h 82"/>
                  <a:gd name="T36" fmla="*/ 55 w 61"/>
                  <a:gd name="T37" fmla="*/ 48 h 82"/>
                  <a:gd name="T38" fmla="*/ 57 w 61"/>
                  <a:gd name="T39" fmla="*/ 52 h 82"/>
                  <a:gd name="T40" fmla="*/ 59 w 61"/>
                  <a:gd name="T41" fmla="*/ 60 h 82"/>
                  <a:gd name="T42" fmla="*/ 61 w 61"/>
                  <a:gd name="T43" fmla="*/ 60 h 82"/>
                  <a:gd name="T44" fmla="*/ 59 w 61"/>
                  <a:gd name="T45" fmla="*/ 58 h 82"/>
                  <a:gd name="T46" fmla="*/ 61 w 61"/>
                  <a:gd name="T47" fmla="*/ 50 h 82"/>
                  <a:gd name="T48" fmla="*/ 59 w 61"/>
                  <a:gd name="T49" fmla="*/ 43 h 82"/>
                  <a:gd name="T50" fmla="*/ 55 w 61"/>
                  <a:gd name="T51" fmla="*/ 39 h 82"/>
                  <a:gd name="T52" fmla="*/ 51 w 61"/>
                  <a:gd name="T53" fmla="*/ 41 h 82"/>
                  <a:gd name="T54" fmla="*/ 47 w 61"/>
                  <a:gd name="T55" fmla="*/ 37 h 82"/>
                  <a:gd name="T56" fmla="*/ 45 w 61"/>
                  <a:gd name="T57" fmla="*/ 37 h 82"/>
                  <a:gd name="T58" fmla="*/ 41 w 61"/>
                  <a:gd name="T59" fmla="*/ 39 h 82"/>
                  <a:gd name="T60" fmla="*/ 37 w 61"/>
                  <a:gd name="T61" fmla="*/ 37 h 82"/>
                  <a:gd name="T62" fmla="*/ 35 w 61"/>
                  <a:gd name="T63" fmla="*/ 31 h 82"/>
                  <a:gd name="T64" fmla="*/ 35 w 61"/>
                  <a:gd name="T65" fmla="*/ 25 h 82"/>
                  <a:gd name="T66" fmla="*/ 30 w 61"/>
                  <a:gd name="T67" fmla="*/ 21 h 82"/>
                  <a:gd name="T68" fmla="*/ 30 w 61"/>
                  <a:gd name="T69" fmla="*/ 25 h 82"/>
                  <a:gd name="T70" fmla="*/ 30 w 61"/>
                  <a:gd name="T71" fmla="*/ 31 h 82"/>
                  <a:gd name="T72" fmla="*/ 26 w 61"/>
                  <a:gd name="T73" fmla="*/ 33 h 82"/>
                  <a:gd name="T74" fmla="*/ 22 w 61"/>
                  <a:gd name="T75" fmla="*/ 37 h 82"/>
                  <a:gd name="T76" fmla="*/ 18 w 61"/>
                  <a:gd name="T77" fmla="*/ 33 h 82"/>
                  <a:gd name="T78" fmla="*/ 14 w 61"/>
                  <a:gd name="T79" fmla="*/ 35 h 82"/>
                  <a:gd name="T80" fmla="*/ 10 w 61"/>
                  <a:gd name="T81" fmla="*/ 33 h 82"/>
                  <a:gd name="T82" fmla="*/ 8 w 61"/>
                  <a:gd name="T83" fmla="*/ 31 h 82"/>
                  <a:gd name="T84" fmla="*/ 8 w 61"/>
                  <a:gd name="T85" fmla="*/ 27 h 82"/>
                  <a:gd name="T86" fmla="*/ 8 w 61"/>
                  <a:gd name="T87" fmla="*/ 25 h 82"/>
                  <a:gd name="T88" fmla="*/ 10 w 61"/>
                  <a:gd name="T89" fmla="*/ 17 h 82"/>
                  <a:gd name="T90" fmla="*/ 6 w 61"/>
                  <a:gd name="T91" fmla="*/ 9 h 82"/>
                  <a:gd name="T92" fmla="*/ 4 w 61"/>
                  <a:gd name="T93" fmla="*/ 5 h 82"/>
                  <a:gd name="T94" fmla="*/ 4 w 61"/>
                  <a:gd name="T95" fmla="*/ 0 h 82"/>
                  <a:gd name="T96" fmla="*/ 2 w 61"/>
                  <a:gd name="T97" fmla="*/ 11 h 82"/>
                  <a:gd name="T98" fmla="*/ 6 w 61"/>
                  <a:gd name="T99" fmla="*/ 23 h 82"/>
                  <a:gd name="T100" fmla="*/ 2 w 61"/>
                  <a:gd name="T101" fmla="*/ 3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1" h="82">
                    <a:moveTo>
                      <a:pt x="2" y="31"/>
                    </a:moveTo>
                    <a:lnTo>
                      <a:pt x="8" y="39"/>
                    </a:lnTo>
                    <a:lnTo>
                      <a:pt x="10" y="48"/>
                    </a:lnTo>
                    <a:lnTo>
                      <a:pt x="16" y="52"/>
                    </a:lnTo>
                    <a:lnTo>
                      <a:pt x="22" y="56"/>
                    </a:lnTo>
                    <a:lnTo>
                      <a:pt x="24" y="62"/>
                    </a:lnTo>
                    <a:lnTo>
                      <a:pt x="24" y="66"/>
                    </a:lnTo>
                    <a:lnTo>
                      <a:pt x="28" y="70"/>
                    </a:lnTo>
                    <a:lnTo>
                      <a:pt x="30" y="72"/>
                    </a:lnTo>
                    <a:lnTo>
                      <a:pt x="33" y="74"/>
                    </a:lnTo>
                    <a:lnTo>
                      <a:pt x="31" y="68"/>
                    </a:lnTo>
                    <a:lnTo>
                      <a:pt x="31" y="64"/>
                    </a:lnTo>
                    <a:lnTo>
                      <a:pt x="31" y="60"/>
                    </a:lnTo>
                    <a:lnTo>
                      <a:pt x="33" y="54"/>
                    </a:lnTo>
                    <a:lnTo>
                      <a:pt x="35" y="50"/>
                    </a:lnTo>
                    <a:lnTo>
                      <a:pt x="35" y="48"/>
                    </a:lnTo>
                    <a:lnTo>
                      <a:pt x="37" y="46"/>
                    </a:lnTo>
                    <a:lnTo>
                      <a:pt x="39" y="46"/>
                    </a:lnTo>
                    <a:lnTo>
                      <a:pt x="39" y="48"/>
                    </a:lnTo>
                    <a:lnTo>
                      <a:pt x="41" y="50"/>
                    </a:lnTo>
                    <a:lnTo>
                      <a:pt x="43" y="54"/>
                    </a:lnTo>
                    <a:lnTo>
                      <a:pt x="53" y="80"/>
                    </a:lnTo>
                    <a:lnTo>
                      <a:pt x="55" y="82"/>
                    </a:lnTo>
                    <a:lnTo>
                      <a:pt x="59" y="82"/>
                    </a:lnTo>
                    <a:lnTo>
                      <a:pt x="57" y="78"/>
                    </a:lnTo>
                    <a:lnTo>
                      <a:pt x="57" y="76"/>
                    </a:lnTo>
                    <a:lnTo>
                      <a:pt x="57" y="72"/>
                    </a:lnTo>
                    <a:lnTo>
                      <a:pt x="59" y="68"/>
                    </a:lnTo>
                    <a:lnTo>
                      <a:pt x="57" y="68"/>
                    </a:lnTo>
                    <a:lnTo>
                      <a:pt x="55" y="64"/>
                    </a:lnTo>
                    <a:lnTo>
                      <a:pt x="53" y="60"/>
                    </a:lnTo>
                    <a:lnTo>
                      <a:pt x="53" y="58"/>
                    </a:lnTo>
                    <a:lnTo>
                      <a:pt x="51" y="54"/>
                    </a:lnTo>
                    <a:lnTo>
                      <a:pt x="49" y="52"/>
                    </a:lnTo>
                    <a:lnTo>
                      <a:pt x="47" y="48"/>
                    </a:lnTo>
                    <a:lnTo>
                      <a:pt x="49" y="43"/>
                    </a:lnTo>
                    <a:lnTo>
                      <a:pt x="51" y="46"/>
                    </a:lnTo>
                    <a:lnTo>
                      <a:pt x="55" y="48"/>
                    </a:lnTo>
                    <a:lnTo>
                      <a:pt x="57" y="50"/>
                    </a:lnTo>
                    <a:lnTo>
                      <a:pt x="57" y="52"/>
                    </a:lnTo>
                    <a:lnTo>
                      <a:pt x="59" y="56"/>
                    </a:lnTo>
                    <a:lnTo>
                      <a:pt x="59" y="60"/>
                    </a:lnTo>
                    <a:lnTo>
                      <a:pt x="61" y="62"/>
                    </a:lnTo>
                    <a:lnTo>
                      <a:pt x="61" y="60"/>
                    </a:lnTo>
                    <a:lnTo>
                      <a:pt x="61" y="60"/>
                    </a:lnTo>
                    <a:lnTo>
                      <a:pt x="59" y="58"/>
                    </a:lnTo>
                    <a:lnTo>
                      <a:pt x="61" y="54"/>
                    </a:lnTo>
                    <a:lnTo>
                      <a:pt x="61" y="50"/>
                    </a:lnTo>
                    <a:lnTo>
                      <a:pt x="61" y="44"/>
                    </a:lnTo>
                    <a:lnTo>
                      <a:pt x="59" y="43"/>
                    </a:lnTo>
                    <a:lnTo>
                      <a:pt x="57" y="39"/>
                    </a:lnTo>
                    <a:lnTo>
                      <a:pt x="55" y="39"/>
                    </a:lnTo>
                    <a:lnTo>
                      <a:pt x="53" y="41"/>
                    </a:lnTo>
                    <a:lnTo>
                      <a:pt x="51" y="41"/>
                    </a:lnTo>
                    <a:lnTo>
                      <a:pt x="49" y="41"/>
                    </a:lnTo>
                    <a:lnTo>
                      <a:pt x="47" y="37"/>
                    </a:lnTo>
                    <a:lnTo>
                      <a:pt x="45" y="37"/>
                    </a:lnTo>
                    <a:lnTo>
                      <a:pt x="45" y="37"/>
                    </a:lnTo>
                    <a:lnTo>
                      <a:pt x="43" y="39"/>
                    </a:lnTo>
                    <a:lnTo>
                      <a:pt x="41" y="39"/>
                    </a:lnTo>
                    <a:lnTo>
                      <a:pt x="39" y="39"/>
                    </a:lnTo>
                    <a:lnTo>
                      <a:pt x="37" y="37"/>
                    </a:lnTo>
                    <a:lnTo>
                      <a:pt x="35" y="33"/>
                    </a:lnTo>
                    <a:lnTo>
                      <a:pt x="35" y="31"/>
                    </a:lnTo>
                    <a:lnTo>
                      <a:pt x="37" y="29"/>
                    </a:lnTo>
                    <a:lnTo>
                      <a:pt x="35" y="25"/>
                    </a:lnTo>
                    <a:lnTo>
                      <a:pt x="33" y="23"/>
                    </a:lnTo>
                    <a:lnTo>
                      <a:pt x="30" y="21"/>
                    </a:lnTo>
                    <a:lnTo>
                      <a:pt x="28" y="21"/>
                    </a:lnTo>
                    <a:lnTo>
                      <a:pt x="30" y="25"/>
                    </a:lnTo>
                    <a:lnTo>
                      <a:pt x="30" y="29"/>
                    </a:lnTo>
                    <a:lnTo>
                      <a:pt x="30" y="31"/>
                    </a:lnTo>
                    <a:lnTo>
                      <a:pt x="26" y="33"/>
                    </a:lnTo>
                    <a:lnTo>
                      <a:pt x="26" y="33"/>
                    </a:lnTo>
                    <a:lnTo>
                      <a:pt x="24" y="37"/>
                    </a:lnTo>
                    <a:lnTo>
                      <a:pt x="22" y="37"/>
                    </a:lnTo>
                    <a:lnTo>
                      <a:pt x="20" y="35"/>
                    </a:lnTo>
                    <a:lnTo>
                      <a:pt x="18" y="33"/>
                    </a:lnTo>
                    <a:lnTo>
                      <a:pt x="18" y="33"/>
                    </a:lnTo>
                    <a:lnTo>
                      <a:pt x="14" y="35"/>
                    </a:lnTo>
                    <a:lnTo>
                      <a:pt x="12" y="35"/>
                    </a:lnTo>
                    <a:lnTo>
                      <a:pt x="10" y="33"/>
                    </a:lnTo>
                    <a:lnTo>
                      <a:pt x="8" y="33"/>
                    </a:lnTo>
                    <a:lnTo>
                      <a:pt x="8" y="31"/>
                    </a:lnTo>
                    <a:lnTo>
                      <a:pt x="8" y="29"/>
                    </a:lnTo>
                    <a:lnTo>
                      <a:pt x="8" y="27"/>
                    </a:lnTo>
                    <a:lnTo>
                      <a:pt x="8" y="25"/>
                    </a:lnTo>
                    <a:lnTo>
                      <a:pt x="8" y="25"/>
                    </a:lnTo>
                    <a:lnTo>
                      <a:pt x="10" y="19"/>
                    </a:lnTo>
                    <a:lnTo>
                      <a:pt x="10" y="17"/>
                    </a:lnTo>
                    <a:lnTo>
                      <a:pt x="8" y="15"/>
                    </a:lnTo>
                    <a:lnTo>
                      <a:pt x="6" y="9"/>
                    </a:lnTo>
                    <a:lnTo>
                      <a:pt x="6" y="7"/>
                    </a:lnTo>
                    <a:lnTo>
                      <a:pt x="4" y="5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2" y="5"/>
                    </a:lnTo>
                    <a:lnTo>
                      <a:pt x="2" y="11"/>
                    </a:lnTo>
                    <a:lnTo>
                      <a:pt x="2" y="17"/>
                    </a:lnTo>
                    <a:lnTo>
                      <a:pt x="6" y="23"/>
                    </a:lnTo>
                    <a:lnTo>
                      <a:pt x="0" y="25"/>
                    </a:lnTo>
                    <a:lnTo>
                      <a:pt x="2" y="3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50" name="Freeform 549">
                <a:extLst>
                  <a:ext uri="{FF2B5EF4-FFF2-40B4-BE49-F238E27FC236}">
                    <a16:creationId xmlns:a16="http://schemas.microsoft.com/office/drawing/2014/main" id="{D2CE4330-CC6C-4665-84B9-BFB03C5550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3" y="1145"/>
                <a:ext cx="47" cy="68"/>
              </a:xfrm>
              <a:custGeom>
                <a:avLst/>
                <a:gdLst>
                  <a:gd name="T0" fmla="*/ 6 w 47"/>
                  <a:gd name="T1" fmla="*/ 37 h 68"/>
                  <a:gd name="T2" fmla="*/ 8 w 47"/>
                  <a:gd name="T3" fmla="*/ 45 h 68"/>
                  <a:gd name="T4" fmla="*/ 10 w 47"/>
                  <a:gd name="T5" fmla="*/ 53 h 68"/>
                  <a:gd name="T6" fmla="*/ 14 w 47"/>
                  <a:gd name="T7" fmla="*/ 53 h 68"/>
                  <a:gd name="T8" fmla="*/ 16 w 47"/>
                  <a:gd name="T9" fmla="*/ 59 h 68"/>
                  <a:gd name="T10" fmla="*/ 19 w 47"/>
                  <a:gd name="T11" fmla="*/ 65 h 68"/>
                  <a:gd name="T12" fmla="*/ 25 w 47"/>
                  <a:gd name="T13" fmla="*/ 57 h 68"/>
                  <a:gd name="T14" fmla="*/ 29 w 47"/>
                  <a:gd name="T15" fmla="*/ 61 h 68"/>
                  <a:gd name="T16" fmla="*/ 29 w 47"/>
                  <a:gd name="T17" fmla="*/ 66 h 68"/>
                  <a:gd name="T18" fmla="*/ 35 w 47"/>
                  <a:gd name="T19" fmla="*/ 68 h 68"/>
                  <a:gd name="T20" fmla="*/ 29 w 47"/>
                  <a:gd name="T21" fmla="*/ 57 h 68"/>
                  <a:gd name="T22" fmla="*/ 31 w 47"/>
                  <a:gd name="T23" fmla="*/ 49 h 68"/>
                  <a:gd name="T24" fmla="*/ 33 w 47"/>
                  <a:gd name="T25" fmla="*/ 51 h 68"/>
                  <a:gd name="T26" fmla="*/ 35 w 47"/>
                  <a:gd name="T27" fmla="*/ 51 h 68"/>
                  <a:gd name="T28" fmla="*/ 37 w 47"/>
                  <a:gd name="T29" fmla="*/ 49 h 68"/>
                  <a:gd name="T30" fmla="*/ 39 w 47"/>
                  <a:gd name="T31" fmla="*/ 51 h 68"/>
                  <a:gd name="T32" fmla="*/ 43 w 47"/>
                  <a:gd name="T33" fmla="*/ 53 h 68"/>
                  <a:gd name="T34" fmla="*/ 47 w 47"/>
                  <a:gd name="T35" fmla="*/ 47 h 68"/>
                  <a:gd name="T36" fmla="*/ 43 w 47"/>
                  <a:gd name="T37" fmla="*/ 37 h 68"/>
                  <a:gd name="T38" fmla="*/ 39 w 47"/>
                  <a:gd name="T39" fmla="*/ 31 h 68"/>
                  <a:gd name="T40" fmla="*/ 33 w 47"/>
                  <a:gd name="T41" fmla="*/ 31 h 68"/>
                  <a:gd name="T42" fmla="*/ 23 w 47"/>
                  <a:gd name="T43" fmla="*/ 16 h 68"/>
                  <a:gd name="T44" fmla="*/ 19 w 47"/>
                  <a:gd name="T45" fmla="*/ 16 h 68"/>
                  <a:gd name="T46" fmla="*/ 19 w 47"/>
                  <a:gd name="T47" fmla="*/ 27 h 68"/>
                  <a:gd name="T48" fmla="*/ 17 w 47"/>
                  <a:gd name="T49" fmla="*/ 27 h 68"/>
                  <a:gd name="T50" fmla="*/ 16 w 47"/>
                  <a:gd name="T51" fmla="*/ 33 h 68"/>
                  <a:gd name="T52" fmla="*/ 14 w 47"/>
                  <a:gd name="T53" fmla="*/ 37 h 68"/>
                  <a:gd name="T54" fmla="*/ 12 w 47"/>
                  <a:gd name="T55" fmla="*/ 35 h 68"/>
                  <a:gd name="T56" fmla="*/ 8 w 47"/>
                  <a:gd name="T57" fmla="*/ 27 h 68"/>
                  <a:gd name="T58" fmla="*/ 4 w 47"/>
                  <a:gd name="T59" fmla="*/ 4 h 68"/>
                  <a:gd name="T60" fmla="*/ 4 w 47"/>
                  <a:gd name="T61" fmla="*/ 2 h 68"/>
                  <a:gd name="T62" fmla="*/ 2 w 47"/>
                  <a:gd name="T63" fmla="*/ 0 h 68"/>
                  <a:gd name="T64" fmla="*/ 2 w 47"/>
                  <a:gd name="T65" fmla="*/ 1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7" h="68">
                    <a:moveTo>
                      <a:pt x="4" y="27"/>
                    </a:moveTo>
                    <a:lnTo>
                      <a:pt x="6" y="37"/>
                    </a:lnTo>
                    <a:lnTo>
                      <a:pt x="6" y="41"/>
                    </a:lnTo>
                    <a:lnTo>
                      <a:pt x="8" y="45"/>
                    </a:lnTo>
                    <a:lnTo>
                      <a:pt x="8" y="49"/>
                    </a:lnTo>
                    <a:lnTo>
                      <a:pt x="10" y="53"/>
                    </a:lnTo>
                    <a:lnTo>
                      <a:pt x="12" y="53"/>
                    </a:lnTo>
                    <a:lnTo>
                      <a:pt x="14" y="53"/>
                    </a:lnTo>
                    <a:lnTo>
                      <a:pt x="16" y="53"/>
                    </a:lnTo>
                    <a:lnTo>
                      <a:pt x="16" y="59"/>
                    </a:lnTo>
                    <a:lnTo>
                      <a:pt x="17" y="66"/>
                    </a:lnTo>
                    <a:lnTo>
                      <a:pt x="19" y="65"/>
                    </a:lnTo>
                    <a:lnTo>
                      <a:pt x="21" y="63"/>
                    </a:lnTo>
                    <a:lnTo>
                      <a:pt x="25" y="57"/>
                    </a:lnTo>
                    <a:lnTo>
                      <a:pt x="27" y="59"/>
                    </a:lnTo>
                    <a:lnTo>
                      <a:pt x="29" y="61"/>
                    </a:lnTo>
                    <a:lnTo>
                      <a:pt x="29" y="63"/>
                    </a:lnTo>
                    <a:lnTo>
                      <a:pt x="29" y="66"/>
                    </a:lnTo>
                    <a:lnTo>
                      <a:pt x="31" y="66"/>
                    </a:lnTo>
                    <a:lnTo>
                      <a:pt x="35" y="68"/>
                    </a:lnTo>
                    <a:lnTo>
                      <a:pt x="33" y="63"/>
                    </a:lnTo>
                    <a:lnTo>
                      <a:pt x="29" y="57"/>
                    </a:lnTo>
                    <a:lnTo>
                      <a:pt x="27" y="51"/>
                    </a:lnTo>
                    <a:lnTo>
                      <a:pt x="31" y="49"/>
                    </a:lnTo>
                    <a:lnTo>
                      <a:pt x="33" y="49"/>
                    </a:lnTo>
                    <a:lnTo>
                      <a:pt x="33" y="51"/>
                    </a:lnTo>
                    <a:lnTo>
                      <a:pt x="33" y="53"/>
                    </a:lnTo>
                    <a:lnTo>
                      <a:pt x="35" y="51"/>
                    </a:lnTo>
                    <a:lnTo>
                      <a:pt x="37" y="49"/>
                    </a:lnTo>
                    <a:lnTo>
                      <a:pt x="37" y="49"/>
                    </a:lnTo>
                    <a:lnTo>
                      <a:pt x="39" y="49"/>
                    </a:lnTo>
                    <a:lnTo>
                      <a:pt x="39" y="51"/>
                    </a:lnTo>
                    <a:lnTo>
                      <a:pt x="43" y="53"/>
                    </a:lnTo>
                    <a:lnTo>
                      <a:pt x="43" y="53"/>
                    </a:lnTo>
                    <a:lnTo>
                      <a:pt x="45" y="51"/>
                    </a:lnTo>
                    <a:lnTo>
                      <a:pt x="47" y="47"/>
                    </a:lnTo>
                    <a:lnTo>
                      <a:pt x="45" y="43"/>
                    </a:lnTo>
                    <a:lnTo>
                      <a:pt x="43" y="37"/>
                    </a:lnTo>
                    <a:lnTo>
                      <a:pt x="41" y="33"/>
                    </a:lnTo>
                    <a:lnTo>
                      <a:pt x="39" y="31"/>
                    </a:lnTo>
                    <a:lnTo>
                      <a:pt x="37" y="31"/>
                    </a:lnTo>
                    <a:lnTo>
                      <a:pt x="33" y="31"/>
                    </a:lnTo>
                    <a:lnTo>
                      <a:pt x="29" y="27"/>
                    </a:lnTo>
                    <a:lnTo>
                      <a:pt x="23" y="16"/>
                    </a:lnTo>
                    <a:lnTo>
                      <a:pt x="19" y="10"/>
                    </a:lnTo>
                    <a:lnTo>
                      <a:pt x="19" y="16"/>
                    </a:lnTo>
                    <a:lnTo>
                      <a:pt x="19" y="20"/>
                    </a:lnTo>
                    <a:lnTo>
                      <a:pt x="19" y="27"/>
                    </a:lnTo>
                    <a:lnTo>
                      <a:pt x="17" y="27"/>
                    </a:lnTo>
                    <a:lnTo>
                      <a:pt x="17" y="27"/>
                    </a:lnTo>
                    <a:lnTo>
                      <a:pt x="14" y="29"/>
                    </a:lnTo>
                    <a:lnTo>
                      <a:pt x="16" y="33"/>
                    </a:lnTo>
                    <a:lnTo>
                      <a:pt x="16" y="35"/>
                    </a:lnTo>
                    <a:lnTo>
                      <a:pt x="14" y="37"/>
                    </a:lnTo>
                    <a:lnTo>
                      <a:pt x="12" y="37"/>
                    </a:lnTo>
                    <a:lnTo>
                      <a:pt x="12" y="35"/>
                    </a:lnTo>
                    <a:lnTo>
                      <a:pt x="10" y="27"/>
                    </a:lnTo>
                    <a:lnTo>
                      <a:pt x="8" y="27"/>
                    </a:lnTo>
                    <a:lnTo>
                      <a:pt x="6" y="1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10"/>
                    </a:lnTo>
                    <a:lnTo>
                      <a:pt x="2" y="18"/>
                    </a:lnTo>
                    <a:lnTo>
                      <a:pt x="4" y="2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51" name="Freeform 550">
                <a:extLst>
                  <a:ext uri="{FF2B5EF4-FFF2-40B4-BE49-F238E27FC236}">
                    <a16:creationId xmlns:a16="http://schemas.microsoft.com/office/drawing/2014/main" id="{4E05F9B1-EB01-4A8E-A56B-AF52266BE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5" y="1049"/>
                <a:ext cx="41" cy="96"/>
              </a:xfrm>
              <a:custGeom>
                <a:avLst/>
                <a:gdLst>
                  <a:gd name="T0" fmla="*/ 37 w 41"/>
                  <a:gd name="T1" fmla="*/ 8 h 96"/>
                  <a:gd name="T2" fmla="*/ 33 w 41"/>
                  <a:gd name="T3" fmla="*/ 8 h 96"/>
                  <a:gd name="T4" fmla="*/ 31 w 41"/>
                  <a:gd name="T5" fmla="*/ 10 h 96"/>
                  <a:gd name="T6" fmla="*/ 29 w 41"/>
                  <a:gd name="T7" fmla="*/ 2 h 96"/>
                  <a:gd name="T8" fmla="*/ 25 w 41"/>
                  <a:gd name="T9" fmla="*/ 0 h 96"/>
                  <a:gd name="T10" fmla="*/ 17 w 41"/>
                  <a:gd name="T11" fmla="*/ 8 h 96"/>
                  <a:gd name="T12" fmla="*/ 19 w 41"/>
                  <a:gd name="T13" fmla="*/ 12 h 96"/>
                  <a:gd name="T14" fmla="*/ 19 w 41"/>
                  <a:gd name="T15" fmla="*/ 16 h 96"/>
                  <a:gd name="T16" fmla="*/ 19 w 41"/>
                  <a:gd name="T17" fmla="*/ 18 h 96"/>
                  <a:gd name="T18" fmla="*/ 16 w 41"/>
                  <a:gd name="T19" fmla="*/ 20 h 96"/>
                  <a:gd name="T20" fmla="*/ 17 w 41"/>
                  <a:gd name="T21" fmla="*/ 18 h 96"/>
                  <a:gd name="T22" fmla="*/ 12 w 41"/>
                  <a:gd name="T23" fmla="*/ 22 h 96"/>
                  <a:gd name="T24" fmla="*/ 8 w 41"/>
                  <a:gd name="T25" fmla="*/ 39 h 96"/>
                  <a:gd name="T26" fmla="*/ 4 w 41"/>
                  <a:gd name="T27" fmla="*/ 43 h 96"/>
                  <a:gd name="T28" fmla="*/ 4 w 41"/>
                  <a:gd name="T29" fmla="*/ 49 h 96"/>
                  <a:gd name="T30" fmla="*/ 6 w 41"/>
                  <a:gd name="T31" fmla="*/ 49 h 96"/>
                  <a:gd name="T32" fmla="*/ 0 w 41"/>
                  <a:gd name="T33" fmla="*/ 57 h 96"/>
                  <a:gd name="T34" fmla="*/ 2 w 41"/>
                  <a:gd name="T35" fmla="*/ 57 h 96"/>
                  <a:gd name="T36" fmla="*/ 10 w 41"/>
                  <a:gd name="T37" fmla="*/ 57 h 96"/>
                  <a:gd name="T38" fmla="*/ 10 w 41"/>
                  <a:gd name="T39" fmla="*/ 59 h 96"/>
                  <a:gd name="T40" fmla="*/ 8 w 41"/>
                  <a:gd name="T41" fmla="*/ 63 h 96"/>
                  <a:gd name="T42" fmla="*/ 6 w 41"/>
                  <a:gd name="T43" fmla="*/ 67 h 96"/>
                  <a:gd name="T44" fmla="*/ 8 w 41"/>
                  <a:gd name="T45" fmla="*/ 69 h 96"/>
                  <a:gd name="T46" fmla="*/ 10 w 41"/>
                  <a:gd name="T47" fmla="*/ 69 h 96"/>
                  <a:gd name="T48" fmla="*/ 8 w 41"/>
                  <a:gd name="T49" fmla="*/ 71 h 96"/>
                  <a:gd name="T50" fmla="*/ 6 w 41"/>
                  <a:gd name="T51" fmla="*/ 71 h 96"/>
                  <a:gd name="T52" fmla="*/ 4 w 41"/>
                  <a:gd name="T53" fmla="*/ 73 h 96"/>
                  <a:gd name="T54" fmla="*/ 4 w 41"/>
                  <a:gd name="T55" fmla="*/ 75 h 96"/>
                  <a:gd name="T56" fmla="*/ 6 w 41"/>
                  <a:gd name="T57" fmla="*/ 77 h 96"/>
                  <a:gd name="T58" fmla="*/ 6 w 41"/>
                  <a:gd name="T59" fmla="*/ 80 h 96"/>
                  <a:gd name="T60" fmla="*/ 6 w 41"/>
                  <a:gd name="T61" fmla="*/ 82 h 96"/>
                  <a:gd name="T62" fmla="*/ 4 w 41"/>
                  <a:gd name="T63" fmla="*/ 86 h 96"/>
                  <a:gd name="T64" fmla="*/ 8 w 41"/>
                  <a:gd name="T65" fmla="*/ 84 h 96"/>
                  <a:gd name="T66" fmla="*/ 10 w 41"/>
                  <a:gd name="T67" fmla="*/ 86 h 96"/>
                  <a:gd name="T68" fmla="*/ 10 w 41"/>
                  <a:gd name="T69" fmla="*/ 90 h 96"/>
                  <a:gd name="T70" fmla="*/ 10 w 41"/>
                  <a:gd name="T71" fmla="*/ 96 h 96"/>
                  <a:gd name="T72" fmla="*/ 12 w 41"/>
                  <a:gd name="T73" fmla="*/ 96 h 96"/>
                  <a:gd name="T74" fmla="*/ 14 w 41"/>
                  <a:gd name="T75" fmla="*/ 96 h 96"/>
                  <a:gd name="T76" fmla="*/ 14 w 41"/>
                  <a:gd name="T77" fmla="*/ 94 h 96"/>
                  <a:gd name="T78" fmla="*/ 12 w 41"/>
                  <a:gd name="T79" fmla="*/ 92 h 96"/>
                  <a:gd name="T80" fmla="*/ 14 w 41"/>
                  <a:gd name="T81" fmla="*/ 88 h 96"/>
                  <a:gd name="T82" fmla="*/ 16 w 41"/>
                  <a:gd name="T83" fmla="*/ 84 h 96"/>
                  <a:gd name="T84" fmla="*/ 17 w 41"/>
                  <a:gd name="T85" fmla="*/ 80 h 96"/>
                  <a:gd name="T86" fmla="*/ 19 w 41"/>
                  <a:gd name="T87" fmla="*/ 80 h 96"/>
                  <a:gd name="T88" fmla="*/ 19 w 41"/>
                  <a:gd name="T89" fmla="*/ 79 h 96"/>
                  <a:gd name="T90" fmla="*/ 25 w 41"/>
                  <a:gd name="T91" fmla="*/ 71 h 96"/>
                  <a:gd name="T92" fmla="*/ 27 w 41"/>
                  <a:gd name="T93" fmla="*/ 63 h 96"/>
                  <a:gd name="T94" fmla="*/ 29 w 41"/>
                  <a:gd name="T95" fmla="*/ 59 h 96"/>
                  <a:gd name="T96" fmla="*/ 31 w 41"/>
                  <a:gd name="T97" fmla="*/ 55 h 96"/>
                  <a:gd name="T98" fmla="*/ 31 w 41"/>
                  <a:gd name="T99" fmla="*/ 49 h 96"/>
                  <a:gd name="T100" fmla="*/ 31 w 41"/>
                  <a:gd name="T101" fmla="*/ 43 h 96"/>
                  <a:gd name="T102" fmla="*/ 31 w 41"/>
                  <a:gd name="T103" fmla="*/ 39 h 96"/>
                  <a:gd name="T104" fmla="*/ 29 w 41"/>
                  <a:gd name="T105" fmla="*/ 36 h 96"/>
                  <a:gd name="T106" fmla="*/ 31 w 41"/>
                  <a:gd name="T107" fmla="*/ 32 h 96"/>
                  <a:gd name="T108" fmla="*/ 35 w 41"/>
                  <a:gd name="T109" fmla="*/ 24 h 96"/>
                  <a:gd name="T110" fmla="*/ 39 w 41"/>
                  <a:gd name="T111" fmla="*/ 22 h 96"/>
                  <a:gd name="T112" fmla="*/ 39 w 41"/>
                  <a:gd name="T113" fmla="*/ 20 h 96"/>
                  <a:gd name="T114" fmla="*/ 41 w 41"/>
                  <a:gd name="T115" fmla="*/ 20 h 96"/>
                  <a:gd name="T116" fmla="*/ 41 w 41"/>
                  <a:gd name="T117" fmla="*/ 14 h 96"/>
                  <a:gd name="T118" fmla="*/ 39 w 41"/>
                  <a:gd name="T119" fmla="*/ 10 h 96"/>
                  <a:gd name="T120" fmla="*/ 37 w 41"/>
                  <a:gd name="T121" fmla="*/ 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" h="96">
                    <a:moveTo>
                      <a:pt x="37" y="8"/>
                    </a:moveTo>
                    <a:lnTo>
                      <a:pt x="33" y="8"/>
                    </a:lnTo>
                    <a:lnTo>
                      <a:pt x="31" y="10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7" y="8"/>
                    </a:lnTo>
                    <a:lnTo>
                      <a:pt x="19" y="12"/>
                    </a:lnTo>
                    <a:lnTo>
                      <a:pt x="19" y="16"/>
                    </a:lnTo>
                    <a:lnTo>
                      <a:pt x="19" y="18"/>
                    </a:lnTo>
                    <a:lnTo>
                      <a:pt x="16" y="20"/>
                    </a:lnTo>
                    <a:lnTo>
                      <a:pt x="17" y="18"/>
                    </a:lnTo>
                    <a:lnTo>
                      <a:pt x="12" y="22"/>
                    </a:lnTo>
                    <a:lnTo>
                      <a:pt x="8" y="39"/>
                    </a:lnTo>
                    <a:lnTo>
                      <a:pt x="4" y="43"/>
                    </a:lnTo>
                    <a:lnTo>
                      <a:pt x="4" y="49"/>
                    </a:lnTo>
                    <a:lnTo>
                      <a:pt x="6" y="49"/>
                    </a:lnTo>
                    <a:lnTo>
                      <a:pt x="0" y="57"/>
                    </a:lnTo>
                    <a:lnTo>
                      <a:pt x="2" y="57"/>
                    </a:lnTo>
                    <a:lnTo>
                      <a:pt x="10" y="57"/>
                    </a:lnTo>
                    <a:lnTo>
                      <a:pt x="10" y="59"/>
                    </a:lnTo>
                    <a:lnTo>
                      <a:pt x="8" y="63"/>
                    </a:lnTo>
                    <a:lnTo>
                      <a:pt x="6" y="67"/>
                    </a:lnTo>
                    <a:lnTo>
                      <a:pt x="8" y="69"/>
                    </a:lnTo>
                    <a:lnTo>
                      <a:pt x="10" y="69"/>
                    </a:lnTo>
                    <a:lnTo>
                      <a:pt x="8" y="71"/>
                    </a:lnTo>
                    <a:lnTo>
                      <a:pt x="6" y="71"/>
                    </a:lnTo>
                    <a:lnTo>
                      <a:pt x="4" y="73"/>
                    </a:lnTo>
                    <a:lnTo>
                      <a:pt x="4" y="75"/>
                    </a:lnTo>
                    <a:lnTo>
                      <a:pt x="6" y="77"/>
                    </a:lnTo>
                    <a:lnTo>
                      <a:pt x="6" y="80"/>
                    </a:lnTo>
                    <a:lnTo>
                      <a:pt x="6" y="82"/>
                    </a:lnTo>
                    <a:lnTo>
                      <a:pt x="4" y="86"/>
                    </a:lnTo>
                    <a:lnTo>
                      <a:pt x="8" y="84"/>
                    </a:lnTo>
                    <a:lnTo>
                      <a:pt x="10" y="86"/>
                    </a:lnTo>
                    <a:lnTo>
                      <a:pt x="10" y="90"/>
                    </a:lnTo>
                    <a:lnTo>
                      <a:pt x="10" y="96"/>
                    </a:lnTo>
                    <a:lnTo>
                      <a:pt x="12" y="96"/>
                    </a:lnTo>
                    <a:lnTo>
                      <a:pt x="14" y="96"/>
                    </a:lnTo>
                    <a:lnTo>
                      <a:pt x="14" y="94"/>
                    </a:lnTo>
                    <a:lnTo>
                      <a:pt x="12" y="92"/>
                    </a:lnTo>
                    <a:lnTo>
                      <a:pt x="14" y="88"/>
                    </a:lnTo>
                    <a:lnTo>
                      <a:pt x="16" y="84"/>
                    </a:lnTo>
                    <a:lnTo>
                      <a:pt x="17" y="80"/>
                    </a:lnTo>
                    <a:lnTo>
                      <a:pt x="19" y="80"/>
                    </a:lnTo>
                    <a:lnTo>
                      <a:pt x="19" y="79"/>
                    </a:lnTo>
                    <a:lnTo>
                      <a:pt x="25" y="71"/>
                    </a:lnTo>
                    <a:lnTo>
                      <a:pt x="27" y="63"/>
                    </a:lnTo>
                    <a:lnTo>
                      <a:pt x="29" y="59"/>
                    </a:lnTo>
                    <a:lnTo>
                      <a:pt x="31" y="55"/>
                    </a:lnTo>
                    <a:lnTo>
                      <a:pt x="31" y="49"/>
                    </a:lnTo>
                    <a:lnTo>
                      <a:pt x="31" y="43"/>
                    </a:lnTo>
                    <a:lnTo>
                      <a:pt x="31" y="39"/>
                    </a:lnTo>
                    <a:lnTo>
                      <a:pt x="29" y="36"/>
                    </a:lnTo>
                    <a:lnTo>
                      <a:pt x="31" y="32"/>
                    </a:lnTo>
                    <a:lnTo>
                      <a:pt x="35" y="24"/>
                    </a:lnTo>
                    <a:lnTo>
                      <a:pt x="39" y="22"/>
                    </a:lnTo>
                    <a:lnTo>
                      <a:pt x="39" y="20"/>
                    </a:lnTo>
                    <a:lnTo>
                      <a:pt x="41" y="20"/>
                    </a:lnTo>
                    <a:lnTo>
                      <a:pt x="41" y="14"/>
                    </a:lnTo>
                    <a:lnTo>
                      <a:pt x="39" y="10"/>
                    </a:lnTo>
                    <a:lnTo>
                      <a:pt x="37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52" name="Freeform 551">
                <a:extLst>
                  <a:ext uri="{FF2B5EF4-FFF2-40B4-BE49-F238E27FC236}">
                    <a16:creationId xmlns:a16="http://schemas.microsoft.com/office/drawing/2014/main" id="{058A7D54-1EDA-4882-9E2C-41DC4E0B6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9" y="1659"/>
                <a:ext cx="6" cy="2"/>
              </a:xfrm>
              <a:custGeom>
                <a:avLst/>
                <a:gdLst>
                  <a:gd name="T0" fmla="*/ 0 w 6"/>
                  <a:gd name="T1" fmla="*/ 0 h 2"/>
                  <a:gd name="T2" fmla="*/ 2 w 6"/>
                  <a:gd name="T3" fmla="*/ 2 h 2"/>
                  <a:gd name="T4" fmla="*/ 6 w 6"/>
                  <a:gd name="T5" fmla="*/ 2 h 2"/>
                  <a:gd name="T6" fmla="*/ 2 w 6"/>
                  <a:gd name="T7" fmla="*/ 2 h 2"/>
                  <a:gd name="T8" fmla="*/ 0 w 6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0" y="0"/>
                    </a:moveTo>
                    <a:lnTo>
                      <a:pt x="2" y="2"/>
                    </a:lnTo>
                    <a:lnTo>
                      <a:pt x="6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53" name="Rectangle 552">
                <a:extLst>
                  <a:ext uri="{FF2B5EF4-FFF2-40B4-BE49-F238E27FC236}">
                    <a16:creationId xmlns:a16="http://schemas.microsoft.com/office/drawing/2014/main" id="{FE2C5F1A-9013-4F5E-B70C-7B0BE36541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10" y="76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54" name="Freeform 553">
                <a:extLst>
                  <a:ext uri="{FF2B5EF4-FFF2-40B4-BE49-F238E27FC236}">
                    <a16:creationId xmlns:a16="http://schemas.microsoft.com/office/drawing/2014/main" id="{742D62D0-98C6-42DF-A815-D1FFB68C14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7" y="702"/>
                <a:ext cx="10" cy="27"/>
              </a:xfrm>
              <a:custGeom>
                <a:avLst/>
                <a:gdLst>
                  <a:gd name="T0" fmla="*/ 0 w 10"/>
                  <a:gd name="T1" fmla="*/ 0 h 27"/>
                  <a:gd name="T2" fmla="*/ 2 w 10"/>
                  <a:gd name="T3" fmla="*/ 4 h 27"/>
                  <a:gd name="T4" fmla="*/ 2 w 10"/>
                  <a:gd name="T5" fmla="*/ 14 h 27"/>
                  <a:gd name="T6" fmla="*/ 6 w 10"/>
                  <a:gd name="T7" fmla="*/ 21 h 27"/>
                  <a:gd name="T8" fmla="*/ 6 w 10"/>
                  <a:gd name="T9" fmla="*/ 25 h 27"/>
                  <a:gd name="T10" fmla="*/ 8 w 10"/>
                  <a:gd name="T11" fmla="*/ 27 h 27"/>
                  <a:gd name="T12" fmla="*/ 10 w 10"/>
                  <a:gd name="T13" fmla="*/ 25 h 27"/>
                  <a:gd name="T14" fmla="*/ 10 w 10"/>
                  <a:gd name="T15" fmla="*/ 21 h 27"/>
                  <a:gd name="T16" fmla="*/ 10 w 10"/>
                  <a:gd name="T17" fmla="*/ 17 h 27"/>
                  <a:gd name="T18" fmla="*/ 8 w 10"/>
                  <a:gd name="T19" fmla="*/ 14 h 27"/>
                  <a:gd name="T20" fmla="*/ 8 w 10"/>
                  <a:gd name="T21" fmla="*/ 8 h 27"/>
                  <a:gd name="T22" fmla="*/ 8 w 10"/>
                  <a:gd name="T23" fmla="*/ 2 h 27"/>
                  <a:gd name="T24" fmla="*/ 10 w 10"/>
                  <a:gd name="T25" fmla="*/ 0 h 27"/>
                  <a:gd name="T26" fmla="*/ 0 w 10"/>
                  <a:gd name="T27" fmla="*/ 0 h 27"/>
                  <a:gd name="T28" fmla="*/ 0 w 10"/>
                  <a:gd name="T2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27">
                    <a:moveTo>
                      <a:pt x="0" y="0"/>
                    </a:moveTo>
                    <a:lnTo>
                      <a:pt x="2" y="4"/>
                    </a:lnTo>
                    <a:lnTo>
                      <a:pt x="2" y="14"/>
                    </a:lnTo>
                    <a:lnTo>
                      <a:pt x="6" y="21"/>
                    </a:lnTo>
                    <a:lnTo>
                      <a:pt x="6" y="25"/>
                    </a:lnTo>
                    <a:lnTo>
                      <a:pt x="8" y="27"/>
                    </a:lnTo>
                    <a:lnTo>
                      <a:pt x="10" y="25"/>
                    </a:lnTo>
                    <a:lnTo>
                      <a:pt x="10" y="21"/>
                    </a:lnTo>
                    <a:lnTo>
                      <a:pt x="10" y="17"/>
                    </a:lnTo>
                    <a:lnTo>
                      <a:pt x="8" y="14"/>
                    </a:lnTo>
                    <a:lnTo>
                      <a:pt x="8" y="8"/>
                    </a:lnTo>
                    <a:lnTo>
                      <a:pt x="8" y="2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55" name="Freeform 554">
                <a:extLst>
                  <a:ext uri="{FF2B5EF4-FFF2-40B4-BE49-F238E27FC236}">
                    <a16:creationId xmlns:a16="http://schemas.microsoft.com/office/drawing/2014/main" id="{FC50839E-3079-416A-8B5F-8359937CF9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" y="2461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56" name="Freeform 555">
                <a:extLst>
                  <a:ext uri="{FF2B5EF4-FFF2-40B4-BE49-F238E27FC236}">
                    <a16:creationId xmlns:a16="http://schemas.microsoft.com/office/drawing/2014/main" id="{4A0C8C9F-F481-4B41-8D5C-61204164FE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0" y="2196"/>
                <a:ext cx="0" cy="3"/>
              </a:xfrm>
              <a:custGeom>
                <a:avLst/>
                <a:gdLst>
                  <a:gd name="T0" fmla="*/ 0 h 3"/>
                  <a:gd name="T1" fmla="*/ 0 h 3"/>
                  <a:gd name="T2" fmla="*/ 3 h 3"/>
                  <a:gd name="T3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57" name="Rectangle 556">
                <a:extLst>
                  <a:ext uri="{FF2B5EF4-FFF2-40B4-BE49-F238E27FC236}">
                    <a16:creationId xmlns:a16="http://schemas.microsoft.com/office/drawing/2014/main" id="{2642B8AE-5A8B-4EEB-9E99-A5D6AB9752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29" y="243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58" name="Rectangle 557">
                <a:extLst>
                  <a:ext uri="{FF2B5EF4-FFF2-40B4-BE49-F238E27FC236}">
                    <a16:creationId xmlns:a16="http://schemas.microsoft.com/office/drawing/2014/main" id="{A227DAF9-1B6F-4FB9-8FC3-20E4D9AC79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1" y="246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59" name="Freeform 558">
                <a:extLst>
                  <a:ext uri="{FF2B5EF4-FFF2-40B4-BE49-F238E27FC236}">
                    <a16:creationId xmlns:a16="http://schemas.microsoft.com/office/drawing/2014/main" id="{0DD8A6B3-1967-46FD-892C-2EA254884D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4" y="741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60" name="Rectangle 559">
                <a:extLst>
                  <a:ext uri="{FF2B5EF4-FFF2-40B4-BE49-F238E27FC236}">
                    <a16:creationId xmlns:a16="http://schemas.microsoft.com/office/drawing/2014/main" id="{EBAFAC63-E081-46DD-8042-8B6C2D9F82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57" y="78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61" name="Freeform 560">
                <a:extLst>
                  <a:ext uri="{FF2B5EF4-FFF2-40B4-BE49-F238E27FC236}">
                    <a16:creationId xmlns:a16="http://schemas.microsoft.com/office/drawing/2014/main" id="{2BC9E3FD-D829-4297-B083-E8EDB38B7B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9" y="897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62" name="Freeform 561">
                <a:extLst>
                  <a:ext uri="{FF2B5EF4-FFF2-40B4-BE49-F238E27FC236}">
                    <a16:creationId xmlns:a16="http://schemas.microsoft.com/office/drawing/2014/main" id="{1E29D2A9-720F-4E95-9178-AEE904DC6E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0" y="887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63" name="Rectangle 562">
                <a:extLst>
                  <a:ext uri="{FF2B5EF4-FFF2-40B4-BE49-F238E27FC236}">
                    <a16:creationId xmlns:a16="http://schemas.microsoft.com/office/drawing/2014/main" id="{03708B05-9FCB-4D75-8C42-131B888E02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58" y="88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64" name="Rectangle 563">
                <a:extLst>
                  <a:ext uri="{FF2B5EF4-FFF2-40B4-BE49-F238E27FC236}">
                    <a16:creationId xmlns:a16="http://schemas.microsoft.com/office/drawing/2014/main" id="{48F8B15E-7783-4B39-8771-A68988CD0A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01" y="257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65" name="Freeform 564">
                <a:extLst>
                  <a:ext uri="{FF2B5EF4-FFF2-40B4-BE49-F238E27FC236}">
                    <a16:creationId xmlns:a16="http://schemas.microsoft.com/office/drawing/2014/main" id="{53D5ECC2-D095-488E-8457-4CD125EF8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3" y="2608"/>
                <a:ext cx="21" cy="7"/>
              </a:xfrm>
              <a:custGeom>
                <a:avLst/>
                <a:gdLst>
                  <a:gd name="T0" fmla="*/ 2 w 21"/>
                  <a:gd name="T1" fmla="*/ 3 h 7"/>
                  <a:gd name="T2" fmla="*/ 20 w 21"/>
                  <a:gd name="T3" fmla="*/ 0 h 7"/>
                  <a:gd name="T4" fmla="*/ 21 w 21"/>
                  <a:gd name="T5" fmla="*/ 0 h 7"/>
                  <a:gd name="T6" fmla="*/ 20 w 21"/>
                  <a:gd name="T7" fmla="*/ 0 h 7"/>
                  <a:gd name="T8" fmla="*/ 2 w 21"/>
                  <a:gd name="T9" fmla="*/ 3 h 7"/>
                  <a:gd name="T10" fmla="*/ 0 w 21"/>
                  <a:gd name="T11" fmla="*/ 5 h 7"/>
                  <a:gd name="T12" fmla="*/ 0 w 21"/>
                  <a:gd name="T13" fmla="*/ 7 h 7"/>
                  <a:gd name="T14" fmla="*/ 0 w 21"/>
                  <a:gd name="T15" fmla="*/ 5 h 7"/>
                  <a:gd name="T16" fmla="*/ 2 w 21"/>
                  <a:gd name="T17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7">
                    <a:moveTo>
                      <a:pt x="2" y="3"/>
                    </a:moveTo>
                    <a:lnTo>
                      <a:pt x="20" y="0"/>
                    </a:lnTo>
                    <a:lnTo>
                      <a:pt x="21" y="0"/>
                    </a:lnTo>
                    <a:lnTo>
                      <a:pt x="20" y="0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66" name="Freeform 565">
                <a:extLst>
                  <a:ext uri="{FF2B5EF4-FFF2-40B4-BE49-F238E27FC236}">
                    <a16:creationId xmlns:a16="http://schemas.microsoft.com/office/drawing/2014/main" id="{84F655FF-3ED9-4AF3-B39B-FCF517DF5A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9" y="2619"/>
                <a:ext cx="4" cy="8"/>
              </a:xfrm>
              <a:custGeom>
                <a:avLst/>
                <a:gdLst>
                  <a:gd name="T0" fmla="*/ 0 w 4"/>
                  <a:gd name="T1" fmla="*/ 2 h 8"/>
                  <a:gd name="T2" fmla="*/ 0 w 4"/>
                  <a:gd name="T3" fmla="*/ 0 h 8"/>
                  <a:gd name="T4" fmla="*/ 0 w 4"/>
                  <a:gd name="T5" fmla="*/ 2 h 8"/>
                  <a:gd name="T6" fmla="*/ 2 w 4"/>
                  <a:gd name="T7" fmla="*/ 4 h 8"/>
                  <a:gd name="T8" fmla="*/ 4 w 4"/>
                  <a:gd name="T9" fmla="*/ 8 h 8"/>
                  <a:gd name="T10" fmla="*/ 2 w 4"/>
                  <a:gd name="T11" fmla="*/ 4 h 8"/>
                  <a:gd name="T12" fmla="*/ 0 w 4"/>
                  <a:gd name="T1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4" y="8"/>
                    </a:lnTo>
                    <a:lnTo>
                      <a:pt x="2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67" name="Freeform 566">
                <a:extLst>
                  <a:ext uri="{FF2B5EF4-FFF2-40B4-BE49-F238E27FC236}">
                    <a16:creationId xmlns:a16="http://schemas.microsoft.com/office/drawing/2014/main" id="{E66133C6-A976-444F-8081-6992910D6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3" y="2639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4 h 4"/>
                  <a:gd name="T4" fmla="*/ 0 w 2"/>
                  <a:gd name="T5" fmla="*/ 4 h 4"/>
                  <a:gd name="T6" fmla="*/ 2 w 2"/>
                  <a:gd name="T7" fmla="*/ 4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68" name="Freeform 567">
                <a:extLst>
                  <a:ext uri="{FF2B5EF4-FFF2-40B4-BE49-F238E27FC236}">
                    <a16:creationId xmlns:a16="http://schemas.microsoft.com/office/drawing/2014/main" id="{4080109E-A51B-445E-907C-8E45BAFBDB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2" y="3498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69" name="Freeform 568">
                <a:extLst>
                  <a:ext uri="{FF2B5EF4-FFF2-40B4-BE49-F238E27FC236}">
                    <a16:creationId xmlns:a16="http://schemas.microsoft.com/office/drawing/2014/main" id="{B0B81F9B-62A8-44A2-8B4F-C36D12C265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2" y="3562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70" name="Rectangle 569">
                <a:extLst>
                  <a:ext uri="{FF2B5EF4-FFF2-40B4-BE49-F238E27FC236}">
                    <a16:creationId xmlns:a16="http://schemas.microsoft.com/office/drawing/2014/main" id="{C3DC7AAE-B437-460F-BDE1-4098BEEE68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6" y="337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71" name="Freeform 570">
                <a:extLst>
                  <a:ext uri="{FF2B5EF4-FFF2-40B4-BE49-F238E27FC236}">
                    <a16:creationId xmlns:a16="http://schemas.microsoft.com/office/drawing/2014/main" id="{58B4AF93-B450-4747-8ABB-B297E3F8D7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6" y="2611"/>
                <a:ext cx="8" cy="2"/>
              </a:xfrm>
              <a:custGeom>
                <a:avLst/>
                <a:gdLst>
                  <a:gd name="T0" fmla="*/ 6 w 8"/>
                  <a:gd name="T1" fmla="*/ 0 h 2"/>
                  <a:gd name="T2" fmla="*/ 8 w 8"/>
                  <a:gd name="T3" fmla="*/ 2 h 2"/>
                  <a:gd name="T4" fmla="*/ 6 w 8"/>
                  <a:gd name="T5" fmla="*/ 0 h 2"/>
                  <a:gd name="T6" fmla="*/ 2 w 8"/>
                  <a:gd name="T7" fmla="*/ 0 h 2"/>
                  <a:gd name="T8" fmla="*/ 0 w 8"/>
                  <a:gd name="T9" fmla="*/ 0 h 2"/>
                  <a:gd name="T10" fmla="*/ 2 w 8"/>
                  <a:gd name="T11" fmla="*/ 0 h 2"/>
                  <a:gd name="T12" fmla="*/ 6 w 8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2">
                    <a:moveTo>
                      <a:pt x="6" y="0"/>
                    </a:moveTo>
                    <a:lnTo>
                      <a:pt x="8" y="2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72" name="Freeform 571">
                <a:extLst>
                  <a:ext uri="{FF2B5EF4-FFF2-40B4-BE49-F238E27FC236}">
                    <a16:creationId xmlns:a16="http://schemas.microsoft.com/office/drawing/2014/main" id="{F5C65416-F6BE-47C9-8847-76262EBE1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5" y="2533"/>
                <a:ext cx="66" cy="10"/>
              </a:xfrm>
              <a:custGeom>
                <a:avLst/>
                <a:gdLst>
                  <a:gd name="T0" fmla="*/ 14 w 66"/>
                  <a:gd name="T1" fmla="*/ 10 h 10"/>
                  <a:gd name="T2" fmla="*/ 60 w 66"/>
                  <a:gd name="T3" fmla="*/ 2 h 10"/>
                  <a:gd name="T4" fmla="*/ 66 w 66"/>
                  <a:gd name="T5" fmla="*/ 0 h 10"/>
                  <a:gd name="T6" fmla="*/ 60 w 66"/>
                  <a:gd name="T7" fmla="*/ 2 h 10"/>
                  <a:gd name="T8" fmla="*/ 14 w 66"/>
                  <a:gd name="T9" fmla="*/ 10 h 10"/>
                  <a:gd name="T10" fmla="*/ 10 w 66"/>
                  <a:gd name="T11" fmla="*/ 10 h 10"/>
                  <a:gd name="T12" fmla="*/ 0 w 66"/>
                  <a:gd name="T13" fmla="*/ 8 h 10"/>
                  <a:gd name="T14" fmla="*/ 0 w 66"/>
                  <a:gd name="T15" fmla="*/ 8 h 10"/>
                  <a:gd name="T16" fmla="*/ 10 w 66"/>
                  <a:gd name="T17" fmla="*/ 10 h 10"/>
                  <a:gd name="T18" fmla="*/ 14 w 66"/>
                  <a:gd name="T1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6" h="10">
                    <a:moveTo>
                      <a:pt x="14" y="10"/>
                    </a:moveTo>
                    <a:lnTo>
                      <a:pt x="60" y="2"/>
                    </a:lnTo>
                    <a:lnTo>
                      <a:pt x="66" y="0"/>
                    </a:lnTo>
                    <a:lnTo>
                      <a:pt x="60" y="2"/>
                    </a:lnTo>
                    <a:lnTo>
                      <a:pt x="14" y="10"/>
                    </a:lnTo>
                    <a:lnTo>
                      <a:pt x="10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10" y="10"/>
                    </a:lnTo>
                    <a:lnTo>
                      <a:pt x="14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73" name="Freeform 572">
                <a:extLst>
                  <a:ext uri="{FF2B5EF4-FFF2-40B4-BE49-F238E27FC236}">
                    <a16:creationId xmlns:a16="http://schemas.microsoft.com/office/drawing/2014/main" id="{B47E2314-C0A9-47FC-8A30-B1A882E1BE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8" y="2547"/>
                <a:ext cx="10" cy="16"/>
              </a:xfrm>
              <a:custGeom>
                <a:avLst/>
                <a:gdLst>
                  <a:gd name="T0" fmla="*/ 8 w 10"/>
                  <a:gd name="T1" fmla="*/ 2 h 16"/>
                  <a:gd name="T2" fmla="*/ 10 w 10"/>
                  <a:gd name="T3" fmla="*/ 0 h 16"/>
                  <a:gd name="T4" fmla="*/ 8 w 10"/>
                  <a:gd name="T5" fmla="*/ 2 h 16"/>
                  <a:gd name="T6" fmla="*/ 2 w 10"/>
                  <a:gd name="T7" fmla="*/ 12 h 16"/>
                  <a:gd name="T8" fmla="*/ 0 w 10"/>
                  <a:gd name="T9" fmla="*/ 16 h 16"/>
                  <a:gd name="T10" fmla="*/ 2 w 10"/>
                  <a:gd name="T11" fmla="*/ 12 h 16"/>
                  <a:gd name="T12" fmla="*/ 8 w 10"/>
                  <a:gd name="T1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6">
                    <a:moveTo>
                      <a:pt x="8" y="2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2" y="12"/>
                    </a:lnTo>
                    <a:lnTo>
                      <a:pt x="0" y="16"/>
                    </a:lnTo>
                    <a:lnTo>
                      <a:pt x="2" y="1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74" name="Freeform 573">
                <a:extLst>
                  <a:ext uri="{FF2B5EF4-FFF2-40B4-BE49-F238E27FC236}">
                    <a16:creationId xmlns:a16="http://schemas.microsoft.com/office/drawing/2014/main" id="{55C94BF5-3305-4C13-99A3-BAE13A2A4D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8" y="2590"/>
                <a:ext cx="49" cy="35"/>
              </a:xfrm>
              <a:custGeom>
                <a:avLst/>
                <a:gdLst>
                  <a:gd name="T0" fmla="*/ 31 w 49"/>
                  <a:gd name="T1" fmla="*/ 12 h 35"/>
                  <a:gd name="T2" fmla="*/ 49 w 49"/>
                  <a:gd name="T3" fmla="*/ 0 h 35"/>
                  <a:gd name="T4" fmla="*/ 31 w 49"/>
                  <a:gd name="T5" fmla="*/ 12 h 35"/>
                  <a:gd name="T6" fmla="*/ 7 w 49"/>
                  <a:gd name="T7" fmla="*/ 33 h 35"/>
                  <a:gd name="T8" fmla="*/ 0 w 49"/>
                  <a:gd name="T9" fmla="*/ 35 h 35"/>
                  <a:gd name="T10" fmla="*/ 7 w 49"/>
                  <a:gd name="T11" fmla="*/ 33 h 35"/>
                  <a:gd name="T12" fmla="*/ 31 w 49"/>
                  <a:gd name="T13" fmla="*/ 1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35">
                    <a:moveTo>
                      <a:pt x="31" y="12"/>
                    </a:moveTo>
                    <a:lnTo>
                      <a:pt x="49" y="0"/>
                    </a:lnTo>
                    <a:lnTo>
                      <a:pt x="31" y="12"/>
                    </a:lnTo>
                    <a:lnTo>
                      <a:pt x="7" y="33"/>
                    </a:lnTo>
                    <a:lnTo>
                      <a:pt x="0" y="35"/>
                    </a:lnTo>
                    <a:lnTo>
                      <a:pt x="7" y="33"/>
                    </a:lnTo>
                    <a:lnTo>
                      <a:pt x="31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75" name="Rectangle 574">
                <a:extLst>
                  <a:ext uri="{FF2B5EF4-FFF2-40B4-BE49-F238E27FC236}">
                    <a16:creationId xmlns:a16="http://schemas.microsoft.com/office/drawing/2014/main" id="{7AEBF2F0-535F-4599-A4D9-1672128468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9" y="347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76" name="Rectangle 575">
                <a:extLst>
                  <a:ext uri="{FF2B5EF4-FFF2-40B4-BE49-F238E27FC236}">
                    <a16:creationId xmlns:a16="http://schemas.microsoft.com/office/drawing/2014/main" id="{1B7A394A-7225-4B31-8399-C6D41208C3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08" y="351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77" name="Freeform 576">
                <a:extLst>
                  <a:ext uri="{FF2B5EF4-FFF2-40B4-BE49-F238E27FC236}">
                    <a16:creationId xmlns:a16="http://schemas.microsoft.com/office/drawing/2014/main" id="{D0D97DDB-BDB5-44B5-AAA7-6C26D14E62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5" y="3512"/>
                <a:ext cx="2" cy="1"/>
              </a:xfrm>
              <a:custGeom>
                <a:avLst/>
                <a:gdLst>
                  <a:gd name="T0" fmla="*/ 2 w 2"/>
                  <a:gd name="T1" fmla="*/ 0 h 1"/>
                  <a:gd name="T2" fmla="*/ 0 w 2"/>
                  <a:gd name="T3" fmla="*/ 1 h 1"/>
                  <a:gd name="T4" fmla="*/ 2 w 2"/>
                  <a:gd name="T5" fmla="*/ 0 h 1"/>
                  <a:gd name="T6" fmla="*/ 2 w 2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0" y="1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78" name="Freeform 577">
                <a:extLst>
                  <a:ext uri="{FF2B5EF4-FFF2-40B4-BE49-F238E27FC236}">
                    <a16:creationId xmlns:a16="http://schemas.microsoft.com/office/drawing/2014/main" id="{1159C229-A747-4C5B-8A14-98C0E7ED80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0" y="3551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0 h 2"/>
                  <a:gd name="T4" fmla="*/ 0 w 2"/>
                  <a:gd name="T5" fmla="*/ 0 h 2"/>
                  <a:gd name="T6" fmla="*/ 2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79" name="Rectangle 578">
                <a:extLst>
                  <a:ext uri="{FF2B5EF4-FFF2-40B4-BE49-F238E27FC236}">
                    <a16:creationId xmlns:a16="http://schemas.microsoft.com/office/drawing/2014/main" id="{AF9D56FD-E258-48F4-B66C-29D67557D5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8" y="349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80" name="Freeform 579">
                <a:extLst>
                  <a:ext uri="{FF2B5EF4-FFF2-40B4-BE49-F238E27FC236}">
                    <a16:creationId xmlns:a16="http://schemas.microsoft.com/office/drawing/2014/main" id="{FC10BF8C-B988-4CB2-8CF7-874B61EF8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5" y="2526"/>
                <a:ext cx="8" cy="1"/>
              </a:xfrm>
              <a:custGeom>
                <a:avLst/>
                <a:gdLst>
                  <a:gd name="T0" fmla="*/ 8 w 8"/>
                  <a:gd name="T1" fmla="*/ 0 h 1"/>
                  <a:gd name="T2" fmla="*/ 4 w 8"/>
                  <a:gd name="T3" fmla="*/ 0 h 1"/>
                  <a:gd name="T4" fmla="*/ 0 w 8"/>
                  <a:gd name="T5" fmla="*/ 1 h 1"/>
                  <a:gd name="T6" fmla="*/ 4 w 8"/>
                  <a:gd name="T7" fmla="*/ 0 h 1"/>
                  <a:gd name="T8" fmla="*/ 8 w 8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">
                    <a:moveTo>
                      <a:pt x="8" y="0"/>
                    </a:moveTo>
                    <a:lnTo>
                      <a:pt x="4" y="0"/>
                    </a:lnTo>
                    <a:lnTo>
                      <a:pt x="0" y="1"/>
                    </a:lnTo>
                    <a:lnTo>
                      <a:pt x="4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81" name="Freeform 580">
                <a:extLst>
                  <a:ext uri="{FF2B5EF4-FFF2-40B4-BE49-F238E27FC236}">
                    <a16:creationId xmlns:a16="http://schemas.microsoft.com/office/drawing/2014/main" id="{16F40E97-D94B-4825-A313-826B1DBA35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1" y="3472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82" name="Rectangle 581">
                <a:extLst>
                  <a:ext uri="{FF2B5EF4-FFF2-40B4-BE49-F238E27FC236}">
                    <a16:creationId xmlns:a16="http://schemas.microsoft.com/office/drawing/2014/main" id="{B3FED043-8E73-4861-A059-209E941A0C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7" y="346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83" name="Rectangle 582">
                <a:extLst>
                  <a:ext uri="{FF2B5EF4-FFF2-40B4-BE49-F238E27FC236}">
                    <a16:creationId xmlns:a16="http://schemas.microsoft.com/office/drawing/2014/main" id="{83F1C948-C52C-4609-BFE0-8EB26E1C1C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68" y="34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84" name="Freeform 583">
                <a:extLst>
                  <a:ext uri="{FF2B5EF4-FFF2-40B4-BE49-F238E27FC236}">
                    <a16:creationId xmlns:a16="http://schemas.microsoft.com/office/drawing/2014/main" id="{43277C27-DD8D-4B86-8C5D-15BAF0B4A3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1" y="3430"/>
                <a:ext cx="0" cy="3"/>
              </a:xfrm>
              <a:custGeom>
                <a:avLst/>
                <a:gdLst>
                  <a:gd name="T0" fmla="*/ 0 h 3"/>
                  <a:gd name="T1" fmla="*/ 0 h 3"/>
                  <a:gd name="T2" fmla="*/ 3 h 3"/>
                  <a:gd name="T3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85" name="Freeform 584">
                <a:extLst>
                  <a:ext uri="{FF2B5EF4-FFF2-40B4-BE49-F238E27FC236}">
                    <a16:creationId xmlns:a16="http://schemas.microsoft.com/office/drawing/2014/main" id="{60F6786D-6F12-4E8A-B879-7020A7DA7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2" y="2553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0 h 4"/>
                  <a:gd name="T4" fmla="*/ 2 h 4"/>
                  <a:gd name="T5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86" name="Freeform 585">
                <a:extLst>
                  <a:ext uri="{FF2B5EF4-FFF2-40B4-BE49-F238E27FC236}">
                    <a16:creationId xmlns:a16="http://schemas.microsoft.com/office/drawing/2014/main" id="{F12402E8-F0CB-4936-B327-95A88A970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2" y="2608"/>
                <a:ext cx="10" cy="15"/>
              </a:xfrm>
              <a:custGeom>
                <a:avLst/>
                <a:gdLst>
                  <a:gd name="T0" fmla="*/ 0 w 10"/>
                  <a:gd name="T1" fmla="*/ 9 h 15"/>
                  <a:gd name="T2" fmla="*/ 0 w 10"/>
                  <a:gd name="T3" fmla="*/ 13 h 15"/>
                  <a:gd name="T4" fmla="*/ 2 w 10"/>
                  <a:gd name="T5" fmla="*/ 15 h 15"/>
                  <a:gd name="T6" fmla="*/ 6 w 10"/>
                  <a:gd name="T7" fmla="*/ 15 h 15"/>
                  <a:gd name="T8" fmla="*/ 10 w 10"/>
                  <a:gd name="T9" fmla="*/ 13 h 15"/>
                  <a:gd name="T10" fmla="*/ 6 w 10"/>
                  <a:gd name="T11" fmla="*/ 15 h 15"/>
                  <a:gd name="T12" fmla="*/ 2 w 10"/>
                  <a:gd name="T13" fmla="*/ 15 h 15"/>
                  <a:gd name="T14" fmla="*/ 0 w 10"/>
                  <a:gd name="T15" fmla="*/ 13 h 15"/>
                  <a:gd name="T16" fmla="*/ 0 w 10"/>
                  <a:gd name="T17" fmla="*/ 9 h 15"/>
                  <a:gd name="T18" fmla="*/ 4 w 10"/>
                  <a:gd name="T19" fmla="*/ 3 h 15"/>
                  <a:gd name="T20" fmla="*/ 4 w 10"/>
                  <a:gd name="T21" fmla="*/ 0 h 15"/>
                  <a:gd name="T22" fmla="*/ 4 w 10"/>
                  <a:gd name="T23" fmla="*/ 3 h 15"/>
                  <a:gd name="T24" fmla="*/ 0 w 10"/>
                  <a:gd name="T25" fmla="*/ 9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" h="15">
                    <a:moveTo>
                      <a:pt x="0" y="9"/>
                    </a:moveTo>
                    <a:lnTo>
                      <a:pt x="0" y="13"/>
                    </a:lnTo>
                    <a:lnTo>
                      <a:pt x="2" y="15"/>
                    </a:lnTo>
                    <a:lnTo>
                      <a:pt x="6" y="15"/>
                    </a:lnTo>
                    <a:lnTo>
                      <a:pt x="10" y="13"/>
                    </a:lnTo>
                    <a:lnTo>
                      <a:pt x="6" y="15"/>
                    </a:lnTo>
                    <a:lnTo>
                      <a:pt x="2" y="15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4" y="3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87" name="Freeform 586">
                <a:extLst>
                  <a:ext uri="{FF2B5EF4-FFF2-40B4-BE49-F238E27FC236}">
                    <a16:creationId xmlns:a16="http://schemas.microsoft.com/office/drawing/2014/main" id="{99D36FFB-F027-46B7-939B-BB3F742BE4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1" y="2649"/>
                <a:ext cx="6" cy="5"/>
              </a:xfrm>
              <a:custGeom>
                <a:avLst/>
                <a:gdLst>
                  <a:gd name="T0" fmla="*/ 2 w 6"/>
                  <a:gd name="T1" fmla="*/ 1 h 5"/>
                  <a:gd name="T2" fmla="*/ 4 w 6"/>
                  <a:gd name="T3" fmla="*/ 3 h 5"/>
                  <a:gd name="T4" fmla="*/ 6 w 6"/>
                  <a:gd name="T5" fmla="*/ 5 h 5"/>
                  <a:gd name="T6" fmla="*/ 4 w 6"/>
                  <a:gd name="T7" fmla="*/ 3 h 5"/>
                  <a:gd name="T8" fmla="*/ 2 w 6"/>
                  <a:gd name="T9" fmla="*/ 1 h 5"/>
                  <a:gd name="T10" fmla="*/ 0 w 6"/>
                  <a:gd name="T11" fmla="*/ 0 h 5"/>
                  <a:gd name="T12" fmla="*/ 0 w 6"/>
                  <a:gd name="T13" fmla="*/ 0 h 5"/>
                  <a:gd name="T14" fmla="*/ 0 w 6"/>
                  <a:gd name="T15" fmla="*/ 0 h 5"/>
                  <a:gd name="T16" fmla="*/ 2 w 6"/>
                  <a:gd name="T1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5">
                    <a:moveTo>
                      <a:pt x="2" y="1"/>
                    </a:moveTo>
                    <a:lnTo>
                      <a:pt x="4" y="3"/>
                    </a:lnTo>
                    <a:lnTo>
                      <a:pt x="6" y="5"/>
                    </a:lnTo>
                    <a:lnTo>
                      <a:pt x="4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88" name="Freeform 587">
                <a:extLst>
                  <a:ext uri="{FF2B5EF4-FFF2-40B4-BE49-F238E27FC236}">
                    <a16:creationId xmlns:a16="http://schemas.microsoft.com/office/drawing/2014/main" id="{23E504D0-B44A-47C5-A075-61BDD0F28E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1" y="2621"/>
                <a:ext cx="8" cy="28"/>
              </a:xfrm>
              <a:custGeom>
                <a:avLst/>
                <a:gdLst>
                  <a:gd name="T0" fmla="*/ 8 w 8"/>
                  <a:gd name="T1" fmla="*/ 8 h 28"/>
                  <a:gd name="T2" fmla="*/ 6 w 8"/>
                  <a:gd name="T3" fmla="*/ 14 h 28"/>
                  <a:gd name="T4" fmla="*/ 0 w 8"/>
                  <a:gd name="T5" fmla="*/ 28 h 28"/>
                  <a:gd name="T6" fmla="*/ 0 w 8"/>
                  <a:gd name="T7" fmla="*/ 28 h 28"/>
                  <a:gd name="T8" fmla="*/ 6 w 8"/>
                  <a:gd name="T9" fmla="*/ 14 h 28"/>
                  <a:gd name="T10" fmla="*/ 8 w 8"/>
                  <a:gd name="T11" fmla="*/ 8 h 28"/>
                  <a:gd name="T12" fmla="*/ 4 w 8"/>
                  <a:gd name="T13" fmla="*/ 2 h 28"/>
                  <a:gd name="T14" fmla="*/ 4 w 8"/>
                  <a:gd name="T15" fmla="*/ 0 h 28"/>
                  <a:gd name="T16" fmla="*/ 4 w 8"/>
                  <a:gd name="T17" fmla="*/ 2 h 28"/>
                  <a:gd name="T18" fmla="*/ 8 w 8"/>
                  <a:gd name="T19" fmla="*/ 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28">
                    <a:moveTo>
                      <a:pt x="8" y="8"/>
                    </a:moveTo>
                    <a:lnTo>
                      <a:pt x="6" y="14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6" y="14"/>
                    </a:lnTo>
                    <a:lnTo>
                      <a:pt x="8" y="8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8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89" name="Freeform 588">
                <a:extLst>
                  <a:ext uri="{FF2B5EF4-FFF2-40B4-BE49-F238E27FC236}">
                    <a16:creationId xmlns:a16="http://schemas.microsoft.com/office/drawing/2014/main" id="{84C692D9-23A2-400D-804A-7DFEE2060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621"/>
                <a:ext cx="10" cy="2"/>
              </a:xfrm>
              <a:custGeom>
                <a:avLst/>
                <a:gdLst>
                  <a:gd name="T0" fmla="*/ 10 w 10"/>
                  <a:gd name="T1" fmla="*/ 0 h 2"/>
                  <a:gd name="T2" fmla="*/ 6 w 10"/>
                  <a:gd name="T3" fmla="*/ 2 h 2"/>
                  <a:gd name="T4" fmla="*/ 0 w 10"/>
                  <a:gd name="T5" fmla="*/ 0 h 2"/>
                  <a:gd name="T6" fmla="*/ 6 w 10"/>
                  <a:gd name="T7" fmla="*/ 2 h 2"/>
                  <a:gd name="T8" fmla="*/ 10 w 10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">
                    <a:moveTo>
                      <a:pt x="10" y="0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90" name="Freeform 589">
                <a:extLst>
                  <a:ext uri="{FF2B5EF4-FFF2-40B4-BE49-F238E27FC236}">
                    <a16:creationId xmlns:a16="http://schemas.microsoft.com/office/drawing/2014/main" id="{9500E1D7-ACB4-4827-9E38-03FEB12CBB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613"/>
                <a:ext cx="29" cy="8"/>
              </a:xfrm>
              <a:custGeom>
                <a:avLst/>
                <a:gdLst>
                  <a:gd name="T0" fmla="*/ 23 w 29"/>
                  <a:gd name="T1" fmla="*/ 8 h 8"/>
                  <a:gd name="T2" fmla="*/ 29 w 29"/>
                  <a:gd name="T3" fmla="*/ 8 h 8"/>
                  <a:gd name="T4" fmla="*/ 23 w 29"/>
                  <a:gd name="T5" fmla="*/ 8 h 8"/>
                  <a:gd name="T6" fmla="*/ 5 w 29"/>
                  <a:gd name="T7" fmla="*/ 0 h 8"/>
                  <a:gd name="T8" fmla="*/ 0 w 29"/>
                  <a:gd name="T9" fmla="*/ 0 h 8"/>
                  <a:gd name="T10" fmla="*/ 5 w 29"/>
                  <a:gd name="T11" fmla="*/ 0 h 8"/>
                  <a:gd name="T12" fmla="*/ 23 w 2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8">
                    <a:moveTo>
                      <a:pt x="23" y="8"/>
                    </a:moveTo>
                    <a:lnTo>
                      <a:pt x="29" y="8"/>
                    </a:lnTo>
                    <a:lnTo>
                      <a:pt x="23" y="8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23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91" name="Freeform 590">
                <a:extLst>
                  <a:ext uri="{FF2B5EF4-FFF2-40B4-BE49-F238E27FC236}">
                    <a16:creationId xmlns:a16="http://schemas.microsoft.com/office/drawing/2014/main" id="{7609E76C-D87B-4896-B885-DE9D6DFA74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2" y="2637"/>
                <a:ext cx="0" cy="6"/>
              </a:xfrm>
              <a:custGeom>
                <a:avLst/>
                <a:gdLst>
                  <a:gd name="T0" fmla="*/ 2 h 6"/>
                  <a:gd name="T1" fmla="*/ 0 h 6"/>
                  <a:gd name="T2" fmla="*/ 2 h 6"/>
                  <a:gd name="T3" fmla="*/ 6 h 6"/>
                  <a:gd name="T4" fmla="*/ 6 h 6"/>
                  <a:gd name="T5" fmla="*/ 6 h 6"/>
                  <a:gd name="T6" fmla="*/ 2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6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92" name="Freeform 591">
                <a:extLst>
                  <a:ext uri="{FF2B5EF4-FFF2-40B4-BE49-F238E27FC236}">
                    <a16:creationId xmlns:a16="http://schemas.microsoft.com/office/drawing/2014/main" id="{90AC3221-7043-4C19-9AF3-D5A2C6A9FC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6" y="2615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2 w 6"/>
                  <a:gd name="T3" fmla="*/ 0 h 4"/>
                  <a:gd name="T4" fmla="*/ 0 w 6"/>
                  <a:gd name="T5" fmla="*/ 4 h 4"/>
                  <a:gd name="T6" fmla="*/ 0 w 6"/>
                  <a:gd name="T7" fmla="*/ 4 h 4"/>
                  <a:gd name="T8" fmla="*/ 2 w 6"/>
                  <a:gd name="T9" fmla="*/ 0 h 4"/>
                  <a:gd name="T10" fmla="*/ 6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93" name="Freeform 592">
                <a:extLst>
                  <a:ext uri="{FF2B5EF4-FFF2-40B4-BE49-F238E27FC236}">
                    <a16:creationId xmlns:a16="http://schemas.microsoft.com/office/drawing/2014/main" id="{7D7720EA-33BB-4258-87B1-E3B7501FDF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2" y="2615"/>
                <a:ext cx="16" cy="14"/>
              </a:xfrm>
              <a:custGeom>
                <a:avLst/>
                <a:gdLst>
                  <a:gd name="T0" fmla="*/ 14 w 16"/>
                  <a:gd name="T1" fmla="*/ 14 h 14"/>
                  <a:gd name="T2" fmla="*/ 16 w 16"/>
                  <a:gd name="T3" fmla="*/ 14 h 14"/>
                  <a:gd name="T4" fmla="*/ 14 w 16"/>
                  <a:gd name="T5" fmla="*/ 14 h 14"/>
                  <a:gd name="T6" fmla="*/ 4 w 16"/>
                  <a:gd name="T7" fmla="*/ 2 h 14"/>
                  <a:gd name="T8" fmla="*/ 0 w 16"/>
                  <a:gd name="T9" fmla="*/ 0 h 14"/>
                  <a:gd name="T10" fmla="*/ 0 w 16"/>
                  <a:gd name="T11" fmla="*/ 0 h 14"/>
                  <a:gd name="T12" fmla="*/ 4 w 16"/>
                  <a:gd name="T13" fmla="*/ 2 h 14"/>
                  <a:gd name="T14" fmla="*/ 14 w 16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4">
                    <a:moveTo>
                      <a:pt x="14" y="14"/>
                    </a:moveTo>
                    <a:lnTo>
                      <a:pt x="16" y="14"/>
                    </a:lnTo>
                    <a:lnTo>
                      <a:pt x="14" y="1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94" name="Freeform 593">
                <a:extLst>
                  <a:ext uri="{FF2B5EF4-FFF2-40B4-BE49-F238E27FC236}">
                    <a16:creationId xmlns:a16="http://schemas.microsoft.com/office/drawing/2014/main" id="{D4324131-2D02-46A2-B9F0-18730474C7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2" y="2627"/>
                <a:ext cx="0" cy="4"/>
              </a:xfrm>
              <a:custGeom>
                <a:avLst/>
                <a:gdLst>
                  <a:gd name="T0" fmla="*/ 0 h 4"/>
                  <a:gd name="T1" fmla="*/ 2 h 4"/>
                  <a:gd name="T2" fmla="*/ 4 h 4"/>
                  <a:gd name="T3" fmla="*/ 2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95" name="Freeform 594">
                <a:extLst>
                  <a:ext uri="{FF2B5EF4-FFF2-40B4-BE49-F238E27FC236}">
                    <a16:creationId xmlns:a16="http://schemas.microsoft.com/office/drawing/2014/main" id="{55FC7C1C-6C48-4C6D-A71F-D7046548C8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1" y="2584"/>
                <a:ext cx="0" cy="14"/>
              </a:xfrm>
              <a:custGeom>
                <a:avLst/>
                <a:gdLst>
                  <a:gd name="T0" fmla="*/ 6 h 14"/>
                  <a:gd name="T1" fmla="*/ 14 h 14"/>
                  <a:gd name="T2" fmla="*/ 6 h 14"/>
                  <a:gd name="T3" fmla="*/ 0 h 14"/>
                  <a:gd name="T4" fmla="*/ 0 h 14"/>
                  <a:gd name="T5" fmla="*/ 0 h 14"/>
                  <a:gd name="T6" fmla="*/ 6 h 1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14">
                    <a:moveTo>
                      <a:pt x="0" y="6"/>
                    </a:moveTo>
                    <a:lnTo>
                      <a:pt x="0" y="14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96" name="Freeform 595">
                <a:extLst>
                  <a:ext uri="{FF2B5EF4-FFF2-40B4-BE49-F238E27FC236}">
                    <a16:creationId xmlns:a16="http://schemas.microsoft.com/office/drawing/2014/main" id="{16DEA8D3-4BBC-4165-915C-EDE1315E3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2631"/>
                <a:ext cx="17" cy="0"/>
              </a:xfrm>
              <a:custGeom>
                <a:avLst/>
                <a:gdLst>
                  <a:gd name="T0" fmla="*/ 17 w 17"/>
                  <a:gd name="T1" fmla="*/ 17 w 17"/>
                  <a:gd name="T2" fmla="*/ 0 w 17"/>
                  <a:gd name="T3" fmla="*/ 0 w 17"/>
                  <a:gd name="T4" fmla="*/ 0 w 17"/>
                  <a:gd name="T5" fmla="*/ 17 w 1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7">
                    <a:moveTo>
                      <a:pt x="17" y="0"/>
                    </a:moveTo>
                    <a:lnTo>
                      <a:pt x="17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97" name="Freeform 596">
                <a:extLst>
                  <a:ext uri="{FF2B5EF4-FFF2-40B4-BE49-F238E27FC236}">
                    <a16:creationId xmlns:a16="http://schemas.microsoft.com/office/drawing/2014/main" id="{63540DDD-DE4F-4F93-94A3-753213C6F5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0" y="255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98" name="Freeform 597">
                <a:extLst>
                  <a:ext uri="{FF2B5EF4-FFF2-40B4-BE49-F238E27FC236}">
                    <a16:creationId xmlns:a16="http://schemas.microsoft.com/office/drawing/2014/main" id="{9D745FE7-42D3-4D90-A866-55C89238CB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2" y="2559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299" name="Freeform 598">
                <a:extLst>
                  <a:ext uri="{FF2B5EF4-FFF2-40B4-BE49-F238E27FC236}">
                    <a16:creationId xmlns:a16="http://schemas.microsoft.com/office/drawing/2014/main" id="{FA2D24D4-93F4-4726-B96C-AD61927C33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0" y="2537"/>
                <a:ext cx="31" cy="12"/>
              </a:xfrm>
              <a:custGeom>
                <a:avLst/>
                <a:gdLst>
                  <a:gd name="T0" fmla="*/ 11 w 31"/>
                  <a:gd name="T1" fmla="*/ 0 h 12"/>
                  <a:gd name="T2" fmla="*/ 15 w 31"/>
                  <a:gd name="T3" fmla="*/ 2 h 12"/>
                  <a:gd name="T4" fmla="*/ 27 w 31"/>
                  <a:gd name="T5" fmla="*/ 12 h 12"/>
                  <a:gd name="T6" fmla="*/ 31 w 31"/>
                  <a:gd name="T7" fmla="*/ 12 h 12"/>
                  <a:gd name="T8" fmla="*/ 27 w 31"/>
                  <a:gd name="T9" fmla="*/ 12 h 12"/>
                  <a:gd name="T10" fmla="*/ 15 w 31"/>
                  <a:gd name="T11" fmla="*/ 2 h 12"/>
                  <a:gd name="T12" fmla="*/ 11 w 31"/>
                  <a:gd name="T13" fmla="*/ 0 h 12"/>
                  <a:gd name="T14" fmla="*/ 0 w 31"/>
                  <a:gd name="T15" fmla="*/ 0 h 12"/>
                  <a:gd name="T16" fmla="*/ 0 w 31"/>
                  <a:gd name="T17" fmla="*/ 0 h 12"/>
                  <a:gd name="T18" fmla="*/ 11 w 31"/>
                  <a:gd name="T1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12">
                    <a:moveTo>
                      <a:pt x="11" y="0"/>
                    </a:moveTo>
                    <a:lnTo>
                      <a:pt x="15" y="2"/>
                    </a:lnTo>
                    <a:lnTo>
                      <a:pt x="27" y="12"/>
                    </a:lnTo>
                    <a:lnTo>
                      <a:pt x="31" y="12"/>
                    </a:lnTo>
                    <a:lnTo>
                      <a:pt x="27" y="12"/>
                    </a:lnTo>
                    <a:lnTo>
                      <a:pt x="15" y="2"/>
                    </a:lnTo>
                    <a:lnTo>
                      <a:pt x="1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00" name="Rectangle 599">
                <a:extLst>
                  <a:ext uri="{FF2B5EF4-FFF2-40B4-BE49-F238E27FC236}">
                    <a16:creationId xmlns:a16="http://schemas.microsoft.com/office/drawing/2014/main" id="{20421AEF-9F71-4E65-B631-4A40D22A57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01" y="2598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01" name="Freeform 600">
                <a:extLst>
                  <a:ext uri="{FF2B5EF4-FFF2-40B4-BE49-F238E27FC236}">
                    <a16:creationId xmlns:a16="http://schemas.microsoft.com/office/drawing/2014/main" id="{55CFB449-D9AA-4534-8668-5DCDDC02A2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7" y="2531"/>
                <a:ext cx="47" cy="2"/>
              </a:xfrm>
              <a:custGeom>
                <a:avLst/>
                <a:gdLst>
                  <a:gd name="T0" fmla="*/ 32 w 47"/>
                  <a:gd name="T1" fmla="*/ 2 h 2"/>
                  <a:gd name="T2" fmla="*/ 47 w 47"/>
                  <a:gd name="T3" fmla="*/ 0 h 2"/>
                  <a:gd name="T4" fmla="*/ 47 w 47"/>
                  <a:gd name="T5" fmla="*/ 0 h 2"/>
                  <a:gd name="T6" fmla="*/ 32 w 47"/>
                  <a:gd name="T7" fmla="*/ 2 h 2"/>
                  <a:gd name="T8" fmla="*/ 10 w 47"/>
                  <a:gd name="T9" fmla="*/ 2 h 2"/>
                  <a:gd name="T10" fmla="*/ 0 w 47"/>
                  <a:gd name="T11" fmla="*/ 2 h 2"/>
                  <a:gd name="T12" fmla="*/ 10 w 47"/>
                  <a:gd name="T13" fmla="*/ 2 h 2"/>
                  <a:gd name="T14" fmla="*/ 32 w 47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2">
                    <a:moveTo>
                      <a:pt x="32" y="2"/>
                    </a:moveTo>
                    <a:lnTo>
                      <a:pt x="47" y="0"/>
                    </a:lnTo>
                    <a:lnTo>
                      <a:pt x="47" y="0"/>
                    </a:lnTo>
                    <a:lnTo>
                      <a:pt x="32" y="2"/>
                    </a:lnTo>
                    <a:lnTo>
                      <a:pt x="10" y="2"/>
                    </a:lnTo>
                    <a:lnTo>
                      <a:pt x="0" y="2"/>
                    </a:lnTo>
                    <a:lnTo>
                      <a:pt x="10" y="2"/>
                    </a:lnTo>
                    <a:lnTo>
                      <a:pt x="3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02" name="Freeform 601">
                <a:extLst>
                  <a:ext uri="{FF2B5EF4-FFF2-40B4-BE49-F238E27FC236}">
                    <a16:creationId xmlns:a16="http://schemas.microsoft.com/office/drawing/2014/main" id="{9411E997-0464-4EBF-994A-8440670224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9" y="2606"/>
                <a:ext cx="3" cy="0"/>
              </a:xfrm>
              <a:custGeom>
                <a:avLst/>
                <a:gdLst>
                  <a:gd name="T0" fmla="*/ 3 w 3"/>
                  <a:gd name="T1" fmla="*/ 2 w 3"/>
                  <a:gd name="T2" fmla="*/ 0 w 3"/>
                  <a:gd name="T3" fmla="*/ 2 w 3"/>
                  <a:gd name="T4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03" name="Freeform 602">
                <a:extLst>
                  <a:ext uri="{FF2B5EF4-FFF2-40B4-BE49-F238E27FC236}">
                    <a16:creationId xmlns:a16="http://schemas.microsoft.com/office/drawing/2014/main" id="{A4B06AB1-F2E2-47E8-A513-6D9DD85E62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6" y="2565"/>
                <a:ext cx="84" cy="17"/>
              </a:xfrm>
              <a:custGeom>
                <a:avLst/>
                <a:gdLst>
                  <a:gd name="T0" fmla="*/ 37 w 84"/>
                  <a:gd name="T1" fmla="*/ 2 h 17"/>
                  <a:gd name="T2" fmla="*/ 70 w 84"/>
                  <a:gd name="T3" fmla="*/ 15 h 17"/>
                  <a:gd name="T4" fmla="*/ 80 w 84"/>
                  <a:gd name="T5" fmla="*/ 17 h 17"/>
                  <a:gd name="T6" fmla="*/ 84 w 84"/>
                  <a:gd name="T7" fmla="*/ 15 h 17"/>
                  <a:gd name="T8" fmla="*/ 80 w 84"/>
                  <a:gd name="T9" fmla="*/ 17 h 17"/>
                  <a:gd name="T10" fmla="*/ 70 w 84"/>
                  <a:gd name="T11" fmla="*/ 15 h 17"/>
                  <a:gd name="T12" fmla="*/ 37 w 84"/>
                  <a:gd name="T13" fmla="*/ 2 h 17"/>
                  <a:gd name="T14" fmla="*/ 2 w 84"/>
                  <a:gd name="T15" fmla="*/ 0 h 17"/>
                  <a:gd name="T16" fmla="*/ 0 w 84"/>
                  <a:gd name="T17" fmla="*/ 0 h 17"/>
                  <a:gd name="T18" fmla="*/ 2 w 84"/>
                  <a:gd name="T19" fmla="*/ 0 h 17"/>
                  <a:gd name="T20" fmla="*/ 37 w 84"/>
                  <a:gd name="T21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4" h="17">
                    <a:moveTo>
                      <a:pt x="37" y="2"/>
                    </a:moveTo>
                    <a:lnTo>
                      <a:pt x="70" y="15"/>
                    </a:lnTo>
                    <a:lnTo>
                      <a:pt x="80" y="17"/>
                    </a:lnTo>
                    <a:lnTo>
                      <a:pt x="84" y="15"/>
                    </a:lnTo>
                    <a:lnTo>
                      <a:pt x="80" y="17"/>
                    </a:lnTo>
                    <a:lnTo>
                      <a:pt x="70" y="15"/>
                    </a:lnTo>
                    <a:lnTo>
                      <a:pt x="37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7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04" name="Freeform 603">
                <a:extLst>
                  <a:ext uri="{FF2B5EF4-FFF2-40B4-BE49-F238E27FC236}">
                    <a16:creationId xmlns:a16="http://schemas.microsoft.com/office/drawing/2014/main" id="{2C862E97-4533-443C-8B11-DD0D1EA48E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576"/>
                <a:ext cx="12" cy="2"/>
              </a:xfrm>
              <a:custGeom>
                <a:avLst/>
                <a:gdLst>
                  <a:gd name="T0" fmla="*/ 10 w 12"/>
                  <a:gd name="T1" fmla="*/ 2 h 2"/>
                  <a:gd name="T2" fmla="*/ 12 w 12"/>
                  <a:gd name="T3" fmla="*/ 2 h 2"/>
                  <a:gd name="T4" fmla="*/ 10 w 12"/>
                  <a:gd name="T5" fmla="*/ 2 h 2"/>
                  <a:gd name="T6" fmla="*/ 4 w 12"/>
                  <a:gd name="T7" fmla="*/ 0 h 2"/>
                  <a:gd name="T8" fmla="*/ 0 w 12"/>
                  <a:gd name="T9" fmla="*/ 0 h 2"/>
                  <a:gd name="T10" fmla="*/ 4 w 12"/>
                  <a:gd name="T11" fmla="*/ 0 h 2"/>
                  <a:gd name="T12" fmla="*/ 10 w 1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">
                    <a:moveTo>
                      <a:pt x="10" y="2"/>
                    </a:moveTo>
                    <a:lnTo>
                      <a:pt x="12" y="2"/>
                    </a:lnTo>
                    <a:lnTo>
                      <a:pt x="10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05" name="Rectangle 604">
                <a:extLst>
                  <a:ext uri="{FF2B5EF4-FFF2-40B4-BE49-F238E27FC236}">
                    <a16:creationId xmlns:a16="http://schemas.microsoft.com/office/drawing/2014/main" id="{907F9928-C407-4948-A22C-1A9E8D24C3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9" y="316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06" name="Rectangle 605">
                <a:extLst>
                  <a:ext uri="{FF2B5EF4-FFF2-40B4-BE49-F238E27FC236}">
                    <a16:creationId xmlns:a16="http://schemas.microsoft.com/office/drawing/2014/main" id="{B31B77B8-2CC7-4231-80B1-EEEBE2A1FB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5" y="297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307" name="Rectangle 606">
                <a:extLst>
                  <a:ext uri="{FF2B5EF4-FFF2-40B4-BE49-F238E27FC236}">
                    <a16:creationId xmlns:a16="http://schemas.microsoft.com/office/drawing/2014/main" id="{C7647909-B383-4F4E-92C3-764CA1EF86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4" y="913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</p:grpSp>
        <p:grpSp>
          <p:nvGrpSpPr>
            <p:cNvPr id="345" name="Group 808">
              <a:extLst>
                <a:ext uri="{FF2B5EF4-FFF2-40B4-BE49-F238E27FC236}">
                  <a16:creationId xmlns:a16="http://schemas.microsoft.com/office/drawing/2014/main" id="{C246D9F6-86EA-4466-825E-02D4624363A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729" y="1167708"/>
              <a:ext cx="6026158" cy="4884688"/>
              <a:chOff x="10" y="739"/>
              <a:chExt cx="3796" cy="3077"/>
            </a:xfrm>
            <a:grpFill/>
          </p:grpSpPr>
          <p:sp>
            <p:nvSpPr>
              <p:cNvPr id="908" name="Rectangle 608">
                <a:extLst>
                  <a:ext uri="{FF2B5EF4-FFF2-40B4-BE49-F238E27FC236}">
                    <a16:creationId xmlns:a16="http://schemas.microsoft.com/office/drawing/2014/main" id="{E2E2F7BE-B343-46A8-BA72-2FAB424635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1" y="308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09" name="Rectangle 609">
                <a:extLst>
                  <a:ext uri="{FF2B5EF4-FFF2-40B4-BE49-F238E27FC236}">
                    <a16:creationId xmlns:a16="http://schemas.microsoft.com/office/drawing/2014/main" id="{798503DF-3CC2-417C-B5C2-E37B9ADD9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5" y="29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10" name="Freeform 610">
                <a:extLst>
                  <a:ext uri="{FF2B5EF4-FFF2-40B4-BE49-F238E27FC236}">
                    <a16:creationId xmlns:a16="http://schemas.microsoft.com/office/drawing/2014/main" id="{A3F34D3F-EEE4-4544-97D5-F6C1D31A5C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1971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2 w 2"/>
                  <a:gd name="T3" fmla="*/ 2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11" name="Freeform 611">
                <a:extLst>
                  <a:ext uri="{FF2B5EF4-FFF2-40B4-BE49-F238E27FC236}">
                    <a16:creationId xmlns:a16="http://schemas.microsoft.com/office/drawing/2014/main" id="{EEE37F2A-887F-48AC-87C1-61AEEFB926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" y="3595"/>
                <a:ext cx="119" cy="82"/>
              </a:xfrm>
              <a:custGeom>
                <a:avLst/>
                <a:gdLst>
                  <a:gd name="T0" fmla="*/ 94 w 119"/>
                  <a:gd name="T1" fmla="*/ 57 h 82"/>
                  <a:gd name="T2" fmla="*/ 84 w 119"/>
                  <a:gd name="T3" fmla="*/ 55 h 82"/>
                  <a:gd name="T4" fmla="*/ 82 w 119"/>
                  <a:gd name="T5" fmla="*/ 49 h 82"/>
                  <a:gd name="T6" fmla="*/ 80 w 119"/>
                  <a:gd name="T7" fmla="*/ 43 h 82"/>
                  <a:gd name="T8" fmla="*/ 76 w 119"/>
                  <a:gd name="T9" fmla="*/ 41 h 82"/>
                  <a:gd name="T10" fmla="*/ 63 w 119"/>
                  <a:gd name="T11" fmla="*/ 36 h 82"/>
                  <a:gd name="T12" fmla="*/ 53 w 119"/>
                  <a:gd name="T13" fmla="*/ 36 h 82"/>
                  <a:gd name="T14" fmla="*/ 33 w 119"/>
                  <a:gd name="T15" fmla="*/ 24 h 82"/>
                  <a:gd name="T16" fmla="*/ 31 w 119"/>
                  <a:gd name="T17" fmla="*/ 18 h 82"/>
                  <a:gd name="T18" fmla="*/ 29 w 119"/>
                  <a:gd name="T19" fmla="*/ 14 h 82"/>
                  <a:gd name="T20" fmla="*/ 8 w 119"/>
                  <a:gd name="T21" fmla="*/ 0 h 82"/>
                  <a:gd name="T22" fmla="*/ 2 w 119"/>
                  <a:gd name="T23" fmla="*/ 2 h 82"/>
                  <a:gd name="T24" fmla="*/ 10 w 119"/>
                  <a:gd name="T25" fmla="*/ 10 h 82"/>
                  <a:gd name="T26" fmla="*/ 20 w 119"/>
                  <a:gd name="T27" fmla="*/ 16 h 82"/>
                  <a:gd name="T28" fmla="*/ 23 w 119"/>
                  <a:gd name="T29" fmla="*/ 22 h 82"/>
                  <a:gd name="T30" fmla="*/ 25 w 119"/>
                  <a:gd name="T31" fmla="*/ 30 h 82"/>
                  <a:gd name="T32" fmla="*/ 29 w 119"/>
                  <a:gd name="T33" fmla="*/ 38 h 82"/>
                  <a:gd name="T34" fmla="*/ 27 w 119"/>
                  <a:gd name="T35" fmla="*/ 41 h 82"/>
                  <a:gd name="T36" fmla="*/ 57 w 119"/>
                  <a:gd name="T37" fmla="*/ 59 h 82"/>
                  <a:gd name="T38" fmla="*/ 59 w 119"/>
                  <a:gd name="T39" fmla="*/ 63 h 82"/>
                  <a:gd name="T40" fmla="*/ 63 w 119"/>
                  <a:gd name="T41" fmla="*/ 69 h 82"/>
                  <a:gd name="T42" fmla="*/ 82 w 119"/>
                  <a:gd name="T43" fmla="*/ 81 h 82"/>
                  <a:gd name="T44" fmla="*/ 88 w 119"/>
                  <a:gd name="T45" fmla="*/ 77 h 82"/>
                  <a:gd name="T46" fmla="*/ 88 w 119"/>
                  <a:gd name="T47" fmla="*/ 77 h 82"/>
                  <a:gd name="T48" fmla="*/ 92 w 119"/>
                  <a:gd name="T49" fmla="*/ 79 h 82"/>
                  <a:gd name="T50" fmla="*/ 96 w 119"/>
                  <a:gd name="T51" fmla="*/ 81 h 82"/>
                  <a:gd name="T52" fmla="*/ 100 w 119"/>
                  <a:gd name="T53" fmla="*/ 77 h 82"/>
                  <a:gd name="T54" fmla="*/ 102 w 119"/>
                  <a:gd name="T55" fmla="*/ 77 h 82"/>
                  <a:gd name="T56" fmla="*/ 104 w 119"/>
                  <a:gd name="T57" fmla="*/ 81 h 82"/>
                  <a:gd name="T58" fmla="*/ 107 w 119"/>
                  <a:gd name="T59" fmla="*/ 81 h 82"/>
                  <a:gd name="T60" fmla="*/ 109 w 119"/>
                  <a:gd name="T61" fmla="*/ 75 h 82"/>
                  <a:gd name="T62" fmla="*/ 113 w 119"/>
                  <a:gd name="T63" fmla="*/ 75 h 82"/>
                  <a:gd name="T64" fmla="*/ 117 w 119"/>
                  <a:gd name="T65" fmla="*/ 71 h 82"/>
                  <a:gd name="T66" fmla="*/ 107 w 119"/>
                  <a:gd name="T67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9" h="82">
                    <a:moveTo>
                      <a:pt x="102" y="61"/>
                    </a:moveTo>
                    <a:lnTo>
                      <a:pt x="94" y="57"/>
                    </a:lnTo>
                    <a:lnTo>
                      <a:pt x="88" y="57"/>
                    </a:lnTo>
                    <a:lnTo>
                      <a:pt x="84" y="55"/>
                    </a:lnTo>
                    <a:lnTo>
                      <a:pt x="82" y="51"/>
                    </a:lnTo>
                    <a:lnTo>
                      <a:pt x="82" y="49"/>
                    </a:lnTo>
                    <a:lnTo>
                      <a:pt x="80" y="47"/>
                    </a:lnTo>
                    <a:lnTo>
                      <a:pt x="80" y="43"/>
                    </a:lnTo>
                    <a:lnTo>
                      <a:pt x="78" y="41"/>
                    </a:lnTo>
                    <a:lnTo>
                      <a:pt x="76" y="41"/>
                    </a:lnTo>
                    <a:lnTo>
                      <a:pt x="72" y="41"/>
                    </a:lnTo>
                    <a:lnTo>
                      <a:pt x="63" y="36"/>
                    </a:lnTo>
                    <a:lnTo>
                      <a:pt x="59" y="36"/>
                    </a:lnTo>
                    <a:lnTo>
                      <a:pt x="53" y="36"/>
                    </a:lnTo>
                    <a:lnTo>
                      <a:pt x="49" y="34"/>
                    </a:lnTo>
                    <a:lnTo>
                      <a:pt x="33" y="24"/>
                    </a:lnTo>
                    <a:lnTo>
                      <a:pt x="31" y="22"/>
                    </a:lnTo>
                    <a:lnTo>
                      <a:pt x="31" y="18"/>
                    </a:lnTo>
                    <a:lnTo>
                      <a:pt x="29" y="16"/>
                    </a:lnTo>
                    <a:lnTo>
                      <a:pt x="29" y="14"/>
                    </a:lnTo>
                    <a:lnTo>
                      <a:pt x="25" y="14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8" y="8"/>
                    </a:lnTo>
                    <a:lnTo>
                      <a:pt x="10" y="10"/>
                    </a:lnTo>
                    <a:lnTo>
                      <a:pt x="18" y="14"/>
                    </a:lnTo>
                    <a:lnTo>
                      <a:pt x="20" y="16"/>
                    </a:lnTo>
                    <a:lnTo>
                      <a:pt x="21" y="18"/>
                    </a:lnTo>
                    <a:lnTo>
                      <a:pt x="23" y="22"/>
                    </a:lnTo>
                    <a:lnTo>
                      <a:pt x="23" y="26"/>
                    </a:lnTo>
                    <a:lnTo>
                      <a:pt x="25" y="30"/>
                    </a:lnTo>
                    <a:lnTo>
                      <a:pt x="29" y="34"/>
                    </a:lnTo>
                    <a:lnTo>
                      <a:pt x="29" y="38"/>
                    </a:lnTo>
                    <a:lnTo>
                      <a:pt x="25" y="38"/>
                    </a:lnTo>
                    <a:lnTo>
                      <a:pt x="27" y="41"/>
                    </a:lnTo>
                    <a:lnTo>
                      <a:pt x="29" y="43"/>
                    </a:lnTo>
                    <a:lnTo>
                      <a:pt x="57" y="59"/>
                    </a:lnTo>
                    <a:lnTo>
                      <a:pt x="59" y="61"/>
                    </a:lnTo>
                    <a:lnTo>
                      <a:pt x="59" y="63"/>
                    </a:lnTo>
                    <a:lnTo>
                      <a:pt x="61" y="69"/>
                    </a:lnTo>
                    <a:lnTo>
                      <a:pt x="63" y="69"/>
                    </a:lnTo>
                    <a:lnTo>
                      <a:pt x="78" y="82"/>
                    </a:lnTo>
                    <a:lnTo>
                      <a:pt x="82" y="81"/>
                    </a:lnTo>
                    <a:lnTo>
                      <a:pt x="88" y="77"/>
                    </a:lnTo>
                    <a:lnTo>
                      <a:pt x="88" y="77"/>
                    </a:lnTo>
                    <a:lnTo>
                      <a:pt x="88" y="75"/>
                    </a:lnTo>
                    <a:lnTo>
                      <a:pt x="88" y="77"/>
                    </a:lnTo>
                    <a:lnTo>
                      <a:pt x="90" y="79"/>
                    </a:lnTo>
                    <a:lnTo>
                      <a:pt x="92" y="79"/>
                    </a:lnTo>
                    <a:lnTo>
                      <a:pt x="94" y="81"/>
                    </a:lnTo>
                    <a:lnTo>
                      <a:pt x="96" y="81"/>
                    </a:lnTo>
                    <a:lnTo>
                      <a:pt x="98" y="79"/>
                    </a:lnTo>
                    <a:lnTo>
                      <a:pt x="100" y="77"/>
                    </a:lnTo>
                    <a:lnTo>
                      <a:pt x="102" y="77"/>
                    </a:lnTo>
                    <a:lnTo>
                      <a:pt x="102" y="77"/>
                    </a:lnTo>
                    <a:lnTo>
                      <a:pt x="102" y="79"/>
                    </a:lnTo>
                    <a:lnTo>
                      <a:pt x="104" y="81"/>
                    </a:lnTo>
                    <a:lnTo>
                      <a:pt x="107" y="81"/>
                    </a:lnTo>
                    <a:lnTo>
                      <a:pt x="107" y="81"/>
                    </a:lnTo>
                    <a:lnTo>
                      <a:pt x="109" y="79"/>
                    </a:lnTo>
                    <a:lnTo>
                      <a:pt x="109" y="75"/>
                    </a:lnTo>
                    <a:lnTo>
                      <a:pt x="109" y="75"/>
                    </a:lnTo>
                    <a:lnTo>
                      <a:pt x="113" y="75"/>
                    </a:lnTo>
                    <a:lnTo>
                      <a:pt x="119" y="75"/>
                    </a:lnTo>
                    <a:lnTo>
                      <a:pt x="117" y="71"/>
                    </a:lnTo>
                    <a:lnTo>
                      <a:pt x="115" y="69"/>
                    </a:lnTo>
                    <a:lnTo>
                      <a:pt x="107" y="67"/>
                    </a:lnTo>
                    <a:lnTo>
                      <a:pt x="102" y="6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12" name="Freeform 612">
                <a:extLst>
                  <a:ext uri="{FF2B5EF4-FFF2-40B4-BE49-F238E27FC236}">
                    <a16:creationId xmlns:a16="http://schemas.microsoft.com/office/drawing/2014/main" id="{9430B452-DD8F-4BDF-A317-95278C1C91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" y="899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13" name="Freeform 613">
                <a:extLst>
                  <a:ext uri="{FF2B5EF4-FFF2-40B4-BE49-F238E27FC236}">
                    <a16:creationId xmlns:a16="http://schemas.microsoft.com/office/drawing/2014/main" id="{777E380C-21D4-48C1-A419-0F1101DF48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0" y="882"/>
                <a:ext cx="2" cy="1"/>
              </a:xfrm>
              <a:custGeom>
                <a:avLst/>
                <a:gdLst>
                  <a:gd name="T0" fmla="*/ 2 w 2"/>
                  <a:gd name="T1" fmla="*/ 1 h 1"/>
                  <a:gd name="T2" fmla="*/ 2 w 2"/>
                  <a:gd name="T3" fmla="*/ 1 h 1"/>
                  <a:gd name="T4" fmla="*/ 0 w 2"/>
                  <a:gd name="T5" fmla="*/ 0 h 1"/>
                  <a:gd name="T6" fmla="*/ 0 w 2"/>
                  <a:gd name="T7" fmla="*/ 0 h 1"/>
                  <a:gd name="T8" fmla="*/ 0 w 2"/>
                  <a:gd name="T9" fmla="*/ 0 h 1"/>
                  <a:gd name="T10" fmla="*/ 2 w 2"/>
                  <a:gd name="T11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14" name="Freeform 614">
                <a:extLst>
                  <a:ext uri="{FF2B5EF4-FFF2-40B4-BE49-F238E27FC236}">
                    <a16:creationId xmlns:a16="http://schemas.microsoft.com/office/drawing/2014/main" id="{1D84588A-FB36-41F0-AE84-2C0D8A4CF3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3084"/>
                <a:ext cx="11" cy="6"/>
              </a:xfrm>
              <a:custGeom>
                <a:avLst/>
                <a:gdLst>
                  <a:gd name="T0" fmla="*/ 2 w 11"/>
                  <a:gd name="T1" fmla="*/ 0 h 6"/>
                  <a:gd name="T2" fmla="*/ 6 w 11"/>
                  <a:gd name="T3" fmla="*/ 2 h 6"/>
                  <a:gd name="T4" fmla="*/ 10 w 11"/>
                  <a:gd name="T5" fmla="*/ 6 h 6"/>
                  <a:gd name="T6" fmla="*/ 11 w 11"/>
                  <a:gd name="T7" fmla="*/ 6 h 6"/>
                  <a:gd name="T8" fmla="*/ 10 w 11"/>
                  <a:gd name="T9" fmla="*/ 6 h 6"/>
                  <a:gd name="T10" fmla="*/ 6 w 11"/>
                  <a:gd name="T11" fmla="*/ 2 h 6"/>
                  <a:gd name="T12" fmla="*/ 2 w 11"/>
                  <a:gd name="T13" fmla="*/ 0 h 6"/>
                  <a:gd name="T14" fmla="*/ 0 w 11"/>
                  <a:gd name="T15" fmla="*/ 0 h 6"/>
                  <a:gd name="T16" fmla="*/ 0 w 11"/>
                  <a:gd name="T17" fmla="*/ 0 h 6"/>
                  <a:gd name="T18" fmla="*/ 0 w 11"/>
                  <a:gd name="T19" fmla="*/ 0 h 6"/>
                  <a:gd name="T20" fmla="*/ 0 w 11"/>
                  <a:gd name="T21" fmla="*/ 0 h 6"/>
                  <a:gd name="T22" fmla="*/ 2 w 11"/>
                  <a:gd name="T2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6">
                    <a:moveTo>
                      <a:pt x="2" y="0"/>
                    </a:moveTo>
                    <a:lnTo>
                      <a:pt x="6" y="2"/>
                    </a:lnTo>
                    <a:lnTo>
                      <a:pt x="10" y="6"/>
                    </a:lnTo>
                    <a:lnTo>
                      <a:pt x="11" y="6"/>
                    </a:lnTo>
                    <a:lnTo>
                      <a:pt x="10" y="6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15" name="Freeform 615">
                <a:extLst>
                  <a:ext uri="{FF2B5EF4-FFF2-40B4-BE49-F238E27FC236}">
                    <a16:creationId xmlns:a16="http://schemas.microsoft.com/office/drawing/2014/main" id="{D5226A34-AE6F-4063-9933-DA140E891C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965"/>
                <a:ext cx="3" cy="4"/>
              </a:xfrm>
              <a:custGeom>
                <a:avLst/>
                <a:gdLst>
                  <a:gd name="T0" fmla="*/ 2 w 3"/>
                  <a:gd name="T1" fmla="*/ 2 h 4"/>
                  <a:gd name="T2" fmla="*/ 0 w 3"/>
                  <a:gd name="T3" fmla="*/ 0 h 4"/>
                  <a:gd name="T4" fmla="*/ 2 w 3"/>
                  <a:gd name="T5" fmla="*/ 2 h 4"/>
                  <a:gd name="T6" fmla="*/ 3 w 3"/>
                  <a:gd name="T7" fmla="*/ 4 h 4"/>
                  <a:gd name="T8" fmla="*/ 3 w 3"/>
                  <a:gd name="T9" fmla="*/ 4 h 4"/>
                  <a:gd name="T10" fmla="*/ 3 w 3"/>
                  <a:gd name="T11" fmla="*/ 4 h 4"/>
                  <a:gd name="T12" fmla="*/ 2 w 3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16" name="Freeform 616">
                <a:extLst>
                  <a:ext uri="{FF2B5EF4-FFF2-40B4-BE49-F238E27FC236}">
                    <a16:creationId xmlns:a16="http://schemas.microsoft.com/office/drawing/2014/main" id="{18C7C9A0-3846-45FA-AD88-0F95C48FFE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8" y="883"/>
                <a:ext cx="6" cy="0"/>
              </a:xfrm>
              <a:custGeom>
                <a:avLst/>
                <a:gdLst>
                  <a:gd name="T0" fmla="*/ 6 w 6"/>
                  <a:gd name="T1" fmla="*/ 4 w 6"/>
                  <a:gd name="T2" fmla="*/ 0 w 6"/>
                  <a:gd name="T3" fmla="*/ 4 w 6"/>
                  <a:gd name="T4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17" name="Rectangle 617">
                <a:extLst>
                  <a:ext uri="{FF2B5EF4-FFF2-40B4-BE49-F238E27FC236}">
                    <a16:creationId xmlns:a16="http://schemas.microsoft.com/office/drawing/2014/main" id="{DFB50104-221F-4954-B71C-90FA9D581C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" y="309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18" name="Freeform 618">
                <a:extLst>
                  <a:ext uri="{FF2B5EF4-FFF2-40B4-BE49-F238E27FC236}">
                    <a16:creationId xmlns:a16="http://schemas.microsoft.com/office/drawing/2014/main" id="{3E5D5E7D-30CC-4C83-B71E-9F0FBE0570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6" y="1907"/>
                <a:ext cx="10" cy="7"/>
              </a:xfrm>
              <a:custGeom>
                <a:avLst/>
                <a:gdLst>
                  <a:gd name="T0" fmla="*/ 8 w 10"/>
                  <a:gd name="T1" fmla="*/ 2 h 7"/>
                  <a:gd name="T2" fmla="*/ 6 w 10"/>
                  <a:gd name="T3" fmla="*/ 2 h 7"/>
                  <a:gd name="T4" fmla="*/ 2 w 10"/>
                  <a:gd name="T5" fmla="*/ 0 h 7"/>
                  <a:gd name="T6" fmla="*/ 0 w 10"/>
                  <a:gd name="T7" fmla="*/ 0 h 7"/>
                  <a:gd name="T8" fmla="*/ 2 w 10"/>
                  <a:gd name="T9" fmla="*/ 0 h 7"/>
                  <a:gd name="T10" fmla="*/ 6 w 10"/>
                  <a:gd name="T11" fmla="*/ 2 h 7"/>
                  <a:gd name="T12" fmla="*/ 8 w 10"/>
                  <a:gd name="T13" fmla="*/ 2 h 7"/>
                  <a:gd name="T14" fmla="*/ 10 w 10"/>
                  <a:gd name="T15" fmla="*/ 5 h 7"/>
                  <a:gd name="T16" fmla="*/ 10 w 10"/>
                  <a:gd name="T17" fmla="*/ 7 h 7"/>
                  <a:gd name="T18" fmla="*/ 10 w 10"/>
                  <a:gd name="T19" fmla="*/ 5 h 7"/>
                  <a:gd name="T20" fmla="*/ 8 w 10"/>
                  <a:gd name="T21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7">
                    <a:moveTo>
                      <a:pt x="8" y="2"/>
                    </a:move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10" y="5"/>
                    </a:lnTo>
                    <a:lnTo>
                      <a:pt x="10" y="7"/>
                    </a:lnTo>
                    <a:lnTo>
                      <a:pt x="10" y="5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19" name="Freeform 619">
                <a:extLst>
                  <a:ext uri="{FF2B5EF4-FFF2-40B4-BE49-F238E27FC236}">
                    <a16:creationId xmlns:a16="http://schemas.microsoft.com/office/drawing/2014/main" id="{E2147D04-1771-4A88-AB7E-CDBEBF08F7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0" y="2770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20" name="Freeform 620">
                <a:extLst>
                  <a:ext uri="{FF2B5EF4-FFF2-40B4-BE49-F238E27FC236}">
                    <a16:creationId xmlns:a16="http://schemas.microsoft.com/office/drawing/2014/main" id="{94734C39-4A3F-4F95-B34C-D84F817559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" y="1871"/>
                <a:ext cx="27" cy="16"/>
              </a:xfrm>
              <a:custGeom>
                <a:avLst/>
                <a:gdLst>
                  <a:gd name="T0" fmla="*/ 14 w 27"/>
                  <a:gd name="T1" fmla="*/ 10 h 16"/>
                  <a:gd name="T2" fmla="*/ 4 w 27"/>
                  <a:gd name="T3" fmla="*/ 2 h 16"/>
                  <a:gd name="T4" fmla="*/ 2 w 27"/>
                  <a:gd name="T5" fmla="*/ 0 h 16"/>
                  <a:gd name="T6" fmla="*/ 0 w 27"/>
                  <a:gd name="T7" fmla="*/ 0 h 16"/>
                  <a:gd name="T8" fmla="*/ 2 w 27"/>
                  <a:gd name="T9" fmla="*/ 0 h 16"/>
                  <a:gd name="T10" fmla="*/ 4 w 27"/>
                  <a:gd name="T11" fmla="*/ 2 h 16"/>
                  <a:gd name="T12" fmla="*/ 14 w 27"/>
                  <a:gd name="T13" fmla="*/ 10 h 16"/>
                  <a:gd name="T14" fmla="*/ 21 w 27"/>
                  <a:gd name="T15" fmla="*/ 14 h 16"/>
                  <a:gd name="T16" fmla="*/ 27 w 27"/>
                  <a:gd name="T17" fmla="*/ 16 h 16"/>
                  <a:gd name="T18" fmla="*/ 21 w 27"/>
                  <a:gd name="T19" fmla="*/ 14 h 16"/>
                  <a:gd name="T20" fmla="*/ 14 w 27"/>
                  <a:gd name="T21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16">
                    <a:moveTo>
                      <a:pt x="14" y="10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lnTo>
                      <a:pt x="14" y="10"/>
                    </a:lnTo>
                    <a:lnTo>
                      <a:pt x="21" y="14"/>
                    </a:lnTo>
                    <a:lnTo>
                      <a:pt x="27" y="16"/>
                    </a:lnTo>
                    <a:lnTo>
                      <a:pt x="21" y="14"/>
                    </a:lnTo>
                    <a:lnTo>
                      <a:pt x="14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21" name="Freeform 621">
                <a:extLst>
                  <a:ext uri="{FF2B5EF4-FFF2-40B4-BE49-F238E27FC236}">
                    <a16:creationId xmlns:a16="http://schemas.microsoft.com/office/drawing/2014/main" id="{FCEA8564-9409-4502-8237-5D18F53A6A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3" y="2773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22" name="Freeform 622">
                <a:extLst>
                  <a:ext uri="{FF2B5EF4-FFF2-40B4-BE49-F238E27FC236}">
                    <a16:creationId xmlns:a16="http://schemas.microsoft.com/office/drawing/2014/main" id="{7FB70136-21CA-4CBB-980A-BFFFA7AAA8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8" y="189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23" name="Rectangle 623">
                <a:extLst>
                  <a:ext uri="{FF2B5EF4-FFF2-40B4-BE49-F238E27FC236}">
                    <a16:creationId xmlns:a16="http://schemas.microsoft.com/office/drawing/2014/main" id="{4BB3F5FC-D4DA-4B80-B0D7-EE4370A9B9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8" y="287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24" name="Freeform 624">
                <a:extLst>
                  <a:ext uri="{FF2B5EF4-FFF2-40B4-BE49-F238E27FC236}">
                    <a16:creationId xmlns:a16="http://schemas.microsoft.com/office/drawing/2014/main" id="{45A14DC0-63B4-4069-981C-DB9E9C2B0B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6" y="2891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25" name="Freeform 625">
                <a:extLst>
                  <a:ext uri="{FF2B5EF4-FFF2-40B4-BE49-F238E27FC236}">
                    <a16:creationId xmlns:a16="http://schemas.microsoft.com/office/drawing/2014/main" id="{72230E89-A4C0-45C3-BA43-D2C67C4C0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961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26" name="Rectangle 626">
                <a:extLst>
                  <a:ext uri="{FF2B5EF4-FFF2-40B4-BE49-F238E27FC236}">
                    <a16:creationId xmlns:a16="http://schemas.microsoft.com/office/drawing/2014/main" id="{6BD58ED6-EDFE-4DC9-988A-D75DE9DF40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33" y="291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27" name="Freeform 627">
                <a:extLst>
                  <a:ext uri="{FF2B5EF4-FFF2-40B4-BE49-F238E27FC236}">
                    <a16:creationId xmlns:a16="http://schemas.microsoft.com/office/drawing/2014/main" id="{2F215F00-91AF-4925-B728-E3F31C852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957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28" name="Freeform 628">
                <a:extLst>
                  <a:ext uri="{FF2B5EF4-FFF2-40B4-BE49-F238E27FC236}">
                    <a16:creationId xmlns:a16="http://schemas.microsoft.com/office/drawing/2014/main" id="{22A985F2-9E3D-4EF8-9D35-9339A4DFF1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0" y="1922"/>
                <a:ext cx="3" cy="33"/>
              </a:xfrm>
              <a:custGeom>
                <a:avLst/>
                <a:gdLst>
                  <a:gd name="T0" fmla="*/ 3 w 3"/>
                  <a:gd name="T1" fmla="*/ 29 h 33"/>
                  <a:gd name="T2" fmla="*/ 3 w 3"/>
                  <a:gd name="T3" fmla="*/ 24 h 33"/>
                  <a:gd name="T4" fmla="*/ 1 w 3"/>
                  <a:gd name="T5" fmla="*/ 10 h 33"/>
                  <a:gd name="T6" fmla="*/ 0 w 3"/>
                  <a:gd name="T7" fmla="*/ 4 h 33"/>
                  <a:gd name="T8" fmla="*/ 0 w 3"/>
                  <a:gd name="T9" fmla="*/ 0 h 33"/>
                  <a:gd name="T10" fmla="*/ 0 w 3"/>
                  <a:gd name="T11" fmla="*/ 4 h 33"/>
                  <a:gd name="T12" fmla="*/ 1 w 3"/>
                  <a:gd name="T13" fmla="*/ 10 h 33"/>
                  <a:gd name="T14" fmla="*/ 3 w 3"/>
                  <a:gd name="T15" fmla="*/ 24 h 33"/>
                  <a:gd name="T16" fmla="*/ 3 w 3"/>
                  <a:gd name="T17" fmla="*/ 29 h 33"/>
                  <a:gd name="T18" fmla="*/ 1 w 3"/>
                  <a:gd name="T19" fmla="*/ 33 h 33"/>
                  <a:gd name="T20" fmla="*/ 1 w 3"/>
                  <a:gd name="T21" fmla="*/ 33 h 33"/>
                  <a:gd name="T22" fmla="*/ 1 w 3"/>
                  <a:gd name="T23" fmla="*/ 33 h 33"/>
                  <a:gd name="T24" fmla="*/ 3 w 3"/>
                  <a:gd name="T25" fmla="*/ 2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" h="33">
                    <a:moveTo>
                      <a:pt x="3" y="29"/>
                    </a:moveTo>
                    <a:lnTo>
                      <a:pt x="3" y="24"/>
                    </a:lnTo>
                    <a:lnTo>
                      <a:pt x="1" y="10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1" y="10"/>
                    </a:lnTo>
                    <a:lnTo>
                      <a:pt x="3" y="24"/>
                    </a:lnTo>
                    <a:lnTo>
                      <a:pt x="3" y="29"/>
                    </a:lnTo>
                    <a:lnTo>
                      <a:pt x="1" y="33"/>
                    </a:lnTo>
                    <a:lnTo>
                      <a:pt x="1" y="33"/>
                    </a:lnTo>
                    <a:lnTo>
                      <a:pt x="1" y="33"/>
                    </a:lnTo>
                    <a:lnTo>
                      <a:pt x="3" y="2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29" name="Freeform 629">
                <a:extLst>
                  <a:ext uri="{FF2B5EF4-FFF2-40B4-BE49-F238E27FC236}">
                    <a16:creationId xmlns:a16="http://schemas.microsoft.com/office/drawing/2014/main" id="{F20A220D-FC19-451C-A7C6-41376AF433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5" y="2770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30" name="Freeform 630">
                <a:extLst>
                  <a:ext uri="{FF2B5EF4-FFF2-40B4-BE49-F238E27FC236}">
                    <a16:creationId xmlns:a16="http://schemas.microsoft.com/office/drawing/2014/main" id="{11CFA85A-2287-4DED-AD73-1CD7226C87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" y="3133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0 h 4"/>
                  <a:gd name="T4" fmla="*/ 2 h 4"/>
                  <a:gd name="T5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31" name="Freeform 631">
                <a:extLst>
                  <a:ext uri="{FF2B5EF4-FFF2-40B4-BE49-F238E27FC236}">
                    <a16:creationId xmlns:a16="http://schemas.microsoft.com/office/drawing/2014/main" id="{F5B12330-D441-4BEE-97F0-5F0F3A7D37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3" y="811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  <a:gd name="T10" fmla="*/ 2 w 2"/>
                  <a:gd name="T11" fmla="*/ 0 h 2"/>
                  <a:gd name="T12" fmla="*/ 2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32" name="Freeform 632">
                <a:extLst>
                  <a:ext uri="{FF2B5EF4-FFF2-40B4-BE49-F238E27FC236}">
                    <a16:creationId xmlns:a16="http://schemas.microsoft.com/office/drawing/2014/main" id="{D1222F9E-9356-43A1-A76D-21A6EE2AA1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5" y="831"/>
                <a:ext cx="24" cy="23"/>
              </a:xfrm>
              <a:custGeom>
                <a:avLst/>
                <a:gdLst>
                  <a:gd name="T0" fmla="*/ 20 w 24"/>
                  <a:gd name="T1" fmla="*/ 17 h 23"/>
                  <a:gd name="T2" fmla="*/ 24 w 24"/>
                  <a:gd name="T3" fmla="*/ 23 h 23"/>
                  <a:gd name="T4" fmla="*/ 20 w 24"/>
                  <a:gd name="T5" fmla="*/ 17 h 23"/>
                  <a:gd name="T6" fmla="*/ 2 w 24"/>
                  <a:gd name="T7" fmla="*/ 2 h 23"/>
                  <a:gd name="T8" fmla="*/ 0 w 24"/>
                  <a:gd name="T9" fmla="*/ 0 h 23"/>
                  <a:gd name="T10" fmla="*/ 2 w 24"/>
                  <a:gd name="T11" fmla="*/ 2 h 23"/>
                  <a:gd name="T12" fmla="*/ 20 w 24"/>
                  <a:gd name="T13" fmla="*/ 1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23">
                    <a:moveTo>
                      <a:pt x="20" y="17"/>
                    </a:moveTo>
                    <a:lnTo>
                      <a:pt x="24" y="23"/>
                    </a:lnTo>
                    <a:lnTo>
                      <a:pt x="20" y="17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0" y="1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33" name="Freeform 633">
                <a:extLst>
                  <a:ext uri="{FF2B5EF4-FFF2-40B4-BE49-F238E27FC236}">
                    <a16:creationId xmlns:a16="http://schemas.microsoft.com/office/drawing/2014/main" id="{4E9EF071-0C76-4DF1-84DD-F73313A5DC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" y="3115"/>
                <a:ext cx="0" cy="4"/>
              </a:xfrm>
              <a:custGeom>
                <a:avLst/>
                <a:gdLst>
                  <a:gd name="T0" fmla="*/ 2 h 4"/>
                  <a:gd name="T1" fmla="*/ 4 h 4"/>
                  <a:gd name="T2" fmla="*/ 4 h 4"/>
                  <a:gd name="T3" fmla="*/ 4 h 4"/>
                  <a:gd name="T4" fmla="*/ 2 h 4"/>
                  <a:gd name="T5" fmla="*/ 2 h 4"/>
                  <a:gd name="T6" fmla="*/ 0 h 4"/>
                  <a:gd name="T7" fmla="*/ 2 h 4"/>
                  <a:gd name="T8" fmla="*/ 2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4">
                    <a:moveTo>
                      <a:pt x="0" y="2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34" name="Rectangle 634">
                <a:extLst>
                  <a:ext uri="{FF2B5EF4-FFF2-40B4-BE49-F238E27FC236}">
                    <a16:creationId xmlns:a16="http://schemas.microsoft.com/office/drawing/2014/main" id="{C3AD7E2B-599E-409B-AF1A-02E8FE2135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2" y="88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35" name="Freeform 635">
                <a:extLst>
                  <a:ext uri="{FF2B5EF4-FFF2-40B4-BE49-F238E27FC236}">
                    <a16:creationId xmlns:a16="http://schemas.microsoft.com/office/drawing/2014/main" id="{14618FDF-4020-4D59-B491-E1B7CEE016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4" y="880"/>
                <a:ext cx="4" cy="3"/>
              </a:xfrm>
              <a:custGeom>
                <a:avLst/>
                <a:gdLst>
                  <a:gd name="T0" fmla="*/ 4 w 4"/>
                  <a:gd name="T1" fmla="*/ 0 h 3"/>
                  <a:gd name="T2" fmla="*/ 2 w 4"/>
                  <a:gd name="T3" fmla="*/ 2 h 3"/>
                  <a:gd name="T4" fmla="*/ 0 w 4"/>
                  <a:gd name="T5" fmla="*/ 3 h 3"/>
                  <a:gd name="T6" fmla="*/ 2 w 4"/>
                  <a:gd name="T7" fmla="*/ 2 h 3"/>
                  <a:gd name="T8" fmla="*/ 4 w 4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4" y="0"/>
                    </a:moveTo>
                    <a:lnTo>
                      <a:pt x="2" y="2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36" name="Freeform 636">
                <a:extLst>
                  <a:ext uri="{FF2B5EF4-FFF2-40B4-BE49-F238E27FC236}">
                    <a16:creationId xmlns:a16="http://schemas.microsoft.com/office/drawing/2014/main" id="{0E3EEC17-613F-422E-951B-33BC681F5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3133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37" name="Freeform 637">
                <a:extLst>
                  <a:ext uri="{FF2B5EF4-FFF2-40B4-BE49-F238E27FC236}">
                    <a16:creationId xmlns:a16="http://schemas.microsoft.com/office/drawing/2014/main" id="{3F5A555E-6685-4A22-802E-442104464B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3" y="788"/>
                <a:ext cx="6" cy="2"/>
              </a:xfrm>
              <a:custGeom>
                <a:avLst/>
                <a:gdLst>
                  <a:gd name="T0" fmla="*/ 6 w 6"/>
                  <a:gd name="T1" fmla="*/ 2 h 2"/>
                  <a:gd name="T2" fmla="*/ 2 w 6"/>
                  <a:gd name="T3" fmla="*/ 2 h 2"/>
                  <a:gd name="T4" fmla="*/ 0 w 6"/>
                  <a:gd name="T5" fmla="*/ 0 h 2"/>
                  <a:gd name="T6" fmla="*/ 2 w 6"/>
                  <a:gd name="T7" fmla="*/ 2 h 2"/>
                  <a:gd name="T8" fmla="*/ 6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38" name="Freeform 638">
                <a:extLst>
                  <a:ext uri="{FF2B5EF4-FFF2-40B4-BE49-F238E27FC236}">
                    <a16:creationId xmlns:a16="http://schemas.microsoft.com/office/drawing/2014/main" id="{3036C35B-0320-45A4-9F6F-DBF3AE61C7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" y="3150"/>
                <a:ext cx="2" cy="18"/>
              </a:xfrm>
              <a:custGeom>
                <a:avLst/>
                <a:gdLst>
                  <a:gd name="T0" fmla="*/ 0 w 2"/>
                  <a:gd name="T1" fmla="*/ 4 h 18"/>
                  <a:gd name="T2" fmla="*/ 0 w 2"/>
                  <a:gd name="T3" fmla="*/ 12 h 18"/>
                  <a:gd name="T4" fmla="*/ 0 w 2"/>
                  <a:gd name="T5" fmla="*/ 14 h 18"/>
                  <a:gd name="T6" fmla="*/ 0 w 2"/>
                  <a:gd name="T7" fmla="*/ 18 h 18"/>
                  <a:gd name="T8" fmla="*/ 0 w 2"/>
                  <a:gd name="T9" fmla="*/ 14 h 18"/>
                  <a:gd name="T10" fmla="*/ 0 w 2"/>
                  <a:gd name="T11" fmla="*/ 12 h 18"/>
                  <a:gd name="T12" fmla="*/ 0 w 2"/>
                  <a:gd name="T13" fmla="*/ 4 h 18"/>
                  <a:gd name="T14" fmla="*/ 2 w 2"/>
                  <a:gd name="T15" fmla="*/ 0 h 18"/>
                  <a:gd name="T16" fmla="*/ 2 w 2"/>
                  <a:gd name="T17" fmla="*/ 0 h 18"/>
                  <a:gd name="T18" fmla="*/ 2 w 2"/>
                  <a:gd name="T19" fmla="*/ 0 h 18"/>
                  <a:gd name="T20" fmla="*/ 0 w 2"/>
                  <a:gd name="T21" fmla="*/ 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18">
                    <a:moveTo>
                      <a:pt x="0" y="4"/>
                    </a:moveTo>
                    <a:lnTo>
                      <a:pt x="0" y="12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39" name="Freeform 639">
                <a:extLst>
                  <a:ext uri="{FF2B5EF4-FFF2-40B4-BE49-F238E27FC236}">
                    <a16:creationId xmlns:a16="http://schemas.microsoft.com/office/drawing/2014/main" id="{44F8AEAE-B55E-4DE2-AB47-DF980D1A73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4" y="805"/>
                <a:ext cx="34" cy="4"/>
              </a:xfrm>
              <a:custGeom>
                <a:avLst/>
                <a:gdLst>
                  <a:gd name="T0" fmla="*/ 34 w 34"/>
                  <a:gd name="T1" fmla="*/ 4 h 4"/>
                  <a:gd name="T2" fmla="*/ 4 w 34"/>
                  <a:gd name="T3" fmla="*/ 2 h 4"/>
                  <a:gd name="T4" fmla="*/ 0 w 34"/>
                  <a:gd name="T5" fmla="*/ 0 h 4"/>
                  <a:gd name="T6" fmla="*/ 4 w 34"/>
                  <a:gd name="T7" fmla="*/ 2 h 4"/>
                  <a:gd name="T8" fmla="*/ 34 w 3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4">
                    <a:moveTo>
                      <a:pt x="34" y="4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3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40" name="Freeform 640">
                <a:extLst>
                  <a:ext uri="{FF2B5EF4-FFF2-40B4-BE49-F238E27FC236}">
                    <a16:creationId xmlns:a16="http://schemas.microsoft.com/office/drawing/2014/main" id="{91FBA67E-A334-4DD2-BCE2-7D4EE8B870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" y="3141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2 w 2"/>
                  <a:gd name="T3" fmla="*/ 1 h 1"/>
                  <a:gd name="T4" fmla="*/ 2 w 2"/>
                  <a:gd name="T5" fmla="*/ 0 h 1"/>
                  <a:gd name="T6" fmla="*/ 2 w 2"/>
                  <a:gd name="T7" fmla="*/ 1 h 1"/>
                  <a:gd name="T8" fmla="*/ 0 w 2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2" y="1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41" name="Freeform 641">
                <a:extLst>
                  <a:ext uri="{FF2B5EF4-FFF2-40B4-BE49-F238E27FC236}">
                    <a16:creationId xmlns:a16="http://schemas.microsoft.com/office/drawing/2014/main" id="{DAF9AF17-5BB5-483F-8F8C-BEB6350715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9" y="788"/>
                <a:ext cx="3" cy="13"/>
              </a:xfrm>
              <a:custGeom>
                <a:avLst/>
                <a:gdLst>
                  <a:gd name="T0" fmla="*/ 1 w 3"/>
                  <a:gd name="T1" fmla="*/ 10 h 13"/>
                  <a:gd name="T2" fmla="*/ 3 w 3"/>
                  <a:gd name="T3" fmla="*/ 13 h 13"/>
                  <a:gd name="T4" fmla="*/ 1 w 3"/>
                  <a:gd name="T5" fmla="*/ 10 h 13"/>
                  <a:gd name="T6" fmla="*/ 1 w 3"/>
                  <a:gd name="T7" fmla="*/ 4 h 13"/>
                  <a:gd name="T8" fmla="*/ 0 w 3"/>
                  <a:gd name="T9" fmla="*/ 0 h 13"/>
                  <a:gd name="T10" fmla="*/ 1 w 3"/>
                  <a:gd name="T11" fmla="*/ 4 h 13"/>
                  <a:gd name="T12" fmla="*/ 1 w 3"/>
                  <a:gd name="T13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3">
                    <a:moveTo>
                      <a:pt x="1" y="10"/>
                    </a:moveTo>
                    <a:lnTo>
                      <a:pt x="3" y="13"/>
                    </a:lnTo>
                    <a:lnTo>
                      <a:pt x="1" y="10"/>
                    </a:lnTo>
                    <a:lnTo>
                      <a:pt x="1" y="4"/>
                    </a:lnTo>
                    <a:lnTo>
                      <a:pt x="0" y="0"/>
                    </a:lnTo>
                    <a:lnTo>
                      <a:pt x="1" y="4"/>
                    </a:lnTo>
                    <a:lnTo>
                      <a:pt x="1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42" name="Freeform 642">
                <a:extLst>
                  <a:ext uri="{FF2B5EF4-FFF2-40B4-BE49-F238E27FC236}">
                    <a16:creationId xmlns:a16="http://schemas.microsoft.com/office/drawing/2014/main" id="{0948F7BE-31FE-4D44-8B3E-A8FE9034DD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3127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4 h 4"/>
                  <a:gd name="T4" fmla="*/ 0 w 2"/>
                  <a:gd name="T5" fmla="*/ 4 h 4"/>
                  <a:gd name="T6" fmla="*/ 2 w 2"/>
                  <a:gd name="T7" fmla="*/ 0 h 4"/>
                  <a:gd name="T8" fmla="*/ 2 w 2"/>
                  <a:gd name="T9" fmla="*/ 0 h 4"/>
                  <a:gd name="T10" fmla="*/ 0 w 2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43" name="Freeform 643">
                <a:extLst>
                  <a:ext uri="{FF2B5EF4-FFF2-40B4-BE49-F238E27FC236}">
                    <a16:creationId xmlns:a16="http://schemas.microsoft.com/office/drawing/2014/main" id="{EBD94226-9CC8-40B2-9ABC-BD8CB6C2F6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9" y="897"/>
                <a:ext cx="10" cy="4"/>
              </a:xfrm>
              <a:custGeom>
                <a:avLst/>
                <a:gdLst>
                  <a:gd name="T0" fmla="*/ 10 w 10"/>
                  <a:gd name="T1" fmla="*/ 0 h 4"/>
                  <a:gd name="T2" fmla="*/ 6 w 10"/>
                  <a:gd name="T3" fmla="*/ 2 h 4"/>
                  <a:gd name="T4" fmla="*/ 0 w 10"/>
                  <a:gd name="T5" fmla="*/ 4 h 4"/>
                  <a:gd name="T6" fmla="*/ 6 w 10"/>
                  <a:gd name="T7" fmla="*/ 2 h 4"/>
                  <a:gd name="T8" fmla="*/ 10 w 10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4">
                    <a:moveTo>
                      <a:pt x="10" y="0"/>
                    </a:moveTo>
                    <a:lnTo>
                      <a:pt x="6" y="2"/>
                    </a:lnTo>
                    <a:lnTo>
                      <a:pt x="0" y="4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44" name="Freeform 644">
                <a:extLst>
                  <a:ext uri="{FF2B5EF4-FFF2-40B4-BE49-F238E27FC236}">
                    <a16:creationId xmlns:a16="http://schemas.microsoft.com/office/drawing/2014/main" id="{3679CD2D-980B-4CBD-B166-9FCE488C72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1" y="901"/>
                <a:ext cx="8" cy="12"/>
              </a:xfrm>
              <a:custGeom>
                <a:avLst/>
                <a:gdLst>
                  <a:gd name="T0" fmla="*/ 2 w 8"/>
                  <a:gd name="T1" fmla="*/ 8 h 12"/>
                  <a:gd name="T2" fmla="*/ 2 w 8"/>
                  <a:gd name="T3" fmla="*/ 6 h 12"/>
                  <a:gd name="T4" fmla="*/ 8 w 8"/>
                  <a:gd name="T5" fmla="*/ 0 h 12"/>
                  <a:gd name="T6" fmla="*/ 8 w 8"/>
                  <a:gd name="T7" fmla="*/ 0 h 12"/>
                  <a:gd name="T8" fmla="*/ 2 w 8"/>
                  <a:gd name="T9" fmla="*/ 6 h 12"/>
                  <a:gd name="T10" fmla="*/ 2 w 8"/>
                  <a:gd name="T11" fmla="*/ 8 h 12"/>
                  <a:gd name="T12" fmla="*/ 0 w 8"/>
                  <a:gd name="T13" fmla="*/ 10 h 12"/>
                  <a:gd name="T14" fmla="*/ 0 w 8"/>
                  <a:gd name="T15" fmla="*/ 12 h 12"/>
                  <a:gd name="T16" fmla="*/ 0 w 8"/>
                  <a:gd name="T17" fmla="*/ 10 h 12"/>
                  <a:gd name="T18" fmla="*/ 2 w 8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12">
                    <a:moveTo>
                      <a:pt x="2" y="8"/>
                    </a:moveTo>
                    <a:lnTo>
                      <a:pt x="2" y="6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45" name="Freeform 645">
                <a:extLst>
                  <a:ext uri="{FF2B5EF4-FFF2-40B4-BE49-F238E27FC236}">
                    <a16:creationId xmlns:a16="http://schemas.microsoft.com/office/drawing/2014/main" id="{64798D6B-E1DE-4C99-A3C1-919928C43C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3096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46" name="Rectangle 646">
                <a:extLst>
                  <a:ext uri="{FF2B5EF4-FFF2-40B4-BE49-F238E27FC236}">
                    <a16:creationId xmlns:a16="http://schemas.microsoft.com/office/drawing/2014/main" id="{873A8043-8B94-4A57-8BFB-C8C346208C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" y="309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47" name="Freeform 647">
                <a:extLst>
                  <a:ext uri="{FF2B5EF4-FFF2-40B4-BE49-F238E27FC236}">
                    <a16:creationId xmlns:a16="http://schemas.microsoft.com/office/drawing/2014/main" id="{E55DC921-1492-4163-B172-2B71681E71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4" y="887"/>
                <a:ext cx="8" cy="10"/>
              </a:xfrm>
              <a:custGeom>
                <a:avLst/>
                <a:gdLst>
                  <a:gd name="T0" fmla="*/ 4 w 8"/>
                  <a:gd name="T1" fmla="*/ 6 h 10"/>
                  <a:gd name="T2" fmla="*/ 6 w 8"/>
                  <a:gd name="T3" fmla="*/ 2 h 10"/>
                  <a:gd name="T4" fmla="*/ 8 w 8"/>
                  <a:gd name="T5" fmla="*/ 0 h 10"/>
                  <a:gd name="T6" fmla="*/ 6 w 8"/>
                  <a:gd name="T7" fmla="*/ 2 h 10"/>
                  <a:gd name="T8" fmla="*/ 4 w 8"/>
                  <a:gd name="T9" fmla="*/ 6 h 10"/>
                  <a:gd name="T10" fmla="*/ 2 w 8"/>
                  <a:gd name="T11" fmla="*/ 10 h 10"/>
                  <a:gd name="T12" fmla="*/ 0 w 8"/>
                  <a:gd name="T13" fmla="*/ 10 h 10"/>
                  <a:gd name="T14" fmla="*/ 2 w 8"/>
                  <a:gd name="T15" fmla="*/ 10 h 10"/>
                  <a:gd name="T16" fmla="*/ 4 w 8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0">
                    <a:moveTo>
                      <a:pt x="4" y="6"/>
                    </a:moveTo>
                    <a:lnTo>
                      <a:pt x="6" y="2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48" name="Freeform 648">
                <a:extLst>
                  <a:ext uri="{FF2B5EF4-FFF2-40B4-BE49-F238E27FC236}">
                    <a16:creationId xmlns:a16="http://schemas.microsoft.com/office/drawing/2014/main" id="{C9CEE406-D0E8-4EEF-908E-8B9912B37A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5" y="913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0 h 2"/>
                  <a:gd name="T4" fmla="*/ 4 w 4"/>
                  <a:gd name="T5" fmla="*/ 0 h 2"/>
                  <a:gd name="T6" fmla="*/ 0 w 4"/>
                  <a:gd name="T7" fmla="*/ 2 h 2"/>
                  <a:gd name="T8" fmla="*/ 0 w 4"/>
                  <a:gd name="T9" fmla="*/ 2 h 2"/>
                  <a:gd name="T10" fmla="*/ 4 w 4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49" name="Freeform 649">
                <a:extLst>
                  <a:ext uri="{FF2B5EF4-FFF2-40B4-BE49-F238E27FC236}">
                    <a16:creationId xmlns:a16="http://schemas.microsoft.com/office/drawing/2014/main" id="{E968427C-6739-4A6A-A9B5-3704A8EFFA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3098"/>
                <a:ext cx="0" cy="7"/>
              </a:xfrm>
              <a:custGeom>
                <a:avLst/>
                <a:gdLst>
                  <a:gd name="T0" fmla="*/ 5 h 7"/>
                  <a:gd name="T1" fmla="*/ 7 h 7"/>
                  <a:gd name="T2" fmla="*/ 5 h 7"/>
                  <a:gd name="T3" fmla="*/ 0 h 7"/>
                  <a:gd name="T4" fmla="*/ 0 h 7"/>
                  <a:gd name="T5" fmla="*/ 5 h 7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7">
                    <a:moveTo>
                      <a:pt x="0" y="5"/>
                    </a:moveTo>
                    <a:lnTo>
                      <a:pt x="0" y="7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50" name="Freeform 650">
                <a:extLst>
                  <a:ext uri="{FF2B5EF4-FFF2-40B4-BE49-F238E27FC236}">
                    <a16:creationId xmlns:a16="http://schemas.microsoft.com/office/drawing/2014/main" id="{AC2F6B9A-4058-449A-BD53-0290091E3D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8" y="897"/>
                <a:ext cx="8" cy="4"/>
              </a:xfrm>
              <a:custGeom>
                <a:avLst/>
                <a:gdLst>
                  <a:gd name="T0" fmla="*/ 8 w 8"/>
                  <a:gd name="T1" fmla="*/ 4 h 4"/>
                  <a:gd name="T2" fmla="*/ 6 w 8"/>
                  <a:gd name="T3" fmla="*/ 2 h 4"/>
                  <a:gd name="T4" fmla="*/ 0 w 8"/>
                  <a:gd name="T5" fmla="*/ 0 h 4"/>
                  <a:gd name="T6" fmla="*/ 6 w 8"/>
                  <a:gd name="T7" fmla="*/ 2 h 4"/>
                  <a:gd name="T8" fmla="*/ 8 w 8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4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51" name="Rectangle 651">
                <a:extLst>
                  <a:ext uri="{FF2B5EF4-FFF2-40B4-BE49-F238E27FC236}">
                    <a16:creationId xmlns:a16="http://schemas.microsoft.com/office/drawing/2014/main" id="{1C676CE9-23DC-4740-8C64-CD4D16D76B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" y="3115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52" name="Rectangle 652">
                <a:extLst>
                  <a:ext uri="{FF2B5EF4-FFF2-40B4-BE49-F238E27FC236}">
                    <a16:creationId xmlns:a16="http://schemas.microsoft.com/office/drawing/2014/main" id="{8D157AEA-C178-4738-BB34-E6DB652DB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97" y="91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53" name="Freeform 653">
                <a:extLst>
                  <a:ext uri="{FF2B5EF4-FFF2-40B4-BE49-F238E27FC236}">
                    <a16:creationId xmlns:a16="http://schemas.microsoft.com/office/drawing/2014/main" id="{C740009A-F478-4096-A704-B4BBFB7B6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" y="3107"/>
                <a:ext cx="2" cy="8"/>
              </a:xfrm>
              <a:custGeom>
                <a:avLst/>
                <a:gdLst>
                  <a:gd name="T0" fmla="*/ 0 w 2"/>
                  <a:gd name="T1" fmla="*/ 4 h 8"/>
                  <a:gd name="T2" fmla="*/ 0 w 2"/>
                  <a:gd name="T3" fmla="*/ 6 h 8"/>
                  <a:gd name="T4" fmla="*/ 2 w 2"/>
                  <a:gd name="T5" fmla="*/ 8 h 8"/>
                  <a:gd name="T6" fmla="*/ 2 w 2"/>
                  <a:gd name="T7" fmla="*/ 8 h 8"/>
                  <a:gd name="T8" fmla="*/ 2 w 2"/>
                  <a:gd name="T9" fmla="*/ 8 h 8"/>
                  <a:gd name="T10" fmla="*/ 0 w 2"/>
                  <a:gd name="T11" fmla="*/ 6 h 8"/>
                  <a:gd name="T12" fmla="*/ 0 w 2"/>
                  <a:gd name="T13" fmla="*/ 4 h 8"/>
                  <a:gd name="T14" fmla="*/ 0 w 2"/>
                  <a:gd name="T15" fmla="*/ 2 h 8"/>
                  <a:gd name="T16" fmla="*/ 2 w 2"/>
                  <a:gd name="T17" fmla="*/ 0 h 8"/>
                  <a:gd name="T18" fmla="*/ 0 w 2"/>
                  <a:gd name="T19" fmla="*/ 2 h 8"/>
                  <a:gd name="T20" fmla="*/ 0 w 2"/>
                  <a:gd name="T2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8">
                    <a:moveTo>
                      <a:pt x="0" y="4"/>
                    </a:move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54" name="Freeform 654">
                <a:extLst>
                  <a:ext uri="{FF2B5EF4-FFF2-40B4-BE49-F238E27FC236}">
                    <a16:creationId xmlns:a16="http://schemas.microsoft.com/office/drawing/2014/main" id="{10E3D17C-ED6C-49C9-90A3-CBC7FB0BFB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6" y="1731"/>
                <a:ext cx="8" cy="8"/>
              </a:xfrm>
              <a:custGeom>
                <a:avLst/>
                <a:gdLst>
                  <a:gd name="T0" fmla="*/ 6 w 8"/>
                  <a:gd name="T1" fmla="*/ 4 h 8"/>
                  <a:gd name="T2" fmla="*/ 8 w 8"/>
                  <a:gd name="T3" fmla="*/ 0 h 8"/>
                  <a:gd name="T4" fmla="*/ 6 w 8"/>
                  <a:gd name="T5" fmla="*/ 4 h 8"/>
                  <a:gd name="T6" fmla="*/ 4 w 8"/>
                  <a:gd name="T7" fmla="*/ 6 h 8"/>
                  <a:gd name="T8" fmla="*/ 0 w 8"/>
                  <a:gd name="T9" fmla="*/ 8 h 8"/>
                  <a:gd name="T10" fmla="*/ 4 w 8"/>
                  <a:gd name="T11" fmla="*/ 6 h 8"/>
                  <a:gd name="T12" fmla="*/ 6 w 8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6" y="4"/>
                    </a:moveTo>
                    <a:lnTo>
                      <a:pt x="8" y="0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55" name="Freeform 655">
                <a:extLst>
                  <a:ext uri="{FF2B5EF4-FFF2-40B4-BE49-F238E27FC236}">
                    <a16:creationId xmlns:a16="http://schemas.microsoft.com/office/drawing/2014/main" id="{BB757656-C56C-4F41-B19E-444F05100E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6" y="1688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56" name="Freeform 656">
                <a:extLst>
                  <a:ext uri="{FF2B5EF4-FFF2-40B4-BE49-F238E27FC236}">
                    <a16:creationId xmlns:a16="http://schemas.microsoft.com/office/drawing/2014/main" id="{C6F32E7E-986F-4500-B465-DF847E5509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3" y="3154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57" name="Freeform 657">
                <a:extLst>
                  <a:ext uri="{FF2B5EF4-FFF2-40B4-BE49-F238E27FC236}">
                    <a16:creationId xmlns:a16="http://schemas.microsoft.com/office/drawing/2014/main" id="{9E573E76-4891-4804-866E-8A244B4B3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8" y="1690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58" name="Freeform 658">
                <a:extLst>
                  <a:ext uri="{FF2B5EF4-FFF2-40B4-BE49-F238E27FC236}">
                    <a16:creationId xmlns:a16="http://schemas.microsoft.com/office/drawing/2014/main" id="{BB0CA7A4-C9F3-472B-9CD1-E12CCB2369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3" y="1684"/>
                <a:ext cx="10" cy="0"/>
              </a:xfrm>
              <a:custGeom>
                <a:avLst/>
                <a:gdLst>
                  <a:gd name="T0" fmla="*/ 8 w 10"/>
                  <a:gd name="T1" fmla="*/ 0 w 10"/>
                  <a:gd name="T2" fmla="*/ 8 w 10"/>
                  <a:gd name="T3" fmla="*/ 10 w 10"/>
                  <a:gd name="T4" fmla="*/ 10 w 10"/>
                  <a:gd name="T5" fmla="*/ 8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0">
                    <a:moveTo>
                      <a:pt x="8" y="0"/>
                    </a:moveTo>
                    <a:lnTo>
                      <a:pt x="0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59" name="Rectangle 659">
                <a:extLst>
                  <a:ext uri="{FF2B5EF4-FFF2-40B4-BE49-F238E27FC236}">
                    <a16:creationId xmlns:a16="http://schemas.microsoft.com/office/drawing/2014/main" id="{BC5DA5CC-1C8E-4815-A488-2726926272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6" y="279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60" name="Freeform 660">
                <a:extLst>
                  <a:ext uri="{FF2B5EF4-FFF2-40B4-BE49-F238E27FC236}">
                    <a16:creationId xmlns:a16="http://schemas.microsoft.com/office/drawing/2014/main" id="{703BCC89-CF23-42A2-840B-36407274F0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7" y="1680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2 w 6"/>
                  <a:gd name="T3" fmla="*/ 2 h 4"/>
                  <a:gd name="T4" fmla="*/ 6 w 6"/>
                  <a:gd name="T5" fmla="*/ 4 h 4"/>
                  <a:gd name="T6" fmla="*/ 6 w 6"/>
                  <a:gd name="T7" fmla="*/ 4 h 4"/>
                  <a:gd name="T8" fmla="*/ 2 w 6"/>
                  <a:gd name="T9" fmla="*/ 2 h 4"/>
                  <a:gd name="T10" fmla="*/ 0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61" name="Freeform 661">
                <a:extLst>
                  <a:ext uri="{FF2B5EF4-FFF2-40B4-BE49-F238E27FC236}">
                    <a16:creationId xmlns:a16="http://schemas.microsoft.com/office/drawing/2014/main" id="{781F8973-73D8-4DEE-8BE0-53B4BC38C5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4" y="3230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62" name="Freeform 662">
                <a:extLst>
                  <a:ext uri="{FF2B5EF4-FFF2-40B4-BE49-F238E27FC236}">
                    <a16:creationId xmlns:a16="http://schemas.microsoft.com/office/drawing/2014/main" id="{66BFA145-F5B9-4320-853A-A528792DCF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4" y="1719"/>
                <a:ext cx="0" cy="8"/>
              </a:xfrm>
              <a:custGeom>
                <a:avLst/>
                <a:gdLst>
                  <a:gd name="T0" fmla="*/ 0 h 8"/>
                  <a:gd name="T1" fmla="*/ 6 h 8"/>
                  <a:gd name="T2" fmla="*/ 8 h 8"/>
                  <a:gd name="T3" fmla="*/ 6 h 8"/>
                  <a:gd name="T4" fmla="*/ 0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8">
                    <a:moveTo>
                      <a:pt x="0" y="0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63" name="Rectangle 663">
                <a:extLst>
                  <a:ext uri="{FF2B5EF4-FFF2-40B4-BE49-F238E27FC236}">
                    <a16:creationId xmlns:a16="http://schemas.microsoft.com/office/drawing/2014/main" id="{D600FE07-445E-4452-991A-DD7799083C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5" y="303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64" name="Freeform 664">
                <a:extLst>
                  <a:ext uri="{FF2B5EF4-FFF2-40B4-BE49-F238E27FC236}">
                    <a16:creationId xmlns:a16="http://schemas.microsoft.com/office/drawing/2014/main" id="{AB7B0820-DF0C-4A18-A225-8E8396C00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2" y="1705"/>
                <a:ext cx="2" cy="10"/>
              </a:xfrm>
              <a:custGeom>
                <a:avLst/>
                <a:gdLst>
                  <a:gd name="T0" fmla="*/ 0 w 2"/>
                  <a:gd name="T1" fmla="*/ 0 h 10"/>
                  <a:gd name="T2" fmla="*/ 0 w 2"/>
                  <a:gd name="T3" fmla="*/ 2 h 10"/>
                  <a:gd name="T4" fmla="*/ 2 w 2"/>
                  <a:gd name="T5" fmla="*/ 10 h 10"/>
                  <a:gd name="T6" fmla="*/ 0 w 2"/>
                  <a:gd name="T7" fmla="*/ 2 h 10"/>
                  <a:gd name="T8" fmla="*/ 0 w 2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0">
                    <a:moveTo>
                      <a:pt x="0" y="0"/>
                    </a:moveTo>
                    <a:lnTo>
                      <a:pt x="0" y="2"/>
                    </a:lnTo>
                    <a:lnTo>
                      <a:pt x="2" y="1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65" name="Freeform 665">
                <a:extLst>
                  <a:ext uri="{FF2B5EF4-FFF2-40B4-BE49-F238E27FC236}">
                    <a16:creationId xmlns:a16="http://schemas.microsoft.com/office/drawing/2014/main" id="{2E3B5A4C-4FB8-4405-BD83-AE57022980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8" y="3060"/>
                <a:ext cx="6" cy="0"/>
              </a:xfrm>
              <a:custGeom>
                <a:avLst/>
                <a:gdLst>
                  <a:gd name="T0" fmla="*/ 0 w 6"/>
                  <a:gd name="T1" fmla="*/ 0 w 6"/>
                  <a:gd name="T2" fmla="*/ 6 w 6"/>
                  <a:gd name="T3" fmla="*/ 0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6">
                    <a:moveTo>
                      <a:pt x="0" y="0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66" name="Rectangle 666">
                <a:extLst>
                  <a:ext uri="{FF2B5EF4-FFF2-40B4-BE49-F238E27FC236}">
                    <a16:creationId xmlns:a16="http://schemas.microsoft.com/office/drawing/2014/main" id="{120D5860-531B-4F01-9F5A-8E7D705183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0" y="296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67" name="Freeform 667">
                <a:extLst>
                  <a:ext uri="{FF2B5EF4-FFF2-40B4-BE49-F238E27FC236}">
                    <a16:creationId xmlns:a16="http://schemas.microsoft.com/office/drawing/2014/main" id="{7664FC86-AC11-448C-828D-5091B747E7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8" y="1696"/>
                <a:ext cx="12" cy="6"/>
              </a:xfrm>
              <a:custGeom>
                <a:avLst/>
                <a:gdLst>
                  <a:gd name="T0" fmla="*/ 0 w 12"/>
                  <a:gd name="T1" fmla="*/ 0 h 6"/>
                  <a:gd name="T2" fmla="*/ 0 w 12"/>
                  <a:gd name="T3" fmla="*/ 0 h 6"/>
                  <a:gd name="T4" fmla="*/ 0 w 12"/>
                  <a:gd name="T5" fmla="*/ 0 h 6"/>
                  <a:gd name="T6" fmla="*/ 10 w 12"/>
                  <a:gd name="T7" fmla="*/ 6 h 6"/>
                  <a:gd name="T8" fmla="*/ 12 w 12"/>
                  <a:gd name="T9" fmla="*/ 6 h 6"/>
                  <a:gd name="T10" fmla="*/ 10 w 12"/>
                  <a:gd name="T11" fmla="*/ 6 h 6"/>
                  <a:gd name="T12" fmla="*/ 0 w 1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0" y="6"/>
                    </a:lnTo>
                    <a:lnTo>
                      <a:pt x="12" y="6"/>
                    </a:lnTo>
                    <a:lnTo>
                      <a:pt x="1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68" name="Freeform 668">
                <a:extLst>
                  <a:ext uri="{FF2B5EF4-FFF2-40B4-BE49-F238E27FC236}">
                    <a16:creationId xmlns:a16="http://schemas.microsoft.com/office/drawing/2014/main" id="{AF8F88C8-AE33-4007-9EF7-D97C5006AE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0" y="318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69" name="Rectangle 669">
                <a:extLst>
                  <a:ext uri="{FF2B5EF4-FFF2-40B4-BE49-F238E27FC236}">
                    <a16:creationId xmlns:a16="http://schemas.microsoft.com/office/drawing/2014/main" id="{E539FD3E-00E4-43CA-83A5-B142F7B6C4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2" y="320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70" name="Freeform 670">
                <a:extLst>
                  <a:ext uri="{FF2B5EF4-FFF2-40B4-BE49-F238E27FC236}">
                    <a16:creationId xmlns:a16="http://schemas.microsoft.com/office/drawing/2014/main" id="{918FB82E-4A25-4888-9D08-B021F717A6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1651"/>
                <a:ext cx="12" cy="6"/>
              </a:xfrm>
              <a:custGeom>
                <a:avLst/>
                <a:gdLst>
                  <a:gd name="T0" fmla="*/ 0 w 12"/>
                  <a:gd name="T1" fmla="*/ 6 h 6"/>
                  <a:gd name="T2" fmla="*/ 2 w 12"/>
                  <a:gd name="T3" fmla="*/ 4 h 6"/>
                  <a:gd name="T4" fmla="*/ 12 w 12"/>
                  <a:gd name="T5" fmla="*/ 0 h 6"/>
                  <a:gd name="T6" fmla="*/ 2 w 12"/>
                  <a:gd name="T7" fmla="*/ 4 h 6"/>
                  <a:gd name="T8" fmla="*/ 0 w 1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6">
                    <a:moveTo>
                      <a:pt x="0" y="6"/>
                    </a:moveTo>
                    <a:lnTo>
                      <a:pt x="2" y="4"/>
                    </a:lnTo>
                    <a:lnTo>
                      <a:pt x="12" y="0"/>
                    </a:lnTo>
                    <a:lnTo>
                      <a:pt x="2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71" name="Rectangle 671">
                <a:extLst>
                  <a:ext uri="{FF2B5EF4-FFF2-40B4-BE49-F238E27FC236}">
                    <a16:creationId xmlns:a16="http://schemas.microsoft.com/office/drawing/2014/main" id="{39258AB1-9430-4CF3-A870-DA1DE969DB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5" y="165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72" name="Rectangle 672">
                <a:extLst>
                  <a:ext uri="{FF2B5EF4-FFF2-40B4-BE49-F238E27FC236}">
                    <a16:creationId xmlns:a16="http://schemas.microsoft.com/office/drawing/2014/main" id="{7EE32904-C9DF-4143-AFDE-2883F46CB5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1" y="322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73" name="Freeform 673">
                <a:extLst>
                  <a:ext uri="{FF2B5EF4-FFF2-40B4-BE49-F238E27FC236}">
                    <a16:creationId xmlns:a16="http://schemas.microsoft.com/office/drawing/2014/main" id="{29C79FF1-2F63-4901-9859-C4AFC1B8F5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3" y="1666"/>
                <a:ext cx="4" cy="10"/>
              </a:xfrm>
              <a:custGeom>
                <a:avLst/>
                <a:gdLst>
                  <a:gd name="T0" fmla="*/ 0 w 4"/>
                  <a:gd name="T1" fmla="*/ 0 h 10"/>
                  <a:gd name="T2" fmla="*/ 2 w 4"/>
                  <a:gd name="T3" fmla="*/ 6 h 10"/>
                  <a:gd name="T4" fmla="*/ 4 w 4"/>
                  <a:gd name="T5" fmla="*/ 10 h 10"/>
                  <a:gd name="T6" fmla="*/ 2 w 4"/>
                  <a:gd name="T7" fmla="*/ 6 h 10"/>
                  <a:gd name="T8" fmla="*/ 0 w 4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0">
                    <a:moveTo>
                      <a:pt x="0" y="0"/>
                    </a:moveTo>
                    <a:lnTo>
                      <a:pt x="2" y="6"/>
                    </a:lnTo>
                    <a:lnTo>
                      <a:pt x="4" y="10"/>
                    </a:lnTo>
                    <a:lnTo>
                      <a:pt x="2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74" name="Freeform 674">
                <a:extLst>
                  <a:ext uri="{FF2B5EF4-FFF2-40B4-BE49-F238E27FC236}">
                    <a16:creationId xmlns:a16="http://schemas.microsoft.com/office/drawing/2014/main" id="{D6910126-451B-4655-AD74-B6BD85E7C5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5" y="319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75" name="Rectangle 675">
                <a:extLst>
                  <a:ext uri="{FF2B5EF4-FFF2-40B4-BE49-F238E27FC236}">
                    <a16:creationId xmlns:a16="http://schemas.microsoft.com/office/drawing/2014/main" id="{C4853957-6B59-4C95-91C2-FAA1E49338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4" y="321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76" name="Freeform 676">
                <a:extLst>
                  <a:ext uri="{FF2B5EF4-FFF2-40B4-BE49-F238E27FC236}">
                    <a16:creationId xmlns:a16="http://schemas.microsoft.com/office/drawing/2014/main" id="{89C4149D-9530-4413-81B3-F3054DCA41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8" y="3183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77" name="Freeform 677">
                <a:extLst>
                  <a:ext uri="{FF2B5EF4-FFF2-40B4-BE49-F238E27FC236}">
                    <a16:creationId xmlns:a16="http://schemas.microsoft.com/office/drawing/2014/main" id="{0BE5BCFE-38B8-4CE9-B879-F2B9EA0733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8" y="1649"/>
                <a:ext cx="45" cy="4"/>
              </a:xfrm>
              <a:custGeom>
                <a:avLst/>
                <a:gdLst>
                  <a:gd name="T0" fmla="*/ 28 w 45"/>
                  <a:gd name="T1" fmla="*/ 4 h 4"/>
                  <a:gd name="T2" fmla="*/ 0 w 45"/>
                  <a:gd name="T3" fmla="*/ 0 h 4"/>
                  <a:gd name="T4" fmla="*/ 0 w 45"/>
                  <a:gd name="T5" fmla="*/ 0 h 4"/>
                  <a:gd name="T6" fmla="*/ 0 w 45"/>
                  <a:gd name="T7" fmla="*/ 0 h 4"/>
                  <a:gd name="T8" fmla="*/ 28 w 45"/>
                  <a:gd name="T9" fmla="*/ 4 h 4"/>
                  <a:gd name="T10" fmla="*/ 45 w 45"/>
                  <a:gd name="T11" fmla="*/ 0 h 4"/>
                  <a:gd name="T12" fmla="*/ 45 w 45"/>
                  <a:gd name="T13" fmla="*/ 0 h 4"/>
                  <a:gd name="T14" fmla="*/ 28 w 45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4">
                    <a:moveTo>
                      <a:pt x="28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8" y="4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2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78" name="Freeform 678">
                <a:extLst>
                  <a:ext uri="{FF2B5EF4-FFF2-40B4-BE49-F238E27FC236}">
                    <a16:creationId xmlns:a16="http://schemas.microsoft.com/office/drawing/2014/main" id="{2D9F2E31-4A62-40A2-AE07-1A99B77FF4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9" y="1653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0 h 4"/>
                  <a:gd name="T4" fmla="*/ 2 w 2"/>
                  <a:gd name="T5" fmla="*/ 4 h 4"/>
                  <a:gd name="T6" fmla="*/ 2 w 2"/>
                  <a:gd name="T7" fmla="*/ 0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0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79" name="Rectangle 679">
                <a:extLst>
                  <a:ext uri="{FF2B5EF4-FFF2-40B4-BE49-F238E27FC236}">
                    <a16:creationId xmlns:a16="http://schemas.microsoft.com/office/drawing/2014/main" id="{6DC5FD28-E385-4B2B-8160-69237F71C0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43" y="319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80" name="Freeform 680">
                <a:extLst>
                  <a:ext uri="{FF2B5EF4-FFF2-40B4-BE49-F238E27FC236}">
                    <a16:creationId xmlns:a16="http://schemas.microsoft.com/office/drawing/2014/main" id="{4D68DEE0-F36A-47A1-ADCE-AEE6129F58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0" y="2891"/>
                <a:ext cx="0" cy="4"/>
              </a:xfrm>
              <a:custGeom>
                <a:avLst/>
                <a:gdLst>
                  <a:gd name="T0" fmla="*/ 4 h 4"/>
                  <a:gd name="T1" fmla="*/ 0 h 4"/>
                  <a:gd name="T2" fmla="*/ 4 h 4"/>
                  <a:gd name="T3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81" name="Rectangle 681">
                <a:extLst>
                  <a:ext uri="{FF2B5EF4-FFF2-40B4-BE49-F238E27FC236}">
                    <a16:creationId xmlns:a16="http://schemas.microsoft.com/office/drawing/2014/main" id="{09B20713-5314-4EAB-8966-445D7F52DB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88" y="291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82" name="Freeform 682">
                <a:extLst>
                  <a:ext uri="{FF2B5EF4-FFF2-40B4-BE49-F238E27FC236}">
                    <a16:creationId xmlns:a16="http://schemas.microsoft.com/office/drawing/2014/main" id="{8BFE108F-FC1A-4D52-BF68-CC09D8999C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7" y="1852"/>
                <a:ext cx="0" cy="4"/>
              </a:xfrm>
              <a:custGeom>
                <a:avLst/>
                <a:gdLst>
                  <a:gd name="T0" fmla="*/ 0 h 4"/>
                  <a:gd name="T1" fmla="*/ 0 h 4"/>
                  <a:gd name="T2" fmla="*/ 2 h 4"/>
                  <a:gd name="T3" fmla="*/ 4 h 4"/>
                  <a:gd name="T4" fmla="*/ 2 h 4"/>
                  <a:gd name="T5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83" name="Rectangle 683">
                <a:extLst>
                  <a:ext uri="{FF2B5EF4-FFF2-40B4-BE49-F238E27FC236}">
                    <a16:creationId xmlns:a16="http://schemas.microsoft.com/office/drawing/2014/main" id="{3BE2A498-81F2-44DF-8921-E9ED0E4527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96" y="185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84" name="Freeform 684">
                <a:extLst>
                  <a:ext uri="{FF2B5EF4-FFF2-40B4-BE49-F238E27FC236}">
                    <a16:creationId xmlns:a16="http://schemas.microsoft.com/office/drawing/2014/main" id="{1E5581DC-313D-4076-B55D-51CA079802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4" y="291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85" name="Rectangle 685">
                <a:extLst>
                  <a:ext uri="{FF2B5EF4-FFF2-40B4-BE49-F238E27FC236}">
                    <a16:creationId xmlns:a16="http://schemas.microsoft.com/office/drawing/2014/main" id="{B919E35E-D17A-4CD7-910E-9211E94164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8" y="335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86" name="Freeform 686">
                <a:extLst>
                  <a:ext uri="{FF2B5EF4-FFF2-40B4-BE49-F238E27FC236}">
                    <a16:creationId xmlns:a16="http://schemas.microsoft.com/office/drawing/2014/main" id="{D09B2102-F3DE-4B18-AE83-7C910F4D18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869"/>
                <a:ext cx="8" cy="4"/>
              </a:xfrm>
              <a:custGeom>
                <a:avLst/>
                <a:gdLst>
                  <a:gd name="T0" fmla="*/ 4 w 8"/>
                  <a:gd name="T1" fmla="*/ 4 h 4"/>
                  <a:gd name="T2" fmla="*/ 0 w 8"/>
                  <a:gd name="T3" fmla="*/ 0 h 4"/>
                  <a:gd name="T4" fmla="*/ 0 w 8"/>
                  <a:gd name="T5" fmla="*/ 0 h 4"/>
                  <a:gd name="T6" fmla="*/ 4 w 8"/>
                  <a:gd name="T7" fmla="*/ 4 h 4"/>
                  <a:gd name="T8" fmla="*/ 8 w 8"/>
                  <a:gd name="T9" fmla="*/ 4 h 4"/>
                  <a:gd name="T10" fmla="*/ 8 w 8"/>
                  <a:gd name="T11" fmla="*/ 4 h 4"/>
                  <a:gd name="T12" fmla="*/ 8 w 8"/>
                  <a:gd name="T13" fmla="*/ 4 h 4"/>
                  <a:gd name="T14" fmla="*/ 4 w 8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4">
                    <a:moveTo>
                      <a:pt x="4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87" name="Freeform 687">
                <a:extLst>
                  <a:ext uri="{FF2B5EF4-FFF2-40B4-BE49-F238E27FC236}">
                    <a16:creationId xmlns:a16="http://schemas.microsoft.com/office/drawing/2014/main" id="{B5FFE039-EB0A-42A9-BD29-2776A26431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8" y="1848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88" name="Rectangle 688">
                <a:extLst>
                  <a:ext uri="{FF2B5EF4-FFF2-40B4-BE49-F238E27FC236}">
                    <a16:creationId xmlns:a16="http://schemas.microsoft.com/office/drawing/2014/main" id="{2EE55514-422E-41B9-B09F-4A4A4B7935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7" y="186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89" name="Freeform 689">
                <a:extLst>
                  <a:ext uri="{FF2B5EF4-FFF2-40B4-BE49-F238E27FC236}">
                    <a16:creationId xmlns:a16="http://schemas.microsoft.com/office/drawing/2014/main" id="{532ABE49-EA35-46AB-B012-CDF6E351A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9" y="1858"/>
                <a:ext cx="6" cy="0"/>
              </a:xfrm>
              <a:custGeom>
                <a:avLst/>
                <a:gdLst>
                  <a:gd name="T0" fmla="*/ 0 w 6"/>
                  <a:gd name="T1" fmla="*/ 2 w 6"/>
                  <a:gd name="T2" fmla="*/ 6 w 6"/>
                  <a:gd name="T3" fmla="*/ 2 w 6"/>
                  <a:gd name="T4" fmla="*/ 0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0" y="0"/>
                    </a:moveTo>
                    <a:lnTo>
                      <a:pt x="2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90" name="Rectangle 690">
                <a:extLst>
                  <a:ext uri="{FF2B5EF4-FFF2-40B4-BE49-F238E27FC236}">
                    <a16:creationId xmlns:a16="http://schemas.microsoft.com/office/drawing/2014/main" id="{FCF21067-50C6-48AF-A76C-698F8A07A8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29" y="287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91" name="Freeform 691">
                <a:extLst>
                  <a:ext uri="{FF2B5EF4-FFF2-40B4-BE49-F238E27FC236}">
                    <a16:creationId xmlns:a16="http://schemas.microsoft.com/office/drawing/2014/main" id="{8C0734F4-9D10-4055-9CA5-D3AA20497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5" y="1750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92" name="Freeform 692">
                <a:extLst>
                  <a:ext uri="{FF2B5EF4-FFF2-40B4-BE49-F238E27FC236}">
                    <a16:creationId xmlns:a16="http://schemas.microsoft.com/office/drawing/2014/main" id="{270F9339-FEBF-43AF-BF6D-F196C1CB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9" y="1774"/>
                <a:ext cx="4" cy="13"/>
              </a:xfrm>
              <a:custGeom>
                <a:avLst/>
                <a:gdLst>
                  <a:gd name="T0" fmla="*/ 4 w 4"/>
                  <a:gd name="T1" fmla="*/ 2 h 13"/>
                  <a:gd name="T2" fmla="*/ 2 w 4"/>
                  <a:gd name="T3" fmla="*/ 0 h 13"/>
                  <a:gd name="T4" fmla="*/ 4 w 4"/>
                  <a:gd name="T5" fmla="*/ 2 h 13"/>
                  <a:gd name="T6" fmla="*/ 2 w 4"/>
                  <a:gd name="T7" fmla="*/ 8 h 13"/>
                  <a:gd name="T8" fmla="*/ 0 w 4"/>
                  <a:gd name="T9" fmla="*/ 13 h 13"/>
                  <a:gd name="T10" fmla="*/ 2 w 4"/>
                  <a:gd name="T11" fmla="*/ 8 h 13"/>
                  <a:gd name="T12" fmla="*/ 4 w 4"/>
                  <a:gd name="T1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3">
                    <a:moveTo>
                      <a:pt x="4" y="2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2" y="8"/>
                    </a:lnTo>
                    <a:lnTo>
                      <a:pt x="0" y="13"/>
                    </a:lnTo>
                    <a:lnTo>
                      <a:pt x="2" y="8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93" name="Rectangle 693">
                <a:extLst>
                  <a:ext uri="{FF2B5EF4-FFF2-40B4-BE49-F238E27FC236}">
                    <a16:creationId xmlns:a16="http://schemas.microsoft.com/office/drawing/2014/main" id="{833A2164-4601-4D2E-A47D-41FAD27060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3" y="29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94" name="Freeform 694">
                <a:extLst>
                  <a:ext uri="{FF2B5EF4-FFF2-40B4-BE49-F238E27FC236}">
                    <a16:creationId xmlns:a16="http://schemas.microsoft.com/office/drawing/2014/main" id="{68EB7F7C-6FD9-4549-B7D8-CC8BA95263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5" y="1750"/>
                <a:ext cx="0" cy="6"/>
              </a:xfrm>
              <a:custGeom>
                <a:avLst/>
                <a:gdLst>
                  <a:gd name="T0" fmla="*/ 4 h 6"/>
                  <a:gd name="T1" fmla="*/ 2 h 6"/>
                  <a:gd name="T2" fmla="*/ 2 h 6"/>
                  <a:gd name="T3" fmla="*/ 0 h 6"/>
                  <a:gd name="T4" fmla="*/ 0 h 6"/>
                  <a:gd name="T5" fmla="*/ 2 h 6"/>
                  <a:gd name="T6" fmla="*/ 2 h 6"/>
                  <a:gd name="T7" fmla="*/ 4 h 6"/>
                  <a:gd name="T8" fmla="*/ 6 h 6"/>
                  <a:gd name="T9" fmla="*/ 6 h 6"/>
                  <a:gd name="T10" fmla="*/ 6 h 6"/>
                  <a:gd name="T11" fmla="*/ 4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  <a:cxn ang="0">
                    <a:pos x="0" y="T10"/>
                  </a:cxn>
                  <a:cxn ang="0">
                    <a:pos x="0" y="T11"/>
                  </a:cxn>
                </a:cxnLst>
                <a:rect l="0" t="0" r="r" b="b"/>
                <a:pathLst>
                  <a:path h="6">
                    <a:moveTo>
                      <a:pt x="0" y="4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95" name="Rectangle 695">
                <a:extLst>
                  <a:ext uri="{FF2B5EF4-FFF2-40B4-BE49-F238E27FC236}">
                    <a16:creationId xmlns:a16="http://schemas.microsoft.com/office/drawing/2014/main" id="{7054465F-8182-489A-B2F9-8CDFD8CA31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" y="313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96" name="Freeform 696">
                <a:extLst>
                  <a:ext uri="{FF2B5EF4-FFF2-40B4-BE49-F238E27FC236}">
                    <a16:creationId xmlns:a16="http://schemas.microsoft.com/office/drawing/2014/main" id="{76706720-0B14-40B8-9B73-679A002CCC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4" y="2928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97" name="Rectangle 697">
                <a:extLst>
                  <a:ext uri="{FF2B5EF4-FFF2-40B4-BE49-F238E27FC236}">
                    <a16:creationId xmlns:a16="http://schemas.microsoft.com/office/drawing/2014/main" id="{39C9EAD2-A671-448F-8B74-0D4D01191A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6" y="296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98" name="Rectangle 698">
                <a:extLst>
                  <a:ext uri="{FF2B5EF4-FFF2-40B4-BE49-F238E27FC236}">
                    <a16:creationId xmlns:a16="http://schemas.microsoft.com/office/drawing/2014/main" id="{41504E52-9391-41DF-8580-2AD1759074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74" y="2932"/>
                <a:ext cx="1" cy="4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99" name="Rectangle 699">
                <a:extLst>
                  <a:ext uri="{FF2B5EF4-FFF2-40B4-BE49-F238E27FC236}">
                    <a16:creationId xmlns:a16="http://schemas.microsoft.com/office/drawing/2014/main" id="{067AA031-988A-483F-8A50-4BCADF3BD6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52" y="296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00" name="Freeform 700">
                <a:extLst>
                  <a:ext uri="{FF2B5EF4-FFF2-40B4-BE49-F238E27FC236}">
                    <a16:creationId xmlns:a16="http://schemas.microsoft.com/office/drawing/2014/main" id="{175429FF-3385-467A-88E6-2B5360C453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8" y="1842"/>
                <a:ext cx="8" cy="2"/>
              </a:xfrm>
              <a:custGeom>
                <a:avLst/>
                <a:gdLst>
                  <a:gd name="T0" fmla="*/ 0 w 8"/>
                  <a:gd name="T1" fmla="*/ 2 h 2"/>
                  <a:gd name="T2" fmla="*/ 0 w 8"/>
                  <a:gd name="T3" fmla="*/ 2 h 2"/>
                  <a:gd name="T4" fmla="*/ 0 w 8"/>
                  <a:gd name="T5" fmla="*/ 2 h 2"/>
                  <a:gd name="T6" fmla="*/ 6 w 8"/>
                  <a:gd name="T7" fmla="*/ 0 h 2"/>
                  <a:gd name="T8" fmla="*/ 8 w 8"/>
                  <a:gd name="T9" fmla="*/ 2 h 2"/>
                  <a:gd name="T10" fmla="*/ 6 w 8"/>
                  <a:gd name="T11" fmla="*/ 0 h 2"/>
                  <a:gd name="T12" fmla="*/ 0 w 8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6" y="0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01" name="Freeform 701">
                <a:extLst>
                  <a:ext uri="{FF2B5EF4-FFF2-40B4-BE49-F238E27FC236}">
                    <a16:creationId xmlns:a16="http://schemas.microsoft.com/office/drawing/2014/main" id="{D0FA715B-6203-4D67-AAF5-DDA72A5284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7" y="1823"/>
                <a:ext cx="2" cy="9"/>
              </a:xfrm>
              <a:custGeom>
                <a:avLst/>
                <a:gdLst>
                  <a:gd name="T0" fmla="*/ 0 w 2"/>
                  <a:gd name="T1" fmla="*/ 0 h 9"/>
                  <a:gd name="T2" fmla="*/ 0 w 2"/>
                  <a:gd name="T3" fmla="*/ 5 h 9"/>
                  <a:gd name="T4" fmla="*/ 2 w 2"/>
                  <a:gd name="T5" fmla="*/ 9 h 9"/>
                  <a:gd name="T6" fmla="*/ 0 w 2"/>
                  <a:gd name="T7" fmla="*/ 5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lnTo>
                      <a:pt x="0" y="5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02" name="Freeform 702">
                <a:extLst>
                  <a:ext uri="{FF2B5EF4-FFF2-40B4-BE49-F238E27FC236}">
                    <a16:creationId xmlns:a16="http://schemas.microsoft.com/office/drawing/2014/main" id="{3B9328F2-A3B5-46A7-A229-CF6D3FB182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2" y="2961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03" name="Freeform 703">
                <a:extLst>
                  <a:ext uri="{FF2B5EF4-FFF2-40B4-BE49-F238E27FC236}">
                    <a16:creationId xmlns:a16="http://schemas.microsoft.com/office/drawing/2014/main" id="{9186F184-16EE-4FF7-9747-A6C76F530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8" y="2824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04" name="Freeform 704">
                <a:extLst>
                  <a:ext uri="{FF2B5EF4-FFF2-40B4-BE49-F238E27FC236}">
                    <a16:creationId xmlns:a16="http://schemas.microsoft.com/office/drawing/2014/main" id="{49325006-8303-474F-A9E0-12D52233F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9" y="778"/>
                <a:ext cx="12" cy="10"/>
              </a:xfrm>
              <a:custGeom>
                <a:avLst/>
                <a:gdLst>
                  <a:gd name="T0" fmla="*/ 12 w 12"/>
                  <a:gd name="T1" fmla="*/ 0 h 10"/>
                  <a:gd name="T2" fmla="*/ 12 w 12"/>
                  <a:gd name="T3" fmla="*/ 0 h 10"/>
                  <a:gd name="T4" fmla="*/ 8 w 12"/>
                  <a:gd name="T5" fmla="*/ 2 h 10"/>
                  <a:gd name="T6" fmla="*/ 0 w 12"/>
                  <a:gd name="T7" fmla="*/ 10 h 10"/>
                  <a:gd name="T8" fmla="*/ 8 w 12"/>
                  <a:gd name="T9" fmla="*/ 2 h 10"/>
                  <a:gd name="T10" fmla="*/ 12 w 12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0">
                    <a:moveTo>
                      <a:pt x="12" y="0"/>
                    </a:moveTo>
                    <a:lnTo>
                      <a:pt x="12" y="0"/>
                    </a:lnTo>
                    <a:lnTo>
                      <a:pt x="8" y="2"/>
                    </a:lnTo>
                    <a:lnTo>
                      <a:pt x="0" y="10"/>
                    </a:lnTo>
                    <a:lnTo>
                      <a:pt x="8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05" name="Freeform 705">
                <a:extLst>
                  <a:ext uri="{FF2B5EF4-FFF2-40B4-BE49-F238E27FC236}">
                    <a16:creationId xmlns:a16="http://schemas.microsoft.com/office/drawing/2014/main" id="{221F8E0C-7444-4285-899B-E55E2BE86F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3732"/>
                <a:ext cx="6" cy="12"/>
              </a:xfrm>
              <a:custGeom>
                <a:avLst/>
                <a:gdLst>
                  <a:gd name="T0" fmla="*/ 0 w 6"/>
                  <a:gd name="T1" fmla="*/ 12 h 12"/>
                  <a:gd name="T2" fmla="*/ 4 w 6"/>
                  <a:gd name="T3" fmla="*/ 6 h 12"/>
                  <a:gd name="T4" fmla="*/ 6 w 6"/>
                  <a:gd name="T5" fmla="*/ 0 h 12"/>
                  <a:gd name="T6" fmla="*/ 6 w 6"/>
                  <a:gd name="T7" fmla="*/ 0 h 12"/>
                  <a:gd name="T8" fmla="*/ 4 w 6"/>
                  <a:gd name="T9" fmla="*/ 6 h 12"/>
                  <a:gd name="T10" fmla="*/ 0 w 6"/>
                  <a:gd name="T1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4" y="6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06" name="Freeform 706">
                <a:extLst>
                  <a:ext uri="{FF2B5EF4-FFF2-40B4-BE49-F238E27FC236}">
                    <a16:creationId xmlns:a16="http://schemas.microsoft.com/office/drawing/2014/main" id="{D1E75661-2EA1-420E-AD16-F34CE1A289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5" y="780"/>
                <a:ext cx="12" cy="0"/>
              </a:xfrm>
              <a:custGeom>
                <a:avLst/>
                <a:gdLst>
                  <a:gd name="T0" fmla="*/ 12 w 12"/>
                  <a:gd name="T1" fmla="*/ 8 w 12"/>
                  <a:gd name="T2" fmla="*/ 0 w 12"/>
                  <a:gd name="T3" fmla="*/ 8 w 12"/>
                  <a:gd name="T4" fmla="*/ 12 w 1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2">
                    <a:moveTo>
                      <a:pt x="12" y="0"/>
                    </a:moveTo>
                    <a:lnTo>
                      <a:pt x="8" y="0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07" name="Freeform 707">
                <a:extLst>
                  <a:ext uri="{FF2B5EF4-FFF2-40B4-BE49-F238E27FC236}">
                    <a16:creationId xmlns:a16="http://schemas.microsoft.com/office/drawing/2014/main" id="{584ECFFF-B2D7-41E1-BC96-A1E8A275D6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5" y="770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0 w 2"/>
                  <a:gd name="T3" fmla="*/ 6 h 6"/>
                  <a:gd name="T4" fmla="*/ 0 w 2"/>
                  <a:gd name="T5" fmla="*/ 6 h 6"/>
                  <a:gd name="T6" fmla="*/ 2 w 2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08" name="Freeform 708">
                <a:extLst>
                  <a:ext uri="{FF2B5EF4-FFF2-40B4-BE49-F238E27FC236}">
                    <a16:creationId xmlns:a16="http://schemas.microsoft.com/office/drawing/2014/main" id="{ECE6DB5C-11DF-4570-ACA5-474AE4FB1A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" y="788"/>
                <a:ext cx="10" cy="10"/>
              </a:xfrm>
              <a:custGeom>
                <a:avLst/>
                <a:gdLst>
                  <a:gd name="T0" fmla="*/ 4 w 10"/>
                  <a:gd name="T1" fmla="*/ 4 h 10"/>
                  <a:gd name="T2" fmla="*/ 10 w 10"/>
                  <a:gd name="T3" fmla="*/ 0 h 10"/>
                  <a:gd name="T4" fmla="*/ 10 w 10"/>
                  <a:gd name="T5" fmla="*/ 0 h 10"/>
                  <a:gd name="T6" fmla="*/ 4 w 10"/>
                  <a:gd name="T7" fmla="*/ 4 h 10"/>
                  <a:gd name="T8" fmla="*/ 2 w 10"/>
                  <a:gd name="T9" fmla="*/ 6 h 10"/>
                  <a:gd name="T10" fmla="*/ 0 w 10"/>
                  <a:gd name="T11" fmla="*/ 10 h 10"/>
                  <a:gd name="T12" fmla="*/ 2 w 10"/>
                  <a:gd name="T13" fmla="*/ 6 h 10"/>
                  <a:gd name="T14" fmla="*/ 4 w 10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0">
                    <a:moveTo>
                      <a:pt x="4" y="4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09" name="Freeform 709">
                <a:extLst>
                  <a:ext uri="{FF2B5EF4-FFF2-40B4-BE49-F238E27FC236}">
                    <a16:creationId xmlns:a16="http://schemas.microsoft.com/office/drawing/2014/main" id="{6217004E-A9A3-494D-8539-B319E1960D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" y="3748"/>
                <a:ext cx="2" cy="4"/>
              </a:xfrm>
              <a:custGeom>
                <a:avLst/>
                <a:gdLst>
                  <a:gd name="T0" fmla="*/ 2 w 2"/>
                  <a:gd name="T1" fmla="*/ 2 h 4"/>
                  <a:gd name="T2" fmla="*/ 0 w 2"/>
                  <a:gd name="T3" fmla="*/ 4 h 4"/>
                  <a:gd name="T4" fmla="*/ 2 w 2"/>
                  <a:gd name="T5" fmla="*/ 2 h 4"/>
                  <a:gd name="T6" fmla="*/ 2 w 2"/>
                  <a:gd name="T7" fmla="*/ 2 h 4"/>
                  <a:gd name="T8" fmla="*/ 0 w 2"/>
                  <a:gd name="T9" fmla="*/ 0 h 4"/>
                  <a:gd name="T10" fmla="*/ 2 w 2"/>
                  <a:gd name="T11" fmla="*/ 2 h 4"/>
                  <a:gd name="T12" fmla="*/ 2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10" name="Freeform 710">
                <a:extLst>
                  <a:ext uri="{FF2B5EF4-FFF2-40B4-BE49-F238E27FC236}">
                    <a16:creationId xmlns:a16="http://schemas.microsoft.com/office/drawing/2014/main" id="{FA4331FB-842A-4F20-8F9F-E4822C3268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8" y="803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4 w 8"/>
                  <a:gd name="T5" fmla="*/ 4 h 4"/>
                  <a:gd name="T6" fmla="*/ 0 w 8"/>
                  <a:gd name="T7" fmla="*/ 4 h 4"/>
                  <a:gd name="T8" fmla="*/ 4 w 8"/>
                  <a:gd name="T9" fmla="*/ 4 h 4"/>
                  <a:gd name="T10" fmla="*/ 8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11" name="Freeform 711">
                <a:extLst>
                  <a:ext uri="{FF2B5EF4-FFF2-40B4-BE49-F238E27FC236}">
                    <a16:creationId xmlns:a16="http://schemas.microsoft.com/office/drawing/2014/main" id="{39FA1D0E-F5D2-452B-86B0-D1AF798015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" y="3756"/>
                <a:ext cx="10" cy="13"/>
              </a:xfrm>
              <a:custGeom>
                <a:avLst/>
                <a:gdLst>
                  <a:gd name="T0" fmla="*/ 4 w 10"/>
                  <a:gd name="T1" fmla="*/ 3 h 13"/>
                  <a:gd name="T2" fmla="*/ 8 w 10"/>
                  <a:gd name="T3" fmla="*/ 9 h 13"/>
                  <a:gd name="T4" fmla="*/ 10 w 10"/>
                  <a:gd name="T5" fmla="*/ 13 h 13"/>
                  <a:gd name="T6" fmla="*/ 8 w 10"/>
                  <a:gd name="T7" fmla="*/ 9 h 13"/>
                  <a:gd name="T8" fmla="*/ 4 w 10"/>
                  <a:gd name="T9" fmla="*/ 3 h 13"/>
                  <a:gd name="T10" fmla="*/ 0 w 10"/>
                  <a:gd name="T11" fmla="*/ 0 h 13"/>
                  <a:gd name="T12" fmla="*/ 0 w 10"/>
                  <a:gd name="T13" fmla="*/ 0 h 13"/>
                  <a:gd name="T14" fmla="*/ 4 w 10"/>
                  <a:gd name="T1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3">
                    <a:moveTo>
                      <a:pt x="4" y="3"/>
                    </a:moveTo>
                    <a:lnTo>
                      <a:pt x="8" y="9"/>
                    </a:lnTo>
                    <a:lnTo>
                      <a:pt x="10" y="13"/>
                    </a:lnTo>
                    <a:lnTo>
                      <a:pt x="8" y="9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12" name="Freeform 712">
                <a:extLst>
                  <a:ext uri="{FF2B5EF4-FFF2-40B4-BE49-F238E27FC236}">
                    <a16:creationId xmlns:a16="http://schemas.microsoft.com/office/drawing/2014/main" id="{ECDFD70C-D9E7-4006-8BF2-1006D25C96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" y="3738"/>
                <a:ext cx="0" cy="6"/>
              </a:xfrm>
              <a:custGeom>
                <a:avLst/>
                <a:gdLst>
                  <a:gd name="T0" fmla="*/ 4 h 6"/>
                  <a:gd name="T1" fmla="*/ 6 h 6"/>
                  <a:gd name="T2" fmla="*/ 6 h 6"/>
                  <a:gd name="T3" fmla="*/ 6 h 6"/>
                  <a:gd name="T4" fmla="*/ 4 h 6"/>
                  <a:gd name="T5" fmla="*/ 0 h 6"/>
                  <a:gd name="T6" fmla="*/ 0 h 6"/>
                  <a:gd name="T7" fmla="*/ 0 h 6"/>
                  <a:gd name="T8" fmla="*/ 4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6">
                    <a:moveTo>
                      <a:pt x="0" y="4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13" name="Freeform 713">
                <a:extLst>
                  <a:ext uri="{FF2B5EF4-FFF2-40B4-BE49-F238E27FC236}">
                    <a16:creationId xmlns:a16="http://schemas.microsoft.com/office/drawing/2014/main" id="{854C15C0-8B53-4FB8-A66C-7D11CB5165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7" y="753"/>
                <a:ext cx="2" cy="9"/>
              </a:xfrm>
              <a:custGeom>
                <a:avLst/>
                <a:gdLst>
                  <a:gd name="T0" fmla="*/ 2 w 2"/>
                  <a:gd name="T1" fmla="*/ 9 h 9"/>
                  <a:gd name="T2" fmla="*/ 0 w 2"/>
                  <a:gd name="T3" fmla="*/ 6 h 9"/>
                  <a:gd name="T4" fmla="*/ 0 w 2"/>
                  <a:gd name="T5" fmla="*/ 0 h 9"/>
                  <a:gd name="T6" fmla="*/ 0 w 2"/>
                  <a:gd name="T7" fmla="*/ 6 h 9"/>
                  <a:gd name="T8" fmla="*/ 2 w 2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2" y="9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2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14" name="Freeform 714">
                <a:extLst>
                  <a:ext uri="{FF2B5EF4-FFF2-40B4-BE49-F238E27FC236}">
                    <a16:creationId xmlns:a16="http://schemas.microsoft.com/office/drawing/2014/main" id="{A656C47B-7ABF-4A88-A627-9D772A783D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1" y="764"/>
                <a:ext cx="7" cy="2"/>
              </a:xfrm>
              <a:custGeom>
                <a:avLst/>
                <a:gdLst>
                  <a:gd name="T0" fmla="*/ 4 w 7"/>
                  <a:gd name="T1" fmla="*/ 2 h 2"/>
                  <a:gd name="T2" fmla="*/ 7 w 7"/>
                  <a:gd name="T3" fmla="*/ 0 h 2"/>
                  <a:gd name="T4" fmla="*/ 4 w 7"/>
                  <a:gd name="T5" fmla="*/ 2 h 2"/>
                  <a:gd name="T6" fmla="*/ 0 w 7"/>
                  <a:gd name="T7" fmla="*/ 2 h 2"/>
                  <a:gd name="T8" fmla="*/ 0 w 7"/>
                  <a:gd name="T9" fmla="*/ 2 h 2"/>
                  <a:gd name="T10" fmla="*/ 0 w 7"/>
                  <a:gd name="T11" fmla="*/ 2 h 2"/>
                  <a:gd name="T12" fmla="*/ 4 w 7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2">
                    <a:moveTo>
                      <a:pt x="4" y="2"/>
                    </a:moveTo>
                    <a:lnTo>
                      <a:pt x="7" y="0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15" name="Freeform 715">
                <a:extLst>
                  <a:ext uri="{FF2B5EF4-FFF2-40B4-BE49-F238E27FC236}">
                    <a16:creationId xmlns:a16="http://schemas.microsoft.com/office/drawing/2014/main" id="{FFE32F8D-366A-4153-838E-69C3B50C12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9" y="764"/>
                <a:ext cx="3" cy="2"/>
              </a:xfrm>
              <a:custGeom>
                <a:avLst/>
                <a:gdLst>
                  <a:gd name="T0" fmla="*/ 3 w 3"/>
                  <a:gd name="T1" fmla="*/ 0 h 2"/>
                  <a:gd name="T2" fmla="*/ 2 w 3"/>
                  <a:gd name="T3" fmla="*/ 0 h 2"/>
                  <a:gd name="T4" fmla="*/ 0 w 3"/>
                  <a:gd name="T5" fmla="*/ 2 h 2"/>
                  <a:gd name="T6" fmla="*/ 2 w 3"/>
                  <a:gd name="T7" fmla="*/ 0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16" name="Rectangle 716">
                <a:extLst>
                  <a:ext uri="{FF2B5EF4-FFF2-40B4-BE49-F238E27FC236}">
                    <a16:creationId xmlns:a16="http://schemas.microsoft.com/office/drawing/2014/main" id="{CB4A64CA-1E02-4D4E-956E-91130DE7EB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" y="74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17" name="Rectangle 717">
                <a:extLst>
                  <a:ext uri="{FF2B5EF4-FFF2-40B4-BE49-F238E27FC236}">
                    <a16:creationId xmlns:a16="http://schemas.microsoft.com/office/drawing/2014/main" id="{061E2634-3987-4087-9D60-20D73478BE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0" y="76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18" name="Freeform 718">
                <a:extLst>
                  <a:ext uri="{FF2B5EF4-FFF2-40B4-BE49-F238E27FC236}">
                    <a16:creationId xmlns:a16="http://schemas.microsoft.com/office/drawing/2014/main" id="{99D8459E-0A3A-4B40-95FC-31B74E117F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2" y="745"/>
                <a:ext cx="19" cy="15"/>
              </a:xfrm>
              <a:custGeom>
                <a:avLst/>
                <a:gdLst>
                  <a:gd name="T0" fmla="*/ 10 w 19"/>
                  <a:gd name="T1" fmla="*/ 12 h 15"/>
                  <a:gd name="T2" fmla="*/ 19 w 19"/>
                  <a:gd name="T3" fmla="*/ 2 h 15"/>
                  <a:gd name="T4" fmla="*/ 19 w 19"/>
                  <a:gd name="T5" fmla="*/ 0 h 15"/>
                  <a:gd name="T6" fmla="*/ 19 w 19"/>
                  <a:gd name="T7" fmla="*/ 2 h 15"/>
                  <a:gd name="T8" fmla="*/ 10 w 19"/>
                  <a:gd name="T9" fmla="*/ 12 h 15"/>
                  <a:gd name="T10" fmla="*/ 4 w 19"/>
                  <a:gd name="T11" fmla="*/ 15 h 15"/>
                  <a:gd name="T12" fmla="*/ 0 w 19"/>
                  <a:gd name="T13" fmla="*/ 15 h 15"/>
                  <a:gd name="T14" fmla="*/ 4 w 19"/>
                  <a:gd name="T15" fmla="*/ 15 h 15"/>
                  <a:gd name="T16" fmla="*/ 10 w 19"/>
                  <a:gd name="T17" fmla="*/ 1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5">
                    <a:moveTo>
                      <a:pt x="10" y="12"/>
                    </a:moveTo>
                    <a:lnTo>
                      <a:pt x="19" y="2"/>
                    </a:lnTo>
                    <a:lnTo>
                      <a:pt x="19" y="0"/>
                    </a:lnTo>
                    <a:lnTo>
                      <a:pt x="19" y="2"/>
                    </a:lnTo>
                    <a:lnTo>
                      <a:pt x="10" y="12"/>
                    </a:lnTo>
                    <a:lnTo>
                      <a:pt x="4" y="15"/>
                    </a:lnTo>
                    <a:lnTo>
                      <a:pt x="0" y="15"/>
                    </a:lnTo>
                    <a:lnTo>
                      <a:pt x="4" y="15"/>
                    </a:lnTo>
                    <a:lnTo>
                      <a:pt x="10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19" name="Freeform 719">
                <a:extLst>
                  <a:ext uri="{FF2B5EF4-FFF2-40B4-BE49-F238E27FC236}">
                    <a16:creationId xmlns:a16="http://schemas.microsoft.com/office/drawing/2014/main" id="{BEBB6BB1-4730-49F6-88E7-30A297B474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4" y="768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20" name="Freeform 720">
                <a:extLst>
                  <a:ext uri="{FF2B5EF4-FFF2-40B4-BE49-F238E27FC236}">
                    <a16:creationId xmlns:a16="http://schemas.microsoft.com/office/drawing/2014/main" id="{468DAFB0-9B25-479C-A403-C43ECEFBA1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0" y="3402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21" name="Rectangle 721">
                <a:extLst>
                  <a:ext uri="{FF2B5EF4-FFF2-40B4-BE49-F238E27FC236}">
                    <a16:creationId xmlns:a16="http://schemas.microsoft.com/office/drawing/2014/main" id="{C500FB3E-46C7-4E8A-8C57-C6FB166018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" y="340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22" name="Freeform 722">
                <a:extLst>
                  <a:ext uri="{FF2B5EF4-FFF2-40B4-BE49-F238E27FC236}">
                    <a16:creationId xmlns:a16="http://schemas.microsoft.com/office/drawing/2014/main" id="{DEE5AB5D-48F5-4FA7-B6E1-B07B4ECEE0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" y="1709"/>
                <a:ext cx="19" cy="6"/>
              </a:xfrm>
              <a:custGeom>
                <a:avLst/>
                <a:gdLst>
                  <a:gd name="T0" fmla="*/ 15 w 19"/>
                  <a:gd name="T1" fmla="*/ 4 h 6"/>
                  <a:gd name="T2" fmla="*/ 0 w 19"/>
                  <a:gd name="T3" fmla="*/ 0 h 6"/>
                  <a:gd name="T4" fmla="*/ 15 w 19"/>
                  <a:gd name="T5" fmla="*/ 4 h 6"/>
                  <a:gd name="T6" fmla="*/ 19 w 19"/>
                  <a:gd name="T7" fmla="*/ 6 h 6"/>
                  <a:gd name="T8" fmla="*/ 19 w 19"/>
                  <a:gd name="T9" fmla="*/ 6 h 6"/>
                  <a:gd name="T10" fmla="*/ 15 w 19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6">
                    <a:moveTo>
                      <a:pt x="15" y="4"/>
                    </a:moveTo>
                    <a:lnTo>
                      <a:pt x="0" y="0"/>
                    </a:lnTo>
                    <a:lnTo>
                      <a:pt x="15" y="4"/>
                    </a:lnTo>
                    <a:lnTo>
                      <a:pt x="19" y="6"/>
                    </a:lnTo>
                    <a:lnTo>
                      <a:pt x="19" y="6"/>
                    </a:lnTo>
                    <a:lnTo>
                      <a:pt x="15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23" name="Freeform 723">
                <a:extLst>
                  <a:ext uri="{FF2B5EF4-FFF2-40B4-BE49-F238E27FC236}">
                    <a16:creationId xmlns:a16="http://schemas.microsoft.com/office/drawing/2014/main" id="{9E3CBCCC-374D-4457-8D62-266F47ECC1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" y="3400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24" name="Freeform 724">
                <a:extLst>
                  <a:ext uri="{FF2B5EF4-FFF2-40B4-BE49-F238E27FC236}">
                    <a16:creationId xmlns:a16="http://schemas.microsoft.com/office/drawing/2014/main" id="{7B50108F-4656-4852-97EF-AAEB728263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" y="1727"/>
                <a:ext cx="16" cy="0"/>
              </a:xfrm>
              <a:custGeom>
                <a:avLst/>
                <a:gdLst>
                  <a:gd name="T0" fmla="*/ 14 w 16"/>
                  <a:gd name="T1" fmla="*/ 0 w 16"/>
                  <a:gd name="T2" fmla="*/ 0 w 16"/>
                  <a:gd name="T3" fmla="*/ 0 w 16"/>
                  <a:gd name="T4" fmla="*/ 14 w 16"/>
                  <a:gd name="T5" fmla="*/ 16 w 16"/>
                  <a:gd name="T6" fmla="*/ 16 w 16"/>
                  <a:gd name="T7" fmla="*/ 16 w 16"/>
                  <a:gd name="T8" fmla="*/ 14 w 1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</a:cxnLst>
                <a:rect l="0" t="0" r="r" b="b"/>
                <a:pathLst>
                  <a:path w="16">
                    <a:moveTo>
                      <a:pt x="14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25" name="Freeform 725">
                <a:extLst>
                  <a:ext uri="{FF2B5EF4-FFF2-40B4-BE49-F238E27FC236}">
                    <a16:creationId xmlns:a16="http://schemas.microsoft.com/office/drawing/2014/main" id="{CBB79EAE-63CB-4DD1-857B-2430CA1F0E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" y="1698"/>
                <a:ext cx="12" cy="4"/>
              </a:xfrm>
              <a:custGeom>
                <a:avLst/>
                <a:gdLst>
                  <a:gd name="T0" fmla="*/ 0 w 12"/>
                  <a:gd name="T1" fmla="*/ 4 h 4"/>
                  <a:gd name="T2" fmla="*/ 8 w 12"/>
                  <a:gd name="T3" fmla="*/ 0 h 4"/>
                  <a:gd name="T4" fmla="*/ 12 w 12"/>
                  <a:gd name="T5" fmla="*/ 0 h 4"/>
                  <a:gd name="T6" fmla="*/ 8 w 12"/>
                  <a:gd name="T7" fmla="*/ 0 h 4"/>
                  <a:gd name="T8" fmla="*/ 0 w 1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">
                    <a:moveTo>
                      <a:pt x="0" y="4"/>
                    </a:moveTo>
                    <a:lnTo>
                      <a:pt x="8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26" name="Rectangle 726">
                <a:extLst>
                  <a:ext uri="{FF2B5EF4-FFF2-40B4-BE49-F238E27FC236}">
                    <a16:creationId xmlns:a16="http://schemas.microsoft.com/office/drawing/2014/main" id="{48FA771C-492A-4CB5-88ED-8CB20D8E59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" y="291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27" name="Freeform 727">
                <a:extLst>
                  <a:ext uri="{FF2B5EF4-FFF2-40B4-BE49-F238E27FC236}">
                    <a16:creationId xmlns:a16="http://schemas.microsoft.com/office/drawing/2014/main" id="{A27C0668-2876-41F6-8AAC-75F77155C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" y="3783"/>
                <a:ext cx="12" cy="2"/>
              </a:xfrm>
              <a:custGeom>
                <a:avLst/>
                <a:gdLst>
                  <a:gd name="T0" fmla="*/ 0 w 12"/>
                  <a:gd name="T1" fmla="*/ 0 h 2"/>
                  <a:gd name="T2" fmla="*/ 0 w 12"/>
                  <a:gd name="T3" fmla="*/ 0 h 2"/>
                  <a:gd name="T4" fmla="*/ 0 w 12"/>
                  <a:gd name="T5" fmla="*/ 0 h 2"/>
                  <a:gd name="T6" fmla="*/ 10 w 12"/>
                  <a:gd name="T7" fmla="*/ 2 h 2"/>
                  <a:gd name="T8" fmla="*/ 12 w 12"/>
                  <a:gd name="T9" fmla="*/ 2 h 2"/>
                  <a:gd name="T10" fmla="*/ 10 w 12"/>
                  <a:gd name="T11" fmla="*/ 2 h 2"/>
                  <a:gd name="T12" fmla="*/ 0 w 1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28" name="Freeform 728">
                <a:extLst>
                  <a:ext uri="{FF2B5EF4-FFF2-40B4-BE49-F238E27FC236}">
                    <a16:creationId xmlns:a16="http://schemas.microsoft.com/office/drawing/2014/main" id="{045FF56E-373B-4DCB-B53B-B63B385328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" y="1719"/>
                <a:ext cx="2" cy="6"/>
              </a:xfrm>
              <a:custGeom>
                <a:avLst/>
                <a:gdLst>
                  <a:gd name="T0" fmla="*/ 0 w 2"/>
                  <a:gd name="T1" fmla="*/ 0 h 6"/>
                  <a:gd name="T2" fmla="*/ 0 w 2"/>
                  <a:gd name="T3" fmla="*/ 0 h 6"/>
                  <a:gd name="T4" fmla="*/ 0 w 2"/>
                  <a:gd name="T5" fmla="*/ 0 h 6"/>
                  <a:gd name="T6" fmla="*/ 0 w 2"/>
                  <a:gd name="T7" fmla="*/ 4 h 6"/>
                  <a:gd name="T8" fmla="*/ 2 w 2"/>
                  <a:gd name="T9" fmla="*/ 6 h 6"/>
                  <a:gd name="T10" fmla="*/ 0 w 2"/>
                  <a:gd name="T11" fmla="*/ 4 h 6"/>
                  <a:gd name="T12" fmla="*/ 0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29" name="Freeform 729">
                <a:extLst>
                  <a:ext uri="{FF2B5EF4-FFF2-40B4-BE49-F238E27FC236}">
                    <a16:creationId xmlns:a16="http://schemas.microsoft.com/office/drawing/2014/main" id="{B0921370-92E5-4533-85AD-743A8B9BF8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3746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30" name="Freeform 730">
                <a:extLst>
                  <a:ext uri="{FF2B5EF4-FFF2-40B4-BE49-F238E27FC236}">
                    <a16:creationId xmlns:a16="http://schemas.microsoft.com/office/drawing/2014/main" id="{596F573F-D62D-449D-A2E5-B55003DE5F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3758"/>
                <a:ext cx="4" cy="9"/>
              </a:xfrm>
              <a:custGeom>
                <a:avLst/>
                <a:gdLst>
                  <a:gd name="T0" fmla="*/ 4 w 4"/>
                  <a:gd name="T1" fmla="*/ 3 h 9"/>
                  <a:gd name="T2" fmla="*/ 2 w 4"/>
                  <a:gd name="T3" fmla="*/ 0 h 9"/>
                  <a:gd name="T4" fmla="*/ 0 w 4"/>
                  <a:gd name="T5" fmla="*/ 0 h 9"/>
                  <a:gd name="T6" fmla="*/ 2 w 4"/>
                  <a:gd name="T7" fmla="*/ 0 h 9"/>
                  <a:gd name="T8" fmla="*/ 4 w 4"/>
                  <a:gd name="T9" fmla="*/ 3 h 9"/>
                  <a:gd name="T10" fmla="*/ 4 w 4"/>
                  <a:gd name="T11" fmla="*/ 7 h 9"/>
                  <a:gd name="T12" fmla="*/ 4 w 4"/>
                  <a:gd name="T13" fmla="*/ 9 h 9"/>
                  <a:gd name="T14" fmla="*/ 4 w 4"/>
                  <a:gd name="T15" fmla="*/ 7 h 9"/>
                  <a:gd name="T16" fmla="*/ 4 w 4"/>
                  <a:gd name="T17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9">
                    <a:moveTo>
                      <a:pt x="4" y="3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3"/>
                    </a:lnTo>
                    <a:lnTo>
                      <a:pt x="4" y="7"/>
                    </a:lnTo>
                    <a:lnTo>
                      <a:pt x="4" y="9"/>
                    </a:lnTo>
                    <a:lnTo>
                      <a:pt x="4" y="7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31" name="Freeform 731">
                <a:extLst>
                  <a:ext uri="{FF2B5EF4-FFF2-40B4-BE49-F238E27FC236}">
                    <a16:creationId xmlns:a16="http://schemas.microsoft.com/office/drawing/2014/main" id="{DC644A16-2D91-415F-9382-75C386C1FD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" y="1702"/>
                <a:ext cx="10" cy="0"/>
              </a:xfrm>
              <a:custGeom>
                <a:avLst/>
                <a:gdLst>
                  <a:gd name="T0" fmla="*/ 0 w 10"/>
                  <a:gd name="T1" fmla="*/ 2 w 10"/>
                  <a:gd name="T2" fmla="*/ 10 w 10"/>
                  <a:gd name="T3" fmla="*/ 10 w 10"/>
                  <a:gd name="T4" fmla="*/ 2 w 10"/>
                  <a:gd name="T5" fmla="*/ 0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0">
                    <a:moveTo>
                      <a:pt x="0" y="0"/>
                    </a:moveTo>
                    <a:lnTo>
                      <a:pt x="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32" name="Freeform 732">
                <a:extLst>
                  <a:ext uri="{FF2B5EF4-FFF2-40B4-BE49-F238E27FC236}">
                    <a16:creationId xmlns:a16="http://schemas.microsoft.com/office/drawing/2014/main" id="{A38C4004-0FEC-4B0D-9E92-F7EE7A27CB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" y="3773"/>
                <a:ext cx="6" cy="8"/>
              </a:xfrm>
              <a:custGeom>
                <a:avLst/>
                <a:gdLst>
                  <a:gd name="T0" fmla="*/ 2 w 6"/>
                  <a:gd name="T1" fmla="*/ 4 h 8"/>
                  <a:gd name="T2" fmla="*/ 4 w 6"/>
                  <a:gd name="T3" fmla="*/ 2 h 8"/>
                  <a:gd name="T4" fmla="*/ 6 w 6"/>
                  <a:gd name="T5" fmla="*/ 0 h 8"/>
                  <a:gd name="T6" fmla="*/ 4 w 6"/>
                  <a:gd name="T7" fmla="*/ 2 h 8"/>
                  <a:gd name="T8" fmla="*/ 2 w 6"/>
                  <a:gd name="T9" fmla="*/ 4 h 8"/>
                  <a:gd name="T10" fmla="*/ 0 w 6"/>
                  <a:gd name="T11" fmla="*/ 6 h 8"/>
                  <a:gd name="T12" fmla="*/ 0 w 6"/>
                  <a:gd name="T13" fmla="*/ 8 h 8"/>
                  <a:gd name="T14" fmla="*/ 0 w 6"/>
                  <a:gd name="T15" fmla="*/ 8 h 8"/>
                  <a:gd name="T16" fmla="*/ 0 w 6"/>
                  <a:gd name="T17" fmla="*/ 6 h 8"/>
                  <a:gd name="T18" fmla="*/ 2 w 6"/>
                  <a:gd name="T1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8">
                    <a:moveTo>
                      <a:pt x="2" y="4"/>
                    </a:moveTo>
                    <a:lnTo>
                      <a:pt x="4" y="2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33" name="Rectangle 733">
                <a:extLst>
                  <a:ext uri="{FF2B5EF4-FFF2-40B4-BE49-F238E27FC236}">
                    <a16:creationId xmlns:a16="http://schemas.microsoft.com/office/drawing/2014/main" id="{6FF071C4-92E7-4F30-966B-454A4BF227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7" y="338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34" name="Rectangle 734">
                <a:extLst>
                  <a:ext uri="{FF2B5EF4-FFF2-40B4-BE49-F238E27FC236}">
                    <a16:creationId xmlns:a16="http://schemas.microsoft.com/office/drawing/2014/main" id="{31A5E654-2A17-4401-A526-F60BE79C1F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7" y="338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35" name="Rectangle 735">
                <a:extLst>
                  <a:ext uri="{FF2B5EF4-FFF2-40B4-BE49-F238E27FC236}">
                    <a16:creationId xmlns:a16="http://schemas.microsoft.com/office/drawing/2014/main" id="{6709111E-4CD7-434A-B8E9-8E2588D260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" y="172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36" name="Freeform 736">
                <a:extLst>
                  <a:ext uri="{FF2B5EF4-FFF2-40B4-BE49-F238E27FC236}">
                    <a16:creationId xmlns:a16="http://schemas.microsoft.com/office/drawing/2014/main" id="{230E9975-D729-40CE-8CCD-D128288E54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2" y="751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37" name="Freeform 737">
                <a:extLst>
                  <a:ext uri="{FF2B5EF4-FFF2-40B4-BE49-F238E27FC236}">
                    <a16:creationId xmlns:a16="http://schemas.microsoft.com/office/drawing/2014/main" id="{3DF35473-7031-4E64-A863-F5B911BC0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24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  <a:gd name="T10" fmla="*/ 2 w 2"/>
                  <a:gd name="T11" fmla="*/ 2 h 2"/>
                  <a:gd name="T12" fmla="*/ 0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38" name="Freeform 738">
                <a:extLst>
                  <a:ext uri="{FF2B5EF4-FFF2-40B4-BE49-F238E27FC236}">
                    <a16:creationId xmlns:a16="http://schemas.microsoft.com/office/drawing/2014/main" id="{42FFA45C-FBF5-4A1C-92E2-09433A2543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6" y="739"/>
                <a:ext cx="4" cy="16"/>
              </a:xfrm>
              <a:custGeom>
                <a:avLst/>
                <a:gdLst>
                  <a:gd name="T0" fmla="*/ 0 w 4"/>
                  <a:gd name="T1" fmla="*/ 2 h 16"/>
                  <a:gd name="T2" fmla="*/ 2 w 4"/>
                  <a:gd name="T3" fmla="*/ 0 h 16"/>
                  <a:gd name="T4" fmla="*/ 0 w 4"/>
                  <a:gd name="T5" fmla="*/ 2 h 16"/>
                  <a:gd name="T6" fmla="*/ 0 w 4"/>
                  <a:gd name="T7" fmla="*/ 8 h 16"/>
                  <a:gd name="T8" fmla="*/ 4 w 4"/>
                  <a:gd name="T9" fmla="*/ 16 h 16"/>
                  <a:gd name="T10" fmla="*/ 0 w 4"/>
                  <a:gd name="T11" fmla="*/ 8 h 16"/>
                  <a:gd name="T12" fmla="*/ 0 w 4"/>
                  <a:gd name="T1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6">
                    <a:moveTo>
                      <a:pt x="0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4" y="16"/>
                    </a:lnTo>
                    <a:lnTo>
                      <a:pt x="0" y="8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39" name="Freeform 739">
                <a:extLst>
                  <a:ext uri="{FF2B5EF4-FFF2-40B4-BE49-F238E27FC236}">
                    <a16:creationId xmlns:a16="http://schemas.microsoft.com/office/drawing/2014/main" id="{F695C2AF-4DB8-462C-889A-8F935DF5D8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8" y="757"/>
                <a:ext cx="4" cy="7"/>
              </a:xfrm>
              <a:custGeom>
                <a:avLst/>
                <a:gdLst>
                  <a:gd name="T0" fmla="*/ 4 w 4"/>
                  <a:gd name="T1" fmla="*/ 3 h 7"/>
                  <a:gd name="T2" fmla="*/ 4 w 4"/>
                  <a:gd name="T3" fmla="*/ 0 h 7"/>
                  <a:gd name="T4" fmla="*/ 4 w 4"/>
                  <a:gd name="T5" fmla="*/ 3 h 7"/>
                  <a:gd name="T6" fmla="*/ 0 w 4"/>
                  <a:gd name="T7" fmla="*/ 7 h 7"/>
                  <a:gd name="T8" fmla="*/ 0 w 4"/>
                  <a:gd name="T9" fmla="*/ 7 h 7"/>
                  <a:gd name="T10" fmla="*/ 4 w 4"/>
                  <a:gd name="T11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7">
                    <a:moveTo>
                      <a:pt x="4" y="3"/>
                    </a:moveTo>
                    <a:lnTo>
                      <a:pt x="4" y="0"/>
                    </a:lnTo>
                    <a:lnTo>
                      <a:pt x="4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40" name="Freeform 740">
                <a:extLst>
                  <a:ext uri="{FF2B5EF4-FFF2-40B4-BE49-F238E27FC236}">
                    <a16:creationId xmlns:a16="http://schemas.microsoft.com/office/drawing/2014/main" id="{E4F841C3-7BB2-4D2E-AD82-D2CF6275E7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" y="2932"/>
                <a:ext cx="2" cy="7"/>
              </a:xfrm>
              <a:custGeom>
                <a:avLst/>
                <a:gdLst>
                  <a:gd name="T0" fmla="*/ 2 w 2"/>
                  <a:gd name="T1" fmla="*/ 0 h 7"/>
                  <a:gd name="T2" fmla="*/ 0 w 2"/>
                  <a:gd name="T3" fmla="*/ 2 h 7"/>
                  <a:gd name="T4" fmla="*/ 0 w 2"/>
                  <a:gd name="T5" fmla="*/ 7 h 7"/>
                  <a:gd name="T6" fmla="*/ 0 w 2"/>
                  <a:gd name="T7" fmla="*/ 2 h 7"/>
                  <a:gd name="T8" fmla="*/ 2 w 2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7">
                    <a:moveTo>
                      <a:pt x="2" y="0"/>
                    </a:moveTo>
                    <a:lnTo>
                      <a:pt x="0" y="2"/>
                    </a:lnTo>
                    <a:lnTo>
                      <a:pt x="0" y="7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41" name="Rectangle 741">
                <a:extLst>
                  <a:ext uri="{FF2B5EF4-FFF2-40B4-BE49-F238E27FC236}">
                    <a16:creationId xmlns:a16="http://schemas.microsoft.com/office/drawing/2014/main" id="{D190AB0A-5A0B-44F9-A5B1-EA3806D140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" y="291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42" name="Freeform 742">
                <a:extLst>
                  <a:ext uri="{FF2B5EF4-FFF2-40B4-BE49-F238E27FC236}">
                    <a16:creationId xmlns:a16="http://schemas.microsoft.com/office/drawing/2014/main" id="{A044A648-7E09-4E21-914B-C357E2EEAD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" y="2961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43" name="Freeform 743">
                <a:extLst>
                  <a:ext uri="{FF2B5EF4-FFF2-40B4-BE49-F238E27FC236}">
                    <a16:creationId xmlns:a16="http://schemas.microsoft.com/office/drawing/2014/main" id="{2C64CEC7-448E-413C-96B1-95E49FAD4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7" y="778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  <a:gd name="T4" fmla="*/ 0 h 2"/>
                  <a:gd name="T5" fmla="*/ 0 h 2"/>
                  <a:gd name="T6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44" name="Freeform 744">
                <a:extLst>
                  <a:ext uri="{FF2B5EF4-FFF2-40B4-BE49-F238E27FC236}">
                    <a16:creationId xmlns:a16="http://schemas.microsoft.com/office/drawing/2014/main" id="{FF0BA254-3B10-46DF-B53C-97589D413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" y="2957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45" name="Freeform 745">
                <a:extLst>
                  <a:ext uri="{FF2B5EF4-FFF2-40B4-BE49-F238E27FC236}">
                    <a16:creationId xmlns:a16="http://schemas.microsoft.com/office/drawing/2014/main" id="{9D582D88-1151-4B0C-8C81-2D770D9C02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0" y="75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46" name="Freeform 746">
                <a:extLst>
                  <a:ext uri="{FF2B5EF4-FFF2-40B4-BE49-F238E27FC236}">
                    <a16:creationId xmlns:a16="http://schemas.microsoft.com/office/drawing/2014/main" id="{BB28559F-B151-49AA-939F-CF0820BCC6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2" y="768"/>
                <a:ext cx="13" cy="6"/>
              </a:xfrm>
              <a:custGeom>
                <a:avLst/>
                <a:gdLst>
                  <a:gd name="T0" fmla="*/ 11 w 13"/>
                  <a:gd name="T1" fmla="*/ 4 h 6"/>
                  <a:gd name="T2" fmla="*/ 13 w 13"/>
                  <a:gd name="T3" fmla="*/ 6 h 6"/>
                  <a:gd name="T4" fmla="*/ 11 w 13"/>
                  <a:gd name="T5" fmla="*/ 4 h 6"/>
                  <a:gd name="T6" fmla="*/ 5 w 13"/>
                  <a:gd name="T7" fmla="*/ 4 h 6"/>
                  <a:gd name="T8" fmla="*/ 0 w 13"/>
                  <a:gd name="T9" fmla="*/ 0 h 6"/>
                  <a:gd name="T10" fmla="*/ 5 w 13"/>
                  <a:gd name="T11" fmla="*/ 4 h 6"/>
                  <a:gd name="T12" fmla="*/ 11 w 13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6">
                    <a:moveTo>
                      <a:pt x="11" y="4"/>
                    </a:moveTo>
                    <a:lnTo>
                      <a:pt x="13" y="6"/>
                    </a:lnTo>
                    <a:lnTo>
                      <a:pt x="11" y="4"/>
                    </a:lnTo>
                    <a:lnTo>
                      <a:pt x="5" y="4"/>
                    </a:lnTo>
                    <a:lnTo>
                      <a:pt x="0" y="0"/>
                    </a:lnTo>
                    <a:lnTo>
                      <a:pt x="5" y="4"/>
                    </a:lnTo>
                    <a:lnTo>
                      <a:pt x="1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47" name="Freeform 747">
                <a:extLst>
                  <a:ext uri="{FF2B5EF4-FFF2-40B4-BE49-F238E27FC236}">
                    <a16:creationId xmlns:a16="http://schemas.microsoft.com/office/drawing/2014/main" id="{54CF05E0-AF2B-4266-A126-F8A7F44A09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" y="296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48" name="Freeform 748">
                <a:extLst>
                  <a:ext uri="{FF2B5EF4-FFF2-40B4-BE49-F238E27FC236}">
                    <a16:creationId xmlns:a16="http://schemas.microsoft.com/office/drawing/2014/main" id="{C8128D5B-44AF-45CB-AA19-AA3E0897B3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0" y="3144"/>
                <a:ext cx="953" cy="469"/>
              </a:xfrm>
              <a:custGeom>
                <a:avLst/>
                <a:gdLst>
                  <a:gd name="T0" fmla="*/ 899 w 953"/>
                  <a:gd name="T1" fmla="*/ 120 h 469"/>
                  <a:gd name="T2" fmla="*/ 887 w 953"/>
                  <a:gd name="T3" fmla="*/ 110 h 469"/>
                  <a:gd name="T4" fmla="*/ 832 w 953"/>
                  <a:gd name="T5" fmla="*/ 59 h 469"/>
                  <a:gd name="T6" fmla="*/ 807 w 953"/>
                  <a:gd name="T7" fmla="*/ 53 h 469"/>
                  <a:gd name="T8" fmla="*/ 775 w 953"/>
                  <a:gd name="T9" fmla="*/ 49 h 469"/>
                  <a:gd name="T10" fmla="*/ 731 w 953"/>
                  <a:gd name="T11" fmla="*/ 49 h 469"/>
                  <a:gd name="T12" fmla="*/ 701 w 953"/>
                  <a:gd name="T13" fmla="*/ 53 h 469"/>
                  <a:gd name="T14" fmla="*/ 695 w 953"/>
                  <a:gd name="T15" fmla="*/ 69 h 469"/>
                  <a:gd name="T16" fmla="*/ 666 w 953"/>
                  <a:gd name="T17" fmla="*/ 73 h 469"/>
                  <a:gd name="T18" fmla="*/ 623 w 953"/>
                  <a:gd name="T19" fmla="*/ 59 h 469"/>
                  <a:gd name="T20" fmla="*/ 580 w 953"/>
                  <a:gd name="T21" fmla="*/ 57 h 469"/>
                  <a:gd name="T22" fmla="*/ 551 w 953"/>
                  <a:gd name="T23" fmla="*/ 77 h 469"/>
                  <a:gd name="T24" fmla="*/ 531 w 953"/>
                  <a:gd name="T25" fmla="*/ 108 h 469"/>
                  <a:gd name="T26" fmla="*/ 486 w 953"/>
                  <a:gd name="T27" fmla="*/ 100 h 469"/>
                  <a:gd name="T28" fmla="*/ 494 w 953"/>
                  <a:gd name="T29" fmla="*/ 82 h 469"/>
                  <a:gd name="T30" fmla="*/ 492 w 953"/>
                  <a:gd name="T31" fmla="*/ 59 h 469"/>
                  <a:gd name="T32" fmla="*/ 467 w 953"/>
                  <a:gd name="T33" fmla="*/ 41 h 469"/>
                  <a:gd name="T34" fmla="*/ 441 w 953"/>
                  <a:gd name="T35" fmla="*/ 8 h 469"/>
                  <a:gd name="T36" fmla="*/ 418 w 953"/>
                  <a:gd name="T37" fmla="*/ 20 h 469"/>
                  <a:gd name="T38" fmla="*/ 396 w 953"/>
                  <a:gd name="T39" fmla="*/ 39 h 469"/>
                  <a:gd name="T40" fmla="*/ 391 w 953"/>
                  <a:gd name="T41" fmla="*/ 51 h 469"/>
                  <a:gd name="T42" fmla="*/ 355 w 953"/>
                  <a:gd name="T43" fmla="*/ 55 h 469"/>
                  <a:gd name="T44" fmla="*/ 350 w 953"/>
                  <a:gd name="T45" fmla="*/ 26 h 469"/>
                  <a:gd name="T46" fmla="*/ 283 w 953"/>
                  <a:gd name="T47" fmla="*/ 32 h 469"/>
                  <a:gd name="T48" fmla="*/ 217 w 953"/>
                  <a:gd name="T49" fmla="*/ 96 h 469"/>
                  <a:gd name="T50" fmla="*/ 176 w 953"/>
                  <a:gd name="T51" fmla="*/ 161 h 469"/>
                  <a:gd name="T52" fmla="*/ 98 w 953"/>
                  <a:gd name="T53" fmla="*/ 196 h 469"/>
                  <a:gd name="T54" fmla="*/ 19 w 953"/>
                  <a:gd name="T55" fmla="*/ 246 h 469"/>
                  <a:gd name="T56" fmla="*/ 8 w 953"/>
                  <a:gd name="T57" fmla="*/ 286 h 469"/>
                  <a:gd name="T58" fmla="*/ 6 w 953"/>
                  <a:gd name="T59" fmla="*/ 317 h 469"/>
                  <a:gd name="T60" fmla="*/ 10 w 953"/>
                  <a:gd name="T61" fmla="*/ 328 h 469"/>
                  <a:gd name="T62" fmla="*/ 19 w 953"/>
                  <a:gd name="T63" fmla="*/ 340 h 469"/>
                  <a:gd name="T64" fmla="*/ 37 w 953"/>
                  <a:gd name="T65" fmla="*/ 379 h 469"/>
                  <a:gd name="T66" fmla="*/ 57 w 953"/>
                  <a:gd name="T67" fmla="*/ 401 h 469"/>
                  <a:gd name="T68" fmla="*/ 113 w 953"/>
                  <a:gd name="T69" fmla="*/ 438 h 469"/>
                  <a:gd name="T70" fmla="*/ 146 w 953"/>
                  <a:gd name="T71" fmla="*/ 463 h 469"/>
                  <a:gd name="T72" fmla="*/ 303 w 953"/>
                  <a:gd name="T73" fmla="*/ 461 h 469"/>
                  <a:gd name="T74" fmla="*/ 320 w 953"/>
                  <a:gd name="T75" fmla="*/ 440 h 469"/>
                  <a:gd name="T76" fmla="*/ 320 w 953"/>
                  <a:gd name="T77" fmla="*/ 410 h 469"/>
                  <a:gd name="T78" fmla="*/ 365 w 953"/>
                  <a:gd name="T79" fmla="*/ 391 h 469"/>
                  <a:gd name="T80" fmla="*/ 441 w 953"/>
                  <a:gd name="T81" fmla="*/ 373 h 469"/>
                  <a:gd name="T82" fmla="*/ 465 w 953"/>
                  <a:gd name="T83" fmla="*/ 350 h 469"/>
                  <a:gd name="T84" fmla="*/ 490 w 953"/>
                  <a:gd name="T85" fmla="*/ 360 h 469"/>
                  <a:gd name="T86" fmla="*/ 498 w 953"/>
                  <a:gd name="T87" fmla="*/ 368 h 469"/>
                  <a:gd name="T88" fmla="*/ 535 w 953"/>
                  <a:gd name="T89" fmla="*/ 362 h 469"/>
                  <a:gd name="T90" fmla="*/ 553 w 953"/>
                  <a:gd name="T91" fmla="*/ 344 h 469"/>
                  <a:gd name="T92" fmla="*/ 574 w 953"/>
                  <a:gd name="T93" fmla="*/ 344 h 469"/>
                  <a:gd name="T94" fmla="*/ 606 w 953"/>
                  <a:gd name="T95" fmla="*/ 289 h 469"/>
                  <a:gd name="T96" fmla="*/ 609 w 953"/>
                  <a:gd name="T97" fmla="*/ 274 h 469"/>
                  <a:gd name="T98" fmla="*/ 688 w 953"/>
                  <a:gd name="T99" fmla="*/ 276 h 469"/>
                  <a:gd name="T100" fmla="*/ 736 w 953"/>
                  <a:gd name="T101" fmla="*/ 278 h 469"/>
                  <a:gd name="T102" fmla="*/ 754 w 953"/>
                  <a:gd name="T103" fmla="*/ 268 h 469"/>
                  <a:gd name="T104" fmla="*/ 785 w 953"/>
                  <a:gd name="T105" fmla="*/ 282 h 469"/>
                  <a:gd name="T106" fmla="*/ 822 w 953"/>
                  <a:gd name="T107" fmla="*/ 323 h 469"/>
                  <a:gd name="T108" fmla="*/ 879 w 953"/>
                  <a:gd name="T109" fmla="*/ 311 h 469"/>
                  <a:gd name="T110" fmla="*/ 900 w 953"/>
                  <a:gd name="T111" fmla="*/ 250 h 469"/>
                  <a:gd name="T112" fmla="*/ 918 w 953"/>
                  <a:gd name="T113" fmla="*/ 219 h 469"/>
                  <a:gd name="T114" fmla="*/ 924 w 953"/>
                  <a:gd name="T115" fmla="*/ 196 h 469"/>
                  <a:gd name="T116" fmla="*/ 932 w 953"/>
                  <a:gd name="T117" fmla="*/ 178 h 469"/>
                  <a:gd name="T118" fmla="*/ 951 w 953"/>
                  <a:gd name="T119" fmla="*/ 147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53" h="469">
                    <a:moveTo>
                      <a:pt x="951" y="135"/>
                    </a:moveTo>
                    <a:lnTo>
                      <a:pt x="947" y="133"/>
                    </a:lnTo>
                    <a:lnTo>
                      <a:pt x="940" y="133"/>
                    </a:lnTo>
                    <a:lnTo>
                      <a:pt x="934" y="133"/>
                    </a:lnTo>
                    <a:lnTo>
                      <a:pt x="934" y="133"/>
                    </a:lnTo>
                    <a:lnTo>
                      <a:pt x="928" y="131"/>
                    </a:lnTo>
                    <a:lnTo>
                      <a:pt x="922" y="123"/>
                    </a:lnTo>
                    <a:lnTo>
                      <a:pt x="920" y="123"/>
                    </a:lnTo>
                    <a:lnTo>
                      <a:pt x="918" y="121"/>
                    </a:lnTo>
                    <a:lnTo>
                      <a:pt x="916" y="121"/>
                    </a:lnTo>
                    <a:lnTo>
                      <a:pt x="910" y="121"/>
                    </a:lnTo>
                    <a:lnTo>
                      <a:pt x="906" y="121"/>
                    </a:lnTo>
                    <a:lnTo>
                      <a:pt x="902" y="120"/>
                    </a:lnTo>
                    <a:lnTo>
                      <a:pt x="899" y="120"/>
                    </a:lnTo>
                    <a:lnTo>
                      <a:pt x="899" y="118"/>
                    </a:lnTo>
                    <a:lnTo>
                      <a:pt x="899" y="118"/>
                    </a:lnTo>
                    <a:lnTo>
                      <a:pt x="899" y="118"/>
                    </a:lnTo>
                    <a:lnTo>
                      <a:pt x="899" y="118"/>
                    </a:lnTo>
                    <a:lnTo>
                      <a:pt x="899" y="116"/>
                    </a:lnTo>
                    <a:lnTo>
                      <a:pt x="899" y="116"/>
                    </a:lnTo>
                    <a:lnTo>
                      <a:pt x="899" y="114"/>
                    </a:lnTo>
                    <a:lnTo>
                      <a:pt x="899" y="112"/>
                    </a:lnTo>
                    <a:lnTo>
                      <a:pt x="897" y="112"/>
                    </a:lnTo>
                    <a:lnTo>
                      <a:pt x="895" y="112"/>
                    </a:lnTo>
                    <a:lnTo>
                      <a:pt x="891" y="112"/>
                    </a:lnTo>
                    <a:lnTo>
                      <a:pt x="891" y="112"/>
                    </a:lnTo>
                    <a:lnTo>
                      <a:pt x="889" y="112"/>
                    </a:lnTo>
                    <a:lnTo>
                      <a:pt x="887" y="110"/>
                    </a:lnTo>
                    <a:lnTo>
                      <a:pt x="885" y="108"/>
                    </a:lnTo>
                    <a:lnTo>
                      <a:pt x="881" y="106"/>
                    </a:lnTo>
                    <a:lnTo>
                      <a:pt x="869" y="104"/>
                    </a:lnTo>
                    <a:lnTo>
                      <a:pt x="865" y="102"/>
                    </a:lnTo>
                    <a:lnTo>
                      <a:pt x="863" y="92"/>
                    </a:lnTo>
                    <a:lnTo>
                      <a:pt x="861" y="84"/>
                    </a:lnTo>
                    <a:lnTo>
                      <a:pt x="861" y="84"/>
                    </a:lnTo>
                    <a:lnTo>
                      <a:pt x="858" y="77"/>
                    </a:lnTo>
                    <a:lnTo>
                      <a:pt x="852" y="71"/>
                    </a:lnTo>
                    <a:lnTo>
                      <a:pt x="850" y="71"/>
                    </a:lnTo>
                    <a:lnTo>
                      <a:pt x="842" y="67"/>
                    </a:lnTo>
                    <a:lnTo>
                      <a:pt x="836" y="61"/>
                    </a:lnTo>
                    <a:lnTo>
                      <a:pt x="832" y="59"/>
                    </a:lnTo>
                    <a:lnTo>
                      <a:pt x="832" y="59"/>
                    </a:lnTo>
                    <a:lnTo>
                      <a:pt x="830" y="59"/>
                    </a:lnTo>
                    <a:lnTo>
                      <a:pt x="826" y="61"/>
                    </a:lnTo>
                    <a:lnTo>
                      <a:pt x="826" y="63"/>
                    </a:lnTo>
                    <a:lnTo>
                      <a:pt x="824" y="65"/>
                    </a:lnTo>
                    <a:lnTo>
                      <a:pt x="822" y="65"/>
                    </a:lnTo>
                    <a:lnTo>
                      <a:pt x="822" y="65"/>
                    </a:lnTo>
                    <a:lnTo>
                      <a:pt x="820" y="63"/>
                    </a:lnTo>
                    <a:lnTo>
                      <a:pt x="816" y="59"/>
                    </a:lnTo>
                    <a:lnTo>
                      <a:pt x="815" y="55"/>
                    </a:lnTo>
                    <a:lnTo>
                      <a:pt x="813" y="55"/>
                    </a:lnTo>
                    <a:lnTo>
                      <a:pt x="811" y="51"/>
                    </a:lnTo>
                    <a:lnTo>
                      <a:pt x="811" y="51"/>
                    </a:lnTo>
                    <a:lnTo>
                      <a:pt x="807" y="53"/>
                    </a:lnTo>
                    <a:lnTo>
                      <a:pt x="807" y="53"/>
                    </a:lnTo>
                    <a:lnTo>
                      <a:pt x="807" y="51"/>
                    </a:lnTo>
                    <a:lnTo>
                      <a:pt x="805" y="51"/>
                    </a:lnTo>
                    <a:lnTo>
                      <a:pt x="805" y="51"/>
                    </a:lnTo>
                    <a:lnTo>
                      <a:pt x="805" y="51"/>
                    </a:lnTo>
                    <a:lnTo>
                      <a:pt x="801" y="47"/>
                    </a:lnTo>
                    <a:lnTo>
                      <a:pt x="799" y="47"/>
                    </a:lnTo>
                    <a:lnTo>
                      <a:pt x="799" y="47"/>
                    </a:lnTo>
                    <a:lnTo>
                      <a:pt x="797" y="45"/>
                    </a:lnTo>
                    <a:lnTo>
                      <a:pt x="785" y="47"/>
                    </a:lnTo>
                    <a:lnTo>
                      <a:pt x="783" y="47"/>
                    </a:lnTo>
                    <a:lnTo>
                      <a:pt x="781" y="49"/>
                    </a:lnTo>
                    <a:lnTo>
                      <a:pt x="779" y="49"/>
                    </a:lnTo>
                    <a:lnTo>
                      <a:pt x="779" y="49"/>
                    </a:lnTo>
                    <a:lnTo>
                      <a:pt x="775" y="49"/>
                    </a:lnTo>
                    <a:lnTo>
                      <a:pt x="770" y="49"/>
                    </a:lnTo>
                    <a:lnTo>
                      <a:pt x="768" y="49"/>
                    </a:lnTo>
                    <a:lnTo>
                      <a:pt x="762" y="49"/>
                    </a:lnTo>
                    <a:lnTo>
                      <a:pt x="750" y="45"/>
                    </a:lnTo>
                    <a:lnTo>
                      <a:pt x="742" y="41"/>
                    </a:lnTo>
                    <a:lnTo>
                      <a:pt x="742" y="41"/>
                    </a:lnTo>
                    <a:lnTo>
                      <a:pt x="740" y="39"/>
                    </a:lnTo>
                    <a:lnTo>
                      <a:pt x="740" y="39"/>
                    </a:lnTo>
                    <a:lnTo>
                      <a:pt x="738" y="41"/>
                    </a:lnTo>
                    <a:lnTo>
                      <a:pt x="736" y="41"/>
                    </a:lnTo>
                    <a:lnTo>
                      <a:pt x="732" y="49"/>
                    </a:lnTo>
                    <a:lnTo>
                      <a:pt x="731" y="49"/>
                    </a:lnTo>
                    <a:lnTo>
                      <a:pt x="731" y="49"/>
                    </a:lnTo>
                    <a:lnTo>
                      <a:pt x="731" y="49"/>
                    </a:lnTo>
                    <a:lnTo>
                      <a:pt x="729" y="53"/>
                    </a:lnTo>
                    <a:lnTo>
                      <a:pt x="725" y="53"/>
                    </a:lnTo>
                    <a:lnTo>
                      <a:pt x="725" y="53"/>
                    </a:lnTo>
                    <a:lnTo>
                      <a:pt x="723" y="51"/>
                    </a:lnTo>
                    <a:lnTo>
                      <a:pt x="721" y="51"/>
                    </a:lnTo>
                    <a:lnTo>
                      <a:pt x="719" y="49"/>
                    </a:lnTo>
                    <a:lnTo>
                      <a:pt x="717" y="47"/>
                    </a:lnTo>
                    <a:lnTo>
                      <a:pt x="717" y="47"/>
                    </a:lnTo>
                    <a:lnTo>
                      <a:pt x="715" y="47"/>
                    </a:lnTo>
                    <a:lnTo>
                      <a:pt x="707" y="47"/>
                    </a:lnTo>
                    <a:lnTo>
                      <a:pt x="705" y="49"/>
                    </a:lnTo>
                    <a:lnTo>
                      <a:pt x="705" y="49"/>
                    </a:lnTo>
                    <a:lnTo>
                      <a:pt x="703" y="49"/>
                    </a:lnTo>
                    <a:lnTo>
                      <a:pt x="701" y="53"/>
                    </a:lnTo>
                    <a:lnTo>
                      <a:pt x="703" y="55"/>
                    </a:lnTo>
                    <a:lnTo>
                      <a:pt x="705" y="57"/>
                    </a:lnTo>
                    <a:lnTo>
                      <a:pt x="707" y="57"/>
                    </a:lnTo>
                    <a:lnTo>
                      <a:pt x="709" y="61"/>
                    </a:lnTo>
                    <a:lnTo>
                      <a:pt x="709" y="61"/>
                    </a:lnTo>
                    <a:lnTo>
                      <a:pt x="709" y="61"/>
                    </a:lnTo>
                    <a:lnTo>
                      <a:pt x="707" y="63"/>
                    </a:lnTo>
                    <a:lnTo>
                      <a:pt x="707" y="63"/>
                    </a:lnTo>
                    <a:lnTo>
                      <a:pt x="707" y="63"/>
                    </a:lnTo>
                    <a:lnTo>
                      <a:pt x="705" y="65"/>
                    </a:lnTo>
                    <a:lnTo>
                      <a:pt x="701" y="65"/>
                    </a:lnTo>
                    <a:lnTo>
                      <a:pt x="701" y="65"/>
                    </a:lnTo>
                    <a:lnTo>
                      <a:pt x="699" y="65"/>
                    </a:lnTo>
                    <a:lnTo>
                      <a:pt x="695" y="69"/>
                    </a:lnTo>
                    <a:lnTo>
                      <a:pt x="691" y="75"/>
                    </a:lnTo>
                    <a:lnTo>
                      <a:pt x="690" y="77"/>
                    </a:lnTo>
                    <a:lnTo>
                      <a:pt x="686" y="79"/>
                    </a:lnTo>
                    <a:lnTo>
                      <a:pt x="682" y="80"/>
                    </a:lnTo>
                    <a:lnTo>
                      <a:pt x="682" y="80"/>
                    </a:lnTo>
                    <a:lnTo>
                      <a:pt x="680" y="80"/>
                    </a:lnTo>
                    <a:lnTo>
                      <a:pt x="678" y="80"/>
                    </a:lnTo>
                    <a:lnTo>
                      <a:pt x="676" y="79"/>
                    </a:lnTo>
                    <a:lnTo>
                      <a:pt x="674" y="75"/>
                    </a:lnTo>
                    <a:lnTo>
                      <a:pt x="674" y="75"/>
                    </a:lnTo>
                    <a:lnTo>
                      <a:pt x="670" y="73"/>
                    </a:lnTo>
                    <a:lnTo>
                      <a:pt x="670" y="73"/>
                    </a:lnTo>
                    <a:lnTo>
                      <a:pt x="668" y="73"/>
                    </a:lnTo>
                    <a:lnTo>
                      <a:pt x="666" y="73"/>
                    </a:lnTo>
                    <a:lnTo>
                      <a:pt x="664" y="73"/>
                    </a:lnTo>
                    <a:lnTo>
                      <a:pt x="662" y="73"/>
                    </a:lnTo>
                    <a:lnTo>
                      <a:pt x="658" y="71"/>
                    </a:lnTo>
                    <a:lnTo>
                      <a:pt x="647" y="55"/>
                    </a:lnTo>
                    <a:lnTo>
                      <a:pt x="645" y="53"/>
                    </a:lnTo>
                    <a:lnTo>
                      <a:pt x="643" y="53"/>
                    </a:lnTo>
                    <a:lnTo>
                      <a:pt x="641" y="51"/>
                    </a:lnTo>
                    <a:lnTo>
                      <a:pt x="635" y="53"/>
                    </a:lnTo>
                    <a:lnTo>
                      <a:pt x="633" y="53"/>
                    </a:lnTo>
                    <a:lnTo>
                      <a:pt x="631" y="53"/>
                    </a:lnTo>
                    <a:lnTo>
                      <a:pt x="629" y="53"/>
                    </a:lnTo>
                    <a:lnTo>
                      <a:pt x="629" y="53"/>
                    </a:lnTo>
                    <a:lnTo>
                      <a:pt x="625" y="57"/>
                    </a:lnTo>
                    <a:lnTo>
                      <a:pt x="623" y="59"/>
                    </a:lnTo>
                    <a:lnTo>
                      <a:pt x="623" y="59"/>
                    </a:lnTo>
                    <a:lnTo>
                      <a:pt x="619" y="61"/>
                    </a:lnTo>
                    <a:lnTo>
                      <a:pt x="615" y="59"/>
                    </a:lnTo>
                    <a:lnTo>
                      <a:pt x="607" y="55"/>
                    </a:lnTo>
                    <a:lnTo>
                      <a:pt x="602" y="51"/>
                    </a:lnTo>
                    <a:lnTo>
                      <a:pt x="600" y="53"/>
                    </a:lnTo>
                    <a:lnTo>
                      <a:pt x="600" y="53"/>
                    </a:lnTo>
                    <a:lnTo>
                      <a:pt x="600" y="57"/>
                    </a:lnTo>
                    <a:lnTo>
                      <a:pt x="590" y="57"/>
                    </a:lnTo>
                    <a:lnTo>
                      <a:pt x="584" y="55"/>
                    </a:lnTo>
                    <a:lnTo>
                      <a:pt x="582" y="55"/>
                    </a:lnTo>
                    <a:lnTo>
                      <a:pt x="580" y="57"/>
                    </a:lnTo>
                    <a:lnTo>
                      <a:pt x="580" y="57"/>
                    </a:lnTo>
                    <a:lnTo>
                      <a:pt x="580" y="57"/>
                    </a:lnTo>
                    <a:lnTo>
                      <a:pt x="578" y="59"/>
                    </a:lnTo>
                    <a:lnTo>
                      <a:pt x="578" y="61"/>
                    </a:lnTo>
                    <a:lnTo>
                      <a:pt x="578" y="63"/>
                    </a:lnTo>
                    <a:lnTo>
                      <a:pt x="578" y="63"/>
                    </a:lnTo>
                    <a:lnTo>
                      <a:pt x="576" y="67"/>
                    </a:lnTo>
                    <a:lnTo>
                      <a:pt x="576" y="69"/>
                    </a:lnTo>
                    <a:lnTo>
                      <a:pt x="572" y="69"/>
                    </a:lnTo>
                    <a:lnTo>
                      <a:pt x="563" y="69"/>
                    </a:lnTo>
                    <a:lnTo>
                      <a:pt x="561" y="71"/>
                    </a:lnTo>
                    <a:lnTo>
                      <a:pt x="557" y="75"/>
                    </a:lnTo>
                    <a:lnTo>
                      <a:pt x="555" y="77"/>
                    </a:lnTo>
                    <a:lnTo>
                      <a:pt x="551" y="77"/>
                    </a:lnTo>
                    <a:lnTo>
                      <a:pt x="551" y="77"/>
                    </a:lnTo>
                    <a:lnTo>
                      <a:pt x="551" y="77"/>
                    </a:lnTo>
                    <a:lnTo>
                      <a:pt x="549" y="80"/>
                    </a:lnTo>
                    <a:lnTo>
                      <a:pt x="547" y="84"/>
                    </a:lnTo>
                    <a:lnTo>
                      <a:pt x="547" y="88"/>
                    </a:lnTo>
                    <a:lnTo>
                      <a:pt x="547" y="88"/>
                    </a:lnTo>
                    <a:lnTo>
                      <a:pt x="547" y="88"/>
                    </a:lnTo>
                    <a:lnTo>
                      <a:pt x="545" y="90"/>
                    </a:lnTo>
                    <a:lnTo>
                      <a:pt x="543" y="92"/>
                    </a:lnTo>
                    <a:lnTo>
                      <a:pt x="541" y="102"/>
                    </a:lnTo>
                    <a:lnTo>
                      <a:pt x="541" y="102"/>
                    </a:lnTo>
                    <a:lnTo>
                      <a:pt x="541" y="102"/>
                    </a:lnTo>
                    <a:lnTo>
                      <a:pt x="541" y="102"/>
                    </a:lnTo>
                    <a:lnTo>
                      <a:pt x="541" y="108"/>
                    </a:lnTo>
                    <a:lnTo>
                      <a:pt x="537" y="110"/>
                    </a:lnTo>
                    <a:lnTo>
                      <a:pt x="531" y="108"/>
                    </a:lnTo>
                    <a:lnTo>
                      <a:pt x="523" y="100"/>
                    </a:lnTo>
                    <a:lnTo>
                      <a:pt x="518" y="98"/>
                    </a:lnTo>
                    <a:lnTo>
                      <a:pt x="512" y="98"/>
                    </a:lnTo>
                    <a:lnTo>
                      <a:pt x="512" y="98"/>
                    </a:lnTo>
                    <a:lnTo>
                      <a:pt x="510" y="100"/>
                    </a:lnTo>
                    <a:lnTo>
                      <a:pt x="508" y="102"/>
                    </a:lnTo>
                    <a:lnTo>
                      <a:pt x="506" y="104"/>
                    </a:lnTo>
                    <a:lnTo>
                      <a:pt x="504" y="106"/>
                    </a:lnTo>
                    <a:lnTo>
                      <a:pt x="500" y="108"/>
                    </a:lnTo>
                    <a:lnTo>
                      <a:pt x="492" y="108"/>
                    </a:lnTo>
                    <a:lnTo>
                      <a:pt x="488" y="106"/>
                    </a:lnTo>
                    <a:lnTo>
                      <a:pt x="486" y="104"/>
                    </a:lnTo>
                    <a:lnTo>
                      <a:pt x="486" y="102"/>
                    </a:lnTo>
                    <a:lnTo>
                      <a:pt x="486" y="100"/>
                    </a:lnTo>
                    <a:lnTo>
                      <a:pt x="486" y="98"/>
                    </a:lnTo>
                    <a:lnTo>
                      <a:pt x="490" y="94"/>
                    </a:lnTo>
                    <a:lnTo>
                      <a:pt x="494" y="88"/>
                    </a:lnTo>
                    <a:lnTo>
                      <a:pt x="494" y="88"/>
                    </a:lnTo>
                    <a:lnTo>
                      <a:pt x="494" y="88"/>
                    </a:lnTo>
                    <a:lnTo>
                      <a:pt x="494" y="88"/>
                    </a:lnTo>
                    <a:lnTo>
                      <a:pt x="494" y="88"/>
                    </a:lnTo>
                    <a:lnTo>
                      <a:pt x="496" y="86"/>
                    </a:lnTo>
                    <a:lnTo>
                      <a:pt x="496" y="86"/>
                    </a:lnTo>
                    <a:lnTo>
                      <a:pt x="496" y="86"/>
                    </a:lnTo>
                    <a:lnTo>
                      <a:pt x="496" y="84"/>
                    </a:lnTo>
                    <a:lnTo>
                      <a:pt x="496" y="84"/>
                    </a:lnTo>
                    <a:lnTo>
                      <a:pt x="496" y="84"/>
                    </a:lnTo>
                    <a:lnTo>
                      <a:pt x="494" y="82"/>
                    </a:lnTo>
                    <a:lnTo>
                      <a:pt x="494" y="82"/>
                    </a:lnTo>
                    <a:lnTo>
                      <a:pt x="494" y="82"/>
                    </a:lnTo>
                    <a:lnTo>
                      <a:pt x="492" y="80"/>
                    </a:lnTo>
                    <a:lnTo>
                      <a:pt x="492" y="80"/>
                    </a:lnTo>
                    <a:lnTo>
                      <a:pt x="492" y="80"/>
                    </a:lnTo>
                    <a:lnTo>
                      <a:pt x="492" y="80"/>
                    </a:lnTo>
                    <a:lnTo>
                      <a:pt x="492" y="80"/>
                    </a:lnTo>
                    <a:lnTo>
                      <a:pt x="492" y="80"/>
                    </a:lnTo>
                    <a:lnTo>
                      <a:pt x="492" y="79"/>
                    </a:lnTo>
                    <a:lnTo>
                      <a:pt x="492" y="79"/>
                    </a:lnTo>
                    <a:lnTo>
                      <a:pt x="492" y="77"/>
                    </a:lnTo>
                    <a:lnTo>
                      <a:pt x="494" y="77"/>
                    </a:lnTo>
                    <a:lnTo>
                      <a:pt x="492" y="63"/>
                    </a:lnTo>
                    <a:lnTo>
                      <a:pt x="492" y="59"/>
                    </a:lnTo>
                    <a:lnTo>
                      <a:pt x="490" y="55"/>
                    </a:lnTo>
                    <a:lnTo>
                      <a:pt x="488" y="53"/>
                    </a:lnTo>
                    <a:lnTo>
                      <a:pt x="482" y="55"/>
                    </a:lnTo>
                    <a:lnTo>
                      <a:pt x="480" y="55"/>
                    </a:lnTo>
                    <a:lnTo>
                      <a:pt x="479" y="55"/>
                    </a:lnTo>
                    <a:lnTo>
                      <a:pt x="477" y="55"/>
                    </a:lnTo>
                    <a:lnTo>
                      <a:pt x="467" y="53"/>
                    </a:lnTo>
                    <a:lnTo>
                      <a:pt x="467" y="53"/>
                    </a:lnTo>
                    <a:lnTo>
                      <a:pt x="467" y="51"/>
                    </a:lnTo>
                    <a:lnTo>
                      <a:pt x="467" y="51"/>
                    </a:lnTo>
                    <a:lnTo>
                      <a:pt x="467" y="49"/>
                    </a:lnTo>
                    <a:lnTo>
                      <a:pt x="467" y="45"/>
                    </a:lnTo>
                    <a:lnTo>
                      <a:pt x="467" y="43"/>
                    </a:lnTo>
                    <a:lnTo>
                      <a:pt x="467" y="41"/>
                    </a:lnTo>
                    <a:lnTo>
                      <a:pt x="463" y="41"/>
                    </a:lnTo>
                    <a:lnTo>
                      <a:pt x="461" y="41"/>
                    </a:lnTo>
                    <a:lnTo>
                      <a:pt x="457" y="41"/>
                    </a:lnTo>
                    <a:lnTo>
                      <a:pt x="455" y="39"/>
                    </a:lnTo>
                    <a:lnTo>
                      <a:pt x="453" y="38"/>
                    </a:lnTo>
                    <a:lnTo>
                      <a:pt x="453" y="38"/>
                    </a:lnTo>
                    <a:lnTo>
                      <a:pt x="451" y="30"/>
                    </a:lnTo>
                    <a:lnTo>
                      <a:pt x="449" y="24"/>
                    </a:lnTo>
                    <a:lnTo>
                      <a:pt x="447" y="16"/>
                    </a:lnTo>
                    <a:lnTo>
                      <a:pt x="445" y="12"/>
                    </a:lnTo>
                    <a:lnTo>
                      <a:pt x="445" y="10"/>
                    </a:lnTo>
                    <a:lnTo>
                      <a:pt x="443" y="10"/>
                    </a:lnTo>
                    <a:lnTo>
                      <a:pt x="441" y="8"/>
                    </a:lnTo>
                    <a:lnTo>
                      <a:pt x="441" y="8"/>
                    </a:lnTo>
                    <a:lnTo>
                      <a:pt x="441" y="6"/>
                    </a:lnTo>
                    <a:lnTo>
                      <a:pt x="439" y="4"/>
                    </a:lnTo>
                    <a:lnTo>
                      <a:pt x="438" y="2"/>
                    </a:lnTo>
                    <a:lnTo>
                      <a:pt x="436" y="0"/>
                    </a:lnTo>
                    <a:lnTo>
                      <a:pt x="436" y="0"/>
                    </a:lnTo>
                    <a:lnTo>
                      <a:pt x="436" y="0"/>
                    </a:lnTo>
                    <a:lnTo>
                      <a:pt x="434" y="0"/>
                    </a:lnTo>
                    <a:lnTo>
                      <a:pt x="434" y="2"/>
                    </a:lnTo>
                    <a:lnTo>
                      <a:pt x="434" y="2"/>
                    </a:lnTo>
                    <a:lnTo>
                      <a:pt x="420" y="18"/>
                    </a:lnTo>
                    <a:lnTo>
                      <a:pt x="418" y="20"/>
                    </a:lnTo>
                    <a:lnTo>
                      <a:pt x="418" y="20"/>
                    </a:lnTo>
                    <a:lnTo>
                      <a:pt x="418" y="20"/>
                    </a:lnTo>
                    <a:lnTo>
                      <a:pt x="418" y="20"/>
                    </a:lnTo>
                    <a:lnTo>
                      <a:pt x="416" y="20"/>
                    </a:lnTo>
                    <a:lnTo>
                      <a:pt x="414" y="20"/>
                    </a:lnTo>
                    <a:lnTo>
                      <a:pt x="414" y="22"/>
                    </a:lnTo>
                    <a:lnTo>
                      <a:pt x="408" y="20"/>
                    </a:lnTo>
                    <a:lnTo>
                      <a:pt x="406" y="22"/>
                    </a:lnTo>
                    <a:lnTo>
                      <a:pt x="404" y="22"/>
                    </a:lnTo>
                    <a:lnTo>
                      <a:pt x="402" y="24"/>
                    </a:lnTo>
                    <a:lnTo>
                      <a:pt x="400" y="26"/>
                    </a:lnTo>
                    <a:lnTo>
                      <a:pt x="398" y="30"/>
                    </a:lnTo>
                    <a:lnTo>
                      <a:pt x="396" y="34"/>
                    </a:lnTo>
                    <a:lnTo>
                      <a:pt x="395" y="38"/>
                    </a:lnTo>
                    <a:lnTo>
                      <a:pt x="396" y="38"/>
                    </a:lnTo>
                    <a:lnTo>
                      <a:pt x="396" y="38"/>
                    </a:lnTo>
                    <a:lnTo>
                      <a:pt x="396" y="39"/>
                    </a:lnTo>
                    <a:lnTo>
                      <a:pt x="396" y="39"/>
                    </a:lnTo>
                    <a:lnTo>
                      <a:pt x="396" y="39"/>
                    </a:lnTo>
                    <a:lnTo>
                      <a:pt x="396" y="41"/>
                    </a:lnTo>
                    <a:lnTo>
                      <a:pt x="396" y="41"/>
                    </a:lnTo>
                    <a:lnTo>
                      <a:pt x="396" y="41"/>
                    </a:lnTo>
                    <a:lnTo>
                      <a:pt x="396" y="41"/>
                    </a:lnTo>
                    <a:lnTo>
                      <a:pt x="396" y="41"/>
                    </a:lnTo>
                    <a:lnTo>
                      <a:pt x="395" y="41"/>
                    </a:lnTo>
                    <a:lnTo>
                      <a:pt x="395" y="41"/>
                    </a:lnTo>
                    <a:lnTo>
                      <a:pt x="393" y="41"/>
                    </a:lnTo>
                    <a:lnTo>
                      <a:pt x="393" y="41"/>
                    </a:lnTo>
                    <a:lnTo>
                      <a:pt x="393" y="47"/>
                    </a:lnTo>
                    <a:lnTo>
                      <a:pt x="391" y="49"/>
                    </a:lnTo>
                    <a:lnTo>
                      <a:pt x="391" y="51"/>
                    </a:lnTo>
                    <a:lnTo>
                      <a:pt x="391" y="51"/>
                    </a:lnTo>
                    <a:lnTo>
                      <a:pt x="385" y="55"/>
                    </a:lnTo>
                    <a:lnTo>
                      <a:pt x="383" y="55"/>
                    </a:lnTo>
                    <a:lnTo>
                      <a:pt x="381" y="55"/>
                    </a:lnTo>
                    <a:lnTo>
                      <a:pt x="379" y="55"/>
                    </a:lnTo>
                    <a:lnTo>
                      <a:pt x="377" y="53"/>
                    </a:lnTo>
                    <a:lnTo>
                      <a:pt x="377" y="53"/>
                    </a:lnTo>
                    <a:lnTo>
                      <a:pt x="375" y="51"/>
                    </a:lnTo>
                    <a:lnTo>
                      <a:pt x="373" y="51"/>
                    </a:lnTo>
                    <a:lnTo>
                      <a:pt x="373" y="51"/>
                    </a:lnTo>
                    <a:lnTo>
                      <a:pt x="369" y="51"/>
                    </a:lnTo>
                    <a:lnTo>
                      <a:pt x="363" y="55"/>
                    </a:lnTo>
                    <a:lnTo>
                      <a:pt x="357" y="57"/>
                    </a:lnTo>
                    <a:lnTo>
                      <a:pt x="355" y="55"/>
                    </a:lnTo>
                    <a:lnTo>
                      <a:pt x="355" y="55"/>
                    </a:lnTo>
                    <a:lnTo>
                      <a:pt x="355" y="55"/>
                    </a:lnTo>
                    <a:lnTo>
                      <a:pt x="355" y="55"/>
                    </a:lnTo>
                    <a:lnTo>
                      <a:pt x="354" y="53"/>
                    </a:lnTo>
                    <a:lnTo>
                      <a:pt x="354" y="51"/>
                    </a:lnTo>
                    <a:lnTo>
                      <a:pt x="355" y="43"/>
                    </a:lnTo>
                    <a:lnTo>
                      <a:pt x="354" y="39"/>
                    </a:lnTo>
                    <a:lnTo>
                      <a:pt x="354" y="38"/>
                    </a:lnTo>
                    <a:lnTo>
                      <a:pt x="354" y="36"/>
                    </a:lnTo>
                    <a:lnTo>
                      <a:pt x="354" y="34"/>
                    </a:lnTo>
                    <a:lnTo>
                      <a:pt x="354" y="34"/>
                    </a:lnTo>
                    <a:lnTo>
                      <a:pt x="354" y="34"/>
                    </a:lnTo>
                    <a:lnTo>
                      <a:pt x="355" y="30"/>
                    </a:lnTo>
                    <a:lnTo>
                      <a:pt x="350" y="26"/>
                    </a:lnTo>
                    <a:lnTo>
                      <a:pt x="350" y="26"/>
                    </a:lnTo>
                    <a:lnTo>
                      <a:pt x="338" y="26"/>
                    </a:lnTo>
                    <a:lnTo>
                      <a:pt x="334" y="24"/>
                    </a:lnTo>
                    <a:lnTo>
                      <a:pt x="326" y="24"/>
                    </a:lnTo>
                    <a:lnTo>
                      <a:pt x="324" y="26"/>
                    </a:lnTo>
                    <a:lnTo>
                      <a:pt x="316" y="32"/>
                    </a:lnTo>
                    <a:lnTo>
                      <a:pt x="312" y="32"/>
                    </a:lnTo>
                    <a:lnTo>
                      <a:pt x="307" y="32"/>
                    </a:lnTo>
                    <a:lnTo>
                      <a:pt x="301" y="28"/>
                    </a:lnTo>
                    <a:lnTo>
                      <a:pt x="301" y="28"/>
                    </a:lnTo>
                    <a:lnTo>
                      <a:pt x="299" y="28"/>
                    </a:lnTo>
                    <a:lnTo>
                      <a:pt x="295" y="30"/>
                    </a:lnTo>
                    <a:lnTo>
                      <a:pt x="287" y="30"/>
                    </a:lnTo>
                    <a:lnTo>
                      <a:pt x="283" y="32"/>
                    </a:lnTo>
                    <a:lnTo>
                      <a:pt x="283" y="34"/>
                    </a:lnTo>
                    <a:lnTo>
                      <a:pt x="281" y="39"/>
                    </a:lnTo>
                    <a:lnTo>
                      <a:pt x="281" y="41"/>
                    </a:lnTo>
                    <a:lnTo>
                      <a:pt x="279" y="41"/>
                    </a:lnTo>
                    <a:lnTo>
                      <a:pt x="275" y="45"/>
                    </a:lnTo>
                    <a:lnTo>
                      <a:pt x="268" y="53"/>
                    </a:lnTo>
                    <a:lnTo>
                      <a:pt x="264" y="57"/>
                    </a:lnTo>
                    <a:lnTo>
                      <a:pt x="258" y="55"/>
                    </a:lnTo>
                    <a:lnTo>
                      <a:pt x="258" y="67"/>
                    </a:lnTo>
                    <a:lnTo>
                      <a:pt x="254" y="71"/>
                    </a:lnTo>
                    <a:lnTo>
                      <a:pt x="248" y="75"/>
                    </a:lnTo>
                    <a:lnTo>
                      <a:pt x="227" y="84"/>
                    </a:lnTo>
                    <a:lnTo>
                      <a:pt x="221" y="88"/>
                    </a:lnTo>
                    <a:lnTo>
                      <a:pt x="217" y="96"/>
                    </a:lnTo>
                    <a:lnTo>
                      <a:pt x="213" y="104"/>
                    </a:lnTo>
                    <a:lnTo>
                      <a:pt x="211" y="112"/>
                    </a:lnTo>
                    <a:lnTo>
                      <a:pt x="211" y="118"/>
                    </a:lnTo>
                    <a:lnTo>
                      <a:pt x="211" y="120"/>
                    </a:lnTo>
                    <a:lnTo>
                      <a:pt x="211" y="131"/>
                    </a:lnTo>
                    <a:lnTo>
                      <a:pt x="211" y="137"/>
                    </a:lnTo>
                    <a:lnTo>
                      <a:pt x="207" y="143"/>
                    </a:lnTo>
                    <a:lnTo>
                      <a:pt x="201" y="147"/>
                    </a:lnTo>
                    <a:lnTo>
                      <a:pt x="195" y="151"/>
                    </a:lnTo>
                    <a:lnTo>
                      <a:pt x="187" y="149"/>
                    </a:lnTo>
                    <a:lnTo>
                      <a:pt x="184" y="151"/>
                    </a:lnTo>
                    <a:lnTo>
                      <a:pt x="180" y="153"/>
                    </a:lnTo>
                    <a:lnTo>
                      <a:pt x="178" y="157"/>
                    </a:lnTo>
                    <a:lnTo>
                      <a:pt x="176" y="161"/>
                    </a:lnTo>
                    <a:lnTo>
                      <a:pt x="176" y="168"/>
                    </a:lnTo>
                    <a:lnTo>
                      <a:pt x="174" y="172"/>
                    </a:lnTo>
                    <a:lnTo>
                      <a:pt x="170" y="174"/>
                    </a:lnTo>
                    <a:lnTo>
                      <a:pt x="168" y="174"/>
                    </a:lnTo>
                    <a:lnTo>
                      <a:pt x="164" y="174"/>
                    </a:lnTo>
                    <a:lnTo>
                      <a:pt x="160" y="174"/>
                    </a:lnTo>
                    <a:lnTo>
                      <a:pt x="156" y="178"/>
                    </a:lnTo>
                    <a:lnTo>
                      <a:pt x="150" y="188"/>
                    </a:lnTo>
                    <a:lnTo>
                      <a:pt x="148" y="190"/>
                    </a:lnTo>
                    <a:lnTo>
                      <a:pt x="115" y="202"/>
                    </a:lnTo>
                    <a:lnTo>
                      <a:pt x="109" y="202"/>
                    </a:lnTo>
                    <a:lnTo>
                      <a:pt x="105" y="196"/>
                    </a:lnTo>
                    <a:lnTo>
                      <a:pt x="101" y="196"/>
                    </a:lnTo>
                    <a:lnTo>
                      <a:pt x="98" y="196"/>
                    </a:lnTo>
                    <a:lnTo>
                      <a:pt x="96" y="198"/>
                    </a:lnTo>
                    <a:lnTo>
                      <a:pt x="92" y="200"/>
                    </a:lnTo>
                    <a:lnTo>
                      <a:pt x="90" y="202"/>
                    </a:lnTo>
                    <a:lnTo>
                      <a:pt x="70" y="192"/>
                    </a:lnTo>
                    <a:lnTo>
                      <a:pt x="62" y="188"/>
                    </a:lnTo>
                    <a:lnTo>
                      <a:pt x="55" y="190"/>
                    </a:lnTo>
                    <a:lnTo>
                      <a:pt x="45" y="198"/>
                    </a:lnTo>
                    <a:lnTo>
                      <a:pt x="45" y="200"/>
                    </a:lnTo>
                    <a:lnTo>
                      <a:pt x="43" y="204"/>
                    </a:lnTo>
                    <a:lnTo>
                      <a:pt x="41" y="207"/>
                    </a:lnTo>
                    <a:lnTo>
                      <a:pt x="35" y="211"/>
                    </a:lnTo>
                    <a:lnTo>
                      <a:pt x="31" y="219"/>
                    </a:lnTo>
                    <a:lnTo>
                      <a:pt x="21" y="243"/>
                    </a:lnTo>
                    <a:lnTo>
                      <a:pt x="19" y="246"/>
                    </a:lnTo>
                    <a:lnTo>
                      <a:pt x="17" y="250"/>
                    </a:lnTo>
                    <a:lnTo>
                      <a:pt x="17" y="254"/>
                    </a:lnTo>
                    <a:lnTo>
                      <a:pt x="19" y="266"/>
                    </a:lnTo>
                    <a:lnTo>
                      <a:pt x="17" y="270"/>
                    </a:lnTo>
                    <a:lnTo>
                      <a:pt x="17" y="272"/>
                    </a:lnTo>
                    <a:lnTo>
                      <a:pt x="17" y="272"/>
                    </a:lnTo>
                    <a:lnTo>
                      <a:pt x="17" y="272"/>
                    </a:lnTo>
                    <a:lnTo>
                      <a:pt x="16" y="274"/>
                    </a:lnTo>
                    <a:lnTo>
                      <a:pt x="16" y="274"/>
                    </a:lnTo>
                    <a:lnTo>
                      <a:pt x="16" y="274"/>
                    </a:lnTo>
                    <a:lnTo>
                      <a:pt x="12" y="276"/>
                    </a:lnTo>
                    <a:lnTo>
                      <a:pt x="12" y="280"/>
                    </a:lnTo>
                    <a:lnTo>
                      <a:pt x="10" y="282"/>
                    </a:lnTo>
                    <a:lnTo>
                      <a:pt x="8" y="286"/>
                    </a:lnTo>
                    <a:lnTo>
                      <a:pt x="6" y="289"/>
                    </a:lnTo>
                    <a:lnTo>
                      <a:pt x="4" y="291"/>
                    </a:lnTo>
                    <a:lnTo>
                      <a:pt x="4" y="295"/>
                    </a:lnTo>
                    <a:lnTo>
                      <a:pt x="2" y="301"/>
                    </a:lnTo>
                    <a:lnTo>
                      <a:pt x="2" y="309"/>
                    </a:lnTo>
                    <a:lnTo>
                      <a:pt x="2" y="311"/>
                    </a:lnTo>
                    <a:lnTo>
                      <a:pt x="2" y="311"/>
                    </a:lnTo>
                    <a:lnTo>
                      <a:pt x="0" y="311"/>
                    </a:lnTo>
                    <a:lnTo>
                      <a:pt x="0" y="313"/>
                    </a:lnTo>
                    <a:lnTo>
                      <a:pt x="0" y="315"/>
                    </a:lnTo>
                    <a:lnTo>
                      <a:pt x="2" y="317"/>
                    </a:lnTo>
                    <a:lnTo>
                      <a:pt x="2" y="317"/>
                    </a:lnTo>
                    <a:lnTo>
                      <a:pt x="2" y="317"/>
                    </a:lnTo>
                    <a:lnTo>
                      <a:pt x="6" y="317"/>
                    </a:lnTo>
                    <a:lnTo>
                      <a:pt x="6" y="319"/>
                    </a:lnTo>
                    <a:lnTo>
                      <a:pt x="8" y="319"/>
                    </a:lnTo>
                    <a:lnTo>
                      <a:pt x="8" y="321"/>
                    </a:lnTo>
                    <a:lnTo>
                      <a:pt x="10" y="321"/>
                    </a:lnTo>
                    <a:lnTo>
                      <a:pt x="10" y="321"/>
                    </a:lnTo>
                    <a:lnTo>
                      <a:pt x="10" y="321"/>
                    </a:lnTo>
                    <a:lnTo>
                      <a:pt x="10" y="323"/>
                    </a:lnTo>
                    <a:lnTo>
                      <a:pt x="12" y="325"/>
                    </a:lnTo>
                    <a:lnTo>
                      <a:pt x="10" y="325"/>
                    </a:lnTo>
                    <a:lnTo>
                      <a:pt x="10" y="327"/>
                    </a:lnTo>
                    <a:lnTo>
                      <a:pt x="10" y="327"/>
                    </a:lnTo>
                    <a:lnTo>
                      <a:pt x="10" y="328"/>
                    </a:lnTo>
                    <a:lnTo>
                      <a:pt x="10" y="328"/>
                    </a:lnTo>
                    <a:lnTo>
                      <a:pt x="10" y="328"/>
                    </a:lnTo>
                    <a:lnTo>
                      <a:pt x="12" y="328"/>
                    </a:lnTo>
                    <a:lnTo>
                      <a:pt x="12" y="330"/>
                    </a:lnTo>
                    <a:lnTo>
                      <a:pt x="12" y="330"/>
                    </a:lnTo>
                    <a:lnTo>
                      <a:pt x="12" y="332"/>
                    </a:lnTo>
                    <a:lnTo>
                      <a:pt x="12" y="334"/>
                    </a:lnTo>
                    <a:lnTo>
                      <a:pt x="14" y="334"/>
                    </a:lnTo>
                    <a:lnTo>
                      <a:pt x="16" y="336"/>
                    </a:lnTo>
                    <a:lnTo>
                      <a:pt x="17" y="336"/>
                    </a:lnTo>
                    <a:lnTo>
                      <a:pt x="17" y="336"/>
                    </a:lnTo>
                    <a:lnTo>
                      <a:pt x="17" y="336"/>
                    </a:lnTo>
                    <a:lnTo>
                      <a:pt x="17" y="338"/>
                    </a:lnTo>
                    <a:lnTo>
                      <a:pt x="19" y="338"/>
                    </a:lnTo>
                    <a:lnTo>
                      <a:pt x="19" y="338"/>
                    </a:lnTo>
                    <a:lnTo>
                      <a:pt x="19" y="340"/>
                    </a:lnTo>
                    <a:lnTo>
                      <a:pt x="19" y="340"/>
                    </a:lnTo>
                    <a:lnTo>
                      <a:pt x="19" y="342"/>
                    </a:lnTo>
                    <a:lnTo>
                      <a:pt x="19" y="344"/>
                    </a:lnTo>
                    <a:lnTo>
                      <a:pt x="21" y="352"/>
                    </a:lnTo>
                    <a:lnTo>
                      <a:pt x="21" y="358"/>
                    </a:lnTo>
                    <a:lnTo>
                      <a:pt x="21" y="362"/>
                    </a:lnTo>
                    <a:lnTo>
                      <a:pt x="23" y="366"/>
                    </a:lnTo>
                    <a:lnTo>
                      <a:pt x="27" y="371"/>
                    </a:lnTo>
                    <a:lnTo>
                      <a:pt x="29" y="371"/>
                    </a:lnTo>
                    <a:lnTo>
                      <a:pt x="29" y="371"/>
                    </a:lnTo>
                    <a:lnTo>
                      <a:pt x="33" y="373"/>
                    </a:lnTo>
                    <a:lnTo>
                      <a:pt x="33" y="373"/>
                    </a:lnTo>
                    <a:lnTo>
                      <a:pt x="35" y="373"/>
                    </a:lnTo>
                    <a:lnTo>
                      <a:pt x="37" y="379"/>
                    </a:lnTo>
                    <a:lnTo>
                      <a:pt x="37" y="379"/>
                    </a:lnTo>
                    <a:lnTo>
                      <a:pt x="39" y="381"/>
                    </a:lnTo>
                    <a:lnTo>
                      <a:pt x="39" y="383"/>
                    </a:lnTo>
                    <a:lnTo>
                      <a:pt x="39" y="385"/>
                    </a:lnTo>
                    <a:lnTo>
                      <a:pt x="37" y="387"/>
                    </a:lnTo>
                    <a:lnTo>
                      <a:pt x="37" y="391"/>
                    </a:lnTo>
                    <a:lnTo>
                      <a:pt x="37" y="391"/>
                    </a:lnTo>
                    <a:lnTo>
                      <a:pt x="39" y="393"/>
                    </a:lnTo>
                    <a:lnTo>
                      <a:pt x="39" y="393"/>
                    </a:lnTo>
                    <a:lnTo>
                      <a:pt x="39" y="397"/>
                    </a:lnTo>
                    <a:lnTo>
                      <a:pt x="43" y="399"/>
                    </a:lnTo>
                    <a:lnTo>
                      <a:pt x="47" y="401"/>
                    </a:lnTo>
                    <a:lnTo>
                      <a:pt x="51" y="405"/>
                    </a:lnTo>
                    <a:lnTo>
                      <a:pt x="57" y="401"/>
                    </a:lnTo>
                    <a:lnTo>
                      <a:pt x="64" y="403"/>
                    </a:lnTo>
                    <a:lnTo>
                      <a:pt x="70" y="405"/>
                    </a:lnTo>
                    <a:lnTo>
                      <a:pt x="72" y="405"/>
                    </a:lnTo>
                    <a:lnTo>
                      <a:pt x="84" y="407"/>
                    </a:lnTo>
                    <a:lnTo>
                      <a:pt x="84" y="409"/>
                    </a:lnTo>
                    <a:lnTo>
                      <a:pt x="88" y="410"/>
                    </a:lnTo>
                    <a:lnTo>
                      <a:pt x="96" y="420"/>
                    </a:lnTo>
                    <a:lnTo>
                      <a:pt x="105" y="434"/>
                    </a:lnTo>
                    <a:lnTo>
                      <a:pt x="107" y="436"/>
                    </a:lnTo>
                    <a:lnTo>
                      <a:pt x="107" y="436"/>
                    </a:lnTo>
                    <a:lnTo>
                      <a:pt x="109" y="436"/>
                    </a:lnTo>
                    <a:lnTo>
                      <a:pt x="111" y="438"/>
                    </a:lnTo>
                    <a:lnTo>
                      <a:pt x="113" y="438"/>
                    </a:lnTo>
                    <a:lnTo>
                      <a:pt x="113" y="438"/>
                    </a:lnTo>
                    <a:lnTo>
                      <a:pt x="115" y="438"/>
                    </a:lnTo>
                    <a:lnTo>
                      <a:pt x="121" y="448"/>
                    </a:lnTo>
                    <a:lnTo>
                      <a:pt x="123" y="450"/>
                    </a:lnTo>
                    <a:lnTo>
                      <a:pt x="125" y="450"/>
                    </a:lnTo>
                    <a:lnTo>
                      <a:pt x="125" y="448"/>
                    </a:lnTo>
                    <a:lnTo>
                      <a:pt x="127" y="448"/>
                    </a:lnTo>
                    <a:lnTo>
                      <a:pt x="129" y="450"/>
                    </a:lnTo>
                    <a:lnTo>
                      <a:pt x="131" y="450"/>
                    </a:lnTo>
                    <a:lnTo>
                      <a:pt x="133" y="451"/>
                    </a:lnTo>
                    <a:lnTo>
                      <a:pt x="137" y="453"/>
                    </a:lnTo>
                    <a:lnTo>
                      <a:pt x="137" y="455"/>
                    </a:lnTo>
                    <a:lnTo>
                      <a:pt x="139" y="457"/>
                    </a:lnTo>
                    <a:lnTo>
                      <a:pt x="141" y="459"/>
                    </a:lnTo>
                    <a:lnTo>
                      <a:pt x="146" y="463"/>
                    </a:lnTo>
                    <a:lnTo>
                      <a:pt x="150" y="465"/>
                    </a:lnTo>
                    <a:lnTo>
                      <a:pt x="164" y="469"/>
                    </a:lnTo>
                    <a:lnTo>
                      <a:pt x="168" y="469"/>
                    </a:lnTo>
                    <a:lnTo>
                      <a:pt x="174" y="467"/>
                    </a:lnTo>
                    <a:lnTo>
                      <a:pt x="189" y="467"/>
                    </a:lnTo>
                    <a:lnTo>
                      <a:pt x="213" y="465"/>
                    </a:lnTo>
                    <a:lnTo>
                      <a:pt x="232" y="467"/>
                    </a:lnTo>
                    <a:lnTo>
                      <a:pt x="240" y="467"/>
                    </a:lnTo>
                    <a:lnTo>
                      <a:pt x="252" y="461"/>
                    </a:lnTo>
                    <a:lnTo>
                      <a:pt x="287" y="457"/>
                    </a:lnTo>
                    <a:lnTo>
                      <a:pt x="293" y="459"/>
                    </a:lnTo>
                    <a:lnTo>
                      <a:pt x="297" y="459"/>
                    </a:lnTo>
                    <a:lnTo>
                      <a:pt x="301" y="461"/>
                    </a:lnTo>
                    <a:lnTo>
                      <a:pt x="303" y="461"/>
                    </a:lnTo>
                    <a:lnTo>
                      <a:pt x="305" y="461"/>
                    </a:lnTo>
                    <a:lnTo>
                      <a:pt x="311" y="461"/>
                    </a:lnTo>
                    <a:lnTo>
                      <a:pt x="312" y="461"/>
                    </a:lnTo>
                    <a:lnTo>
                      <a:pt x="314" y="459"/>
                    </a:lnTo>
                    <a:lnTo>
                      <a:pt x="320" y="453"/>
                    </a:lnTo>
                    <a:lnTo>
                      <a:pt x="322" y="451"/>
                    </a:lnTo>
                    <a:lnTo>
                      <a:pt x="324" y="450"/>
                    </a:lnTo>
                    <a:lnTo>
                      <a:pt x="326" y="450"/>
                    </a:lnTo>
                    <a:lnTo>
                      <a:pt x="330" y="448"/>
                    </a:lnTo>
                    <a:lnTo>
                      <a:pt x="330" y="448"/>
                    </a:lnTo>
                    <a:lnTo>
                      <a:pt x="330" y="448"/>
                    </a:lnTo>
                    <a:lnTo>
                      <a:pt x="326" y="444"/>
                    </a:lnTo>
                    <a:lnTo>
                      <a:pt x="324" y="444"/>
                    </a:lnTo>
                    <a:lnTo>
                      <a:pt x="320" y="440"/>
                    </a:lnTo>
                    <a:lnTo>
                      <a:pt x="318" y="438"/>
                    </a:lnTo>
                    <a:lnTo>
                      <a:pt x="318" y="436"/>
                    </a:lnTo>
                    <a:lnTo>
                      <a:pt x="318" y="434"/>
                    </a:lnTo>
                    <a:lnTo>
                      <a:pt x="318" y="428"/>
                    </a:lnTo>
                    <a:lnTo>
                      <a:pt x="318" y="424"/>
                    </a:lnTo>
                    <a:lnTo>
                      <a:pt x="320" y="418"/>
                    </a:lnTo>
                    <a:lnTo>
                      <a:pt x="320" y="418"/>
                    </a:lnTo>
                    <a:lnTo>
                      <a:pt x="320" y="416"/>
                    </a:lnTo>
                    <a:lnTo>
                      <a:pt x="318" y="414"/>
                    </a:lnTo>
                    <a:lnTo>
                      <a:pt x="318" y="414"/>
                    </a:lnTo>
                    <a:lnTo>
                      <a:pt x="318" y="414"/>
                    </a:lnTo>
                    <a:lnTo>
                      <a:pt x="320" y="410"/>
                    </a:lnTo>
                    <a:lnTo>
                      <a:pt x="320" y="410"/>
                    </a:lnTo>
                    <a:lnTo>
                      <a:pt x="320" y="410"/>
                    </a:lnTo>
                    <a:lnTo>
                      <a:pt x="320" y="410"/>
                    </a:lnTo>
                    <a:lnTo>
                      <a:pt x="322" y="410"/>
                    </a:lnTo>
                    <a:lnTo>
                      <a:pt x="324" y="410"/>
                    </a:lnTo>
                    <a:lnTo>
                      <a:pt x="326" y="409"/>
                    </a:lnTo>
                    <a:lnTo>
                      <a:pt x="326" y="409"/>
                    </a:lnTo>
                    <a:lnTo>
                      <a:pt x="330" y="401"/>
                    </a:lnTo>
                    <a:lnTo>
                      <a:pt x="332" y="399"/>
                    </a:lnTo>
                    <a:lnTo>
                      <a:pt x="334" y="397"/>
                    </a:lnTo>
                    <a:lnTo>
                      <a:pt x="350" y="393"/>
                    </a:lnTo>
                    <a:lnTo>
                      <a:pt x="352" y="393"/>
                    </a:lnTo>
                    <a:lnTo>
                      <a:pt x="357" y="391"/>
                    </a:lnTo>
                    <a:lnTo>
                      <a:pt x="359" y="391"/>
                    </a:lnTo>
                    <a:lnTo>
                      <a:pt x="361" y="389"/>
                    </a:lnTo>
                    <a:lnTo>
                      <a:pt x="365" y="391"/>
                    </a:lnTo>
                    <a:lnTo>
                      <a:pt x="367" y="391"/>
                    </a:lnTo>
                    <a:lnTo>
                      <a:pt x="377" y="389"/>
                    </a:lnTo>
                    <a:lnTo>
                      <a:pt x="383" y="389"/>
                    </a:lnTo>
                    <a:lnTo>
                      <a:pt x="398" y="391"/>
                    </a:lnTo>
                    <a:lnTo>
                      <a:pt x="398" y="391"/>
                    </a:lnTo>
                    <a:lnTo>
                      <a:pt x="400" y="391"/>
                    </a:lnTo>
                    <a:lnTo>
                      <a:pt x="404" y="389"/>
                    </a:lnTo>
                    <a:lnTo>
                      <a:pt x="410" y="385"/>
                    </a:lnTo>
                    <a:lnTo>
                      <a:pt x="434" y="385"/>
                    </a:lnTo>
                    <a:lnTo>
                      <a:pt x="441" y="379"/>
                    </a:lnTo>
                    <a:lnTo>
                      <a:pt x="441" y="377"/>
                    </a:lnTo>
                    <a:lnTo>
                      <a:pt x="441" y="375"/>
                    </a:lnTo>
                    <a:lnTo>
                      <a:pt x="441" y="375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3" y="369"/>
                    </a:lnTo>
                    <a:lnTo>
                      <a:pt x="445" y="360"/>
                    </a:lnTo>
                    <a:lnTo>
                      <a:pt x="447" y="356"/>
                    </a:lnTo>
                    <a:lnTo>
                      <a:pt x="447" y="356"/>
                    </a:lnTo>
                    <a:lnTo>
                      <a:pt x="447" y="356"/>
                    </a:lnTo>
                    <a:lnTo>
                      <a:pt x="449" y="354"/>
                    </a:lnTo>
                    <a:lnTo>
                      <a:pt x="459" y="352"/>
                    </a:lnTo>
                    <a:lnTo>
                      <a:pt x="465" y="350"/>
                    </a:lnTo>
                    <a:lnTo>
                      <a:pt x="467" y="350"/>
                    </a:lnTo>
                    <a:lnTo>
                      <a:pt x="467" y="350"/>
                    </a:lnTo>
                    <a:lnTo>
                      <a:pt x="469" y="350"/>
                    </a:lnTo>
                    <a:lnTo>
                      <a:pt x="471" y="352"/>
                    </a:lnTo>
                    <a:lnTo>
                      <a:pt x="473" y="354"/>
                    </a:lnTo>
                    <a:lnTo>
                      <a:pt x="475" y="356"/>
                    </a:lnTo>
                    <a:lnTo>
                      <a:pt x="477" y="358"/>
                    </a:lnTo>
                    <a:lnTo>
                      <a:pt x="484" y="356"/>
                    </a:lnTo>
                    <a:lnTo>
                      <a:pt x="484" y="356"/>
                    </a:lnTo>
                    <a:lnTo>
                      <a:pt x="484" y="356"/>
                    </a:lnTo>
                    <a:lnTo>
                      <a:pt x="484" y="356"/>
                    </a:lnTo>
                    <a:lnTo>
                      <a:pt x="488" y="356"/>
                    </a:lnTo>
                    <a:lnTo>
                      <a:pt x="488" y="358"/>
                    </a:lnTo>
                    <a:lnTo>
                      <a:pt x="490" y="360"/>
                    </a:lnTo>
                    <a:lnTo>
                      <a:pt x="490" y="362"/>
                    </a:lnTo>
                    <a:lnTo>
                      <a:pt x="490" y="362"/>
                    </a:lnTo>
                    <a:lnTo>
                      <a:pt x="490" y="364"/>
                    </a:lnTo>
                    <a:lnTo>
                      <a:pt x="490" y="366"/>
                    </a:lnTo>
                    <a:lnTo>
                      <a:pt x="490" y="366"/>
                    </a:lnTo>
                    <a:lnTo>
                      <a:pt x="490" y="368"/>
                    </a:lnTo>
                    <a:lnTo>
                      <a:pt x="490" y="368"/>
                    </a:lnTo>
                    <a:lnTo>
                      <a:pt x="490" y="369"/>
                    </a:lnTo>
                    <a:lnTo>
                      <a:pt x="492" y="369"/>
                    </a:lnTo>
                    <a:lnTo>
                      <a:pt x="492" y="369"/>
                    </a:lnTo>
                    <a:lnTo>
                      <a:pt x="496" y="368"/>
                    </a:lnTo>
                    <a:lnTo>
                      <a:pt x="498" y="368"/>
                    </a:lnTo>
                    <a:lnTo>
                      <a:pt x="498" y="368"/>
                    </a:lnTo>
                    <a:lnTo>
                      <a:pt x="498" y="368"/>
                    </a:lnTo>
                    <a:lnTo>
                      <a:pt x="500" y="368"/>
                    </a:lnTo>
                    <a:lnTo>
                      <a:pt x="502" y="368"/>
                    </a:lnTo>
                    <a:lnTo>
                      <a:pt x="510" y="373"/>
                    </a:lnTo>
                    <a:lnTo>
                      <a:pt x="512" y="375"/>
                    </a:lnTo>
                    <a:lnTo>
                      <a:pt x="516" y="373"/>
                    </a:lnTo>
                    <a:lnTo>
                      <a:pt x="520" y="371"/>
                    </a:lnTo>
                    <a:lnTo>
                      <a:pt x="523" y="368"/>
                    </a:lnTo>
                    <a:lnTo>
                      <a:pt x="527" y="366"/>
                    </a:lnTo>
                    <a:lnTo>
                      <a:pt x="527" y="366"/>
                    </a:lnTo>
                    <a:lnTo>
                      <a:pt x="527" y="366"/>
                    </a:lnTo>
                    <a:lnTo>
                      <a:pt x="531" y="364"/>
                    </a:lnTo>
                    <a:lnTo>
                      <a:pt x="535" y="362"/>
                    </a:lnTo>
                    <a:lnTo>
                      <a:pt x="535" y="362"/>
                    </a:lnTo>
                    <a:lnTo>
                      <a:pt x="535" y="362"/>
                    </a:lnTo>
                    <a:lnTo>
                      <a:pt x="541" y="358"/>
                    </a:lnTo>
                    <a:lnTo>
                      <a:pt x="543" y="358"/>
                    </a:lnTo>
                    <a:lnTo>
                      <a:pt x="545" y="358"/>
                    </a:lnTo>
                    <a:lnTo>
                      <a:pt x="547" y="356"/>
                    </a:lnTo>
                    <a:lnTo>
                      <a:pt x="547" y="356"/>
                    </a:lnTo>
                    <a:lnTo>
                      <a:pt x="547" y="354"/>
                    </a:lnTo>
                    <a:lnTo>
                      <a:pt x="549" y="350"/>
                    </a:lnTo>
                    <a:lnTo>
                      <a:pt x="549" y="348"/>
                    </a:lnTo>
                    <a:lnTo>
                      <a:pt x="549" y="348"/>
                    </a:lnTo>
                    <a:lnTo>
                      <a:pt x="549" y="346"/>
                    </a:lnTo>
                    <a:lnTo>
                      <a:pt x="551" y="344"/>
                    </a:lnTo>
                    <a:lnTo>
                      <a:pt x="553" y="344"/>
                    </a:lnTo>
                    <a:lnTo>
                      <a:pt x="553" y="344"/>
                    </a:lnTo>
                    <a:lnTo>
                      <a:pt x="553" y="344"/>
                    </a:lnTo>
                    <a:lnTo>
                      <a:pt x="553" y="344"/>
                    </a:lnTo>
                    <a:lnTo>
                      <a:pt x="553" y="344"/>
                    </a:lnTo>
                    <a:lnTo>
                      <a:pt x="555" y="346"/>
                    </a:lnTo>
                    <a:lnTo>
                      <a:pt x="557" y="346"/>
                    </a:lnTo>
                    <a:lnTo>
                      <a:pt x="557" y="346"/>
                    </a:lnTo>
                    <a:lnTo>
                      <a:pt x="561" y="344"/>
                    </a:lnTo>
                    <a:lnTo>
                      <a:pt x="563" y="342"/>
                    </a:lnTo>
                    <a:lnTo>
                      <a:pt x="564" y="340"/>
                    </a:lnTo>
                    <a:lnTo>
                      <a:pt x="566" y="340"/>
                    </a:lnTo>
                    <a:lnTo>
                      <a:pt x="566" y="338"/>
                    </a:lnTo>
                    <a:lnTo>
                      <a:pt x="568" y="340"/>
                    </a:lnTo>
                    <a:lnTo>
                      <a:pt x="570" y="340"/>
                    </a:lnTo>
                    <a:lnTo>
                      <a:pt x="572" y="342"/>
                    </a:lnTo>
                    <a:lnTo>
                      <a:pt x="574" y="344"/>
                    </a:lnTo>
                    <a:lnTo>
                      <a:pt x="578" y="342"/>
                    </a:lnTo>
                    <a:lnTo>
                      <a:pt x="578" y="340"/>
                    </a:lnTo>
                    <a:lnTo>
                      <a:pt x="582" y="336"/>
                    </a:lnTo>
                    <a:lnTo>
                      <a:pt x="586" y="330"/>
                    </a:lnTo>
                    <a:lnTo>
                      <a:pt x="590" y="325"/>
                    </a:lnTo>
                    <a:lnTo>
                      <a:pt x="590" y="323"/>
                    </a:lnTo>
                    <a:lnTo>
                      <a:pt x="592" y="317"/>
                    </a:lnTo>
                    <a:lnTo>
                      <a:pt x="598" y="303"/>
                    </a:lnTo>
                    <a:lnTo>
                      <a:pt x="598" y="301"/>
                    </a:lnTo>
                    <a:lnTo>
                      <a:pt x="600" y="299"/>
                    </a:lnTo>
                    <a:lnTo>
                      <a:pt x="600" y="297"/>
                    </a:lnTo>
                    <a:lnTo>
                      <a:pt x="602" y="295"/>
                    </a:lnTo>
                    <a:lnTo>
                      <a:pt x="602" y="295"/>
                    </a:lnTo>
                    <a:lnTo>
                      <a:pt x="606" y="289"/>
                    </a:lnTo>
                    <a:lnTo>
                      <a:pt x="607" y="289"/>
                    </a:lnTo>
                    <a:lnTo>
                      <a:pt x="607" y="289"/>
                    </a:lnTo>
                    <a:lnTo>
                      <a:pt x="609" y="287"/>
                    </a:lnTo>
                    <a:lnTo>
                      <a:pt x="609" y="286"/>
                    </a:lnTo>
                    <a:lnTo>
                      <a:pt x="609" y="286"/>
                    </a:lnTo>
                    <a:lnTo>
                      <a:pt x="609" y="284"/>
                    </a:lnTo>
                    <a:lnTo>
                      <a:pt x="609" y="284"/>
                    </a:lnTo>
                    <a:lnTo>
                      <a:pt x="609" y="284"/>
                    </a:lnTo>
                    <a:lnTo>
                      <a:pt x="609" y="280"/>
                    </a:lnTo>
                    <a:lnTo>
                      <a:pt x="609" y="280"/>
                    </a:lnTo>
                    <a:lnTo>
                      <a:pt x="609" y="276"/>
                    </a:lnTo>
                    <a:lnTo>
                      <a:pt x="609" y="274"/>
                    </a:lnTo>
                    <a:lnTo>
                      <a:pt x="609" y="274"/>
                    </a:lnTo>
                    <a:lnTo>
                      <a:pt x="609" y="274"/>
                    </a:lnTo>
                    <a:lnTo>
                      <a:pt x="613" y="272"/>
                    </a:lnTo>
                    <a:lnTo>
                      <a:pt x="613" y="272"/>
                    </a:lnTo>
                    <a:lnTo>
                      <a:pt x="613" y="272"/>
                    </a:lnTo>
                    <a:lnTo>
                      <a:pt x="615" y="272"/>
                    </a:lnTo>
                    <a:lnTo>
                      <a:pt x="625" y="272"/>
                    </a:lnTo>
                    <a:lnTo>
                      <a:pt x="639" y="268"/>
                    </a:lnTo>
                    <a:lnTo>
                      <a:pt x="660" y="264"/>
                    </a:lnTo>
                    <a:lnTo>
                      <a:pt x="662" y="264"/>
                    </a:lnTo>
                    <a:lnTo>
                      <a:pt x="664" y="266"/>
                    </a:lnTo>
                    <a:lnTo>
                      <a:pt x="666" y="268"/>
                    </a:lnTo>
                    <a:lnTo>
                      <a:pt x="670" y="270"/>
                    </a:lnTo>
                    <a:lnTo>
                      <a:pt x="672" y="270"/>
                    </a:lnTo>
                    <a:lnTo>
                      <a:pt x="678" y="272"/>
                    </a:lnTo>
                    <a:lnTo>
                      <a:pt x="688" y="276"/>
                    </a:lnTo>
                    <a:lnTo>
                      <a:pt x="693" y="278"/>
                    </a:lnTo>
                    <a:lnTo>
                      <a:pt x="697" y="276"/>
                    </a:lnTo>
                    <a:lnTo>
                      <a:pt x="701" y="278"/>
                    </a:lnTo>
                    <a:lnTo>
                      <a:pt x="707" y="280"/>
                    </a:lnTo>
                    <a:lnTo>
                      <a:pt x="707" y="280"/>
                    </a:lnTo>
                    <a:lnTo>
                      <a:pt x="707" y="280"/>
                    </a:lnTo>
                    <a:lnTo>
                      <a:pt x="707" y="280"/>
                    </a:lnTo>
                    <a:lnTo>
                      <a:pt x="709" y="284"/>
                    </a:lnTo>
                    <a:lnTo>
                      <a:pt x="711" y="284"/>
                    </a:lnTo>
                    <a:lnTo>
                      <a:pt x="715" y="284"/>
                    </a:lnTo>
                    <a:lnTo>
                      <a:pt x="727" y="278"/>
                    </a:lnTo>
                    <a:lnTo>
                      <a:pt x="731" y="278"/>
                    </a:lnTo>
                    <a:lnTo>
                      <a:pt x="732" y="276"/>
                    </a:lnTo>
                    <a:lnTo>
                      <a:pt x="736" y="278"/>
                    </a:lnTo>
                    <a:lnTo>
                      <a:pt x="738" y="280"/>
                    </a:lnTo>
                    <a:lnTo>
                      <a:pt x="738" y="280"/>
                    </a:lnTo>
                    <a:lnTo>
                      <a:pt x="738" y="280"/>
                    </a:lnTo>
                    <a:lnTo>
                      <a:pt x="740" y="280"/>
                    </a:lnTo>
                    <a:lnTo>
                      <a:pt x="742" y="280"/>
                    </a:lnTo>
                    <a:lnTo>
                      <a:pt x="742" y="280"/>
                    </a:lnTo>
                    <a:lnTo>
                      <a:pt x="744" y="276"/>
                    </a:lnTo>
                    <a:lnTo>
                      <a:pt x="744" y="274"/>
                    </a:lnTo>
                    <a:lnTo>
                      <a:pt x="746" y="272"/>
                    </a:lnTo>
                    <a:lnTo>
                      <a:pt x="746" y="272"/>
                    </a:lnTo>
                    <a:lnTo>
                      <a:pt x="748" y="270"/>
                    </a:lnTo>
                    <a:lnTo>
                      <a:pt x="750" y="270"/>
                    </a:lnTo>
                    <a:lnTo>
                      <a:pt x="752" y="268"/>
                    </a:lnTo>
                    <a:lnTo>
                      <a:pt x="754" y="268"/>
                    </a:lnTo>
                    <a:lnTo>
                      <a:pt x="758" y="268"/>
                    </a:lnTo>
                    <a:lnTo>
                      <a:pt x="766" y="266"/>
                    </a:lnTo>
                    <a:lnTo>
                      <a:pt x="768" y="266"/>
                    </a:lnTo>
                    <a:lnTo>
                      <a:pt x="768" y="266"/>
                    </a:lnTo>
                    <a:lnTo>
                      <a:pt x="770" y="266"/>
                    </a:lnTo>
                    <a:lnTo>
                      <a:pt x="772" y="268"/>
                    </a:lnTo>
                    <a:lnTo>
                      <a:pt x="775" y="270"/>
                    </a:lnTo>
                    <a:lnTo>
                      <a:pt x="777" y="272"/>
                    </a:lnTo>
                    <a:lnTo>
                      <a:pt x="779" y="272"/>
                    </a:lnTo>
                    <a:lnTo>
                      <a:pt x="781" y="274"/>
                    </a:lnTo>
                    <a:lnTo>
                      <a:pt x="781" y="276"/>
                    </a:lnTo>
                    <a:lnTo>
                      <a:pt x="781" y="280"/>
                    </a:lnTo>
                    <a:lnTo>
                      <a:pt x="783" y="282"/>
                    </a:lnTo>
                    <a:lnTo>
                      <a:pt x="785" y="282"/>
                    </a:lnTo>
                    <a:lnTo>
                      <a:pt x="789" y="282"/>
                    </a:lnTo>
                    <a:lnTo>
                      <a:pt x="791" y="282"/>
                    </a:lnTo>
                    <a:lnTo>
                      <a:pt x="795" y="284"/>
                    </a:lnTo>
                    <a:lnTo>
                      <a:pt x="797" y="286"/>
                    </a:lnTo>
                    <a:lnTo>
                      <a:pt x="797" y="293"/>
                    </a:lnTo>
                    <a:lnTo>
                      <a:pt x="799" y="295"/>
                    </a:lnTo>
                    <a:lnTo>
                      <a:pt x="799" y="299"/>
                    </a:lnTo>
                    <a:lnTo>
                      <a:pt x="803" y="303"/>
                    </a:lnTo>
                    <a:lnTo>
                      <a:pt x="809" y="313"/>
                    </a:lnTo>
                    <a:lnTo>
                      <a:pt x="813" y="319"/>
                    </a:lnTo>
                    <a:lnTo>
                      <a:pt x="813" y="319"/>
                    </a:lnTo>
                    <a:lnTo>
                      <a:pt x="816" y="321"/>
                    </a:lnTo>
                    <a:lnTo>
                      <a:pt x="818" y="321"/>
                    </a:lnTo>
                    <a:lnTo>
                      <a:pt x="822" y="323"/>
                    </a:lnTo>
                    <a:lnTo>
                      <a:pt x="828" y="323"/>
                    </a:lnTo>
                    <a:lnTo>
                      <a:pt x="832" y="321"/>
                    </a:lnTo>
                    <a:lnTo>
                      <a:pt x="836" y="319"/>
                    </a:lnTo>
                    <a:lnTo>
                      <a:pt x="838" y="319"/>
                    </a:lnTo>
                    <a:lnTo>
                      <a:pt x="844" y="317"/>
                    </a:lnTo>
                    <a:lnTo>
                      <a:pt x="848" y="315"/>
                    </a:lnTo>
                    <a:lnTo>
                      <a:pt x="850" y="315"/>
                    </a:lnTo>
                    <a:lnTo>
                      <a:pt x="852" y="313"/>
                    </a:lnTo>
                    <a:lnTo>
                      <a:pt x="859" y="313"/>
                    </a:lnTo>
                    <a:lnTo>
                      <a:pt x="863" y="311"/>
                    </a:lnTo>
                    <a:lnTo>
                      <a:pt x="865" y="311"/>
                    </a:lnTo>
                    <a:lnTo>
                      <a:pt x="871" y="313"/>
                    </a:lnTo>
                    <a:lnTo>
                      <a:pt x="877" y="313"/>
                    </a:lnTo>
                    <a:lnTo>
                      <a:pt x="879" y="311"/>
                    </a:lnTo>
                    <a:lnTo>
                      <a:pt x="883" y="309"/>
                    </a:lnTo>
                    <a:lnTo>
                      <a:pt x="883" y="307"/>
                    </a:lnTo>
                    <a:lnTo>
                      <a:pt x="885" y="305"/>
                    </a:lnTo>
                    <a:lnTo>
                      <a:pt x="885" y="301"/>
                    </a:lnTo>
                    <a:lnTo>
                      <a:pt x="885" y="287"/>
                    </a:lnTo>
                    <a:lnTo>
                      <a:pt x="887" y="284"/>
                    </a:lnTo>
                    <a:lnTo>
                      <a:pt x="887" y="282"/>
                    </a:lnTo>
                    <a:lnTo>
                      <a:pt x="889" y="280"/>
                    </a:lnTo>
                    <a:lnTo>
                      <a:pt x="887" y="268"/>
                    </a:lnTo>
                    <a:lnTo>
                      <a:pt x="887" y="266"/>
                    </a:lnTo>
                    <a:lnTo>
                      <a:pt x="887" y="264"/>
                    </a:lnTo>
                    <a:lnTo>
                      <a:pt x="887" y="264"/>
                    </a:lnTo>
                    <a:lnTo>
                      <a:pt x="889" y="260"/>
                    </a:lnTo>
                    <a:lnTo>
                      <a:pt x="900" y="250"/>
                    </a:lnTo>
                    <a:lnTo>
                      <a:pt x="900" y="250"/>
                    </a:lnTo>
                    <a:lnTo>
                      <a:pt x="900" y="248"/>
                    </a:lnTo>
                    <a:lnTo>
                      <a:pt x="902" y="245"/>
                    </a:lnTo>
                    <a:lnTo>
                      <a:pt x="904" y="243"/>
                    </a:lnTo>
                    <a:lnTo>
                      <a:pt x="906" y="243"/>
                    </a:lnTo>
                    <a:lnTo>
                      <a:pt x="906" y="243"/>
                    </a:lnTo>
                    <a:lnTo>
                      <a:pt x="910" y="241"/>
                    </a:lnTo>
                    <a:lnTo>
                      <a:pt x="912" y="239"/>
                    </a:lnTo>
                    <a:lnTo>
                      <a:pt x="914" y="237"/>
                    </a:lnTo>
                    <a:lnTo>
                      <a:pt x="914" y="235"/>
                    </a:lnTo>
                    <a:lnTo>
                      <a:pt x="916" y="231"/>
                    </a:lnTo>
                    <a:lnTo>
                      <a:pt x="916" y="231"/>
                    </a:lnTo>
                    <a:lnTo>
                      <a:pt x="918" y="225"/>
                    </a:lnTo>
                    <a:lnTo>
                      <a:pt x="918" y="219"/>
                    </a:lnTo>
                    <a:lnTo>
                      <a:pt x="918" y="217"/>
                    </a:lnTo>
                    <a:lnTo>
                      <a:pt x="920" y="215"/>
                    </a:lnTo>
                    <a:lnTo>
                      <a:pt x="920" y="215"/>
                    </a:lnTo>
                    <a:lnTo>
                      <a:pt x="922" y="213"/>
                    </a:lnTo>
                    <a:lnTo>
                      <a:pt x="922" y="213"/>
                    </a:lnTo>
                    <a:lnTo>
                      <a:pt x="922" y="211"/>
                    </a:lnTo>
                    <a:lnTo>
                      <a:pt x="924" y="211"/>
                    </a:lnTo>
                    <a:lnTo>
                      <a:pt x="924" y="209"/>
                    </a:lnTo>
                    <a:lnTo>
                      <a:pt x="924" y="207"/>
                    </a:lnTo>
                    <a:lnTo>
                      <a:pt x="924" y="207"/>
                    </a:lnTo>
                    <a:lnTo>
                      <a:pt x="924" y="205"/>
                    </a:lnTo>
                    <a:lnTo>
                      <a:pt x="924" y="198"/>
                    </a:lnTo>
                    <a:lnTo>
                      <a:pt x="924" y="198"/>
                    </a:lnTo>
                    <a:lnTo>
                      <a:pt x="924" y="196"/>
                    </a:lnTo>
                    <a:lnTo>
                      <a:pt x="924" y="196"/>
                    </a:lnTo>
                    <a:lnTo>
                      <a:pt x="924" y="194"/>
                    </a:lnTo>
                    <a:lnTo>
                      <a:pt x="924" y="192"/>
                    </a:lnTo>
                    <a:lnTo>
                      <a:pt x="926" y="192"/>
                    </a:lnTo>
                    <a:lnTo>
                      <a:pt x="926" y="192"/>
                    </a:lnTo>
                    <a:lnTo>
                      <a:pt x="926" y="190"/>
                    </a:lnTo>
                    <a:lnTo>
                      <a:pt x="926" y="190"/>
                    </a:lnTo>
                    <a:lnTo>
                      <a:pt x="930" y="186"/>
                    </a:lnTo>
                    <a:lnTo>
                      <a:pt x="930" y="186"/>
                    </a:lnTo>
                    <a:lnTo>
                      <a:pt x="932" y="184"/>
                    </a:lnTo>
                    <a:lnTo>
                      <a:pt x="932" y="184"/>
                    </a:lnTo>
                    <a:lnTo>
                      <a:pt x="932" y="182"/>
                    </a:lnTo>
                    <a:lnTo>
                      <a:pt x="932" y="182"/>
                    </a:lnTo>
                    <a:lnTo>
                      <a:pt x="932" y="178"/>
                    </a:lnTo>
                    <a:lnTo>
                      <a:pt x="932" y="178"/>
                    </a:lnTo>
                    <a:lnTo>
                      <a:pt x="932" y="178"/>
                    </a:lnTo>
                    <a:lnTo>
                      <a:pt x="932" y="178"/>
                    </a:lnTo>
                    <a:lnTo>
                      <a:pt x="934" y="172"/>
                    </a:lnTo>
                    <a:lnTo>
                      <a:pt x="936" y="170"/>
                    </a:lnTo>
                    <a:lnTo>
                      <a:pt x="938" y="163"/>
                    </a:lnTo>
                    <a:lnTo>
                      <a:pt x="942" y="161"/>
                    </a:lnTo>
                    <a:lnTo>
                      <a:pt x="942" y="161"/>
                    </a:lnTo>
                    <a:lnTo>
                      <a:pt x="947" y="159"/>
                    </a:lnTo>
                    <a:lnTo>
                      <a:pt x="949" y="157"/>
                    </a:lnTo>
                    <a:lnTo>
                      <a:pt x="949" y="155"/>
                    </a:lnTo>
                    <a:lnTo>
                      <a:pt x="949" y="153"/>
                    </a:lnTo>
                    <a:lnTo>
                      <a:pt x="951" y="151"/>
                    </a:lnTo>
                    <a:lnTo>
                      <a:pt x="951" y="147"/>
                    </a:lnTo>
                    <a:lnTo>
                      <a:pt x="951" y="143"/>
                    </a:lnTo>
                    <a:lnTo>
                      <a:pt x="951" y="141"/>
                    </a:lnTo>
                    <a:lnTo>
                      <a:pt x="953" y="139"/>
                    </a:lnTo>
                    <a:lnTo>
                      <a:pt x="953" y="137"/>
                    </a:lnTo>
                    <a:lnTo>
                      <a:pt x="951" y="13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49" name="Freeform 749">
                <a:extLst>
                  <a:ext uri="{FF2B5EF4-FFF2-40B4-BE49-F238E27FC236}">
                    <a16:creationId xmlns:a16="http://schemas.microsoft.com/office/drawing/2014/main" id="{9D89E30C-67EA-4296-809A-6B2D35D2A2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9" y="3482"/>
                <a:ext cx="1086" cy="334"/>
              </a:xfrm>
              <a:custGeom>
                <a:avLst/>
                <a:gdLst>
                  <a:gd name="T0" fmla="*/ 1063 w 1086"/>
                  <a:gd name="T1" fmla="*/ 305 h 334"/>
                  <a:gd name="T2" fmla="*/ 1041 w 1086"/>
                  <a:gd name="T3" fmla="*/ 287 h 334"/>
                  <a:gd name="T4" fmla="*/ 1035 w 1086"/>
                  <a:gd name="T5" fmla="*/ 272 h 334"/>
                  <a:gd name="T6" fmla="*/ 1018 w 1086"/>
                  <a:gd name="T7" fmla="*/ 244 h 334"/>
                  <a:gd name="T8" fmla="*/ 1000 w 1086"/>
                  <a:gd name="T9" fmla="*/ 225 h 334"/>
                  <a:gd name="T10" fmla="*/ 998 w 1086"/>
                  <a:gd name="T11" fmla="*/ 205 h 334"/>
                  <a:gd name="T12" fmla="*/ 985 w 1086"/>
                  <a:gd name="T13" fmla="*/ 197 h 334"/>
                  <a:gd name="T14" fmla="*/ 975 w 1086"/>
                  <a:gd name="T15" fmla="*/ 184 h 334"/>
                  <a:gd name="T16" fmla="*/ 967 w 1086"/>
                  <a:gd name="T17" fmla="*/ 170 h 334"/>
                  <a:gd name="T18" fmla="*/ 949 w 1086"/>
                  <a:gd name="T19" fmla="*/ 133 h 334"/>
                  <a:gd name="T20" fmla="*/ 940 w 1086"/>
                  <a:gd name="T21" fmla="*/ 117 h 334"/>
                  <a:gd name="T22" fmla="*/ 936 w 1086"/>
                  <a:gd name="T23" fmla="*/ 98 h 334"/>
                  <a:gd name="T24" fmla="*/ 930 w 1086"/>
                  <a:gd name="T25" fmla="*/ 82 h 334"/>
                  <a:gd name="T26" fmla="*/ 920 w 1086"/>
                  <a:gd name="T27" fmla="*/ 65 h 334"/>
                  <a:gd name="T28" fmla="*/ 914 w 1086"/>
                  <a:gd name="T29" fmla="*/ 57 h 334"/>
                  <a:gd name="T30" fmla="*/ 908 w 1086"/>
                  <a:gd name="T31" fmla="*/ 37 h 334"/>
                  <a:gd name="T32" fmla="*/ 901 w 1086"/>
                  <a:gd name="T33" fmla="*/ 30 h 334"/>
                  <a:gd name="T34" fmla="*/ 885 w 1086"/>
                  <a:gd name="T35" fmla="*/ 22 h 334"/>
                  <a:gd name="T36" fmla="*/ 858 w 1086"/>
                  <a:gd name="T37" fmla="*/ 4 h 334"/>
                  <a:gd name="T38" fmla="*/ 828 w 1086"/>
                  <a:gd name="T39" fmla="*/ 6 h 334"/>
                  <a:gd name="T40" fmla="*/ 789 w 1086"/>
                  <a:gd name="T41" fmla="*/ 16 h 334"/>
                  <a:gd name="T42" fmla="*/ 781 w 1086"/>
                  <a:gd name="T43" fmla="*/ 37 h 334"/>
                  <a:gd name="T44" fmla="*/ 766 w 1086"/>
                  <a:gd name="T45" fmla="*/ 65 h 334"/>
                  <a:gd name="T46" fmla="*/ 738 w 1086"/>
                  <a:gd name="T47" fmla="*/ 74 h 334"/>
                  <a:gd name="T48" fmla="*/ 707 w 1086"/>
                  <a:gd name="T49" fmla="*/ 80 h 334"/>
                  <a:gd name="T50" fmla="*/ 586 w 1086"/>
                  <a:gd name="T51" fmla="*/ 127 h 334"/>
                  <a:gd name="T52" fmla="*/ 547 w 1086"/>
                  <a:gd name="T53" fmla="*/ 139 h 334"/>
                  <a:gd name="T54" fmla="*/ 518 w 1086"/>
                  <a:gd name="T55" fmla="*/ 112 h 334"/>
                  <a:gd name="T56" fmla="*/ 504 w 1086"/>
                  <a:gd name="T57" fmla="*/ 92 h 334"/>
                  <a:gd name="T58" fmla="*/ 471 w 1086"/>
                  <a:gd name="T59" fmla="*/ 80 h 334"/>
                  <a:gd name="T60" fmla="*/ 438 w 1086"/>
                  <a:gd name="T61" fmla="*/ 94 h 334"/>
                  <a:gd name="T62" fmla="*/ 414 w 1086"/>
                  <a:gd name="T63" fmla="*/ 84 h 334"/>
                  <a:gd name="T64" fmla="*/ 375 w 1086"/>
                  <a:gd name="T65" fmla="*/ 84 h 334"/>
                  <a:gd name="T66" fmla="*/ 350 w 1086"/>
                  <a:gd name="T67" fmla="*/ 72 h 334"/>
                  <a:gd name="T68" fmla="*/ 326 w 1086"/>
                  <a:gd name="T69" fmla="*/ 67 h 334"/>
                  <a:gd name="T70" fmla="*/ 312 w 1086"/>
                  <a:gd name="T71" fmla="*/ 74 h 334"/>
                  <a:gd name="T72" fmla="*/ 297 w 1086"/>
                  <a:gd name="T73" fmla="*/ 71 h 334"/>
                  <a:gd name="T74" fmla="*/ 293 w 1086"/>
                  <a:gd name="T75" fmla="*/ 71 h 334"/>
                  <a:gd name="T76" fmla="*/ 266 w 1086"/>
                  <a:gd name="T77" fmla="*/ 47 h 334"/>
                  <a:gd name="T78" fmla="*/ 244 w 1086"/>
                  <a:gd name="T79" fmla="*/ 65 h 334"/>
                  <a:gd name="T80" fmla="*/ 227 w 1086"/>
                  <a:gd name="T81" fmla="*/ 71 h 334"/>
                  <a:gd name="T82" fmla="*/ 217 w 1086"/>
                  <a:gd name="T83" fmla="*/ 78 h 334"/>
                  <a:gd name="T84" fmla="*/ 209 w 1086"/>
                  <a:gd name="T85" fmla="*/ 84 h 334"/>
                  <a:gd name="T86" fmla="*/ 195 w 1086"/>
                  <a:gd name="T87" fmla="*/ 98 h 334"/>
                  <a:gd name="T88" fmla="*/ 191 w 1086"/>
                  <a:gd name="T89" fmla="*/ 110 h 334"/>
                  <a:gd name="T90" fmla="*/ 176 w 1086"/>
                  <a:gd name="T91" fmla="*/ 121 h 334"/>
                  <a:gd name="T92" fmla="*/ 135 w 1086"/>
                  <a:gd name="T93" fmla="*/ 123 h 334"/>
                  <a:gd name="T94" fmla="*/ 117 w 1086"/>
                  <a:gd name="T95" fmla="*/ 135 h 334"/>
                  <a:gd name="T96" fmla="*/ 103 w 1086"/>
                  <a:gd name="T97" fmla="*/ 145 h 334"/>
                  <a:gd name="T98" fmla="*/ 98 w 1086"/>
                  <a:gd name="T99" fmla="*/ 156 h 334"/>
                  <a:gd name="T100" fmla="*/ 92 w 1086"/>
                  <a:gd name="T101" fmla="*/ 170 h 334"/>
                  <a:gd name="T102" fmla="*/ 70 w 1086"/>
                  <a:gd name="T103" fmla="*/ 182 h 334"/>
                  <a:gd name="T104" fmla="*/ 64 w 1086"/>
                  <a:gd name="T105" fmla="*/ 219 h 334"/>
                  <a:gd name="T106" fmla="*/ 41 w 1086"/>
                  <a:gd name="T107" fmla="*/ 242 h 334"/>
                  <a:gd name="T108" fmla="*/ 35 w 1086"/>
                  <a:gd name="T109" fmla="*/ 262 h 334"/>
                  <a:gd name="T110" fmla="*/ 29 w 1086"/>
                  <a:gd name="T111" fmla="*/ 277 h 334"/>
                  <a:gd name="T112" fmla="*/ 25 w 1086"/>
                  <a:gd name="T113" fmla="*/ 287 h 334"/>
                  <a:gd name="T114" fmla="*/ 4 w 1086"/>
                  <a:gd name="T115" fmla="*/ 311 h 334"/>
                  <a:gd name="T116" fmla="*/ 6 w 1086"/>
                  <a:gd name="T117" fmla="*/ 313 h 334"/>
                  <a:gd name="T118" fmla="*/ 10 w 1086"/>
                  <a:gd name="T119" fmla="*/ 317 h 334"/>
                  <a:gd name="T120" fmla="*/ 1086 w 1086"/>
                  <a:gd name="T121" fmla="*/ 334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86" h="334">
                    <a:moveTo>
                      <a:pt x="1082" y="322"/>
                    </a:moveTo>
                    <a:lnTo>
                      <a:pt x="1080" y="318"/>
                    </a:lnTo>
                    <a:lnTo>
                      <a:pt x="1074" y="311"/>
                    </a:lnTo>
                    <a:lnTo>
                      <a:pt x="1074" y="311"/>
                    </a:lnTo>
                    <a:lnTo>
                      <a:pt x="1072" y="307"/>
                    </a:lnTo>
                    <a:lnTo>
                      <a:pt x="1069" y="309"/>
                    </a:lnTo>
                    <a:lnTo>
                      <a:pt x="1067" y="307"/>
                    </a:lnTo>
                    <a:lnTo>
                      <a:pt x="1063" y="305"/>
                    </a:lnTo>
                    <a:lnTo>
                      <a:pt x="1059" y="305"/>
                    </a:lnTo>
                    <a:lnTo>
                      <a:pt x="1059" y="301"/>
                    </a:lnTo>
                    <a:lnTo>
                      <a:pt x="1055" y="299"/>
                    </a:lnTo>
                    <a:lnTo>
                      <a:pt x="1051" y="295"/>
                    </a:lnTo>
                    <a:lnTo>
                      <a:pt x="1045" y="289"/>
                    </a:lnTo>
                    <a:lnTo>
                      <a:pt x="1045" y="289"/>
                    </a:lnTo>
                    <a:lnTo>
                      <a:pt x="1043" y="287"/>
                    </a:lnTo>
                    <a:lnTo>
                      <a:pt x="1041" y="287"/>
                    </a:lnTo>
                    <a:lnTo>
                      <a:pt x="1043" y="285"/>
                    </a:lnTo>
                    <a:lnTo>
                      <a:pt x="1043" y="283"/>
                    </a:lnTo>
                    <a:lnTo>
                      <a:pt x="1035" y="279"/>
                    </a:lnTo>
                    <a:lnTo>
                      <a:pt x="1033" y="277"/>
                    </a:lnTo>
                    <a:lnTo>
                      <a:pt x="1035" y="276"/>
                    </a:lnTo>
                    <a:lnTo>
                      <a:pt x="1035" y="276"/>
                    </a:lnTo>
                    <a:lnTo>
                      <a:pt x="1035" y="274"/>
                    </a:lnTo>
                    <a:lnTo>
                      <a:pt x="1035" y="272"/>
                    </a:lnTo>
                    <a:lnTo>
                      <a:pt x="1035" y="272"/>
                    </a:lnTo>
                    <a:lnTo>
                      <a:pt x="1033" y="266"/>
                    </a:lnTo>
                    <a:lnTo>
                      <a:pt x="1027" y="260"/>
                    </a:lnTo>
                    <a:lnTo>
                      <a:pt x="1027" y="256"/>
                    </a:lnTo>
                    <a:lnTo>
                      <a:pt x="1027" y="254"/>
                    </a:lnTo>
                    <a:lnTo>
                      <a:pt x="1024" y="248"/>
                    </a:lnTo>
                    <a:lnTo>
                      <a:pt x="1022" y="246"/>
                    </a:lnTo>
                    <a:lnTo>
                      <a:pt x="1018" y="244"/>
                    </a:lnTo>
                    <a:lnTo>
                      <a:pt x="1016" y="244"/>
                    </a:lnTo>
                    <a:lnTo>
                      <a:pt x="1016" y="242"/>
                    </a:lnTo>
                    <a:lnTo>
                      <a:pt x="1014" y="242"/>
                    </a:lnTo>
                    <a:lnTo>
                      <a:pt x="1008" y="240"/>
                    </a:lnTo>
                    <a:lnTo>
                      <a:pt x="1008" y="240"/>
                    </a:lnTo>
                    <a:lnTo>
                      <a:pt x="1006" y="236"/>
                    </a:lnTo>
                    <a:lnTo>
                      <a:pt x="1002" y="227"/>
                    </a:lnTo>
                    <a:lnTo>
                      <a:pt x="1000" y="225"/>
                    </a:lnTo>
                    <a:lnTo>
                      <a:pt x="998" y="225"/>
                    </a:lnTo>
                    <a:lnTo>
                      <a:pt x="996" y="223"/>
                    </a:lnTo>
                    <a:lnTo>
                      <a:pt x="998" y="215"/>
                    </a:lnTo>
                    <a:lnTo>
                      <a:pt x="994" y="213"/>
                    </a:lnTo>
                    <a:lnTo>
                      <a:pt x="996" y="211"/>
                    </a:lnTo>
                    <a:lnTo>
                      <a:pt x="996" y="207"/>
                    </a:lnTo>
                    <a:lnTo>
                      <a:pt x="996" y="205"/>
                    </a:lnTo>
                    <a:lnTo>
                      <a:pt x="998" y="205"/>
                    </a:lnTo>
                    <a:lnTo>
                      <a:pt x="996" y="201"/>
                    </a:lnTo>
                    <a:lnTo>
                      <a:pt x="994" y="199"/>
                    </a:lnTo>
                    <a:lnTo>
                      <a:pt x="992" y="199"/>
                    </a:lnTo>
                    <a:lnTo>
                      <a:pt x="990" y="197"/>
                    </a:lnTo>
                    <a:lnTo>
                      <a:pt x="990" y="197"/>
                    </a:lnTo>
                    <a:lnTo>
                      <a:pt x="986" y="197"/>
                    </a:lnTo>
                    <a:lnTo>
                      <a:pt x="985" y="197"/>
                    </a:lnTo>
                    <a:lnTo>
                      <a:pt x="985" y="197"/>
                    </a:lnTo>
                    <a:lnTo>
                      <a:pt x="983" y="195"/>
                    </a:lnTo>
                    <a:lnTo>
                      <a:pt x="983" y="195"/>
                    </a:lnTo>
                    <a:lnTo>
                      <a:pt x="981" y="194"/>
                    </a:lnTo>
                    <a:lnTo>
                      <a:pt x="979" y="192"/>
                    </a:lnTo>
                    <a:lnTo>
                      <a:pt x="977" y="184"/>
                    </a:lnTo>
                    <a:lnTo>
                      <a:pt x="977" y="184"/>
                    </a:lnTo>
                    <a:lnTo>
                      <a:pt x="975" y="184"/>
                    </a:lnTo>
                    <a:lnTo>
                      <a:pt x="975" y="184"/>
                    </a:lnTo>
                    <a:lnTo>
                      <a:pt x="975" y="182"/>
                    </a:lnTo>
                    <a:lnTo>
                      <a:pt x="975" y="180"/>
                    </a:lnTo>
                    <a:lnTo>
                      <a:pt x="975" y="180"/>
                    </a:lnTo>
                    <a:lnTo>
                      <a:pt x="973" y="178"/>
                    </a:lnTo>
                    <a:lnTo>
                      <a:pt x="973" y="174"/>
                    </a:lnTo>
                    <a:lnTo>
                      <a:pt x="973" y="174"/>
                    </a:lnTo>
                    <a:lnTo>
                      <a:pt x="973" y="172"/>
                    </a:lnTo>
                    <a:lnTo>
                      <a:pt x="967" y="170"/>
                    </a:lnTo>
                    <a:lnTo>
                      <a:pt x="963" y="166"/>
                    </a:lnTo>
                    <a:lnTo>
                      <a:pt x="951" y="151"/>
                    </a:lnTo>
                    <a:lnTo>
                      <a:pt x="947" y="145"/>
                    </a:lnTo>
                    <a:lnTo>
                      <a:pt x="945" y="139"/>
                    </a:lnTo>
                    <a:lnTo>
                      <a:pt x="949" y="139"/>
                    </a:lnTo>
                    <a:lnTo>
                      <a:pt x="949" y="137"/>
                    </a:lnTo>
                    <a:lnTo>
                      <a:pt x="949" y="135"/>
                    </a:lnTo>
                    <a:lnTo>
                      <a:pt x="949" y="133"/>
                    </a:lnTo>
                    <a:lnTo>
                      <a:pt x="949" y="131"/>
                    </a:lnTo>
                    <a:lnTo>
                      <a:pt x="949" y="129"/>
                    </a:lnTo>
                    <a:lnTo>
                      <a:pt x="947" y="129"/>
                    </a:lnTo>
                    <a:lnTo>
                      <a:pt x="945" y="127"/>
                    </a:lnTo>
                    <a:lnTo>
                      <a:pt x="943" y="125"/>
                    </a:lnTo>
                    <a:lnTo>
                      <a:pt x="943" y="123"/>
                    </a:lnTo>
                    <a:lnTo>
                      <a:pt x="942" y="119"/>
                    </a:lnTo>
                    <a:lnTo>
                      <a:pt x="940" y="117"/>
                    </a:lnTo>
                    <a:lnTo>
                      <a:pt x="938" y="115"/>
                    </a:lnTo>
                    <a:lnTo>
                      <a:pt x="943" y="112"/>
                    </a:lnTo>
                    <a:lnTo>
                      <a:pt x="942" y="110"/>
                    </a:lnTo>
                    <a:lnTo>
                      <a:pt x="940" y="108"/>
                    </a:lnTo>
                    <a:lnTo>
                      <a:pt x="938" y="108"/>
                    </a:lnTo>
                    <a:lnTo>
                      <a:pt x="936" y="106"/>
                    </a:lnTo>
                    <a:lnTo>
                      <a:pt x="936" y="106"/>
                    </a:lnTo>
                    <a:lnTo>
                      <a:pt x="936" y="98"/>
                    </a:lnTo>
                    <a:lnTo>
                      <a:pt x="936" y="96"/>
                    </a:lnTo>
                    <a:lnTo>
                      <a:pt x="934" y="92"/>
                    </a:lnTo>
                    <a:lnTo>
                      <a:pt x="930" y="90"/>
                    </a:lnTo>
                    <a:lnTo>
                      <a:pt x="928" y="88"/>
                    </a:lnTo>
                    <a:lnTo>
                      <a:pt x="930" y="84"/>
                    </a:lnTo>
                    <a:lnTo>
                      <a:pt x="930" y="82"/>
                    </a:lnTo>
                    <a:lnTo>
                      <a:pt x="930" y="82"/>
                    </a:lnTo>
                    <a:lnTo>
                      <a:pt x="930" y="82"/>
                    </a:lnTo>
                    <a:lnTo>
                      <a:pt x="926" y="78"/>
                    </a:lnTo>
                    <a:lnTo>
                      <a:pt x="928" y="76"/>
                    </a:lnTo>
                    <a:lnTo>
                      <a:pt x="930" y="74"/>
                    </a:lnTo>
                    <a:lnTo>
                      <a:pt x="930" y="72"/>
                    </a:lnTo>
                    <a:lnTo>
                      <a:pt x="928" y="71"/>
                    </a:lnTo>
                    <a:lnTo>
                      <a:pt x="924" y="72"/>
                    </a:lnTo>
                    <a:lnTo>
                      <a:pt x="924" y="69"/>
                    </a:lnTo>
                    <a:lnTo>
                      <a:pt x="920" y="65"/>
                    </a:lnTo>
                    <a:lnTo>
                      <a:pt x="916" y="67"/>
                    </a:lnTo>
                    <a:lnTo>
                      <a:pt x="916" y="67"/>
                    </a:lnTo>
                    <a:lnTo>
                      <a:pt x="916" y="65"/>
                    </a:lnTo>
                    <a:lnTo>
                      <a:pt x="916" y="65"/>
                    </a:lnTo>
                    <a:lnTo>
                      <a:pt x="916" y="63"/>
                    </a:lnTo>
                    <a:lnTo>
                      <a:pt x="918" y="63"/>
                    </a:lnTo>
                    <a:lnTo>
                      <a:pt x="918" y="61"/>
                    </a:lnTo>
                    <a:lnTo>
                      <a:pt x="914" y="57"/>
                    </a:lnTo>
                    <a:lnTo>
                      <a:pt x="910" y="55"/>
                    </a:lnTo>
                    <a:lnTo>
                      <a:pt x="908" y="49"/>
                    </a:lnTo>
                    <a:lnTo>
                      <a:pt x="906" y="43"/>
                    </a:lnTo>
                    <a:lnTo>
                      <a:pt x="906" y="41"/>
                    </a:lnTo>
                    <a:lnTo>
                      <a:pt x="908" y="39"/>
                    </a:lnTo>
                    <a:lnTo>
                      <a:pt x="908" y="37"/>
                    </a:lnTo>
                    <a:lnTo>
                      <a:pt x="908" y="37"/>
                    </a:lnTo>
                    <a:lnTo>
                      <a:pt x="908" y="37"/>
                    </a:lnTo>
                    <a:lnTo>
                      <a:pt x="906" y="35"/>
                    </a:lnTo>
                    <a:lnTo>
                      <a:pt x="904" y="35"/>
                    </a:lnTo>
                    <a:lnTo>
                      <a:pt x="902" y="37"/>
                    </a:lnTo>
                    <a:lnTo>
                      <a:pt x="901" y="35"/>
                    </a:lnTo>
                    <a:lnTo>
                      <a:pt x="895" y="33"/>
                    </a:lnTo>
                    <a:lnTo>
                      <a:pt x="895" y="31"/>
                    </a:lnTo>
                    <a:lnTo>
                      <a:pt x="899" y="31"/>
                    </a:lnTo>
                    <a:lnTo>
                      <a:pt x="901" y="30"/>
                    </a:lnTo>
                    <a:lnTo>
                      <a:pt x="901" y="28"/>
                    </a:lnTo>
                    <a:lnTo>
                      <a:pt x="895" y="26"/>
                    </a:lnTo>
                    <a:lnTo>
                      <a:pt x="893" y="22"/>
                    </a:lnTo>
                    <a:lnTo>
                      <a:pt x="893" y="20"/>
                    </a:lnTo>
                    <a:lnTo>
                      <a:pt x="891" y="18"/>
                    </a:lnTo>
                    <a:lnTo>
                      <a:pt x="889" y="18"/>
                    </a:lnTo>
                    <a:lnTo>
                      <a:pt x="887" y="22"/>
                    </a:lnTo>
                    <a:lnTo>
                      <a:pt x="885" y="22"/>
                    </a:lnTo>
                    <a:lnTo>
                      <a:pt x="885" y="18"/>
                    </a:lnTo>
                    <a:lnTo>
                      <a:pt x="883" y="16"/>
                    </a:lnTo>
                    <a:lnTo>
                      <a:pt x="877" y="10"/>
                    </a:lnTo>
                    <a:lnTo>
                      <a:pt x="875" y="10"/>
                    </a:lnTo>
                    <a:lnTo>
                      <a:pt x="871" y="6"/>
                    </a:lnTo>
                    <a:lnTo>
                      <a:pt x="867" y="4"/>
                    </a:lnTo>
                    <a:lnTo>
                      <a:pt x="861" y="6"/>
                    </a:lnTo>
                    <a:lnTo>
                      <a:pt x="858" y="4"/>
                    </a:lnTo>
                    <a:lnTo>
                      <a:pt x="856" y="0"/>
                    </a:lnTo>
                    <a:lnTo>
                      <a:pt x="854" y="4"/>
                    </a:lnTo>
                    <a:lnTo>
                      <a:pt x="852" y="4"/>
                    </a:lnTo>
                    <a:lnTo>
                      <a:pt x="848" y="0"/>
                    </a:lnTo>
                    <a:lnTo>
                      <a:pt x="844" y="0"/>
                    </a:lnTo>
                    <a:lnTo>
                      <a:pt x="836" y="4"/>
                    </a:lnTo>
                    <a:lnTo>
                      <a:pt x="832" y="6"/>
                    </a:lnTo>
                    <a:lnTo>
                      <a:pt x="828" y="6"/>
                    </a:lnTo>
                    <a:lnTo>
                      <a:pt x="811" y="10"/>
                    </a:lnTo>
                    <a:lnTo>
                      <a:pt x="809" y="12"/>
                    </a:lnTo>
                    <a:lnTo>
                      <a:pt x="809" y="12"/>
                    </a:lnTo>
                    <a:lnTo>
                      <a:pt x="801" y="12"/>
                    </a:lnTo>
                    <a:lnTo>
                      <a:pt x="799" y="12"/>
                    </a:lnTo>
                    <a:lnTo>
                      <a:pt x="797" y="12"/>
                    </a:lnTo>
                    <a:lnTo>
                      <a:pt x="791" y="16"/>
                    </a:lnTo>
                    <a:lnTo>
                      <a:pt x="789" y="16"/>
                    </a:lnTo>
                    <a:lnTo>
                      <a:pt x="787" y="16"/>
                    </a:lnTo>
                    <a:lnTo>
                      <a:pt x="785" y="16"/>
                    </a:lnTo>
                    <a:lnTo>
                      <a:pt x="785" y="16"/>
                    </a:lnTo>
                    <a:lnTo>
                      <a:pt x="783" y="16"/>
                    </a:lnTo>
                    <a:lnTo>
                      <a:pt x="783" y="18"/>
                    </a:lnTo>
                    <a:lnTo>
                      <a:pt x="783" y="24"/>
                    </a:lnTo>
                    <a:lnTo>
                      <a:pt x="783" y="30"/>
                    </a:lnTo>
                    <a:lnTo>
                      <a:pt x="781" y="37"/>
                    </a:lnTo>
                    <a:lnTo>
                      <a:pt x="779" y="45"/>
                    </a:lnTo>
                    <a:lnTo>
                      <a:pt x="777" y="47"/>
                    </a:lnTo>
                    <a:lnTo>
                      <a:pt x="775" y="51"/>
                    </a:lnTo>
                    <a:lnTo>
                      <a:pt x="774" y="53"/>
                    </a:lnTo>
                    <a:lnTo>
                      <a:pt x="770" y="57"/>
                    </a:lnTo>
                    <a:lnTo>
                      <a:pt x="770" y="57"/>
                    </a:lnTo>
                    <a:lnTo>
                      <a:pt x="768" y="59"/>
                    </a:lnTo>
                    <a:lnTo>
                      <a:pt x="766" y="65"/>
                    </a:lnTo>
                    <a:lnTo>
                      <a:pt x="764" y="69"/>
                    </a:lnTo>
                    <a:lnTo>
                      <a:pt x="762" y="71"/>
                    </a:lnTo>
                    <a:lnTo>
                      <a:pt x="762" y="71"/>
                    </a:lnTo>
                    <a:lnTo>
                      <a:pt x="762" y="71"/>
                    </a:lnTo>
                    <a:lnTo>
                      <a:pt x="754" y="74"/>
                    </a:lnTo>
                    <a:lnTo>
                      <a:pt x="750" y="74"/>
                    </a:lnTo>
                    <a:lnTo>
                      <a:pt x="744" y="74"/>
                    </a:lnTo>
                    <a:lnTo>
                      <a:pt x="738" y="74"/>
                    </a:lnTo>
                    <a:lnTo>
                      <a:pt x="729" y="76"/>
                    </a:lnTo>
                    <a:lnTo>
                      <a:pt x="723" y="76"/>
                    </a:lnTo>
                    <a:lnTo>
                      <a:pt x="719" y="76"/>
                    </a:lnTo>
                    <a:lnTo>
                      <a:pt x="719" y="76"/>
                    </a:lnTo>
                    <a:lnTo>
                      <a:pt x="717" y="76"/>
                    </a:lnTo>
                    <a:lnTo>
                      <a:pt x="715" y="78"/>
                    </a:lnTo>
                    <a:lnTo>
                      <a:pt x="711" y="78"/>
                    </a:lnTo>
                    <a:lnTo>
                      <a:pt x="707" y="80"/>
                    </a:lnTo>
                    <a:lnTo>
                      <a:pt x="703" y="80"/>
                    </a:lnTo>
                    <a:lnTo>
                      <a:pt x="691" y="84"/>
                    </a:lnTo>
                    <a:lnTo>
                      <a:pt x="623" y="92"/>
                    </a:lnTo>
                    <a:lnTo>
                      <a:pt x="609" y="94"/>
                    </a:lnTo>
                    <a:lnTo>
                      <a:pt x="604" y="98"/>
                    </a:lnTo>
                    <a:lnTo>
                      <a:pt x="590" y="121"/>
                    </a:lnTo>
                    <a:lnTo>
                      <a:pt x="586" y="125"/>
                    </a:lnTo>
                    <a:lnTo>
                      <a:pt x="586" y="127"/>
                    </a:lnTo>
                    <a:lnTo>
                      <a:pt x="580" y="133"/>
                    </a:lnTo>
                    <a:lnTo>
                      <a:pt x="580" y="133"/>
                    </a:lnTo>
                    <a:lnTo>
                      <a:pt x="580" y="133"/>
                    </a:lnTo>
                    <a:lnTo>
                      <a:pt x="568" y="137"/>
                    </a:lnTo>
                    <a:lnTo>
                      <a:pt x="557" y="139"/>
                    </a:lnTo>
                    <a:lnTo>
                      <a:pt x="555" y="139"/>
                    </a:lnTo>
                    <a:lnTo>
                      <a:pt x="549" y="141"/>
                    </a:lnTo>
                    <a:lnTo>
                      <a:pt x="547" y="139"/>
                    </a:lnTo>
                    <a:lnTo>
                      <a:pt x="545" y="139"/>
                    </a:lnTo>
                    <a:lnTo>
                      <a:pt x="541" y="133"/>
                    </a:lnTo>
                    <a:lnTo>
                      <a:pt x="535" y="121"/>
                    </a:lnTo>
                    <a:lnTo>
                      <a:pt x="533" y="119"/>
                    </a:lnTo>
                    <a:lnTo>
                      <a:pt x="531" y="117"/>
                    </a:lnTo>
                    <a:lnTo>
                      <a:pt x="531" y="117"/>
                    </a:lnTo>
                    <a:lnTo>
                      <a:pt x="518" y="112"/>
                    </a:lnTo>
                    <a:lnTo>
                      <a:pt x="518" y="112"/>
                    </a:lnTo>
                    <a:lnTo>
                      <a:pt x="518" y="112"/>
                    </a:lnTo>
                    <a:lnTo>
                      <a:pt x="512" y="108"/>
                    </a:lnTo>
                    <a:lnTo>
                      <a:pt x="510" y="106"/>
                    </a:lnTo>
                    <a:lnTo>
                      <a:pt x="508" y="102"/>
                    </a:lnTo>
                    <a:lnTo>
                      <a:pt x="508" y="98"/>
                    </a:lnTo>
                    <a:lnTo>
                      <a:pt x="508" y="94"/>
                    </a:lnTo>
                    <a:lnTo>
                      <a:pt x="506" y="92"/>
                    </a:lnTo>
                    <a:lnTo>
                      <a:pt x="504" y="92"/>
                    </a:lnTo>
                    <a:lnTo>
                      <a:pt x="500" y="88"/>
                    </a:lnTo>
                    <a:lnTo>
                      <a:pt x="494" y="84"/>
                    </a:lnTo>
                    <a:lnTo>
                      <a:pt x="494" y="84"/>
                    </a:lnTo>
                    <a:lnTo>
                      <a:pt x="492" y="84"/>
                    </a:lnTo>
                    <a:lnTo>
                      <a:pt x="490" y="82"/>
                    </a:lnTo>
                    <a:lnTo>
                      <a:pt x="480" y="82"/>
                    </a:lnTo>
                    <a:lnTo>
                      <a:pt x="475" y="80"/>
                    </a:lnTo>
                    <a:lnTo>
                      <a:pt x="471" y="80"/>
                    </a:lnTo>
                    <a:lnTo>
                      <a:pt x="469" y="80"/>
                    </a:lnTo>
                    <a:lnTo>
                      <a:pt x="467" y="80"/>
                    </a:lnTo>
                    <a:lnTo>
                      <a:pt x="463" y="82"/>
                    </a:lnTo>
                    <a:lnTo>
                      <a:pt x="463" y="82"/>
                    </a:lnTo>
                    <a:lnTo>
                      <a:pt x="457" y="88"/>
                    </a:lnTo>
                    <a:lnTo>
                      <a:pt x="449" y="88"/>
                    </a:lnTo>
                    <a:lnTo>
                      <a:pt x="439" y="94"/>
                    </a:lnTo>
                    <a:lnTo>
                      <a:pt x="438" y="94"/>
                    </a:lnTo>
                    <a:lnTo>
                      <a:pt x="434" y="94"/>
                    </a:lnTo>
                    <a:lnTo>
                      <a:pt x="424" y="90"/>
                    </a:lnTo>
                    <a:lnTo>
                      <a:pt x="424" y="90"/>
                    </a:lnTo>
                    <a:lnTo>
                      <a:pt x="424" y="90"/>
                    </a:lnTo>
                    <a:lnTo>
                      <a:pt x="424" y="90"/>
                    </a:lnTo>
                    <a:lnTo>
                      <a:pt x="422" y="90"/>
                    </a:lnTo>
                    <a:lnTo>
                      <a:pt x="420" y="90"/>
                    </a:lnTo>
                    <a:lnTo>
                      <a:pt x="414" y="84"/>
                    </a:lnTo>
                    <a:lnTo>
                      <a:pt x="414" y="84"/>
                    </a:lnTo>
                    <a:lnTo>
                      <a:pt x="412" y="82"/>
                    </a:lnTo>
                    <a:lnTo>
                      <a:pt x="402" y="80"/>
                    </a:lnTo>
                    <a:lnTo>
                      <a:pt x="400" y="78"/>
                    </a:lnTo>
                    <a:lnTo>
                      <a:pt x="398" y="78"/>
                    </a:lnTo>
                    <a:lnTo>
                      <a:pt x="395" y="78"/>
                    </a:lnTo>
                    <a:lnTo>
                      <a:pt x="379" y="84"/>
                    </a:lnTo>
                    <a:lnTo>
                      <a:pt x="375" y="84"/>
                    </a:lnTo>
                    <a:lnTo>
                      <a:pt x="375" y="84"/>
                    </a:lnTo>
                    <a:lnTo>
                      <a:pt x="375" y="84"/>
                    </a:lnTo>
                    <a:lnTo>
                      <a:pt x="373" y="82"/>
                    </a:lnTo>
                    <a:lnTo>
                      <a:pt x="373" y="80"/>
                    </a:lnTo>
                    <a:lnTo>
                      <a:pt x="365" y="72"/>
                    </a:lnTo>
                    <a:lnTo>
                      <a:pt x="361" y="72"/>
                    </a:lnTo>
                    <a:lnTo>
                      <a:pt x="352" y="72"/>
                    </a:lnTo>
                    <a:lnTo>
                      <a:pt x="350" y="72"/>
                    </a:lnTo>
                    <a:lnTo>
                      <a:pt x="350" y="72"/>
                    </a:lnTo>
                    <a:lnTo>
                      <a:pt x="346" y="72"/>
                    </a:lnTo>
                    <a:lnTo>
                      <a:pt x="346" y="71"/>
                    </a:lnTo>
                    <a:lnTo>
                      <a:pt x="340" y="69"/>
                    </a:lnTo>
                    <a:lnTo>
                      <a:pt x="330" y="69"/>
                    </a:lnTo>
                    <a:lnTo>
                      <a:pt x="328" y="69"/>
                    </a:lnTo>
                    <a:lnTo>
                      <a:pt x="328" y="69"/>
                    </a:lnTo>
                    <a:lnTo>
                      <a:pt x="326" y="67"/>
                    </a:lnTo>
                    <a:lnTo>
                      <a:pt x="320" y="69"/>
                    </a:lnTo>
                    <a:lnTo>
                      <a:pt x="318" y="69"/>
                    </a:lnTo>
                    <a:lnTo>
                      <a:pt x="316" y="71"/>
                    </a:lnTo>
                    <a:lnTo>
                      <a:pt x="316" y="71"/>
                    </a:lnTo>
                    <a:lnTo>
                      <a:pt x="314" y="72"/>
                    </a:lnTo>
                    <a:lnTo>
                      <a:pt x="314" y="72"/>
                    </a:lnTo>
                    <a:lnTo>
                      <a:pt x="314" y="72"/>
                    </a:lnTo>
                    <a:lnTo>
                      <a:pt x="312" y="74"/>
                    </a:lnTo>
                    <a:lnTo>
                      <a:pt x="312" y="74"/>
                    </a:lnTo>
                    <a:lnTo>
                      <a:pt x="312" y="74"/>
                    </a:lnTo>
                    <a:lnTo>
                      <a:pt x="309" y="76"/>
                    </a:lnTo>
                    <a:lnTo>
                      <a:pt x="299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5" y="71"/>
                    </a:lnTo>
                    <a:lnTo>
                      <a:pt x="295" y="71"/>
                    </a:lnTo>
                    <a:lnTo>
                      <a:pt x="295" y="71"/>
                    </a:lnTo>
                    <a:lnTo>
                      <a:pt x="293" y="71"/>
                    </a:lnTo>
                    <a:lnTo>
                      <a:pt x="293" y="71"/>
                    </a:lnTo>
                    <a:lnTo>
                      <a:pt x="291" y="71"/>
                    </a:lnTo>
                    <a:lnTo>
                      <a:pt x="287" y="67"/>
                    </a:lnTo>
                    <a:lnTo>
                      <a:pt x="283" y="63"/>
                    </a:lnTo>
                    <a:lnTo>
                      <a:pt x="279" y="59"/>
                    </a:lnTo>
                    <a:lnTo>
                      <a:pt x="273" y="51"/>
                    </a:lnTo>
                    <a:lnTo>
                      <a:pt x="271" y="51"/>
                    </a:lnTo>
                    <a:lnTo>
                      <a:pt x="270" y="49"/>
                    </a:lnTo>
                    <a:lnTo>
                      <a:pt x="266" y="47"/>
                    </a:lnTo>
                    <a:lnTo>
                      <a:pt x="258" y="45"/>
                    </a:lnTo>
                    <a:lnTo>
                      <a:pt x="258" y="45"/>
                    </a:lnTo>
                    <a:lnTo>
                      <a:pt x="254" y="43"/>
                    </a:lnTo>
                    <a:lnTo>
                      <a:pt x="252" y="45"/>
                    </a:lnTo>
                    <a:lnTo>
                      <a:pt x="248" y="51"/>
                    </a:lnTo>
                    <a:lnTo>
                      <a:pt x="246" y="55"/>
                    </a:lnTo>
                    <a:lnTo>
                      <a:pt x="244" y="63"/>
                    </a:lnTo>
                    <a:lnTo>
                      <a:pt x="244" y="65"/>
                    </a:lnTo>
                    <a:lnTo>
                      <a:pt x="242" y="67"/>
                    </a:lnTo>
                    <a:lnTo>
                      <a:pt x="238" y="71"/>
                    </a:lnTo>
                    <a:lnTo>
                      <a:pt x="234" y="72"/>
                    </a:lnTo>
                    <a:lnTo>
                      <a:pt x="232" y="72"/>
                    </a:lnTo>
                    <a:lnTo>
                      <a:pt x="232" y="72"/>
                    </a:lnTo>
                    <a:lnTo>
                      <a:pt x="230" y="72"/>
                    </a:lnTo>
                    <a:lnTo>
                      <a:pt x="228" y="71"/>
                    </a:lnTo>
                    <a:lnTo>
                      <a:pt x="227" y="71"/>
                    </a:lnTo>
                    <a:lnTo>
                      <a:pt x="227" y="71"/>
                    </a:lnTo>
                    <a:lnTo>
                      <a:pt x="225" y="69"/>
                    </a:lnTo>
                    <a:lnTo>
                      <a:pt x="223" y="69"/>
                    </a:lnTo>
                    <a:lnTo>
                      <a:pt x="221" y="67"/>
                    </a:lnTo>
                    <a:lnTo>
                      <a:pt x="219" y="67"/>
                    </a:lnTo>
                    <a:lnTo>
                      <a:pt x="217" y="71"/>
                    </a:lnTo>
                    <a:lnTo>
                      <a:pt x="219" y="74"/>
                    </a:lnTo>
                    <a:lnTo>
                      <a:pt x="217" y="78"/>
                    </a:lnTo>
                    <a:lnTo>
                      <a:pt x="217" y="78"/>
                    </a:lnTo>
                    <a:lnTo>
                      <a:pt x="217" y="78"/>
                    </a:lnTo>
                    <a:lnTo>
                      <a:pt x="215" y="80"/>
                    </a:lnTo>
                    <a:lnTo>
                      <a:pt x="215" y="80"/>
                    </a:lnTo>
                    <a:lnTo>
                      <a:pt x="215" y="80"/>
                    </a:lnTo>
                    <a:lnTo>
                      <a:pt x="211" y="82"/>
                    </a:lnTo>
                    <a:lnTo>
                      <a:pt x="211" y="82"/>
                    </a:lnTo>
                    <a:lnTo>
                      <a:pt x="209" y="84"/>
                    </a:lnTo>
                    <a:lnTo>
                      <a:pt x="207" y="86"/>
                    </a:lnTo>
                    <a:lnTo>
                      <a:pt x="203" y="92"/>
                    </a:lnTo>
                    <a:lnTo>
                      <a:pt x="201" y="94"/>
                    </a:lnTo>
                    <a:lnTo>
                      <a:pt x="201" y="96"/>
                    </a:lnTo>
                    <a:lnTo>
                      <a:pt x="201" y="96"/>
                    </a:lnTo>
                    <a:lnTo>
                      <a:pt x="201" y="96"/>
                    </a:lnTo>
                    <a:lnTo>
                      <a:pt x="199" y="96"/>
                    </a:lnTo>
                    <a:lnTo>
                      <a:pt x="195" y="98"/>
                    </a:lnTo>
                    <a:lnTo>
                      <a:pt x="191" y="100"/>
                    </a:lnTo>
                    <a:lnTo>
                      <a:pt x="191" y="102"/>
                    </a:lnTo>
                    <a:lnTo>
                      <a:pt x="189" y="104"/>
                    </a:lnTo>
                    <a:lnTo>
                      <a:pt x="189" y="106"/>
                    </a:lnTo>
                    <a:lnTo>
                      <a:pt x="191" y="108"/>
                    </a:lnTo>
                    <a:lnTo>
                      <a:pt x="191" y="108"/>
                    </a:lnTo>
                    <a:lnTo>
                      <a:pt x="191" y="108"/>
                    </a:lnTo>
                    <a:lnTo>
                      <a:pt x="191" y="110"/>
                    </a:lnTo>
                    <a:lnTo>
                      <a:pt x="189" y="112"/>
                    </a:lnTo>
                    <a:lnTo>
                      <a:pt x="189" y="112"/>
                    </a:lnTo>
                    <a:lnTo>
                      <a:pt x="186" y="112"/>
                    </a:lnTo>
                    <a:lnTo>
                      <a:pt x="186" y="113"/>
                    </a:lnTo>
                    <a:lnTo>
                      <a:pt x="182" y="113"/>
                    </a:lnTo>
                    <a:lnTo>
                      <a:pt x="182" y="115"/>
                    </a:lnTo>
                    <a:lnTo>
                      <a:pt x="180" y="115"/>
                    </a:lnTo>
                    <a:lnTo>
                      <a:pt x="176" y="121"/>
                    </a:lnTo>
                    <a:lnTo>
                      <a:pt x="172" y="123"/>
                    </a:lnTo>
                    <a:lnTo>
                      <a:pt x="170" y="125"/>
                    </a:lnTo>
                    <a:lnTo>
                      <a:pt x="164" y="127"/>
                    </a:lnTo>
                    <a:lnTo>
                      <a:pt x="158" y="129"/>
                    </a:lnTo>
                    <a:lnTo>
                      <a:pt x="152" y="127"/>
                    </a:lnTo>
                    <a:lnTo>
                      <a:pt x="141" y="121"/>
                    </a:lnTo>
                    <a:lnTo>
                      <a:pt x="139" y="121"/>
                    </a:lnTo>
                    <a:lnTo>
                      <a:pt x="135" y="123"/>
                    </a:lnTo>
                    <a:lnTo>
                      <a:pt x="133" y="133"/>
                    </a:lnTo>
                    <a:lnTo>
                      <a:pt x="131" y="133"/>
                    </a:lnTo>
                    <a:lnTo>
                      <a:pt x="131" y="135"/>
                    </a:lnTo>
                    <a:lnTo>
                      <a:pt x="129" y="135"/>
                    </a:lnTo>
                    <a:lnTo>
                      <a:pt x="129" y="135"/>
                    </a:lnTo>
                    <a:lnTo>
                      <a:pt x="125" y="135"/>
                    </a:lnTo>
                    <a:lnTo>
                      <a:pt x="121" y="135"/>
                    </a:lnTo>
                    <a:lnTo>
                      <a:pt x="117" y="135"/>
                    </a:lnTo>
                    <a:lnTo>
                      <a:pt x="115" y="135"/>
                    </a:lnTo>
                    <a:lnTo>
                      <a:pt x="113" y="135"/>
                    </a:lnTo>
                    <a:lnTo>
                      <a:pt x="111" y="137"/>
                    </a:lnTo>
                    <a:lnTo>
                      <a:pt x="109" y="137"/>
                    </a:lnTo>
                    <a:lnTo>
                      <a:pt x="109" y="139"/>
                    </a:lnTo>
                    <a:lnTo>
                      <a:pt x="107" y="139"/>
                    </a:lnTo>
                    <a:lnTo>
                      <a:pt x="103" y="145"/>
                    </a:lnTo>
                    <a:lnTo>
                      <a:pt x="103" y="145"/>
                    </a:lnTo>
                    <a:lnTo>
                      <a:pt x="103" y="147"/>
                    </a:lnTo>
                    <a:lnTo>
                      <a:pt x="101" y="147"/>
                    </a:lnTo>
                    <a:lnTo>
                      <a:pt x="100" y="149"/>
                    </a:lnTo>
                    <a:lnTo>
                      <a:pt x="100" y="149"/>
                    </a:lnTo>
                    <a:lnTo>
                      <a:pt x="100" y="149"/>
                    </a:lnTo>
                    <a:lnTo>
                      <a:pt x="98" y="151"/>
                    </a:lnTo>
                    <a:lnTo>
                      <a:pt x="98" y="153"/>
                    </a:lnTo>
                    <a:lnTo>
                      <a:pt x="98" y="156"/>
                    </a:lnTo>
                    <a:lnTo>
                      <a:pt x="98" y="156"/>
                    </a:lnTo>
                    <a:lnTo>
                      <a:pt x="98" y="158"/>
                    </a:lnTo>
                    <a:lnTo>
                      <a:pt x="96" y="160"/>
                    </a:lnTo>
                    <a:lnTo>
                      <a:pt x="94" y="164"/>
                    </a:lnTo>
                    <a:lnTo>
                      <a:pt x="92" y="166"/>
                    </a:lnTo>
                    <a:lnTo>
                      <a:pt x="92" y="168"/>
                    </a:lnTo>
                    <a:lnTo>
                      <a:pt x="92" y="168"/>
                    </a:lnTo>
                    <a:lnTo>
                      <a:pt x="92" y="170"/>
                    </a:lnTo>
                    <a:lnTo>
                      <a:pt x="92" y="172"/>
                    </a:lnTo>
                    <a:lnTo>
                      <a:pt x="90" y="172"/>
                    </a:lnTo>
                    <a:lnTo>
                      <a:pt x="90" y="172"/>
                    </a:lnTo>
                    <a:lnTo>
                      <a:pt x="90" y="172"/>
                    </a:lnTo>
                    <a:lnTo>
                      <a:pt x="84" y="174"/>
                    </a:lnTo>
                    <a:lnTo>
                      <a:pt x="80" y="174"/>
                    </a:lnTo>
                    <a:lnTo>
                      <a:pt x="80" y="176"/>
                    </a:lnTo>
                    <a:lnTo>
                      <a:pt x="70" y="182"/>
                    </a:lnTo>
                    <a:lnTo>
                      <a:pt x="66" y="188"/>
                    </a:lnTo>
                    <a:lnTo>
                      <a:pt x="66" y="188"/>
                    </a:lnTo>
                    <a:lnTo>
                      <a:pt x="64" y="192"/>
                    </a:lnTo>
                    <a:lnTo>
                      <a:pt x="62" y="194"/>
                    </a:lnTo>
                    <a:lnTo>
                      <a:pt x="62" y="201"/>
                    </a:lnTo>
                    <a:lnTo>
                      <a:pt x="64" y="211"/>
                    </a:lnTo>
                    <a:lnTo>
                      <a:pt x="64" y="217"/>
                    </a:lnTo>
                    <a:lnTo>
                      <a:pt x="64" y="219"/>
                    </a:lnTo>
                    <a:lnTo>
                      <a:pt x="64" y="219"/>
                    </a:lnTo>
                    <a:lnTo>
                      <a:pt x="64" y="219"/>
                    </a:lnTo>
                    <a:lnTo>
                      <a:pt x="62" y="225"/>
                    </a:lnTo>
                    <a:lnTo>
                      <a:pt x="60" y="225"/>
                    </a:lnTo>
                    <a:lnTo>
                      <a:pt x="53" y="227"/>
                    </a:lnTo>
                    <a:lnTo>
                      <a:pt x="51" y="229"/>
                    </a:lnTo>
                    <a:lnTo>
                      <a:pt x="47" y="233"/>
                    </a:lnTo>
                    <a:lnTo>
                      <a:pt x="41" y="242"/>
                    </a:lnTo>
                    <a:lnTo>
                      <a:pt x="41" y="244"/>
                    </a:lnTo>
                    <a:lnTo>
                      <a:pt x="41" y="244"/>
                    </a:lnTo>
                    <a:lnTo>
                      <a:pt x="39" y="250"/>
                    </a:lnTo>
                    <a:lnTo>
                      <a:pt x="39" y="254"/>
                    </a:lnTo>
                    <a:lnTo>
                      <a:pt x="37" y="256"/>
                    </a:lnTo>
                    <a:lnTo>
                      <a:pt x="35" y="260"/>
                    </a:lnTo>
                    <a:lnTo>
                      <a:pt x="35" y="262"/>
                    </a:lnTo>
                    <a:lnTo>
                      <a:pt x="35" y="262"/>
                    </a:lnTo>
                    <a:lnTo>
                      <a:pt x="35" y="266"/>
                    </a:lnTo>
                    <a:lnTo>
                      <a:pt x="35" y="268"/>
                    </a:lnTo>
                    <a:lnTo>
                      <a:pt x="35" y="268"/>
                    </a:lnTo>
                    <a:lnTo>
                      <a:pt x="35" y="270"/>
                    </a:lnTo>
                    <a:lnTo>
                      <a:pt x="33" y="274"/>
                    </a:lnTo>
                    <a:lnTo>
                      <a:pt x="33" y="276"/>
                    </a:lnTo>
                    <a:lnTo>
                      <a:pt x="29" y="277"/>
                    </a:lnTo>
                    <a:lnTo>
                      <a:pt x="29" y="277"/>
                    </a:lnTo>
                    <a:lnTo>
                      <a:pt x="29" y="279"/>
                    </a:lnTo>
                    <a:lnTo>
                      <a:pt x="27" y="281"/>
                    </a:lnTo>
                    <a:lnTo>
                      <a:pt x="27" y="281"/>
                    </a:lnTo>
                    <a:lnTo>
                      <a:pt x="27" y="283"/>
                    </a:lnTo>
                    <a:lnTo>
                      <a:pt x="25" y="287"/>
                    </a:lnTo>
                    <a:lnTo>
                      <a:pt x="25" y="287"/>
                    </a:lnTo>
                    <a:lnTo>
                      <a:pt x="25" y="287"/>
                    </a:lnTo>
                    <a:lnTo>
                      <a:pt x="25" y="287"/>
                    </a:lnTo>
                    <a:lnTo>
                      <a:pt x="25" y="289"/>
                    </a:lnTo>
                    <a:lnTo>
                      <a:pt x="21" y="293"/>
                    </a:lnTo>
                    <a:lnTo>
                      <a:pt x="19" y="293"/>
                    </a:lnTo>
                    <a:lnTo>
                      <a:pt x="14" y="299"/>
                    </a:lnTo>
                    <a:lnTo>
                      <a:pt x="10" y="303"/>
                    </a:lnTo>
                    <a:lnTo>
                      <a:pt x="2" y="311"/>
                    </a:lnTo>
                    <a:lnTo>
                      <a:pt x="2" y="311"/>
                    </a:lnTo>
                    <a:lnTo>
                      <a:pt x="4" y="311"/>
                    </a:lnTo>
                    <a:lnTo>
                      <a:pt x="4" y="311"/>
                    </a:lnTo>
                    <a:lnTo>
                      <a:pt x="4" y="313"/>
                    </a:lnTo>
                    <a:lnTo>
                      <a:pt x="4" y="313"/>
                    </a:lnTo>
                    <a:lnTo>
                      <a:pt x="4" y="313"/>
                    </a:lnTo>
                    <a:lnTo>
                      <a:pt x="6" y="313"/>
                    </a:lnTo>
                    <a:lnTo>
                      <a:pt x="6" y="313"/>
                    </a:lnTo>
                    <a:lnTo>
                      <a:pt x="6" y="313"/>
                    </a:lnTo>
                    <a:lnTo>
                      <a:pt x="6" y="313"/>
                    </a:lnTo>
                    <a:lnTo>
                      <a:pt x="8" y="315"/>
                    </a:lnTo>
                    <a:lnTo>
                      <a:pt x="8" y="315"/>
                    </a:lnTo>
                    <a:lnTo>
                      <a:pt x="8" y="315"/>
                    </a:lnTo>
                    <a:lnTo>
                      <a:pt x="10" y="317"/>
                    </a:lnTo>
                    <a:lnTo>
                      <a:pt x="10" y="317"/>
                    </a:lnTo>
                    <a:lnTo>
                      <a:pt x="10" y="317"/>
                    </a:lnTo>
                    <a:lnTo>
                      <a:pt x="10" y="317"/>
                    </a:lnTo>
                    <a:lnTo>
                      <a:pt x="10" y="317"/>
                    </a:lnTo>
                    <a:lnTo>
                      <a:pt x="10" y="317"/>
                    </a:lnTo>
                    <a:lnTo>
                      <a:pt x="8" y="317"/>
                    </a:lnTo>
                    <a:lnTo>
                      <a:pt x="6" y="328"/>
                    </a:lnTo>
                    <a:lnTo>
                      <a:pt x="6" y="328"/>
                    </a:lnTo>
                    <a:lnTo>
                      <a:pt x="6" y="328"/>
                    </a:lnTo>
                    <a:lnTo>
                      <a:pt x="4" y="330"/>
                    </a:lnTo>
                    <a:lnTo>
                      <a:pt x="0" y="334"/>
                    </a:lnTo>
                    <a:lnTo>
                      <a:pt x="1086" y="334"/>
                    </a:lnTo>
                    <a:lnTo>
                      <a:pt x="1086" y="330"/>
                    </a:lnTo>
                    <a:lnTo>
                      <a:pt x="1082" y="32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50" name="Freeform 750">
                <a:extLst>
                  <a:ext uri="{FF2B5EF4-FFF2-40B4-BE49-F238E27FC236}">
                    <a16:creationId xmlns:a16="http://schemas.microsoft.com/office/drawing/2014/main" id="{E5CD0B11-8CDF-4E14-A370-446DAAD00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3430"/>
                <a:ext cx="401" cy="386"/>
              </a:xfrm>
              <a:custGeom>
                <a:avLst/>
                <a:gdLst>
                  <a:gd name="T0" fmla="*/ 379 w 401"/>
                  <a:gd name="T1" fmla="*/ 126 h 386"/>
                  <a:gd name="T2" fmla="*/ 371 w 401"/>
                  <a:gd name="T3" fmla="*/ 115 h 386"/>
                  <a:gd name="T4" fmla="*/ 367 w 401"/>
                  <a:gd name="T5" fmla="*/ 97 h 386"/>
                  <a:gd name="T6" fmla="*/ 359 w 401"/>
                  <a:gd name="T7" fmla="*/ 89 h 386"/>
                  <a:gd name="T8" fmla="*/ 320 w 401"/>
                  <a:gd name="T9" fmla="*/ 83 h 386"/>
                  <a:gd name="T10" fmla="*/ 315 w 401"/>
                  <a:gd name="T11" fmla="*/ 105 h 386"/>
                  <a:gd name="T12" fmla="*/ 305 w 401"/>
                  <a:gd name="T13" fmla="*/ 87 h 386"/>
                  <a:gd name="T14" fmla="*/ 297 w 401"/>
                  <a:gd name="T15" fmla="*/ 78 h 386"/>
                  <a:gd name="T16" fmla="*/ 285 w 401"/>
                  <a:gd name="T17" fmla="*/ 87 h 386"/>
                  <a:gd name="T18" fmla="*/ 289 w 401"/>
                  <a:gd name="T19" fmla="*/ 78 h 386"/>
                  <a:gd name="T20" fmla="*/ 293 w 401"/>
                  <a:gd name="T21" fmla="*/ 62 h 386"/>
                  <a:gd name="T22" fmla="*/ 275 w 401"/>
                  <a:gd name="T23" fmla="*/ 66 h 386"/>
                  <a:gd name="T24" fmla="*/ 266 w 401"/>
                  <a:gd name="T25" fmla="*/ 68 h 386"/>
                  <a:gd name="T26" fmla="*/ 252 w 401"/>
                  <a:gd name="T27" fmla="*/ 62 h 386"/>
                  <a:gd name="T28" fmla="*/ 246 w 401"/>
                  <a:gd name="T29" fmla="*/ 42 h 386"/>
                  <a:gd name="T30" fmla="*/ 219 w 401"/>
                  <a:gd name="T31" fmla="*/ 35 h 386"/>
                  <a:gd name="T32" fmla="*/ 215 w 401"/>
                  <a:gd name="T33" fmla="*/ 29 h 386"/>
                  <a:gd name="T34" fmla="*/ 195 w 401"/>
                  <a:gd name="T35" fmla="*/ 9 h 386"/>
                  <a:gd name="T36" fmla="*/ 166 w 401"/>
                  <a:gd name="T37" fmla="*/ 0 h 386"/>
                  <a:gd name="T38" fmla="*/ 135 w 401"/>
                  <a:gd name="T39" fmla="*/ 15 h 386"/>
                  <a:gd name="T40" fmla="*/ 121 w 401"/>
                  <a:gd name="T41" fmla="*/ 11 h 386"/>
                  <a:gd name="T42" fmla="*/ 100 w 401"/>
                  <a:gd name="T43" fmla="*/ 31 h 386"/>
                  <a:gd name="T44" fmla="*/ 70 w 401"/>
                  <a:gd name="T45" fmla="*/ 21 h 386"/>
                  <a:gd name="T46" fmla="*/ 68 w 401"/>
                  <a:gd name="T47" fmla="*/ 27 h 386"/>
                  <a:gd name="T48" fmla="*/ 70 w 401"/>
                  <a:gd name="T49" fmla="*/ 31 h 386"/>
                  <a:gd name="T50" fmla="*/ 66 w 401"/>
                  <a:gd name="T51" fmla="*/ 31 h 386"/>
                  <a:gd name="T52" fmla="*/ 55 w 401"/>
                  <a:gd name="T53" fmla="*/ 33 h 386"/>
                  <a:gd name="T54" fmla="*/ 35 w 401"/>
                  <a:gd name="T55" fmla="*/ 25 h 386"/>
                  <a:gd name="T56" fmla="*/ 29 w 401"/>
                  <a:gd name="T57" fmla="*/ 27 h 386"/>
                  <a:gd name="T58" fmla="*/ 29 w 401"/>
                  <a:gd name="T59" fmla="*/ 41 h 386"/>
                  <a:gd name="T60" fmla="*/ 22 w 401"/>
                  <a:gd name="T61" fmla="*/ 48 h 386"/>
                  <a:gd name="T62" fmla="*/ 10 w 401"/>
                  <a:gd name="T63" fmla="*/ 42 h 386"/>
                  <a:gd name="T64" fmla="*/ 2 w 401"/>
                  <a:gd name="T65" fmla="*/ 52 h 386"/>
                  <a:gd name="T66" fmla="*/ 20 w 401"/>
                  <a:gd name="T67" fmla="*/ 52 h 386"/>
                  <a:gd name="T68" fmla="*/ 47 w 401"/>
                  <a:gd name="T69" fmla="*/ 68 h 386"/>
                  <a:gd name="T70" fmla="*/ 57 w 401"/>
                  <a:gd name="T71" fmla="*/ 74 h 386"/>
                  <a:gd name="T72" fmla="*/ 65 w 401"/>
                  <a:gd name="T73" fmla="*/ 87 h 386"/>
                  <a:gd name="T74" fmla="*/ 72 w 401"/>
                  <a:gd name="T75" fmla="*/ 91 h 386"/>
                  <a:gd name="T76" fmla="*/ 82 w 401"/>
                  <a:gd name="T77" fmla="*/ 115 h 386"/>
                  <a:gd name="T78" fmla="*/ 88 w 401"/>
                  <a:gd name="T79" fmla="*/ 121 h 386"/>
                  <a:gd name="T80" fmla="*/ 94 w 401"/>
                  <a:gd name="T81" fmla="*/ 134 h 386"/>
                  <a:gd name="T82" fmla="*/ 100 w 401"/>
                  <a:gd name="T83" fmla="*/ 148 h 386"/>
                  <a:gd name="T84" fmla="*/ 107 w 401"/>
                  <a:gd name="T85" fmla="*/ 164 h 386"/>
                  <a:gd name="T86" fmla="*/ 111 w 401"/>
                  <a:gd name="T87" fmla="*/ 181 h 386"/>
                  <a:gd name="T88" fmla="*/ 109 w 401"/>
                  <a:gd name="T89" fmla="*/ 191 h 386"/>
                  <a:gd name="T90" fmla="*/ 137 w 401"/>
                  <a:gd name="T91" fmla="*/ 226 h 386"/>
                  <a:gd name="T92" fmla="*/ 141 w 401"/>
                  <a:gd name="T93" fmla="*/ 236 h 386"/>
                  <a:gd name="T94" fmla="*/ 149 w 401"/>
                  <a:gd name="T95" fmla="*/ 249 h 386"/>
                  <a:gd name="T96" fmla="*/ 162 w 401"/>
                  <a:gd name="T97" fmla="*/ 257 h 386"/>
                  <a:gd name="T98" fmla="*/ 162 w 401"/>
                  <a:gd name="T99" fmla="*/ 277 h 386"/>
                  <a:gd name="T100" fmla="*/ 180 w 401"/>
                  <a:gd name="T101" fmla="*/ 294 h 386"/>
                  <a:gd name="T102" fmla="*/ 191 w 401"/>
                  <a:gd name="T103" fmla="*/ 312 h 386"/>
                  <a:gd name="T104" fmla="*/ 197 w 401"/>
                  <a:gd name="T105" fmla="*/ 329 h 386"/>
                  <a:gd name="T106" fmla="*/ 209 w 401"/>
                  <a:gd name="T107" fmla="*/ 341 h 386"/>
                  <a:gd name="T108" fmla="*/ 233 w 401"/>
                  <a:gd name="T109" fmla="*/ 361 h 386"/>
                  <a:gd name="T110" fmla="*/ 250 w 401"/>
                  <a:gd name="T111" fmla="*/ 386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01" h="386">
                    <a:moveTo>
                      <a:pt x="401" y="138"/>
                    </a:moveTo>
                    <a:lnTo>
                      <a:pt x="397" y="138"/>
                    </a:lnTo>
                    <a:lnTo>
                      <a:pt x="391" y="136"/>
                    </a:lnTo>
                    <a:lnTo>
                      <a:pt x="391" y="136"/>
                    </a:lnTo>
                    <a:lnTo>
                      <a:pt x="389" y="134"/>
                    </a:lnTo>
                    <a:lnTo>
                      <a:pt x="385" y="132"/>
                    </a:lnTo>
                    <a:lnTo>
                      <a:pt x="379" y="126"/>
                    </a:lnTo>
                    <a:lnTo>
                      <a:pt x="377" y="123"/>
                    </a:lnTo>
                    <a:lnTo>
                      <a:pt x="377" y="121"/>
                    </a:lnTo>
                    <a:lnTo>
                      <a:pt x="375" y="121"/>
                    </a:lnTo>
                    <a:lnTo>
                      <a:pt x="375" y="119"/>
                    </a:lnTo>
                    <a:lnTo>
                      <a:pt x="373" y="117"/>
                    </a:lnTo>
                    <a:lnTo>
                      <a:pt x="373" y="117"/>
                    </a:lnTo>
                    <a:lnTo>
                      <a:pt x="371" y="115"/>
                    </a:lnTo>
                    <a:lnTo>
                      <a:pt x="371" y="113"/>
                    </a:lnTo>
                    <a:lnTo>
                      <a:pt x="371" y="107"/>
                    </a:lnTo>
                    <a:lnTo>
                      <a:pt x="371" y="107"/>
                    </a:lnTo>
                    <a:lnTo>
                      <a:pt x="369" y="105"/>
                    </a:lnTo>
                    <a:lnTo>
                      <a:pt x="367" y="99"/>
                    </a:lnTo>
                    <a:lnTo>
                      <a:pt x="367" y="99"/>
                    </a:lnTo>
                    <a:lnTo>
                      <a:pt x="367" y="97"/>
                    </a:lnTo>
                    <a:lnTo>
                      <a:pt x="367" y="97"/>
                    </a:lnTo>
                    <a:lnTo>
                      <a:pt x="367" y="95"/>
                    </a:lnTo>
                    <a:lnTo>
                      <a:pt x="367" y="95"/>
                    </a:lnTo>
                    <a:lnTo>
                      <a:pt x="365" y="93"/>
                    </a:lnTo>
                    <a:lnTo>
                      <a:pt x="363" y="91"/>
                    </a:lnTo>
                    <a:lnTo>
                      <a:pt x="361" y="89"/>
                    </a:lnTo>
                    <a:lnTo>
                      <a:pt x="359" y="89"/>
                    </a:lnTo>
                    <a:lnTo>
                      <a:pt x="356" y="89"/>
                    </a:lnTo>
                    <a:lnTo>
                      <a:pt x="344" y="87"/>
                    </a:lnTo>
                    <a:lnTo>
                      <a:pt x="342" y="87"/>
                    </a:lnTo>
                    <a:lnTo>
                      <a:pt x="328" y="82"/>
                    </a:lnTo>
                    <a:lnTo>
                      <a:pt x="322" y="82"/>
                    </a:lnTo>
                    <a:lnTo>
                      <a:pt x="322" y="82"/>
                    </a:lnTo>
                    <a:lnTo>
                      <a:pt x="320" y="83"/>
                    </a:lnTo>
                    <a:lnTo>
                      <a:pt x="318" y="83"/>
                    </a:lnTo>
                    <a:lnTo>
                      <a:pt x="317" y="93"/>
                    </a:lnTo>
                    <a:lnTo>
                      <a:pt x="317" y="93"/>
                    </a:lnTo>
                    <a:lnTo>
                      <a:pt x="315" y="95"/>
                    </a:lnTo>
                    <a:lnTo>
                      <a:pt x="315" y="97"/>
                    </a:lnTo>
                    <a:lnTo>
                      <a:pt x="315" y="101"/>
                    </a:lnTo>
                    <a:lnTo>
                      <a:pt x="315" y="105"/>
                    </a:lnTo>
                    <a:lnTo>
                      <a:pt x="313" y="105"/>
                    </a:lnTo>
                    <a:lnTo>
                      <a:pt x="309" y="101"/>
                    </a:lnTo>
                    <a:lnTo>
                      <a:pt x="307" y="99"/>
                    </a:lnTo>
                    <a:lnTo>
                      <a:pt x="303" y="89"/>
                    </a:lnTo>
                    <a:lnTo>
                      <a:pt x="303" y="89"/>
                    </a:lnTo>
                    <a:lnTo>
                      <a:pt x="303" y="87"/>
                    </a:lnTo>
                    <a:lnTo>
                      <a:pt x="305" y="87"/>
                    </a:lnTo>
                    <a:lnTo>
                      <a:pt x="305" y="85"/>
                    </a:lnTo>
                    <a:lnTo>
                      <a:pt x="305" y="83"/>
                    </a:lnTo>
                    <a:lnTo>
                      <a:pt x="305" y="82"/>
                    </a:lnTo>
                    <a:lnTo>
                      <a:pt x="303" y="80"/>
                    </a:lnTo>
                    <a:lnTo>
                      <a:pt x="303" y="80"/>
                    </a:lnTo>
                    <a:lnTo>
                      <a:pt x="301" y="78"/>
                    </a:lnTo>
                    <a:lnTo>
                      <a:pt x="297" y="78"/>
                    </a:lnTo>
                    <a:lnTo>
                      <a:pt x="295" y="80"/>
                    </a:lnTo>
                    <a:lnTo>
                      <a:pt x="295" y="82"/>
                    </a:lnTo>
                    <a:lnTo>
                      <a:pt x="293" y="85"/>
                    </a:lnTo>
                    <a:lnTo>
                      <a:pt x="293" y="85"/>
                    </a:lnTo>
                    <a:lnTo>
                      <a:pt x="291" y="87"/>
                    </a:lnTo>
                    <a:lnTo>
                      <a:pt x="287" y="89"/>
                    </a:lnTo>
                    <a:lnTo>
                      <a:pt x="285" y="87"/>
                    </a:lnTo>
                    <a:lnTo>
                      <a:pt x="285" y="87"/>
                    </a:lnTo>
                    <a:lnTo>
                      <a:pt x="285" y="83"/>
                    </a:lnTo>
                    <a:lnTo>
                      <a:pt x="285" y="83"/>
                    </a:lnTo>
                    <a:lnTo>
                      <a:pt x="285" y="83"/>
                    </a:lnTo>
                    <a:lnTo>
                      <a:pt x="285" y="83"/>
                    </a:lnTo>
                    <a:lnTo>
                      <a:pt x="285" y="80"/>
                    </a:lnTo>
                    <a:lnTo>
                      <a:pt x="289" y="78"/>
                    </a:lnTo>
                    <a:lnTo>
                      <a:pt x="289" y="78"/>
                    </a:lnTo>
                    <a:lnTo>
                      <a:pt x="289" y="78"/>
                    </a:lnTo>
                    <a:lnTo>
                      <a:pt x="289" y="76"/>
                    </a:lnTo>
                    <a:lnTo>
                      <a:pt x="291" y="76"/>
                    </a:lnTo>
                    <a:lnTo>
                      <a:pt x="293" y="74"/>
                    </a:lnTo>
                    <a:lnTo>
                      <a:pt x="293" y="68"/>
                    </a:lnTo>
                    <a:lnTo>
                      <a:pt x="293" y="62"/>
                    </a:lnTo>
                    <a:lnTo>
                      <a:pt x="293" y="62"/>
                    </a:lnTo>
                    <a:lnTo>
                      <a:pt x="291" y="60"/>
                    </a:lnTo>
                    <a:lnTo>
                      <a:pt x="289" y="60"/>
                    </a:lnTo>
                    <a:lnTo>
                      <a:pt x="285" y="60"/>
                    </a:lnTo>
                    <a:lnTo>
                      <a:pt x="281" y="62"/>
                    </a:lnTo>
                    <a:lnTo>
                      <a:pt x="279" y="64"/>
                    </a:lnTo>
                    <a:lnTo>
                      <a:pt x="275" y="66"/>
                    </a:lnTo>
                    <a:lnTo>
                      <a:pt x="274" y="68"/>
                    </a:lnTo>
                    <a:lnTo>
                      <a:pt x="272" y="68"/>
                    </a:lnTo>
                    <a:lnTo>
                      <a:pt x="268" y="68"/>
                    </a:lnTo>
                    <a:lnTo>
                      <a:pt x="268" y="68"/>
                    </a:lnTo>
                    <a:lnTo>
                      <a:pt x="268" y="68"/>
                    </a:lnTo>
                    <a:lnTo>
                      <a:pt x="268" y="68"/>
                    </a:lnTo>
                    <a:lnTo>
                      <a:pt x="266" y="68"/>
                    </a:lnTo>
                    <a:lnTo>
                      <a:pt x="264" y="64"/>
                    </a:lnTo>
                    <a:lnTo>
                      <a:pt x="264" y="60"/>
                    </a:lnTo>
                    <a:lnTo>
                      <a:pt x="262" y="56"/>
                    </a:lnTo>
                    <a:lnTo>
                      <a:pt x="260" y="56"/>
                    </a:lnTo>
                    <a:lnTo>
                      <a:pt x="254" y="60"/>
                    </a:lnTo>
                    <a:lnTo>
                      <a:pt x="252" y="62"/>
                    </a:lnTo>
                    <a:lnTo>
                      <a:pt x="252" y="62"/>
                    </a:lnTo>
                    <a:lnTo>
                      <a:pt x="252" y="62"/>
                    </a:lnTo>
                    <a:lnTo>
                      <a:pt x="248" y="62"/>
                    </a:lnTo>
                    <a:lnTo>
                      <a:pt x="246" y="60"/>
                    </a:lnTo>
                    <a:lnTo>
                      <a:pt x="248" y="52"/>
                    </a:lnTo>
                    <a:lnTo>
                      <a:pt x="248" y="50"/>
                    </a:lnTo>
                    <a:lnTo>
                      <a:pt x="248" y="44"/>
                    </a:lnTo>
                    <a:lnTo>
                      <a:pt x="246" y="42"/>
                    </a:lnTo>
                    <a:lnTo>
                      <a:pt x="244" y="42"/>
                    </a:lnTo>
                    <a:lnTo>
                      <a:pt x="242" y="41"/>
                    </a:lnTo>
                    <a:lnTo>
                      <a:pt x="233" y="39"/>
                    </a:lnTo>
                    <a:lnTo>
                      <a:pt x="231" y="39"/>
                    </a:lnTo>
                    <a:lnTo>
                      <a:pt x="227" y="39"/>
                    </a:lnTo>
                    <a:lnTo>
                      <a:pt x="223" y="37"/>
                    </a:lnTo>
                    <a:lnTo>
                      <a:pt x="219" y="35"/>
                    </a:lnTo>
                    <a:lnTo>
                      <a:pt x="219" y="35"/>
                    </a:lnTo>
                    <a:lnTo>
                      <a:pt x="219" y="35"/>
                    </a:lnTo>
                    <a:lnTo>
                      <a:pt x="219" y="33"/>
                    </a:lnTo>
                    <a:lnTo>
                      <a:pt x="217" y="31"/>
                    </a:lnTo>
                    <a:lnTo>
                      <a:pt x="215" y="29"/>
                    </a:lnTo>
                    <a:lnTo>
                      <a:pt x="215" y="29"/>
                    </a:lnTo>
                    <a:lnTo>
                      <a:pt x="215" y="29"/>
                    </a:lnTo>
                    <a:lnTo>
                      <a:pt x="215" y="27"/>
                    </a:lnTo>
                    <a:lnTo>
                      <a:pt x="213" y="25"/>
                    </a:lnTo>
                    <a:lnTo>
                      <a:pt x="211" y="23"/>
                    </a:lnTo>
                    <a:lnTo>
                      <a:pt x="209" y="21"/>
                    </a:lnTo>
                    <a:lnTo>
                      <a:pt x="207" y="19"/>
                    </a:lnTo>
                    <a:lnTo>
                      <a:pt x="207" y="17"/>
                    </a:lnTo>
                    <a:lnTo>
                      <a:pt x="195" y="9"/>
                    </a:lnTo>
                    <a:lnTo>
                      <a:pt x="190" y="7"/>
                    </a:lnTo>
                    <a:lnTo>
                      <a:pt x="176" y="7"/>
                    </a:lnTo>
                    <a:lnTo>
                      <a:pt x="170" y="7"/>
                    </a:lnTo>
                    <a:lnTo>
                      <a:pt x="168" y="7"/>
                    </a:lnTo>
                    <a:lnTo>
                      <a:pt x="166" y="5"/>
                    </a:lnTo>
                    <a:lnTo>
                      <a:pt x="166" y="3"/>
                    </a:lnTo>
                    <a:lnTo>
                      <a:pt x="166" y="0"/>
                    </a:lnTo>
                    <a:lnTo>
                      <a:pt x="162" y="0"/>
                    </a:lnTo>
                    <a:lnTo>
                      <a:pt x="158" y="1"/>
                    </a:lnTo>
                    <a:lnTo>
                      <a:pt x="156" y="1"/>
                    </a:lnTo>
                    <a:lnTo>
                      <a:pt x="149" y="1"/>
                    </a:lnTo>
                    <a:lnTo>
                      <a:pt x="145" y="7"/>
                    </a:lnTo>
                    <a:lnTo>
                      <a:pt x="141" y="11"/>
                    </a:lnTo>
                    <a:lnTo>
                      <a:pt x="135" y="15"/>
                    </a:lnTo>
                    <a:lnTo>
                      <a:pt x="133" y="17"/>
                    </a:lnTo>
                    <a:lnTo>
                      <a:pt x="131" y="17"/>
                    </a:lnTo>
                    <a:lnTo>
                      <a:pt x="131" y="17"/>
                    </a:lnTo>
                    <a:lnTo>
                      <a:pt x="131" y="17"/>
                    </a:lnTo>
                    <a:lnTo>
                      <a:pt x="129" y="15"/>
                    </a:lnTo>
                    <a:lnTo>
                      <a:pt x="125" y="11"/>
                    </a:lnTo>
                    <a:lnTo>
                      <a:pt x="121" y="11"/>
                    </a:lnTo>
                    <a:lnTo>
                      <a:pt x="119" y="13"/>
                    </a:lnTo>
                    <a:lnTo>
                      <a:pt x="115" y="15"/>
                    </a:lnTo>
                    <a:lnTo>
                      <a:pt x="109" y="21"/>
                    </a:lnTo>
                    <a:lnTo>
                      <a:pt x="107" y="25"/>
                    </a:lnTo>
                    <a:lnTo>
                      <a:pt x="106" y="27"/>
                    </a:lnTo>
                    <a:lnTo>
                      <a:pt x="106" y="27"/>
                    </a:lnTo>
                    <a:lnTo>
                      <a:pt x="100" y="31"/>
                    </a:lnTo>
                    <a:lnTo>
                      <a:pt x="100" y="31"/>
                    </a:lnTo>
                    <a:lnTo>
                      <a:pt x="100" y="31"/>
                    </a:lnTo>
                    <a:lnTo>
                      <a:pt x="98" y="31"/>
                    </a:lnTo>
                    <a:lnTo>
                      <a:pt x="94" y="31"/>
                    </a:lnTo>
                    <a:lnTo>
                      <a:pt x="76" y="23"/>
                    </a:lnTo>
                    <a:lnTo>
                      <a:pt x="72" y="21"/>
                    </a:lnTo>
                    <a:lnTo>
                      <a:pt x="70" y="21"/>
                    </a:lnTo>
                    <a:lnTo>
                      <a:pt x="68" y="21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70" y="25"/>
                    </a:lnTo>
                    <a:lnTo>
                      <a:pt x="70" y="25"/>
                    </a:lnTo>
                    <a:lnTo>
                      <a:pt x="70" y="25"/>
                    </a:lnTo>
                    <a:lnTo>
                      <a:pt x="68" y="27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70" y="29"/>
                    </a:lnTo>
                    <a:lnTo>
                      <a:pt x="70" y="29"/>
                    </a:lnTo>
                    <a:lnTo>
                      <a:pt x="70" y="31"/>
                    </a:lnTo>
                    <a:lnTo>
                      <a:pt x="70" y="31"/>
                    </a:lnTo>
                    <a:lnTo>
                      <a:pt x="70" y="31"/>
                    </a:lnTo>
                    <a:lnTo>
                      <a:pt x="70" y="31"/>
                    </a:lnTo>
                    <a:lnTo>
                      <a:pt x="68" y="31"/>
                    </a:lnTo>
                    <a:lnTo>
                      <a:pt x="68" y="31"/>
                    </a:lnTo>
                    <a:lnTo>
                      <a:pt x="68" y="31"/>
                    </a:lnTo>
                    <a:lnTo>
                      <a:pt x="66" y="31"/>
                    </a:lnTo>
                    <a:lnTo>
                      <a:pt x="66" y="31"/>
                    </a:lnTo>
                    <a:lnTo>
                      <a:pt x="66" y="31"/>
                    </a:lnTo>
                    <a:lnTo>
                      <a:pt x="66" y="31"/>
                    </a:lnTo>
                    <a:lnTo>
                      <a:pt x="65" y="31"/>
                    </a:lnTo>
                    <a:lnTo>
                      <a:pt x="63" y="31"/>
                    </a:lnTo>
                    <a:lnTo>
                      <a:pt x="63" y="31"/>
                    </a:lnTo>
                    <a:lnTo>
                      <a:pt x="61" y="31"/>
                    </a:lnTo>
                    <a:lnTo>
                      <a:pt x="59" y="33"/>
                    </a:lnTo>
                    <a:lnTo>
                      <a:pt x="55" y="33"/>
                    </a:lnTo>
                    <a:lnTo>
                      <a:pt x="53" y="31"/>
                    </a:lnTo>
                    <a:lnTo>
                      <a:pt x="49" y="29"/>
                    </a:lnTo>
                    <a:lnTo>
                      <a:pt x="43" y="25"/>
                    </a:lnTo>
                    <a:lnTo>
                      <a:pt x="39" y="23"/>
                    </a:lnTo>
                    <a:lnTo>
                      <a:pt x="37" y="23"/>
                    </a:lnTo>
                    <a:lnTo>
                      <a:pt x="37" y="23"/>
                    </a:lnTo>
                    <a:lnTo>
                      <a:pt x="35" y="25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3" y="27"/>
                    </a:lnTo>
                    <a:lnTo>
                      <a:pt x="33" y="27"/>
                    </a:lnTo>
                    <a:lnTo>
                      <a:pt x="33" y="27"/>
                    </a:lnTo>
                    <a:lnTo>
                      <a:pt x="29" y="27"/>
                    </a:lnTo>
                    <a:lnTo>
                      <a:pt x="29" y="27"/>
                    </a:lnTo>
                    <a:lnTo>
                      <a:pt x="29" y="27"/>
                    </a:lnTo>
                    <a:lnTo>
                      <a:pt x="27" y="29"/>
                    </a:lnTo>
                    <a:lnTo>
                      <a:pt x="27" y="31"/>
                    </a:lnTo>
                    <a:lnTo>
                      <a:pt x="29" y="35"/>
                    </a:lnTo>
                    <a:lnTo>
                      <a:pt x="29" y="39"/>
                    </a:lnTo>
                    <a:lnTo>
                      <a:pt x="29" y="41"/>
                    </a:lnTo>
                    <a:lnTo>
                      <a:pt x="29" y="44"/>
                    </a:lnTo>
                    <a:lnTo>
                      <a:pt x="29" y="46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25" y="48"/>
                    </a:lnTo>
                    <a:lnTo>
                      <a:pt x="23" y="48"/>
                    </a:lnTo>
                    <a:lnTo>
                      <a:pt x="22" y="48"/>
                    </a:lnTo>
                    <a:lnTo>
                      <a:pt x="18" y="44"/>
                    </a:lnTo>
                    <a:lnTo>
                      <a:pt x="18" y="42"/>
                    </a:lnTo>
                    <a:lnTo>
                      <a:pt x="14" y="39"/>
                    </a:lnTo>
                    <a:lnTo>
                      <a:pt x="12" y="39"/>
                    </a:lnTo>
                    <a:lnTo>
                      <a:pt x="12" y="39"/>
                    </a:lnTo>
                    <a:lnTo>
                      <a:pt x="10" y="41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2" y="50"/>
                    </a:lnTo>
                    <a:lnTo>
                      <a:pt x="2" y="52"/>
                    </a:lnTo>
                    <a:lnTo>
                      <a:pt x="0" y="54"/>
                    </a:lnTo>
                    <a:lnTo>
                      <a:pt x="0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6" y="56"/>
                    </a:lnTo>
                    <a:lnTo>
                      <a:pt x="18" y="56"/>
                    </a:lnTo>
                    <a:lnTo>
                      <a:pt x="20" y="52"/>
                    </a:lnTo>
                    <a:lnTo>
                      <a:pt x="22" y="56"/>
                    </a:lnTo>
                    <a:lnTo>
                      <a:pt x="25" y="58"/>
                    </a:lnTo>
                    <a:lnTo>
                      <a:pt x="31" y="56"/>
                    </a:lnTo>
                    <a:lnTo>
                      <a:pt x="35" y="58"/>
                    </a:lnTo>
                    <a:lnTo>
                      <a:pt x="39" y="62"/>
                    </a:lnTo>
                    <a:lnTo>
                      <a:pt x="41" y="62"/>
                    </a:lnTo>
                    <a:lnTo>
                      <a:pt x="47" y="68"/>
                    </a:lnTo>
                    <a:lnTo>
                      <a:pt x="49" y="70"/>
                    </a:lnTo>
                    <a:lnTo>
                      <a:pt x="49" y="74"/>
                    </a:lnTo>
                    <a:lnTo>
                      <a:pt x="51" y="74"/>
                    </a:lnTo>
                    <a:lnTo>
                      <a:pt x="53" y="70"/>
                    </a:lnTo>
                    <a:lnTo>
                      <a:pt x="55" y="70"/>
                    </a:lnTo>
                    <a:lnTo>
                      <a:pt x="57" y="72"/>
                    </a:lnTo>
                    <a:lnTo>
                      <a:pt x="57" y="74"/>
                    </a:lnTo>
                    <a:lnTo>
                      <a:pt x="59" y="78"/>
                    </a:lnTo>
                    <a:lnTo>
                      <a:pt x="65" y="80"/>
                    </a:lnTo>
                    <a:lnTo>
                      <a:pt x="65" y="82"/>
                    </a:lnTo>
                    <a:lnTo>
                      <a:pt x="63" y="83"/>
                    </a:lnTo>
                    <a:lnTo>
                      <a:pt x="59" y="83"/>
                    </a:lnTo>
                    <a:lnTo>
                      <a:pt x="59" y="85"/>
                    </a:lnTo>
                    <a:lnTo>
                      <a:pt x="65" y="87"/>
                    </a:lnTo>
                    <a:lnTo>
                      <a:pt x="66" y="89"/>
                    </a:lnTo>
                    <a:lnTo>
                      <a:pt x="68" y="87"/>
                    </a:lnTo>
                    <a:lnTo>
                      <a:pt x="70" y="87"/>
                    </a:lnTo>
                    <a:lnTo>
                      <a:pt x="72" y="89"/>
                    </a:lnTo>
                    <a:lnTo>
                      <a:pt x="72" y="89"/>
                    </a:lnTo>
                    <a:lnTo>
                      <a:pt x="72" y="89"/>
                    </a:lnTo>
                    <a:lnTo>
                      <a:pt x="72" y="91"/>
                    </a:lnTo>
                    <a:lnTo>
                      <a:pt x="70" y="93"/>
                    </a:lnTo>
                    <a:lnTo>
                      <a:pt x="70" y="95"/>
                    </a:lnTo>
                    <a:lnTo>
                      <a:pt x="72" y="101"/>
                    </a:lnTo>
                    <a:lnTo>
                      <a:pt x="74" y="107"/>
                    </a:lnTo>
                    <a:lnTo>
                      <a:pt x="78" y="109"/>
                    </a:lnTo>
                    <a:lnTo>
                      <a:pt x="82" y="113"/>
                    </a:lnTo>
                    <a:lnTo>
                      <a:pt x="82" y="115"/>
                    </a:lnTo>
                    <a:lnTo>
                      <a:pt x="80" y="115"/>
                    </a:lnTo>
                    <a:lnTo>
                      <a:pt x="80" y="117"/>
                    </a:lnTo>
                    <a:lnTo>
                      <a:pt x="80" y="117"/>
                    </a:lnTo>
                    <a:lnTo>
                      <a:pt x="80" y="119"/>
                    </a:lnTo>
                    <a:lnTo>
                      <a:pt x="80" y="119"/>
                    </a:lnTo>
                    <a:lnTo>
                      <a:pt x="84" y="117"/>
                    </a:lnTo>
                    <a:lnTo>
                      <a:pt x="88" y="121"/>
                    </a:lnTo>
                    <a:lnTo>
                      <a:pt x="88" y="124"/>
                    </a:lnTo>
                    <a:lnTo>
                      <a:pt x="92" y="123"/>
                    </a:lnTo>
                    <a:lnTo>
                      <a:pt x="94" y="124"/>
                    </a:lnTo>
                    <a:lnTo>
                      <a:pt x="94" y="126"/>
                    </a:lnTo>
                    <a:lnTo>
                      <a:pt x="92" y="128"/>
                    </a:lnTo>
                    <a:lnTo>
                      <a:pt x="90" y="130"/>
                    </a:lnTo>
                    <a:lnTo>
                      <a:pt x="94" y="134"/>
                    </a:lnTo>
                    <a:lnTo>
                      <a:pt x="94" y="134"/>
                    </a:lnTo>
                    <a:lnTo>
                      <a:pt x="94" y="134"/>
                    </a:lnTo>
                    <a:lnTo>
                      <a:pt x="94" y="136"/>
                    </a:lnTo>
                    <a:lnTo>
                      <a:pt x="92" y="140"/>
                    </a:lnTo>
                    <a:lnTo>
                      <a:pt x="94" y="142"/>
                    </a:lnTo>
                    <a:lnTo>
                      <a:pt x="98" y="144"/>
                    </a:lnTo>
                    <a:lnTo>
                      <a:pt x="100" y="148"/>
                    </a:lnTo>
                    <a:lnTo>
                      <a:pt x="100" y="150"/>
                    </a:lnTo>
                    <a:lnTo>
                      <a:pt x="100" y="158"/>
                    </a:lnTo>
                    <a:lnTo>
                      <a:pt x="100" y="158"/>
                    </a:lnTo>
                    <a:lnTo>
                      <a:pt x="102" y="160"/>
                    </a:lnTo>
                    <a:lnTo>
                      <a:pt x="104" y="160"/>
                    </a:lnTo>
                    <a:lnTo>
                      <a:pt x="106" y="162"/>
                    </a:lnTo>
                    <a:lnTo>
                      <a:pt x="107" y="164"/>
                    </a:lnTo>
                    <a:lnTo>
                      <a:pt x="102" y="167"/>
                    </a:lnTo>
                    <a:lnTo>
                      <a:pt x="104" y="169"/>
                    </a:lnTo>
                    <a:lnTo>
                      <a:pt x="106" y="171"/>
                    </a:lnTo>
                    <a:lnTo>
                      <a:pt x="107" y="175"/>
                    </a:lnTo>
                    <a:lnTo>
                      <a:pt x="107" y="177"/>
                    </a:lnTo>
                    <a:lnTo>
                      <a:pt x="109" y="179"/>
                    </a:lnTo>
                    <a:lnTo>
                      <a:pt x="111" y="181"/>
                    </a:lnTo>
                    <a:lnTo>
                      <a:pt x="113" y="181"/>
                    </a:lnTo>
                    <a:lnTo>
                      <a:pt x="113" y="183"/>
                    </a:lnTo>
                    <a:lnTo>
                      <a:pt x="113" y="185"/>
                    </a:lnTo>
                    <a:lnTo>
                      <a:pt x="113" y="187"/>
                    </a:lnTo>
                    <a:lnTo>
                      <a:pt x="113" y="189"/>
                    </a:lnTo>
                    <a:lnTo>
                      <a:pt x="113" y="191"/>
                    </a:lnTo>
                    <a:lnTo>
                      <a:pt x="109" y="191"/>
                    </a:lnTo>
                    <a:lnTo>
                      <a:pt x="111" y="197"/>
                    </a:lnTo>
                    <a:lnTo>
                      <a:pt x="115" y="203"/>
                    </a:lnTo>
                    <a:lnTo>
                      <a:pt x="127" y="218"/>
                    </a:lnTo>
                    <a:lnTo>
                      <a:pt x="131" y="222"/>
                    </a:lnTo>
                    <a:lnTo>
                      <a:pt x="137" y="224"/>
                    </a:lnTo>
                    <a:lnTo>
                      <a:pt x="137" y="226"/>
                    </a:lnTo>
                    <a:lnTo>
                      <a:pt x="137" y="226"/>
                    </a:lnTo>
                    <a:lnTo>
                      <a:pt x="137" y="230"/>
                    </a:lnTo>
                    <a:lnTo>
                      <a:pt x="139" y="232"/>
                    </a:lnTo>
                    <a:lnTo>
                      <a:pt x="139" y="232"/>
                    </a:lnTo>
                    <a:lnTo>
                      <a:pt x="139" y="234"/>
                    </a:lnTo>
                    <a:lnTo>
                      <a:pt x="139" y="236"/>
                    </a:lnTo>
                    <a:lnTo>
                      <a:pt x="139" y="236"/>
                    </a:lnTo>
                    <a:lnTo>
                      <a:pt x="141" y="236"/>
                    </a:lnTo>
                    <a:lnTo>
                      <a:pt x="141" y="236"/>
                    </a:lnTo>
                    <a:lnTo>
                      <a:pt x="143" y="244"/>
                    </a:lnTo>
                    <a:lnTo>
                      <a:pt x="145" y="246"/>
                    </a:lnTo>
                    <a:lnTo>
                      <a:pt x="147" y="247"/>
                    </a:lnTo>
                    <a:lnTo>
                      <a:pt x="147" y="247"/>
                    </a:lnTo>
                    <a:lnTo>
                      <a:pt x="149" y="249"/>
                    </a:lnTo>
                    <a:lnTo>
                      <a:pt x="149" y="249"/>
                    </a:lnTo>
                    <a:lnTo>
                      <a:pt x="150" y="249"/>
                    </a:lnTo>
                    <a:lnTo>
                      <a:pt x="154" y="249"/>
                    </a:lnTo>
                    <a:lnTo>
                      <a:pt x="154" y="249"/>
                    </a:lnTo>
                    <a:lnTo>
                      <a:pt x="156" y="251"/>
                    </a:lnTo>
                    <a:lnTo>
                      <a:pt x="158" y="251"/>
                    </a:lnTo>
                    <a:lnTo>
                      <a:pt x="160" y="253"/>
                    </a:lnTo>
                    <a:lnTo>
                      <a:pt x="162" y="257"/>
                    </a:lnTo>
                    <a:lnTo>
                      <a:pt x="160" y="257"/>
                    </a:lnTo>
                    <a:lnTo>
                      <a:pt x="160" y="259"/>
                    </a:lnTo>
                    <a:lnTo>
                      <a:pt x="160" y="263"/>
                    </a:lnTo>
                    <a:lnTo>
                      <a:pt x="158" y="265"/>
                    </a:lnTo>
                    <a:lnTo>
                      <a:pt x="162" y="267"/>
                    </a:lnTo>
                    <a:lnTo>
                      <a:pt x="160" y="275"/>
                    </a:lnTo>
                    <a:lnTo>
                      <a:pt x="162" y="277"/>
                    </a:lnTo>
                    <a:lnTo>
                      <a:pt x="164" y="277"/>
                    </a:lnTo>
                    <a:lnTo>
                      <a:pt x="166" y="279"/>
                    </a:lnTo>
                    <a:lnTo>
                      <a:pt x="170" y="288"/>
                    </a:lnTo>
                    <a:lnTo>
                      <a:pt x="172" y="292"/>
                    </a:lnTo>
                    <a:lnTo>
                      <a:pt x="172" y="292"/>
                    </a:lnTo>
                    <a:lnTo>
                      <a:pt x="178" y="294"/>
                    </a:lnTo>
                    <a:lnTo>
                      <a:pt x="180" y="294"/>
                    </a:lnTo>
                    <a:lnTo>
                      <a:pt x="180" y="296"/>
                    </a:lnTo>
                    <a:lnTo>
                      <a:pt x="182" y="296"/>
                    </a:lnTo>
                    <a:lnTo>
                      <a:pt x="186" y="298"/>
                    </a:lnTo>
                    <a:lnTo>
                      <a:pt x="188" y="300"/>
                    </a:lnTo>
                    <a:lnTo>
                      <a:pt x="191" y="306"/>
                    </a:lnTo>
                    <a:lnTo>
                      <a:pt x="191" y="308"/>
                    </a:lnTo>
                    <a:lnTo>
                      <a:pt x="191" y="312"/>
                    </a:lnTo>
                    <a:lnTo>
                      <a:pt x="197" y="318"/>
                    </a:lnTo>
                    <a:lnTo>
                      <a:pt x="199" y="324"/>
                    </a:lnTo>
                    <a:lnTo>
                      <a:pt x="199" y="324"/>
                    </a:lnTo>
                    <a:lnTo>
                      <a:pt x="199" y="326"/>
                    </a:lnTo>
                    <a:lnTo>
                      <a:pt x="199" y="328"/>
                    </a:lnTo>
                    <a:lnTo>
                      <a:pt x="199" y="328"/>
                    </a:lnTo>
                    <a:lnTo>
                      <a:pt x="197" y="329"/>
                    </a:lnTo>
                    <a:lnTo>
                      <a:pt x="199" y="331"/>
                    </a:lnTo>
                    <a:lnTo>
                      <a:pt x="207" y="335"/>
                    </a:lnTo>
                    <a:lnTo>
                      <a:pt x="207" y="337"/>
                    </a:lnTo>
                    <a:lnTo>
                      <a:pt x="205" y="339"/>
                    </a:lnTo>
                    <a:lnTo>
                      <a:pt x="207" y="339"/>
                    </a:lnTo>
                    <a:lnTo>
                      <a:pt x="209" y="341"/>
                    </a:lnTo>
                    <a:lnTo>
                      <a:pt x="209" y="341"/>
                    </a:lnTo>
                    <a:lnTo>
                      <a:pt x="215" y="347"/>
                    </a:lnTo>
                    <a:lnTo>
                      <a:pt x="219" y="351"/>
                    </a:lnTo>
                    <a:lnTo>
                      <a:pt x="223" y="353"/>
                    </a:lnTo>
                    <a:lnTo>
                      <a:pt x="223" y="357"/>
                    </a:lnTo>
                    <a:lnTo>
                      <a:pt x="227" y="357"/>
                    </a:lnTo>
                    <a:lnTo>
                      <a:pt x="231" y="359"/>
                    </a:lnTo>
                    <a:lnTo>
                      <a:pt x="233" y="361"/>
                    </a:lnTo>
                    <a:lnTo>
                      <a:pt x="236" y="359"/>
                    </a:lnTo>
                    <a:lnTo>
                      <a:pt x="238" y="363"/>
                    </a:lnTo>
                    <a:lnTo>
                      <a:pt x="238" y="363"/>
                    </a:lnTo>
                    <a:lnTo>
                      <a:pt x="244" y="370"/>
                    </a:lnTo>
                    <a:lnTo>
                      <a:pt x="246" y="374"/>
                    </a:lnTo>
                    <a:lnTo>
                      <a:pt x="250" y="382"/>
                    </a:lnTo>
                    <a:lnTo>
                      <a:pt x="250" y="386"/>
                    </a:lnTo>
                    <a:lnTo>
                      <a:pt x="401" y="386"/>
                    </a:lnTo>
                    <a:lnTo>
                      <a:pt x="401" y="13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51" name="Freeform 751">
                <a:extLst>
                  <a:ext uri="{FF2B5EF4-FFF2-40B4-BE49-F238E27FC236}">
                    <a16:creationId xmlns:a16="http://schemas.microsoft.com/office/drawing/2014/main" id="{8E522602-EDF8-49A7-A732-C93B4542D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1" y="739"/>
                <a:ext cx="1212" cy="736"/>
              </a:xfrm>
              <a:custGeom>
                <a:avLst/>
                <a:gdLst>
                  <a:gd name="T0" fmla="*/ 73 w 1212"/>
                  <a:gd name="T1" fmla="*/ 566 h 736"/>
                  <a:gd name="T2" fmla="*/ 206 w 1212"/>
                  <a:gd name="T3" fmla="*/ 517 h 736"/>
                  <a:gd name="T4" fmla="*/ 315 w 1212"/>
                  <a:gd name="T5" fmla="*/ 517 h 736"/>
                  <a:gd name="T6" fmla="*/ 368 w 1212"/>
                  <a:gd name="T7" fmla="*/ 529 h 736"/>
                  <a:gd name="T8" fmla="*/ 460 w 1212"/>
                  <a:gd name="T9" fmla="*/ 531 h 736"/>
                  <a:gd name="T10" fmla="*/ 520 w 1212"/>
                  <a:gd name="T11" fmla="*/ 555 h 736"/>
                  <a:gd name="T12" fmla="*/ 587 w 1212"/>
                  <a:gd name="T13" fmla="*/ 556 h 736"/>
                  <a:gd name="T14" fmla="*/ 649 w 1212"/>
                  <a:gd name="T15" fmla="*/ 512 h 736"/>
                  <a:gd name="T16" fmla="*/ 676 w 1212"/>
                  <a:gd name="T17" fmla="*/ 556 h 736"/>
                  <a:gd name="T18" fmla="*/ 782 w 1212"/>
                  <a:gd name="T19" fmla="*/ 594 h 736"/>
                  <a:gd name="T20" fmla="*/ 844 w 1212"/>
                  <a:gd name="T21" fmla="*/ 656 h 736"/>
                  <a:gd name="T22" fmla="*/ 944 w 1212"/>
                  <a:gd name="T23" fmla="*/ 728 h 736"/>
                  <a:gd name="T24" fmla="*/ 1005 w 1212"/>
                  <a:gd name="T25" fmla="*/ 687 h 736"/>
                  <a:gd name="T26" fmla="*/ 1077 w 1212"/>
                  <a:gd name="T27" fmla="*/ 695 h 736"/>
                  <a:gd name="T28" fmla="*/ 1139 w 1212"/>
                  <a:gd name="T29" fmla="*/ 631 h 736"/>
                  <a:gd name="T30" fmla="*/ 1184 w 1212"/>
                  <a:gd name="T31" fmla="*/ 594 h 736"/>
                  <a:gd name="T32" fmla="*/ 1212 w 1212"/>
                  <a:gd name="T33" fmla="*/ 560 h 736"/>
                  <a:gd name="T34" fmla="*/ 1192 w 1212"/>
                  <a:gd name="T35" fmla="*/ 488 h 736"/>
                  <a:gd name="T36" fmla="*/ 1175 w 1212"/>
                  <a:gd name="T37" fmla="*/ 449 h 736"/>
                  <a:gd name="T38" fmla="*/ 1151 w 1212"/>
                  <a:gd name="T39" fmla="*/ 379 h 736"/>
                  <a:gd name="T40" fmla="*/ 1130 w 1212"/>
                  <a:gd name="T41" fmla="*/ 338 h 736"/>
                  <a:gd name="T42" fmla="*/ 1141 w 1212"/>
                  <a:gd name="T43" fmla="*/ 291 h 736"/>
                  <a:gd name="T44" fmla="*/ 1116 w 1212"/>
                  <a:gd name="T45" fmla="*/ 215 h 736"/>
                  <a:gd name="T46" fmla="*/ 1063 w 1212"/>
                  <a:gd name="T47" fmla="*/ 176 h 736"/>
                  <a:gd name="T48" fmla="*/ 1010 w 1212"/>
                  <a:gd name="T49" fmla="*/ 148 h 736"/>
                  <a:gd name="T50" fmla="*/ 991 w 1212"/>
                  <a:gd name="T51" fmla="*/ 144 h 736"/>
                  <a:gd name="T52" fmla="*/ 979 w 1212"/>
                  <a:gd name="T53" fmla="*/ 150 h 736"/>
                  <a:gd name="T54" fmla="*/ 948 w 1212"/>
                  <a:gd name="T55" fmla="*/ 162 h 736"/>
                  <a:gd name="T56" fmla="*/ 936 w 1212"/>
                  <a:gd name="T57" fmla="*/ 174 h 736"/>
                  <a:gd name="T58" fmla="*/ 917 w 1212"/>
                  <a:gd name="T59" fmla="*/ 164 h 736"/>
                  <a:gd name="T60" fmla="*/ 885 w 1212"/>
                  <a:gd name="T61" fmla="*/ 143 h 736"/>
                  <a:gd name="T62" fmla="*/ 846 w 1212"/>
                  <a:gd name="T63" fmla="*/ 78 h 736"/>
                  <a:gd name="T64" fmla="*/ 801 w 1212"/>
                  <a:gd name="T65" fmla="*/ 62 h 736"/>
                  <a:gd name="T66" fmla="*/ 778 w 1212"/>
                  <a:gd name="T67" fmla="*/ 51 h 736"/>
                  <a:gd name="T68" fmla="*/ 766 w 1212"/>
                  <a:gd name="T69" fmla="*/ 37 h 736"/>
                  <a:gd name="T70" fmla="*/ 731 w 1212"/>
                  <a:gd name="T71" fmla="*/ 12 h 736"/>
                  <a:gd name="T72" fmla="*/ 723 w 1212"/>
                  <a:gd name="T73" fmla="*/ 2 h 736"/>
                  <a:gd name="T74" fmla="*/ 717 w 1212"/>
                  <a:gd name="T75" fmla="*/ 25 h 736"/>
                  <a:gd name="T76" fmla="*/ 706 w 1212"/>
                  <a:gd name="T77" fmla="*/ 14 h 736"/>
                  <a:gd name="T78" fmla="*/ 680 w 1212"/>
                  <a:gd name="T79" fmla="*/ 8 h 736"/>
                  <a:gd name="T80" fmla="*/ 643 w 1212"/>
                  <a:gd name="T81" fmla="*/ 31 h 736"/>
                  <a:gd name="T82" fmla="*/ 626 w 1212"/>
                  <a:gd name="T83" fmla="*/ 31 h 736"/>
                  <a:gd name="T84" fmla="*/ 588 w 1212"/>
                  <a:gd name="T85" fmla="*/ 49 h 736"/>
                  <a:gd name="T86" fmla="*/ 575 w 1212"/>
                  <a:gd name="T87" fmla="*/ 64 h 736"/>
                  <a:gd name="T88" fmla="*/ 557 w 1212"/>
                  <a:gd name="T89" fmla="*/ 103 h 736"/>
                  <a:gd name="T90" fmla="*/ 571 w 1212"/>
                  <a:gd name="T91" fmla="*/ 189 h 736"/>
                  <a:gd name="T92" fmla="*/ 547 w 1212"/>
                  <a:gd name="T93" fmla="*/ 289 h 736"/>
                  <a:gd name="T94" fmla="*/ 495 w 1212"/>
                  <a:gd name="T95" fmla="*/ 332 h 736"/>
                  <a:gd name="T96" fmla="*/ 397 w 1212"/>
                  <a:gd name="T97" fmla="*/ 316 h 736"/>
                  <a:gd name="T98" fmla="*/ 368 w 1212"/>
                  <a:gd name="T99" fmla="*/ 242 h 736"/>
                  <a:gd name="T100" fmla="*/ 331 w 1212"/>
                  <a:gd name="T101" fmla="*/ 201 h 736"/>
                  <a:gd name="T102" fmla="*/ 274 w 1212"/>
                  <a:gd name="T103" fmla="*/ 100 h 736"/>
                  <a:gd name="T104" fmla="*/ 165 w 1212"/>
                  <a:gd name="T105" fmla="*/ 150 h 736"/>
                  <a:gd name="T106" fmla="*/ 75 w 1212"/>
                  <a:gd name="T107" fmla="*/ 246 h 736"/>
                  <a:gd name="T108" fmla="*/ 73 w 1212"/>
                  <a:gd name="T109" fmla="*/ 322 h 736"/>
                  <a:gd name="T110" fmla="*/ 30 w 1212"/>
                  <a:gd name="T111" fmla="*/ 371 h 736"/>
                  <a:gd name="T112" fmla="*/ 4 w 1212"/>
                  <a:gd name="T113" fmla="*/ 471 h 736"/>
                  <a:gd name="T114" fmla="*/ 16 w 1212"/>
                  <a:gd name="T115" fmla="*/ 488 h 736"/>
                  <a:gd name="T116" fmla="*/ 14 w 1212"/>
                  <a:gd name="T117" fmla="*/ 519 h 736"/>
                  <a:gd name="T118" fmla="*/ 8 w 1212"/>
                  <a:gd name="T119" fmla="*/ 482 h 736"/>
                  <a:gd name="T120" fmla="*/ 0 w 1212"/>
                  <a:gd name="T121" fmla="*/ 515 h 736"/>
                  <a:gd name="T122" fmla="*/ 0 w 1212"/>
                  <a:gd name="T123" fmla="*/ 566 h 7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212" h="736">
                    <a:moveTo>
                      <a:pt x="30" y="613"/>
                    </a:moveTo>
                    <a:lnTo>
                      <a:pt x="38" y="611"/>
                    </a:lnTo>
                    <a:lnTo>
                      <a:pt x="40" y="605"/>
                    </a:lnTo>
                    <a:lnTo>
                      <a:pt x="40" y="597"/>
                    </a:lnTo>
                    <a:lnTo>
                      <a:pt x="43" y="588"/>
                    </a:lnTo>
                    <a:lnTo>
                      <a:pt x="47" y="582"/>
                    </a:lnTo>
                    <a:lnTo>
                      <a:pt x="53" y="574"/>
                    </a:lnTo>
                    <a:lnTo>
                      <a:pt x="59" y="570"/>
                    </a:lnTo>
                    <a:lnTo>
                      <a:pt x="65" y="566"/>
                    </a:lnTo>
                    <a:lnTo>
                      <a:pt x="73" y="566"/>
                    </a:lnTo>
                    <a:lnTo>
                      <a:pt x="75" y="566"/>
                    </a:lnTo>
                    <a:lnTo>
                      <a:pt x="98" y="547"/>
                    </a:lnTo>
                    <a:lnTo>
                      <a:pt x="104" y="545"/>
                    </a:lnTo>
                    <a:lnTo>
                      <a:pt x="120" y="543"/>
                    </a:lnTo>
                    <a:lnTo>
                      <a:pt x="167" y="521"/>
                    </a:lnTo>
                    <a:lnTo>
                      <a:pt x="168" y="519"/>
                    </a:lnTo>
                    <a:lnTo>
                      <a:pt x="188" y="512"/>
                    </a:lnTo>
                    <a:lnTo>
                      <a:pt x="196" y="512"/>
                    </a:lnTo>
                    <a:lnTo>
                      <a:pt x="198" y="514"/>
                    </a:lnTo>
                    <a:lnTo>
                      <a:pt x="206" y="517"/>
                    </a:lnTo>
                    <a:lnTo>
                      <a:pt x="208" y="519"/>
                    </a:lnTo>
                    <a:lnTo>
                      <a:pt x="258" y="517"/>
                    </a:lnTo>
                    <a:lnTo>
                      <a:pt x="268" y="519"/>
                    </a:lnTo>
                    <a:lnTo>
                      <a:pt x="268" y="521"/>
                    </a:lnTo>
                    <a:lnTo>
                      <a:pt x="274" y="523"/>
                    </a:lnTo>
                    <a:lnTo>
                      <a:pt x="280" y="531"/>
                    </a:lnTo>
                    <a:lnTo>
                      <a:pt x="284" y="531"/>
                    </a:lnTo>
                    <a:lnTo>
                      <a:pt x="286" y="531"/>
                    </a:lnTo>
                    <a:lnTo>
                      <a:pt x="309" y="521"/>
                    </a:lnTo>
                    <a:lnTo>
                      <a:pt x="315" y="517"/>
                    </a:lnTo>
                    <a:lnTo>
                      <a:pt x="321" y="514"/>
                    </a:lnTo>
                    <a:lnTo>
                      <a:pt x="327" y="514"/>
                    </a:lnTo>
                    <a:lnTo>
                      <a:pt x="333" y="515"/>
                    </a:lnTo>
                    <a:lnTo>
                      <a:pt x="336" y="525"/>
                    </a:lnTo>
                    <a:lnTo>
                      <a:pt x="342" y="539"/>
                    </a:lnTo>
                    <a:lnTo>
                      <a:pt x="350" y="545"/>
                    </a:lnTo>
                    <a:lnTo>
                      <a:pt x="358" y="543"/>
                    </a:lnTo>
                    <a:lnTo>
                      <a:pt x="366" y="535"/>
                    </a:lnTo>
                    <a:lnTo>
                      <a:pt x="366" y="531"/>
                    </a:lnTo>
                    <a:lnTo>
                      <a:pt x="368" y="529"/>
                    </a:lnTo>
                    <a:lnTo>
                      <a:pt x="387" y="525"/>
                    </a:lnTo>
                    <a:lnTo>
                      <a:pt x="391" y="525"/>
                    </a:lnTo>
                    <a:lnTo>
                      <a:pt x="403" y="529"/>
                    </a:lnTo>
                    <a:lnTo>
                      <a:pt x="420" y="537"/>
                    </a:lnTo>
                    <a:lnTo>
                      <a:pt x="426" y="537"/>
                    </a:lnTo>
                    <a:lnTo>
                      <a:pt x="436" y="531"/>
                    </a:lnTo>
                    <a:lnTo>
                      <a:pt x="442" y="531"/>
                    </a:lnTo>
                    <a:lnTo>
                      <a:pt x="454" y="531"/>
                    </a:lnTo>
                    <a:lnTo>
                      <a:pt x="458" y="531"/>
                    </a:lnTo>
                    <a:lnTo>
                      <a:pt x="460" y="531"/>
                    </a:lnTo>
                    <a:lnTo>
                      <a:pt x="460" y="533"/>
                    </a:lnTo>
                    <a:lnTo>
                      <a:pt x="462" y="535"/>
                    </a:lnTo>
                    <a:lnTo>
                      <a:pt x="460" y="537"/>
                    </a:lnTo>
                    <a:lnTo>
                      <a:pt x="462" y="537"/>
                    </a:lnTo>
                    <a:lnTo>
                      <a:pt x="465" y="539"/>
                    </a:lnTo>
                    <a:lnTo>
                      <a:pt x="477" y="537"/>
                    </a:lnTo>
                    <a:lnTo>
                      <a:pt x="483" y="537"/>
                    </a:lnTo>
                    <a:lnTo>
                      <a:pt x="485" y="537"/>
                    </a:lnTo>
                    <a:lnTo>
                      <a:pt x="504" y="543"/>
                    </a:lnTo>
                    <a:lnTo>
                      <a:pt x="520" y="555"/>
                    </a:lnTo>
                    <a:lnTo>
                      <a:pt x="524" y="558"/>
                    </a:lnTo>
                    <a:lnTo>
                      <a:pt x="530" y="558"/>
                    </a:lnTo>
                    <a:lnTo>
                      <a:pt x="530" y="558"/>
                    </a:lnTo>
                    <a:lnTo>
                      <a:pt x="534" y="558"/>
                    </a:lnTo>
                    <a:lnTo>
                      <a:pt x="555" y="549"/>
                    </a:lnTo>
                    <a:lnTo>
                      <a:pt x="559" y="547"/>
                    </a:lnTo>
                    <a:lnTo>
                      <a:pt x="565" y="549"/>
                    </a:lnTo>
                    <a:lnTo>
                      <a:pt x="577" y="556"/>
                    </a:lnTo>
                    <a:lnTo>
                      <a:pt x="581" y="558"/>
                    </a:lnTo>
                    <a:lnTo>
                      <a:pt x="587" y="556"/>
                    </a:lnTo>
                    <a:lnTo>
                      <a:pt x="596" y="551"/>
                    </a:lnTo>
                    <a:lnTo>
                      <a:pt x="600" y="547"/>
                    </a:lnTo>
                    <a:lnTo>
                      <a:pt x="614" y="529"/>
                    </a:lnTo>
                    <a:lnTo>
                      <a:pt x="620" y="523"/>
                    </a:lnTo>
                    <a:lnTo>
                      <a:pt x="626" y="521"/>
                    </a:lnTo>
                    <a:lnTo>
                      <a:pt x="641" y="514"/>
                    </a:lnTo>
                    <a:lnTo>
                      <a:pt x="643" y="514"/>
                    </a:lnTo>
                    <a:lnTo>
                      <a:pt x="647" y="515"/>
                    </a:lnTo>
                    <a:lnTo>
                      <a:pt x="649" y="515"/>
                    </a:lnTo>
                    <a:lnTo>
                      <a:pt x="649" y="512"/>
                    </a:lnTo>
                    <a:lnTo>
                      <a:pt x="649" y="510"/>
                    </a:lnTo>
                    <a:lnTo>
                      <a:pt x="651" y="506"/>
                    </a:lnTo>
                    <a:lnTo>
                      <a:pt x="653" y="504"/>
                    </a:lnTo>
                    <a:lnTo>
                      <a:pt x="657" y="506"/>
                    </a:lnTo>
                    <a:lnTo>
                      <a:pt x="659" y="510"/>
                    </a:lnTo>
                    <a:lnTo>
                      <a:pt x="663" y="523"/>
                    </a:lnTo>
                    <a:lnTo>
                      <a:pt x="669" y="541"/>
                    </a:lnTo>
                    <a:lnTo>
                      <a:pt x="671" y="547"/>
                    </a:lnTo>
                    <a:lnTo>
                      <a:pt x="671" y="549"/>
                    </a:lnTo>
                    <a:lnTo>
                      <a:pt x="676" y="556"/>
                    </a:lnTo>
                    <a:lnTo>
                      <a:pt x="678" y="558"/>
                    </a:lnTo>
                    <a:lnTo>
                      <a:pt x="682" y="568"/>
                    </a:lnTo>
                    <a:lnTo>
                      <a:pt x="686" y="578"/>
                    </a:lnTo>
                    <a:lnTo>
                      <a:pt x="692" y="582"/>
                    </a:lnTo>
                    <a:lnTo>
                      <a:pt x="733" y="588"/>
                    </a:lnTo>
                    <a:lnTo>
                      <a:pt x="751" y="592"/>
                    </a:lnTo>
                    <a:lnTo>
                      <a:pt x="762" y="590"/>
                    </a:lnTo>
                    <a:lnTo>
                      <a:pt x="770" y="594"/>
                    </a:lnTo>
                    <a:lnTo>
                      <a:pt x="772" y="594"/>
                    </a:lnTo>
                    <a:lnTo>
                      <a:pt x="782" y="594"/>
                    </a:lnTo>
                    <a:lnTo>
                      <a:pt x="784" y="594"/>
                    </a:lnTo>
                    <a:lnTo>
                      <a:pt x="786" y="597"/>
                    </a:lnTo>
                    <a:lnTo>
                      <a:pt x="790" y="607"/>
                    </a:lnTo>
                    <a:lnTo>
                      <a:pt x="790" y="611"/>
                    </a:lnTo>
                    <a:lnTo>
                      <a:pt x="794" y="613"/>
                    </a:lnTo>
                    <a:lnTo>
                      <a:pt x="801" y="619"/>
                    </a:lnTo>
                    <a:lnTo>
                      <a:pt x="807" y="625"/>
                    </a:lnTo>
                    <a:lnTo>
                      <a:pt x="819" y="638"/>
                    </a:lnTo>
                    <a:lnTo>
                      <a:pt x="835" y="648"/>
                    </a:lnTo>
                    <a:lnTo>
                      <a:pt x="844" y="656"/>
                    </a:lnTo>
                    <a:lnTo>
                      <a:pt x="854" y="666"/>
                    </a:lnTo>
                    <a:lnTo>
                      <a:pt x="872" y="681"/>
                    </a:lnTo>
                    <a:lnTo>
                      <a:pt x="876" y="687"/>
                    </a:lnTo>
                    <a:lnTo>
                      <a:pt x="880" y="697"/>
                    </a:lnTo>
                    <a:lnTo>
                      <a:pt x="887" y="713"/>
                    </a:lnTo>
                    <a:lnTo>
                      <a:pt x="899" y="720"/>
                    </a:lnTo>
                    <a:lnTo>
                      <a:pt x="923" y="732"/>
                    </a:lnTo>
                    <a:lnTo>
                      <a:pt x="930" y="734"/>
                    </a:lnTo>
                    <a:lnTo>
                      <a:pt x="940" y="736"/>
                    </a:lnTo>
                    <a:lnTo>
                      <a:pt x="944" y="728"/>
                    </a:lnTo>
                    <a:lnTo>
                      <a:pt x="948" y="726"/>
                    </a:lnTo>
                    <a:lnTo>
                      <a:pt x="954" y="728"/>
                    </a:lnTo>
                    <a:lnTo>
                      <a:pt x="962" y="730"/>
                    </a:lnTo>
                    <a:lnTo>
                      <a:pt x="966" y="730"/>
                    </a:lnTo>
                    <a:lnTo>
                      <a:pt x="979" y="724"/>
                    </a:lnTo>
                    <a:lnTo>
                      <a:pt x="983" y="720"/>
                    </a:lnTo>
                    <a:lnTo>
                      <a:pt x="993" y="703"/>
                    </a:lnTo>
                    <a:lnTo>
                      <a:pt x="1001" y="691"/>
                    </a:lnTo>
                    <a:lnTo>
                      <a:pt x="1005" y="687"/>
                    </a:lnTo>
                    <a:lnTo>
                      <a:pt x="1005" y="687"/>
                    </a:lnTo>
                    <a:lnTo>
                      <a:pt x="1028" y="685"/>
                    </a:lnTo>
                    <a:lnTo>
                      <a:pt x="1034" y="685"/>
                    </a:lnTo>
                    <a:lnTo>
                      <a:pt x="1038" y="689"/>
                    </a:lnTo>
                    <a:lnTo>
                      <a:pt x="1048" y="697"/>
                    </a:lnTo>
                    <a:lnTo>
                      <a:pt x="1053" y="699"/>
                    </a:lnTo>
                    <a:lnTo>
                      <a:pt x="1055" y="699"/>
                    </a:lnTo>
                    <a:lnTo>
                      <a:pt x="1063" y="691"/>
                    </a:lnTo>
                    <a:lnTo>
                      <a:pt x="1067" y="687"/>
                    </a:lnTo>
                    <a:lnTo>
                      <a:pt x="1071" y="691"/>
                    </a:lnTo>
                    <a:lnTo>
                      <a:pt x="1077" y="695"/>
                    </a:lnTo>
                    <a:lnTo>
                      <a:pt x="1083" y="697"/>
                    </a:lnTo>
                    <a:lnTo>
                      <a:pt x="1102" y="699"/>
                    </a:lnTo>
                    <a:lnTo>
                      <a:pt x="1108" y="697"/>
                    </a:lnTo>
                    <a:lnTo>
                      <a:pt x="1110" y="693"/>
                    </a:lnTo>
                    <a:lnTo>
                      <a:pt x="1110" y="687"/>
                    </a:lnTo>
                    <a:lnTo>
                      <a:pt x="1112" y="672"/>
                    </a:lnTo>
                    <a:lnTo>
                      <a:pt x="1116" y="660"/>
                    </a:lnTo>
                    <a:lnTo>
                      <a:pt x="1134" y="648"/>
                    </a:lnTo>
                    <a:lnTo>
                      <a:pt x="1139" y="638"/>
                    </a:lnTo>
                    <a:lnTo>
                      <a:pt x="1139" y="631"/>
                    </a:lnTo>
                    <a:lnTo>
                      <a:pt x="1145" y="627"/>
                    </a:lnTo>
                    <a:lnTo>
                      <a:pt x="1157" y="617"/>
                    </a:lnTo>
                    <a:lnTo>
                      <a:pt x="1159" y="613"/>
                    </a:lnTo>
                    <a:lnTo>
                      <a:pt x="1159" y="609"/>
                    </a:lnTo>
                    <a:lnTo>
                      <a:pt x="1161" y="607"/>
                    </a:lnTo>
                    <a:lnTo>
                      <a:pt x="1165" y="603"/>
                    </a:lnTo>
                    <a:lnTo>
                      <a:pt x="1167" y="603"/>
                    </a:lnTo>
                    <a:lnTo>
                      <a:pt x="1173" y="601"/>
                    </a:lnTo>
                    <a:lnTo>
                      <a:pt x="1180" y="597"/>
                    </a:lnTo>
                    <a:lnTo>
                      <a:pt x="1184" y="594"/>
                    </a:lnTo>
                    <a:lnTo>
                      <a:pt x="1188" y="592"/>
                    </a:lnTo>
                    <a:lnTo>
                      <a:pt x="1194" y="590"/>
                    </a:lnTo>
                    <a:lnTo>
                      <a:pt x="1202" y="594"/>
                    </a:lnTo>
                    <a:lnTo>
                      <a:pt x="1204" y="588"/>
                    </a:lnTo>
                    <a:lnTo>
                      <a:pt x="1206" y="582"/>
                    </a:lnTo>
                    <a:lnTo>
                      <a:pt x="1208" y="574"/>
                    </a:lnTo>
                    <a:lnTo>
                      <a:pt x="1208" y="568"/>
                    </a:lnTo>
                    <a:lnTo>
                      <a:pt x="1210" y="564"/>
                    </a:lnTo>
                    <a:lnTo>
                      <a:pt x="1212" y="562"/>
                    </a:lnTo>
                    <a:lnTo>
                      <a:pt x="1212" y="560"/>
                    </a:lnTo>
                    <a:lnTo>
                      <a:pt x="1212" y="555"/>
                    </a:lnTo>
                    <a:lnTo>
                      <a:pt x="1212" y="553"/>
                    </a:lnTo>
                    <a:lnTo>
                      <a:pt x="1206" y="531"/>
                    </a:lnTo>
                    <a:lnTo>
                      <a:pt x="1204" y="525"/>
                    </a:lnTo>
                    <a:lnTo>
                      <a:pt x="1204" y="519"/>
                    </a:lnTo>
                    <a:lnTo>
                      <a:pt x="1204" y="508"/>
                    </a:lnTo>
                    <a:lnTo>
                      <a:pt x="1204" y="506"/>
                    </a:lnTo>
                    <a:lnTo>
                      <a:pt x="1202" y="502"/>
                    </a:lnTo>
                    <a:lnTo>
                      <a:pt x="1194" y="492"/>
                    </a:lnTo>
                    <a:lnTo>
                      <a:pt x="1192" y="488"/>
                    </a:lnTo>
                    <a:lnTo>
                      <a:pt x="1192" y="486"/>
                    </a:lnTo>
                    <a:lnTo>
                      <a:pt x="1192" y="482"/>
                    </a:lnTo>
                    <a:lnTo>
                      <a:pt x="1198" y="478"/>
                    </a:lnTo>
                    <a:lnTo>
                      <a:pt x="1198" y="474"/>
                    </a:lnTo>
                    <a:lnTo>
                      <a:pt x="1198" y="472"/>
                    </a:lnTo>
                    <a:lnTo>
                      <a:pt x="1194" y="469"/>
                    </a:lnTo>
                    <a:lnTo>
                      <a:pt x="1180" y="463"/>
                    </a:lnTo>
                    <a:lnTo>
                      <a:pt x="1178" y="459"/>
                    </a:lnTo>
                    <a:lnTo>
                      <a:pt x="1177" y="455"/>
                    </a:lnTo>
                    <a:lnTo>
                      <a:pt x="1175" y="449"/>
                    </a:lnTo>
                    <a:lnTo>
                      <a:pt x="1175" y="435"/>
                    </a:lnTo>
                    <a:lnTo>
                      <a:pt x="1173" y="430"/>
                    </a:lnTo>
                    <a:lnTo>
                      <a:pt x="1157" y="418"/>
                    </a:lnTo>
                    <a:lnTo>
                      <a:pt x="1153" y="412"/>
                    </a:lnTo>
                    <a:lnTo>
                      <a:pt x="1155" y="408"/>
                    </a:lnTo>
                    <a:lnTo>
                      <a:pt x="1159" y="400"/>
                    </a:lnTo>
                    <a:lnTo>
                      <a:pt x="1163" y="392"/>
                    </a:lnTo>
                    <a:lnTo>
                      <a:pt x="1161" y="389"/>
                    </a:lnTo>
                    <a:lnTo>
                      <a:pt x="1157" y="387"/>
                    </a:lnTo>
                    <a:lnTo>
                      <a:pt x="1151" y="379"/>
                    </a:lnTo>
                    <a:lnTo>
                      <a:pt x="1147" y="375"/>
                    </a:lnTo>
                    <a:lnTo>
                      <a:pt x="1139" y="373"/>
                    </a:lnTo>
                    <a:lnTo>
                      <a:pt x="1134" y="375"/>
                    </a:lnTo>
                    <a:lnTo>
                      <a:pt x="1120" y="383"/>
                    </a:lnTo>
                    <a:lnTo>
                      <a:pt x="1116" y="383"/>
                    </a:lnTo>
                    <a:lnTo>
                      <a:pt x="1114" y="381"/>
                    </a:lnTo>
                    <a:lnTo>
                      <a:pt x="1118" y="371"/>
                    </a:lnTo>
                    <a:lnTo>
                      <a:pt x="1128" y="348"/>
                    </a:lnTo>
                    <a:lnTo>
                      <a:pt x="1130" y="344"/>
                    </a:lnTo>
                    <a:lnTo>
                      <a:pt x="1130" y="338"/>
                    </a:lnTo>
                    <a:lnTo>
                      <a:pt x="1130" y="334"/>
                    </a:lnTo>
                    <a:lnTo>
                      <a:pt x="1132" y="332"/>
                    </a:lnTo>
                    <a:lnTo>
                      <a:pt x="1134" y="324"/>
                    </a:lnTo>
                    <a:lnTo>
                      <a:pt x="1134" y="320"/>
                    </a:lnTo>
                    <a:lnTo>
                      <a:pt x="1134" y="312"/>
                    </a:lnTo>
                    <a:lnTo>
                      <a:pt x="1130" y="310"/>
                    </a:lnTo>
                    <a:lnTo>
                      <a:pt x="1126" y="308"/>
                    </a:lnTo>
                    <a:lnTo>
                      <a:pt x="1124" y="303"/>
                    </a:lnTo>
                    <a:lnTo>
                      <a:pt x="1126" y="297"/>
                    </a:lnTo>
                    <a:lnTo>
                      <a:pt x="1141" y="291"/>
                    </a:lnTo>
                    <a:lnTo>
                      <a:pt x="1147" y="285"/>
                    </a:lnTo>
                    <a:lnTo>
                      <a:pt x="1149" y="279"/>
                    </a:lnTo>
                    <a:lnTo>
                      <a:pt x="1149" y="269"/>
                    </a:lnTo>
                    <a:lnTo>
                      <a:pt x="1151" y="252"/>
                    </a:lnTo>
                    <a:lnTo>
                      <a:pt x="1149" y="244"/>
                    </a:lnTo>
                    <a:lnTo>
                      <a:pt x="1147" y="240"/>
                    </a:lnTo>
                    <a:lnTo>
                      <a:pt x="1143" y="238"/>
                    </a:lnTo>
                    <a:lnTo>
                      <a:pt x="1128" y="226"/>
                    </a:lnTo>
                    <a:lnTo>
                      <a:pt x="1126" y="225"/>
                    </a:lnTo>
                    <a:lnTo>
                      <a:pt x="1116" y="215"/>
                    </a:lnTo>
                    <a:lnTo>
                      <a:pt x="1098" y="205"/>
                    </a:lnTo>
                    <a:lnTo>
                      <a:pt x="1094" y="201"/>
                    </a:lnTo>
                    <a:lnTo>
                      <a:pt x="1094" y="195"/>
                    </a:lnTo>
                    <a:lnTo>
                      <a:pt x="1096" y="189"/>
                    </a:lnTo>
                    <a:lnTo>
                      <a:pt x="1096" y="182"/>
                    </a:lnTo>
                    <a:lnTo>
                      <a:pt x="1096" y="172"/>
                    </a:lnTo>
                    <a:lnTo>
                      <a:pt x="1067" y="172"/>
                    </a:lnTo>
                    <a:lnTo>
                      <a:pt x="1067" y="172"/>
                    </a:lnTo>
                    <a:lnTo>
                      <a:pt x="1063" y="174"/>
                    </a:lnTo>
                    <a:lnTo>
                      <a:pt x="1063" y="176"/>
                    </a:lnTo>
                    <a:lnTo>
                      <a:pt x="1063" y="176"/>
                    </a:lnTo>
                    <a:lnTo>
                      <a:pt x="1063" y="176"/>
                    </a:lnTo>
                    <a:lnTo>
                      <a:pt x="1036" y="166"/>
                    </a:lnTo>
                    <a:lnTo>
                      <a:pt x="1022" y="164"/>
                    </a:lnTo>
                    <a:lnTo>
                      <a:pt x="1018" y="162"/>
                    </a:lnTo>
                    <a:lnTo>
                      <a:pt x="1018" y="162"/>
                    </a:lnTo>
                    <a:lnTo>
                      <a:pt x="1018" y="162"/>
                    </a:lnTo>
                    <a:lnTo>
                      <a:pt x="1018" y="160"/>
                    </a:lnTo>
                    <a:lnTo>
                      <a:pt x="1016" y="158"/>
                    </a:lnTo>
                    <a:lnTo>
                      <a:pt x="1010" y="148"/>
                    </a:lnTo>
                    <a:lnTo>
                      <a:pt x="1009" y="148"/>
                    </a:lnTo>
                    <a:lnTo>
                      <a:pt x="1005" y="146"/>
                    </a:lnTo>
                    <a:lnTo>
                      <a:pt x="1003" y="144"/>
                    </a:lnTo>
                    <a:lnTo>
                      <a:pt x="1001" y="144"/>
                    </a:lnTo>
                    <a:lnTo>
                      <a:pt x="997" y="144"/>
                    </a:lnTo>
                    <a:lnTo>
                      <a:pt x="997" y="144"/>
                    </a:lnTo>
                    <a:lnTo>
                      <a:pt x="997" y="144"/>
                    </a:lnTo>
                    <a:lnTo>
                      <a:pt x="995" y="144"/>
                    </a:lnTo>
                    <a:lnTo>
                      <a:pt x="991" y="144"/>
                    </a:lnTo>
                    <a:lnTo>
                      <a:pt x="991" y="144"/>
                    </a:lnTo>
                    <a:lnTo>
                      <a:pt x="991" y="144"/>
                    </a:lnTo>
                    <a:lnTo>
                      <a:pt x="989" y="143"/>
                    </a:lnTo>
                    <a:lnTo>
                      <a:pt x="989" y="143"/>
                    </a:lnTo>
                    <a:lnTo>
                      <a:pt x="987" y="141"/>
                    </a:lnTo>
                    <a:lnTo>
                      <a:pt x="987" y="141"/>
                    </a:lnTo>
                    <a:lnTo>
                      <a:pt x="985" y="143"/>
                    </a:lnTo>
                    <a:lnTo>
                      <a:pt x="983" y="144"/>
                    </a:lnTo>
                    <a:lnTo>
                      <a:pt x="981" y="146"/>
                    </a:lnTo>
                    <a:lnTo>
                      <a:pt x="981" y="148"/>
                    </a:lnTo>
                    <a:lnTo>
                      <a:pt x="979" y="150"/>
                    </a:lnTo>
                    <a:lnTo>
                      <a:pt x="977" y="154"/>
                    </a:lnTo>
                    <a:lnTo>
                      <a:pt x="975" y="158"/>
                    </a:lnTo>
                    <a:lnTo>
                      <a:pt x="973" y="158"/>
                    </a:lnTo>
                    <a:lnTo>
                      <a:pt x="971" y="158"/>
                    </a:lnTo>
                    <a:lnTo>
                      <a:pt x="960" y="158"/>
                    </a:lnTo>
                    <a:lnTo>
                      <a:pt x="958" y="158"/>
                    </a:lnTo>
                    <a:lnTo>
                      <a:pt x="958" y="158"/>
                    </a:lnTo>
                    <a:lnTo>
                      <a:pt x="954" y="160"/>
                    </a:lnTo>
                    <a:lnTo>
                      <a:pt x="948" y="162"/>
                    </a:lnTo>
                    <a:lnTo>
                      <a:pt x="948" y="162"/>
                    </a:lnTo>
                    <a:lnTo>
                      <a:pt x="942" y="168"/>
                    </a:lnTo>
                    <a:lnTo>
                      <a:pt x="942" y="170"/>
                    </a:lnTo>
                    <a:lnTo>
                      <a:pt x="940" y="172"/>
                    </a:lnTo>
                    <a:lnTo>
                      <a:pt x="940" y="174"/>
                    </a:lnTo>
                    <a:lnTo>
                      <a:pt x="940" y="174"/>
                    </a:lnTo>
                    <a:lnTo>
                      <a:pt x="938" y="174"/>
                    </a:lnTo>
                    <a:lnTo>
                      <a:pt x="936" y="174"/>
                    </a:lnTo>
                    <a:lnTo>
                      <a:pt x="936" y="174"/>
                    </a:lnTo>
                    <a:lnTo>
                      <a:pt x="936" y="174"/>
                    </a:lnTo>
                    <a:lnTo>
                      <a:pt x="936" y="174"/>
                    </a:lnTo>
                    <a:lnTo>
                      <a:pt x="934" y="172"/>
                    </a:lnTo>
                    <a:lnTo>
                      <a:pt x="932" y="172"/>
                    </a:lnTo>
                    <a:lnTo>
                      <a:pt x="930" y="172"/>
                    </a:lnTo>
                    <a:lnTo>
                      <a:pt x="928" y="174"/>
                    </a:lnTo>
                    <a:lnTo>
                      <a:pt x="928" y="174"/>
                    </a:lnTo>
                    <a:lnTo>
                      <a:pt x="924" y="176"/>
                    </a:lnTo>
                    <a:lnTo>
                      <a:pt x="924" y="176"/>
                    </a:lnTo>
                    <a:lnTo>
                      <a:pt x="924" y="176"/>
                    </a:lnTo>
                    <a:lnTo>
                      <a:pt x="923" y="172"/>
                    </a:lnTo>
                    <a:lnTo>
                      <a:pt x="917" y="164"/>
                    </a:lnTo>
                    <a:lnTo>
                      <a:pt x="915" y="162"/>
                    </a:lnTo>
                    <a:lnTo>
                      <a:pt x="913" y="160"/>
                    </a:lnTo>
                    <a:lnTo>
                      <a:pt x="907" y="158"/>
                    </a:lnTo>
                    <a:lnTo>
                      <a:pt x="901" y="154"/>
                    </a:lnTo>
                    <a:lnTo>
                      <a:pt x="897" y="154"/>
                    </a:lnTo>
                    <a:lnTo>
                      <a:pt x="891" y="148"/>
                    </a:lnTo>
                    <a:lnTo>
                      <a:pt x="891" y="148"/>
                    </a:lnTo>
                    <a:lnTo>
                      <a:pt x="891" y="148"/>
                    </a:lnTo>
                    <a:lnTo>
                      <a:pt x="891" y="148"/>
                    </a:lnTo>
                    <a:lnTo>
                      <a:pt x="885" y="143"/>
                    </a:lnTo>
                    <a:lnTo>
                      <a:pt x="870" y="117"/>
                    </a:lnTo>
                    <a:lnTo>
                      <a:pt x="868" y="115"/>
                    </a:lnTo>
                    <a:lnTo>
                      <a:pt x="864" y="109"/>
                    </a:lnTo>
                    <a:lnTo>
                      <a:pt x="846" y="94"/>
                    </a:lnTo>
                    <a:lnTo>
                      <a:pt x="844" y="92"/>
                    </a:lnTo>
                    <a:lnTo>
                      <a:pt x="844" y="90"/>
                    </a:lnTo>
                    <a:lnTo>
                      <a:pt x="844" y="84"/>
                    </a:lnTo>
                    <a:lnTo>
                      <a:pt x="844" y="82"/>
                    </a:lnTo>
                    <a:lnTo>
                      <a:pt x="844" y="80"/>
                    </a:lnTo>
                    <a:lnTo>
                      <a:pt x="846" y="78"/>
                    </a:lnTo>
                    <a:lnTo>
                      <a:pt x="844" y="74"/>
                    </a:lnTo>
                    <a:lnTo>
                      <a:pt x="844" y="74"/>
                    </a:lnTo>
                    <a:lnTo>
                      <a:pt x="844" y="72"/>
                    </a:lnTo>
                    <a:lnTo>
                      <a:pt x="842" y="72"/>
                    </a:lnTo>
                    <a:lnTo>
                      <a:pt x="842" y="72"/>
                    </a:lnTo>
                    <a:lnTo>
                      <a:pt x="837" y="70"/>
                    </a:lnTo>
                    <a:lnTo>
                      <a:pt x="807" y="68"/>
                    </a:lnTo>
                    <a:lnTo>
                      <a:pt x="803" y="66"/>
                    </a:lnTo>
                    <a:lnTo>
                      <a:pt x="803" y="64"/>
                    </a:lnTo>
                    <a:lnTo>
                      <a:pt x="801" y="62"/>
                    </a:lnTo>
                    <a:lnTo>
                      <a:pt x="799" y="59"/>
                    </a:lnTo>
                    <a:lnTo>
                      <a:pt x="799" y="53"/>
                    </a:lnTo>
                    <a:lnTo>
                      <a:pt x="798" y="49"/>
                    </a:lnTo>
                    <a:lnTo>
                      <a:pt x="796" y="47"/>
                    </a:lnTo>
                    <a:lnTo>
                      <a:pt x="796" y="47"/>
                    </a:lnTo>
                    <a:lnTo>
                      <a:pt x="794" y="47"/>
                    </a:lnTo>
                    <a:lnTo>
                      <a:pt x="792" y="49"/>
                    </a:lnTo>
                    <a:lnTo>
                      <a:pt x="782" y="51"/>
                    </a:lnTo>
                    <a:lnTo>
                      <a:pt x="778" y="51"/>
                    </a:lnTo>
                    <a:lnTo>
                      <a:pt x="778" y="51"/>
                    </a:lnTo>
                    <a:lnTo>
                      <a:pt x="774" y="51"/>
                    </a:lnTo>
                    <a:lnTo>
                      <a:pt x="772" y="49"/>
                    </a:lnTo>
                    <a:lnTo>
                      <a:pt x="770" y="49"/>
                    </a:lnTo>
                    <a:lnTo>
                      <a:pt x="768" y="45"/>
                    </a:lnTo>
                    <a:lnTo>
                      <a:pt x="766" y="41"/>
                    </a:lnTo>
                    <a:lnTo>
                      <a:pt x="766" y="41"/>
                    </a:lnTo>
                    <a:lnTo>
                      <a:pt x="766" y="39"/>
                    </a:lnTo>
                    <a:lnTo>
                      <a:pt x="766" y="39"/>
                    </a:lnTo>
                    <a:lnTo>
                      <a:pt x="766" y="39"/>
                    </a:lnTo>
                    <a:lnTo>
                      <a:pt x="766" y="37"/>
                    </a:lnTo>
                    <a:lnTo>
                      <a:pt x="764" y="35"/>
                    </a:lnTo>
                    <a:lnTo>
                      <a:pt x="764" y="35"/>
                    </a:lnTo>
                    <a:lnTo>
                      <a:pt x="762" y="33"/>
                    </a:lnTo>
                    <a:lnTo>
                      <a:pt x="756" y="33"/>
                    </a:lnTo>
                    <a:lnTo>
                      <a:pt x="751" y="29"/>
                    </a:lnTo>
                    <a:lnTo>
                      <a:pt x="751" y="29"/>
                    </a:lnTo>
                    <a:lnTo>
                      <a:pt x="741" y="16"/>
                    </a:lnTo>
                    <a:lnTo>
                      <a:pt x="733" y="12"/>
                    </a:lnTo>
                    <a:lnTo>
                      <a:pt x="733" y="12"/>
                    </a:lnTo>
                    <a:lnTo>
                      <a:pt x="731" y="12"/>
                    </a:lnTo>
                    <a:lnTo>
                      <a:pt x="731" y="14"/>
                    </a:lnTo>
                    <a:lnTo>
                      <a:pt x="731" y="14"/>
                    </a:lnTo>
                    <a:lnTo>
                      <a:pt x="731" y="14"/>
                    </a:lnTo>
                    <a:lnTo>
                      <a:pt x="729" y="14"/>
                    </a:lnTo>
                    <a:lnTo>
                      <a:pt x="729" y="14"/>
                    </a:lnTo>
                    <a:lnTo>
                      <a:pt x="729" y="12"/>
                    </a:lnTo>
                    <a:lnTo>
                      <a:pt x="727" y="10"/>
                    </a:lnTo>
                    <a:lnTo>
                      <a:pt x="725" y="4"/>
                    </a:lnTo>
                    <a:lnTo>
                      <a:pt x="725" y="4"/>
                    </a:lnTo>
                    <a:lnTo>
                      <a:pt x="723" y="2"/>
                    </a:lnTo>
                    <a:lnTo>
                      <a:pt x="721" y="0"/>
                    </a:lnTo>
                    <a:lnTo>
                      <a:pt x="717" y="0"/>
                    </a:lnTo>
                    <a:lnTo>
                      <a:pt x="717" y="0"/>
                    </a:lnTo>
                    <a:lnTo>
                      <a:pt x="715" y="2"/>
                    </a:lnTo>
                    <a:lnTo>
                      <a:pt x="715" y="8"/>
                    </a:lnTo>
                    <a:lnTo>
                      <a:pt x="719" y="16"/>
                    </a:lnTo>
                    <a:lnTo>
                      <a:pt x="721" y="16"/>
                    </a:lnTo>
                    <a:lnTo>
                      <a:pt x="721" y="18"/>
                    </a:lnTo>
                    <a:lnTo>
                      <a:pt x="721" y="21"/>
                    </a:lnTo>
                    <a:lnTo>
                      <a:pt x="717" y="25"/>
                    </a:lnTo>
                    <a:lnTo>
                      <a:pt x="717" y="25"/>
                    </a:lnTo>
                    <a:lnTo>
                      <a:pt x="717" y="25"/>
                    </a:lnTo>
                    <a:lnTo>
                      <a:pt x="717" y="25"/>
                    </a:lnTo>
                    <a:lnTo>
                      <a:pt x="714" y="27"/>
                    </a:lnTo>
                    <a:lnTo>
                      <a:pt x="710" y="27"/>
                    </a:lnTo>
                    <a:lnTo>
                      <a:pt x="710" y="27"/>
                    </a:lnTo>
                    <a:lnTo>
                      <a:pt x="708" y="25"/>
                    </a:lnTo>
                    <a:lnTo>
                      <a:pt x="708" y="23"/>
                    </a:lnTo>
                    <a:lnTo>
                      <a:pt x="706" y="20"/>
                    </a:lnTo>
                    <a:lnTo>
                      <a:pt x="706" y="14"/>
                    </a:lnTo>
                    <a:lnTo>
                      <a:pt x="704" y="12"/>
                    </a:lnTo>
                    <a:lnTo>
                      <a:pt x="702" y="4"/>
                    </a:lnTo>
                    <a:lnTo>
                      <a:pt x="698" y="2"/>
                    </a:lnTo>
                    <a:lnTo>
                      <a:pt x="690" y="2"/>
                    </a:lnTo>
                    <a:lnTo>
                      <a:pt x="686" y="4"/>
                    </a:lnTo>
                    <a:lnTo>
                      <a:pt x="686" y="4"/>
                    </a:lnTo>
                    <a:lnTo>
                      <a:pt x="686" y="4"/>
                    </a:lnTo>
                    <a:lnTo>
                      <a:pt x="682" y="6"/>
                    </a:lnTo>
                    <a:lnTo>
                      <a:pt x="680" y="6"/>
                    </a:lnTo>
                    <a:lnTo>
                      <a:pt x="680" y="8"/>
                    </a:lnTo>
                    <a:lnTo>
                      <a:pt x="671" y="18"/>
                    </a:lnTo>
                    <a:lnTo>
                      <a:pt x="665" y="21"/>
                    </a:lnTo>
                    <a:lnTo>
                      <a:pt x="661" y="21"/>
                    </a:lnTo>
                    <a:lnTo>
                      <a:pt x="653" y="23"/>
                    </a:lnTo>
                    <a:lnTo>
                      <a:pt x="649" y="25"/>
                    </a:lnTo>
                    <a:lnTo>
                      <a:pt x="649" y="25"/>
                    </a:lnTo>
                    <a:lnTo>
                      <a:pt x="645" y="29"/>
                    </a:lnTo>
                    <a:lnTo>
                      <a:pt x="643" y="29"/>
                    </a:lnTo>
                    <a:lnTo>
                      <a:pt x="643" y="31"/>
                    </a:lnTo>
                    <a:lnTo>
                      <a:pt x="643" y="31"/>
                    </a:lnTo>
                    <a:lnTo>
                      <a:pt x="639" y="29"/>
                    </a:lnTo>
                    <a:lnTo>
                      <a:pt x="639" y="29"/>
                    </a:lnTo>
                    <a:lnTo>
                      <a:pt x="639" y="29"/>
                    </a:lnTo>
                    <a:lnTo>
                      <a:pt x="639" y="29"/>
                    </a:lnTo>
                    <a:lnTo>
                      <a:pt x="635" y="27"/>
                    </a:lnTo>
                    <a:lnTo>
                      <a:pt x="631" y="25"/>
                    </a:lnTo>
                    <a:lnTo>
                      <a:pt x="630" y="25"/>
                    </a:lnTo>
                    <a:lnTo>
                      <a:pt x="628" y="27"/>
                    </a:lnTo>
                    <a:lnTo>
                      <a:pt x="628" y="29"/>
                    </a:lnTo>
                    <a:lnTo>
                      <a:pt x="626" y="31"/>
                    </a:lnTo>
                    <a:lnTo>
                      <a:pt x="624" y="37"/>
                    </a:lnTo>
                    <a:lnTo>
                      <a:pt x="624" y="37"/>
                    </a:lnTo>
                    <a:lnTo>
                      <a:pt x="624" y="37"/>
                    </a:lnTo>
                    <a:lnTo>
                      <a:pt x="622" y="39"/>
                    </a:lnTo>
                    <a:lnTo>
                      <a:pt x="616" y="41"/>
                    </a:lnTo>
                    <a:lnTo>
                      <a:pt x="612" y="41"/>
                    </a:lnTo>
                    <a:lnTo>
                      <a:pt x="604" y="41"/>
                    </a:lnTo>
                    <a:lnTo>
                      <a:pt x="600" y="39"/>
                    </a:lnTo>
                    <a:lnTo>
                      <a:pt x="596" y="41"/>
                    </a:lnTo>
                    <a:lnTo>
                      <a:pt x="588" y="49"/>
                    </a:lnTo>
                    <a:lnTo>
                      <a:pt x="587" y="49"/>
                    </a:lnTo>
                    <a:lnTo>
                      <a:pt x="587" y="49"/>
                    </a:lnTo>
                    <a:lnTo>
                      <a:pt x="587" y="49"/>
                    </a:lnTo>
                    <a:lnTo>
                      <a:pt x="581" y="53"/>
                    </a:lnTo>
                    <a:lnTo>
                      <a:pt x="579" y="55"/>
                    </a:lnTo>
                    <a:lnTo>
                      <a:pt x="577" y="59"/>
                    </a:lnTo>
                    <a:lnTo>
                      <a:pt x="575" y="62"/>
                    </a:lnTo>
                    <a:lnTo>
                      <a:pt x="575" y="64"/>
                    </a:lnTo>
                    <a:lnTo>
                      <a:pt x="575" y="64"/>
                    </a:lnTo>
                    <a:lnTo>
                      <a:pt x="575" y="64"/>
                    </a:lnTo>
                    <a:lnTo>
                      <a:pt x="571" y="68"/>
                    </a:lnTo>
                    <a:lnTo>
                      <a:pt x="567" y="68"/>
                    </a:lnTo>
                    <a:lnTo>
                      <a:pt x="565" y="68"/>
                    </a:lnTo>
                    <a:lnTo>
                      <a:pt x="557" y="64"/>
                    </a:lnTo>
                    <a:lnTo>
                      <a:pt x="557" y="68"/>
                    </a:lnTo>
                    <a:lnTo>
                      <a:pt x="555" y="72"/>
                    </a:lnTo>
                    <a:lnTo>
                      <a:pt x="555" y="76"/>
                    </a:lnTo>
                    <a:lnTo>
                      <a:pt x="555" y="84"/>
                    </a:lnTo>
                    <a:lnTo>
                      <a:pt x="557" y="98"/>
                    </a:lnTo>
                    <a:lnTo>
                      <a:pt x="557" y="103"/>
                    </a:lnTo>
                    <a:lnTo>
                      <a:pt x="559" y="109"/>
                    </a:lnTo>
                    <a:lnTo>
                      <a:pt x="567" y="121"/>
                    </a:lnTo>
                    <a:lnTo>
                      <a:pt x="567" y="127"/>
                    </a:lnTo>
                    <a:lnTo>
                      <a:pt x="569" y="144"/>
                    </a:lnTo>
                    <a:lnTo>
                      <a:pt x="567" y="156"/>
                    </a:lnTo>
                    <a:lnTo>
                      <a:pt x="567" y="164"/>
                    </a:lnTo>
                    <a:lnTo>
                      <a:pt x="567" y="168"/>
                    </a:lnTo>
                    <a:lnTo>
                      <a:pt x="569" y="172"/>
                    </a:lnTo>
                    <a:lnTo>
                      <a:pt x="571" y="178"/>
                    </a:lnTo>
                    <a:lnTo>
                      <a:pt x="571" y="189"/>
                    </a:lnTo>
                    <a:lnTo>
                      <a:pt x="575" y="228"/>
                    </a:lnTo>
                    <a:lnTo>
                      <a:pt x="575" y="242"/>
                    </a:lnTo>
                    <a:lnTo>
                      <a:pt x="573" y="254"/>
                    </a:lnTo>
                    <a:lnTo>
                      <a:pt x="571" y="264"/>
                    </a:lnTo>
                    <a:lnTo>
                      <a:pt x="559" y="275"/>
                    </a:lnTo>
                    <a:lnTo>
                      <a:pt x="555" y="279"/>
                    </a:lnTo>
                    <a:lnTo>
                      <a:pt x="553" y="281"/>
                    </a:lnTo>
                    <a:lnTo>
                      <a:pt x="553" y="285"/>
                    </a:lnTo>
                    <a:lnTo>
                      <a:pt x="551" y="285"/>
                    </a:lnTo>
                    <a:lnTo>
                      <a:pt x="547" y="289"/>
                    </a:lnTo>
                    <a:lnTo>
                      <a:pt x="544" y="291"/>
                    </a:lnTo>
                    <a:lnTo>
                      <a:pt x="542" y="297"/>
                    </a:lnTo>
                    <a:lnTo>
                      <a:pt x="526" y="307"/>
                    </a:lnTo>
                    <a:lnTo>
                      <a:pt x="520" y="310"/>
                    </a:lnTo>
                    <a:lnTo>
                      <a:pt x="512" y="312"/>
                    </a:lnTo>
                    <a:lnTo>
                      <a:pt x="510" y="316"/>
                    </a:lnTo>
                    <a:lnTo>
                      <a:pt x="508" y="320"/>
                    </a:lnTo>
                    <a:lnTo>
                      <a:pt x="504" y="324"/>
                    </a:lnTo>
                    <a:lnTo>
                      <a:pt x="499" y="330"/>
                    </a:lnTo>
                    <a:lnTo>
                      <a:pt x="495" y="332"/>
                    </a:lnTo>
                    <a:lnTo>
                      <a:pt x="485" y="338"/>
                    </a:lnTo>
                    <a:lnTo>
                      <a:pt x="456" y="344"/>
                    </a:lnTo>
                    <a:lnTo>
                      <a:pt x="446" y="344"/>
                    </a:lnTo>
                    <a:lnTo>
                      <a:pt x="438" y="340"/>
                    </a:lnTo>
                    <a:lnTo>
                      <a:pt x="436" y="340"/>
                    </a:lnTo>
                    <a:lnTo>
                      <a:pt x="434" y="338"/>
                    </a:lnTo>
                    <a:lnTo>
                      <a:pt x="426" y="326"/>
                    </a:lnTo>
                    <a:lnTo>
                      <a:pt x="424" y="324"/>
                    </a:lnTo>
                    <a:lnTo>
                      <a:pt x="411" y="322"/>
                    </a:lnTo>
                    <a:lnTo>
                      <a:pt x="397" y="316"/>
                    </a:lnTo>
                    <a:lnTo>
                      <a:pt x="389" y="307"/>
                    </a:lnTo>
                    <a:lnTo>
                      <a:pt x="385" y="307"/>
                    </a:lnTo>
                    <a:lnTo>
                      <a:pt x="383" y="305"/>
                    </a:lnTo>
                    <a:lnTo>
                      <a:pt x="381" y="299"/>
                    </a:lnTo>
                    <a:lnTo>
                      <a:pt x="378" y="269"/>
                    </a:lnTo>
                    <a:lnTo>
                      <a:pt x="376" y="267"/>
                    </a:lnTo>
                    <a:lnTo>
                      <a:pt x="374" y="266"/>
                    </a:lnTo>
                    <a:lnTo>
                      <a:pt x="372" y="260"/>
                    </a:lnTo>
                    <a:lnTo>
                      <a:pt x="370" y="248"/>
                    </a:lnTo>
                    <a:lnTo>
                      <a:pt x="368" y="242"/>
                    </a:lnTo>
                    <a:lnTo>
                      <a:pt x="368" y="238"/>
                    </a:lnTo>
                    <a:lnTo>
                      <a:pt x="366" y="236"/>
                    </a:lnTo>
                    <a:lnTo>
                      <a:pt x="362" y="228"/>
                    </a:lnTo>
                    <a:lnTo>
                      <a:pt x="362" y="225"/>
                    </a:lnTo>
                    <a:lnTo>
                      <a:pt x="362" y="223"/>
                    </a:lnTo>
                    <a:lnTo>
                      <a:pt x="362" y="221"/>
                    </a:lnTo>
                    <a:lnTo>
                      <a:pt x="360" y="219"/>
                    </a:lnTo>
                    <a:lnTo>
                      <a:pt x="354" y="217"/>
                    </a:lnTo>
                    <a:lnTo>
                      <a:pt x="344" y="213"/>
                    </a:lnTo>
                    <a:lnTo>
                      <a:pt x="331" y="201"/>
                    </a:lnTo>
                    <a:lnTo>
                      <a:pt x="319" y="185"/>
                    </a:lnTo>
                    <a:lnTo>
                      <a:pt x="282" y="152"/>
                    </a:lnTo>
                    <a:lnTo>
                      <a:pt x="272" y="139"/>
                    </a:lnTo>
                    <a:lnTo>
                      <a:pt x="270" y="135"/>
                    </a:lnTo>
                    <a:lnTo>
                      <a:pt x="270" y="129"/>
                    </a:lnTo>
                    <a:lnTo>
                      <a:pt x="270" y="115"/>
                    </a:lnTo>
                    <a:lnTo>
                      <a:pt x="272" y="103"/>
                    </a:lnTo>
                    <a:lnTo>
                      <a:pt x="274" y="102"/>
                    </a:lnTo>
                    <a:lnTo>
                      <a:pt x="274" y="102"/>
                    </a:lnTo>
                    <a:lnTo>
                      <a:pt x="274" y="100"/>
                    </a:lnTo>
                    <a:lnTo>
                      <a:pt x="272" y="100"/>
                    </a:lnTo>
                    <a:lnTo>
                      <a:pt x="270" y="100"/>
                    </a:lnTo>
                    <a:lnTo>
                      <a:pt x="268" y="100"/>
                    </a:lnTo>
                    <a:lnTo>
                      <a:pt x="266" y="102"/>
                    </a:lnTo>
                    <a:lnTo>
                      <a:pt x="264" y="102"/>
                    </a:lnTo>
                    <a:lnTo>
                      <a:pt x="260" y="102"/>
                    </a:lnTo>
                    <a:lnTo>
                      <a:pt x="252" y="103"/>
                    </a:lnTo>
                    <a:lnTo>
                      <a:pt x="206" y="131"/>
                    </a:lnTo>
                    <a:lnTo>
                      <a:pt x="172" y="148"/>
                    </a:lnTo>
                    <a:lnTo>
                      <a:pt x="165" y="150"/>
                    </a:lnTo>
                    <a:lnTo>
                      <a:pt x="133" y="152"/>
                    </a:lnTo>
                    <a:lnTo>
                      <a:pt x="127" y="156"/>
                    </a:lnTo>
                    <a:lnTo>
                      <a:pt x="122" y="162"/>
                    </a:lnTo>
                    <a:lnTo>
                      <a:pt x="104" y="199"/>
                    </a:lnTo>
                    <a:lnTo>
                      <a:pt x="92" y="215"/>
                    </a:lnTo>
                    <a:lnTo>
                      <a:pt x="84" y="230"/>
                    </a:lnTo>
                    <a:lnTo>
                      <a:pt x="83" y="234"/>
                    </a:lnTo>
                    <a:lnTo>
                      <a:pt x="81" y="236"/>
                    </a:lnTo>
                    <a:lnTo>
                      <a:pt x="77" y="240"/>
                    </a:lnTo>
                    <a:lnTo>
                      <a:pt x="75" y="246"/>
                    </a:lnTo>
                    <a:lnTo>
                      <a:pt x="75" y="250"/>
                    </a:lnTo>
                    <a:lnTo>
                      <a:pt x="75" y="258"/>
                    </a:lnTo>
                    <a:lnTo>
                      <a:pt x="75" y="277"/>
                    </a:lnTo>
                    <a:lnTo>
                      <a:pt x="75" y="279"/>
                    </a:lnTo>
                    <a:lnTo>
                      <a:pt x="73" y="285"/>
                    </a:lnTo>
                    <a:lnTo>
                      <a:pt x="73" y="287"/>
                    </a:lnTo>
                    <a:lnTo>
                      <a:pt x="73" y="295"/>
                    </a:lnTo>
                    <a:lnTo>
                      <a:pt x="75" y="299"/>
                    </a:lnTo>
                    <a:lnTo>
                      <a:pt x="75" y="312"/>
                    </a:lnTo>
                    <a:lnTo>
                      <a:pt x="73" y="322"/>
                    </a:lnTo>
                    <a:lnTo>
                      <a:pt x="69" y="332"/>
                    </a:lnTo>
                    <a:lnTo>
                      <a:pt x="65" y="338"/>
                    </a:lnTo>
                    <a:lnTo>
                      <a:pt x="59" y="342"/>
                    </a:lnTo>
                    <a:lnTo>
                      <a:pt x="55" y="346"/>
                    </a:lnTo>
                    <a:lnTo>
                      <a:pt x="53" y="348"/>
                    </a:lnTo>
                    <a:lnTo>
                      <a:pt x="51" y="349"/>
                    </a:lnTo>
                    <a:lnTo>
                      <a:pt x="45" y="359"/>
                    </a:lnTo>
                    <a:lnTo>
                      <a:pt x="41" y="363"/>
                    </a:lnTo>
                    <a:lnTo>
                      <a:pt x="32" y="369"/>
                    </a:lnTo>
                    <a:lnTo>
                      <a:pt x="30" y="371"/>
                    </a:lnTo>
                    <a:lnTo>
                      <a:pt x="16" y="381"/>
                    </a:lnTo>
                    <a:lnTo>
                      <a:pt x="14" y="387"/>
                    </a:lnTo>
                    <a:lnTo>
                      <a:pt x="14" y="392"/>
                    </a:lnTo>
                    <a:lnTo>
                      <a:pt x="14" y="396"/>
                    </a:lnTo>
                    <a:lnTo>
                      <a:pt x="16" y="402"/>
                    </a:lnTo>
                    <a:lnTo>
                      <a:pt x="14" y="430"/>
                    </a:lnTo>
                    <a:lnTo>
                      <a:pt x="12" y="439"/>
                    </a:lnTo>
                    <a:lnTo>
                      <a:pt x="6" y="457"/>
                    </a:lnTo>
                    <a:lnTo>
                      <a:pt x="4" y="469"/>
                    </a:lnTo>
                    <a:lnTo>
                      <a:pt x="4" y="471"/>
                    </a:lnTo>
                    <a:lnTo>
                      <a:pt x="4" y="471"/>
                    </a:lnTo>
                    <a:lnTo>
                      <a:pt x="4" y="474"/>
                    </a:lnTo>
                    <a:lnTo>
                      <a:pt x="4" y="476"/>
                    </a:lnTo>
                    <a:lnTo>
                      <a:pt x="6" y="478"/>
                    </a:lnTo>
                    <a:lnTo>
                      <a:pt x="8" y="478"/>
                    </a:lnTo>
                    <a:lnTo>
                      <a:pt x="10" y="478"/>
                    </a:lnTo>
                    <a:lnTo>
                      <a:pt x="12" y="482"/>
                    </a:lnTo>
                    <a:lnTo>
                      <a:pt x="14" y="482"/>
                    </a:lnTo>
                    <a:lnTo>
                      <a:pt x="14" y="484"/>
                    </a:lnTo>
                    <a:lnTo>
                      <a:pt x="16" y="488"/>
                    </a:lnTo>
                    <a:lnTo>
                      <a:pt x="16" y="494"/>
                    </a:lnTo>
                    <a:lnTo>
                      <a:pt x="16" y="496"/>
                    </a:lnTo>
                    <a:lnTo>
                      <a:pt x="16" y="498"/>
                    </a:lnTo>
                    <a:lnTo>
                      <a:pt x="16" y="504"/>
                    </a:lnTo>
                    <a:lnTo>
                      <a:pt x="16" y="510"/>
                    </a:lnTo>
                    <a:lnTo>
                      <a:pt x="18" y="515"/>
                    </a:lnTo>
                    <a:lnTo>
                      <a:pt x="18" y="517"/>
                    </a:lnTo>
                    <a:lnTo>
                      <a:pt x="16" y="519"/>
                    </a:lnTo>
                    <a:lnTo>
                      <a:pt x="16" y="519"/>
                    </a:lnTo>
                    <a:lnTo>
                      <a:pt x="14" y="519"/>
                    </a:lnTo>
                    <a:lnTo>
                      <a:pt x="10" y="514"/>
                    </a:lnTo>
                    <a:lnTo>
                      <a:pt x="12" y="510"/>
                    </a:lnTo>
                    <a:lnTo>
                      <a:pt x="12" y="508"/>
                    </a:lnTo>
                    <a:lnTo>
                      <a:pt x="12" y="504"/>
                    </a:lnTo>
                    <a:lnTo>
                      <a:pt x="10" y="504"/>
                    </a:lnTo>
                    <a:lnTo>
                      <a:pt x="10" y="502"/>
                    </a:lnTo>
                    <a:lnTo>
                      <a:pt x="12" y="498"/>
                    </a:lnTo>
                    <a:lnTo>
                      <a:pt x="10" y="494"/>
                    </a:lnTo>
                    <a:lnTo>
                      <a:pt x="10" y="486"/>
                    </a:lnTo>
                    <a:lnTo>
                      <a:pt x="8" y="482"/>
                    </a:lnTo>
                    <a:lnTo>
                      <a:pt x="6" y="480"/>
                    </a:lnTo>
                    <a:lnTo>
                      <a:pt x="4" y="482"/>
                    </a:lnTo>
                    <a:lnTo>
                      <a:pt x="6" y="488"/>
                    </a:lnTo>
                    <a:lnTo>
                      <a:pt x="6" y="494"/>
                    </a:lnTo>
                    <a:lnTo>
                      <a:pt x="6" y="496"/>
                    </a:lnTo>
                    <a:lnTo>
                      <a:pt x="6" y="502"/>
                    </a:lnTo>
                    <a:lnTo>
                      <a:pt x="4" y="506"/>
                    </a:lnTo>
                    <a:lnTo>
                      <a:pt x="4" y="510"/>
                    </a:lnTo>
                    <a:lnTo>
                      <a:pt x="4" y="512"/>
                    </a:lnTo>
                    <a:lnTo>
                      <a:pt x="0" y="515"/>
                    </a:lnTo>
                    <a:lnTo>
                      <a:pt x="0" y="519"/>
                    </a:lnTo>
                    <a:lnTo>
                      <a:pt x="0" y="525"/>
                    </a:lnTo>
                    <a:lnTo>
                      <a:pt x="0" y="531"/>
                    </a:lnTo>
                    <a:lnTo>
                      <a:pt x="2" y="543"/>
                    </a:lnTo>
                    <a:lnTo>
                      <a:pt x="2" y="547"/>
                    </a:lnTo>
                    <a:lnTo>
                      <a:pt x="2" y="549"/>
                    </a:lnTo>
                    <a:lnTo>
                      <a:pt x="2" y="553"/>
                    </a:lnTo>
                    <a:lnTo>
                      <a:pt x="0" y="558"/>
                    </a:lnTo>
                    <a:lnTo>
                      <a:pt x="0" y="560"/>
                    </a:lnTo>
                    <a:lnTo>
                      <a:pt x="0" y="566"/>
                    </a:lnTo>
                    <a:lnTo>
                      <a:pt x="2" y="574"/>
                    </a:lnTo>
                    <a:lnTo>
                      <a:pt x="10" y="592"/>
                    </a:lnTo>
                    <a:lnTo>
                      <a:pt x="12" y="601"/>
                    </a:lnTo>
                    <a:lnTo>
                      <a:pt x="14" y="613"/>
                    </a:lnTo>
                    <a:lnTo>
                      <a:pt x="14" y="615"/>
                    </a:lnTo>
                    <a:lnTo>
                      <a:pt x="14" y="615"/>
                    </a:lnTo>
                    <a:lnTo>
                      <a:pt x="20" y="613"/>
                    </a:lnTo>
                    <a:lnTo>
                      <a:pt x="30" y="61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52" name="Freeform 752">
                <a:extLst>
                  <a:ext uri="{FF2B5EF4-FFF2-40B4-BE49-F238E27FC236}">
                    <a16:creationId xmlns:a16="http://schemas.microsoft.com/office/drawing/2014/main" id="{4C9E7E3E-8B1A-4D90-B267-13A8AA4D02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3084"/>
                <a:ext cx="29" cy="99"/>
              </a:xfrm>
              <a:custGeom>
                <a:avLst/>
                <a:gdLst>
                  <a:gd name="T0" fmla="*/ 4 w 29"/>
                  <a:gd name="T1" fmla="*/ 84 h 99"/>
                  <a:gd name="T2" fmla="*/ 4 w 29"/>
                  <a:gd name="T3" fmla="*/ 78 h 99"/>
                  <a:gd name="T4" fmla="*/ 6 w 29"/>
                  <a:gd name="T5" fmla="*/ 66 h 99"/>
                  <a:gd name="T6" fmla="*/ 8 w 29"/>
                  <a:gd name="T7" fmla="*/ 62 h 99"/>
                  <a:gd name="T8" fmla="*/ 13 w 29"/>
                  <a:gd name="T9" fmla="*/ 58 h 99"/>
                  <a:gd name="T10" fmla="*/ 13 w 29"/>
                  <a:gd name="T11" fmla="*/ 55 h 99"/>
                  <a:gd name="T12" fmla="*/ 15 w 29"/>
                  <a:gd name="T13" fmla="*/ 53 h 99"/>
                  <a:gd name="T14" fmla="*/ 15 w 29"/>
                  <a:gd name="T15" fmla="*/ 51 h 99"/>
                  <a:gd name="T16" fmla="*/ 15 w 29"/>
                  <a:gd name="T17" fmla="*/ 49 h 99"/>
                  <a:gd name="T18" fmla="*/ 13 w 29"/>
                  <a:gd name="T19" fmla="*/ 49 h 99"/>
                  <a:gd name="T20" fmla="*/ 13 w 29"/>
                  <a:gd name="T21" fmla="*/ 47 h 99"/>
                  <a:gd name="T22" fmla="*/ 15 w 29"/>
                  <a:gd name="T23" fmla="*/ 43 h 99"/>
                  <a:gd name="T24" fmla="*/ 15 w 29"/>
                  <a:gd name="T25" fmla="*/ 43 h 99"/>
                  <a:gd name="T26" fmla="*/ 27 w 29"/>
                  <a:gd name="T27" fmla="*/ 35 h 99"/>
                  <a:gd name="T28" fmla="*/ 27 w 29"/>
                  <a:gd name="T29" fmla="*/ 33 h 99"/>
                  <a:gd name="T30" fmla="*/ 27 w 29"/>
                  <a:gd name="T31" fmla="*/ 31 h 99"/>
                  <a:gd name="T32" fmla="*/ 29 w 29"/>
                  <a:gd name="T33" fmla="*/ 31 h 99"/>
                  <a:gd name="T34" fmla="*/ 29 w 29"/>
                  <a:gd name="T35" fmla="*/ 33 h 99"/>
                  <a:gd name="T36" fmla="*/ 29 w 29"/>
                  <a:gd name="T37" fmla="*/ 31 h 99"/>
                  <a:gd name="T38" fmla="*/ 27 w 29"/>
                  <a:gd name="T39" fmla="*/ 27 h 99"/>
                  <a:gd name="T40" fmla="*/ 29 w 29"/>
                  <a:gd name="T41" fmla="*/ 23 h 99"/>
                  <a:gd name="T42" fmla="*/ 29 w 29"/>
                  <a:gd name="T43" fmla="*/ 21 h 99"/>
                  <a:gd name="T44" fmla="*/ 29 w 29"/>
                  <a:gd name="T45" fmla="*/ 21 h 99"/>
                  <a:gd name="T46" fmla="*/ 29 w 29"/>
                  <a:gd name="T47" fmla="*/ 14 h 99"/>
                  <a:gd name="T48" fmla="*/ 29 w 29"/>
                  <a:gd name="T49" fmla="*/ 14 h 99"/>
                  <a:gd name="T50" fmla="*/ 29 w 29"/>
                  <a:gd name="T51" fmla="*/ 14 h 99"/>
                  <a:gd name="T52" fmla="*/ 29 w 29"/>
                  <a:gd name="T53" fmla="*/ 12 h 99"/>
                  <a:gd name="T54" fmla="*/ 29 w 29"/>
                  <a:gd name="T55" fmla="*/ 12 h 99"/>
                  <a:gd name="T56" fmla="*/ 29 w 29"/>
                  <a:gd name="T57" fmla="*/ 12 h 99"/>
                  <a:gd name="T58" fmla="*/ 29 w 29"/>
                  <a:gd name="T59" fmla="*/ 10 h 99"/>
                  <a:gd name="T60" fmla="*/ 29 w 29"/>
                  <a:gd name="T61" fmla="*/ 10 h 99"/>
                  <a:gd name="T62" fmla="*/ 15 w 29"/>
                  <a:gd name="T63" fmla="*/ 8 h 99"/>
                  <a:gd name="T64" fmla="*/ 11 w 29"/>
                  <a:gd name="T65" fmla="*/ 6 h 99"/>
                  <a:gd name="T66" fmla="*/ 6 w 29"/>
                  <a:gd name="T67" fmla="*/ 2 h 99"/>
                  <a:gd name="T68" fmla="*/ 0 w 29"/>
                  <a:gd name="T69" fmla="*/ 0 h 99"/>
                  <a:gd name="T70" fmla="*/ 0 w 29"/>
                  <a:gd name="T71" fmla="*/ 98 h 99"/>
                  <a:gd name="T72" fmla="*/ 4 w 29"/>
                  <a:gd name="T73" fmla="*/ 99 h 99"/>
                  <a:gd name="T74" fmla="*/ 4 w 29"/>
                  <a:gd name="T75" fmla="*/ 9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9" h="99">
                    <a:moveTo>
                      <a:pt x="4" y="90"/>
                    </a:moveTo>
                    <a:lnTo>
                      <a:pt x="4" y="84"/>
                    </a:lnTo>
                    <a:lnTo>
                      <a:pt x="4" y="80"/>
                    </a:lnTo>
                    <a:lnTo>
                      <a:pt x="4" y="78"/>
                    </a:lnTo>
                    <a:lnTo>
                      <a:pt x="4" y="70"/>
                    </a:lnTo>
                    <a:lnTo>
                      <a:pt x="6" y="66"/>
                    </a:lnTo>
                    <a:lnTo>
                      <a:pt x="6" y="66"/>
                    </a:lnTo>
                    <a:lnTo>
                      <a:pt x="8" y="62"/>
                    </a:lnTo>
                    <a:lnTo>
                      <a:pt x="11" y="58"/>
                    </a:lnTo>
                    <a:lnTo>
                      <a:pt x="13" y="58"/>
                    </a:lnTo>
                    <a:lnTo>
                      <a:pt x="13" y="57"/>
                    </a:lnTo>
                    <a:lnTo>
                      <a:pt x="13" y="55"/>
                    </a:lnTo>
                    <a:lnTo>
                      <a:pt x="15" y="53"/>
                    </a:lnTo>
                    <a:lnTo>
                      <a:pt x="15" y="53"/>
                    </a:lnTo>
                    <a:lnTo>
                      <a:pt x="15" y="53"/>
                    </a:lnTo>
                    <a:lnTo>
                      <a:pt x="15" y="51"/>
                    </a:lnTo>
                    <a:lnTo>
                      <a:pt x="15" y="49"/>
                    </a:lnTo>
                    <a:lnTo>
                      <a:pt x="15" y="49"/>
                    </a:lnTo>
                    <a:lnTo>
                      <a:pt x="15" y="49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5" y="43"/>
                    </a:lnTo>
                    <a:lnTo>
                      <a:pt x="15" y="43"/>
                    </a:lnTo>
                    <a:lnTo>
                      <a:pt x="15" y="43"/>
                    </a:lnTo>
                    <a:lnTo>
                      <a:pt x="29" y="35"/>
                    </a:lnTo>
                    <a:lnTo>
                      <a:pt x="27" y="35"/>
                    </a:lnTo>
                    <a:lnTo>
                      <a:pt x="27" y="35"/>
                    </a:lnTo>
                    <a:lnTo>
                      <a:pt x="27" y="33"/>
                    </a:lnTo>
                    <a:lnTo>
                      <a:pt x="27" y="33"/>
                    </a:lnTo>
                    <a:lnTo>
                      <a:pt x="27" y="31"/>
                    </a:lnTo>
                    <a:lnTo>
                      <a:pt x="27" y="31"/>
                    </a:lnTo>
                    <a:lnTo>
                      <a:pt x="29" y="31"/>
                    </a:lnTo>
                    <a:lnTo>
                      <a:pt x="29" y="31"/>
                    </a:lnTo>
                    <a:lnTo>
                      <a:pt x="29" y="33"/>
                    </a:lnTo>
                    <a:lnTo>
                      <a:pt x="29" y="31"/>
                    </a:lnTo>
                    <a:lnTo>
                      <a:pt x="29" y="31"/>
                    </a:lnTo>
                    <a:lnTo>
                      <a:pt x="27" y="29"/>
                    </a:lnTo>
                    <a:lnTo>
                      <a:pt x="27" y="27"/>
                    </a:lnTo>
                    <a:lnTo>
                      <a:pt x="27" y="25"/>
                    </a:lnTo>
                    <a:lnTo>
                      <a:pt x="29" y="23"/>
                    </a:lnTo>
                    <a:lnTo>
                      <a:pt x="29" y="23"/>
                    </a:lnTo>
                    <a:lnTo>
                      <a:pt x="29" y="21"/>
                    </a:lnTo>
                    <a:lnTo>
                      <a:pt x="29" y="21"/>
                    </a:lnTo>
                    <a:lnTo>
                      <a:pt x="29" y="21"/>
                    </a:lnTo>
                    <a:lnTo>
                      <a:pt x="29" y="19"/>
                    </a:lnTo>
                    <a:lnTo>
                      <a:pt x="29" y="14"/>
                    </a:lnTo>
                    <a:lnTo>
                      <a:pt x="29" y="14"/>
                    </a:lnTo>
                    <a:lnTo>
                      <a:pt x="29" y="14"/>
                    </a:lnTo>
                    <a:lnTo>
                      <a:pt x="29" y="14"/>
                    </a:lnTo>
                    <a:lnTo>
                      <a:pt x="29" y="14"/>
                    </a:lnTo>
                    <a:lnTo>
                      <a:pt x="29" y="12"/>
                    </a:lnTo>
                    <a:lnTo>
                      <a:pt x="29" y="12"/>
                    </a:lnTo>
                    <a:lnTo>
                      <a:pt x="29" y="12"/>
                    </a:lnTo>
                    <a:lnTo>
                      <a:pt x="29" y="12"/>
                    </a:lnTo>
                    <a:lnTo>
                      <a:pt x="29" y="12"/>
                    </a:lnTo>
                    <a:lnTo>
                      <a:pt x="29" y="12"/>
                    </a:lnTo>
                    <a:lnTo>
                      <a:pt x="29" y="10"/>
                    </a:lnTo>
                    <a:lnTo>
                      <a:pt x="29" y="10"/>
                    </a:lnTo>
                    <a:lnTo>
                      <a:pt x="29" y="10"/>
                    </a:lnTo>
                    <a:lnTo>
                      <a:pt x="29" y="10"/>
                    </a:lnTo>
                    <a:lnTo>
                      <a:pt x="23" y="8"/>
                    </a:lnTo>
                    <a:lnTo>
                      <a:pt x="15" y="8"/>
                    </a:lnTo>
                    <a:lnTo>
                      <a:pt x="11" y="8"/>
                    </a:lnTo>
                    <a:lnTo>
                      <a:pt x="11" y="6"/>
                    </a:lnTo>
                    <a:lnTo>
                      <a:pt x="10" y="6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4" y="99"/>
                    </a:lnTo>
                    <a:lnTo>
                      <a:pt x="4" y="98"/>
                    </a:lnTo>
                    <a:lnTo>
                      <a:pt x="4" y="9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53" name="Freeform 753">
                <a:extLst>
                  <a:ext uri="{FF2B5EF4-FFF2-40B4-BE49-F238E27FC236}">
                    <a16:creationId xmlns:a16="http://schemas.microsoft.com/office/drawing/2014/main" id="{531D5142-30BC-427A-B71A-C68AADAF05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3" y="1243"/>
                <a:ext cx="963" cy="746"/>
              </a:xfrm>
              <a:custGeom>
                <a:avLst/>
                <a:gdLst>
                  <a:gd name="T0" fmla="*/ 94 w 963"/>
                  <a:gd name="T1" fmla="*/ 371 h 746"/>
                  <a:gd name="T2" fmla="*/ 139 w 963"/>
                  <a:gd name="T3" fmla="*/ 400 h 746"/>
                  <a:gd name="T4" fmla="*/ 162 w 963"/>
                  <a:gd name="T5" fmla="*/ 410 h 746"/>
                  <a:gd name="T6" fmla="*/ 182 w 963"/>
                  <a:gd name="T7" fmla="*/ 414 h 746"/>
                  <a:gd name="T8" fmla="*/ 250 w 963"/>
                  <a:gd name="T9" fmla="*/ 406 h 746"/>
                  <a:gd name="T10" fmla="*/ 264 w 963"/>
                  <a:gd name="T11" fmla="*/ 433 h 746"/>
                  <a:gd name="T12" fmla="*/ 282 w 963"/>
                  <a:gd name="T13" fmla="*/ 443 h 746"/>
                  <a:gd name="T14" fmla="*/ 285 w 963"/>
                  <a:gd name="T15" fmla="*/ 453 h 746"/>
                  <a:gd name="T16" fmla="*/ 301 w 963"/>
                  <a:gd name="T17" fmla="*/ 482 h 746"/>
                  <a:gd name="T18" fmla="*/ 285 w 963"/>
                  <a:gd name="T19" fmla="*/ 505 h 746"/>
                  <a:gd name="T20" fmla="*/ 282 w 963"/>
                  <a:gd name="T21" fmla="*/ 513 h 746"/>
                  <a:gd name="T22" fmla="*/ 274 w 963"/>
                  <a:gd name="T23" fmla="*/ 574 h 746"/>
                  <a:gd name="T24" fmla="*/ 295 w 963"/>
                  <a:gd name="T25" fmla="*/ 601 h 746"/>
                  <a:gd name="T26" fmla="*/ 323 w 963"/>
                  <a:gd name="T27" fmla="*/ 607 h 746"/>
                  <a:gd name="T28" fmla="*/ 326 w 963"/>
                  <a:gd name="T29" fmla="*/ 615 h 746"/>
                  <a:gd name="T30" fmla="*/ 332 w 963"/>
                  <a:gd name="T31" fmla="*/ 626 h 746"/>
                  <a:gd name="T32" fmla="*/ 373 w 963"/>
                  <a:gd name="T33" fmla="*/ 644 h 746"/>
                  <a:gd name="T34" fmla="*/ 395 w 963"/>
                  <a:gd name="T35" fmla="*/ 664 h 746"/>
                  <a:gd name="T36" fmla="*/ 410 w 963"/>
                  <a:gd name="T37" fmla="*/ 708 h 746"/>
                  <a:gd name="T38" fmla="*/ 405 w 963"/>
                  <a:gd name="T39" fmla="*/ 720 h 746"/>
                  <a:gd name="T40" fmla="*/ 408 w 963"/>
                  <a:gd name="T41" fmla="*/ 730 h 746"/>
                  <a:gd name="T42" fmla="*/ 459 w 963"/>
                  <a:gd name="T43" fmla="*/ 734 h 746"/>
                  <a:gd name="T44" fmla="*/ 502 w 963"/>
                  <a:gd name="T45" fmla="*/ 734 h 746"/>
                  <a:gd name="T46" fmla="*/ 551 w 963"/>
                  <a:gd name="T47" fmla="*/ 746 h 746"/>
                  <a:gd name="T48" fmla="*/ 610 w 963"/>
                  <a:gd name="T49" fmla="*/ 722 h 746"/>
                  <a:gd name="T50" fmla="*/ 627 w 963"/>
                  <a:gd name="T51" fmla="*/ 693 h 746"/>
                  <a:gd name="T52" fmla="*/ 637 w 963"/>
                  <a:gd name="T53" fmla="*/ 673 h 746"/>
                  <a:gd name="T54" fmla="*/ 696 w 963"/>
                  <a:gd name="T55" fmla="*/ 642 h 746"/>
                  <a:gd name="T56" fmla="*/ 754 w 963"/>
                  <a:gd name="T57" fmla="*/ 648 h 746"/>
                  <a:gd name="T58" fmla="*/ 744 w 963"/>
                  <a:gd name="T59" fmla="*/ 669 h 746"/>
                  <a:gd name="T60" fmla="*/ 789 w 963"/>
                  <a:gd name="T61" fmla="*/ 669 h 746"/>
                  <a:gd name="T62" fmla="*/ 789 w 963"/>
                  <a:gd name="T63" fmla="*/ 640 h 746"/>
                  <a:gd name="T64" fmla="*/ 778 w 963"/>
                  <a:gd name="T65" fmla="*/ 623 h 746"/>
                  <a:gd name="T66" fmla="*/ 764 w 963"/>
                  <a:gd name="T67" fmla="*/ 593 h 746"/>
                  <a:gd name="T68" fmla="*/ 786 w 963"/>
                  <a:gd name="T69" fmla="*/ 541 h 746"/>
                  <a:gd name="T70" fmla="*/ 786 w 963"/>
                  <a:gd name="T71" fmla="*/ 488 h 746"/>
                  <a:gd name="T72" fmla="*/ 797 w 963"/>
                  <a:gd name="T73" fmla="*/ 461 h 746"/>
                  <a:gd name="T74" fmla="*/ 827 w 963"/>
                  <a:gd name="T75" fmla="*/ 443 h 746"/>
                  <a:gd name="T76" fmla="*/ 868 w 963"/>
                  <a:gd name="T77" fmla="*/ 394 h 746"/>
                  <a:gd name="T78" fmla="*/ 926 w 963"/>
                  <a:gd name="T79" fmla="*/ 392 h 746"/>
                  <a:gd name="T80" fmla="*/ 957 w 963"/>
                  <a:gd name="T81" fmla="*/ 355 h 746"/>
                  <a:gd name="T82" fmla="*/ 905 w 963"/>
                  <a:gd name="T83" fmla="*/ 328 h 746"/>
                  <a:gd name="T84" fmla="*/ 922 w 963"/>
                  <a:gd name="T85" fmla="*/ 271 h 746"/>
                  <a:gd name="T86" fmla="*/ 875 w 963"/>
                  <a:gd name="T87" fmla="*/ 209 h 746"/>
                  <a:gd name="T88" fmla="*/ 782 w 963"/>
                  <a:gd name="T89" fmla="*/ 109 h 746"/>
                  <a:gd name="T90" fmla="*/ 721 w 963"/>
                  <a:gd name="T91" fmla="*/ 84 h 746"/>
                  <a:gd name="T92" fmla="*/ 647 w 963"/>
                  <a:gd name="T93" fmla="*/ 6 h 746"/>
                  <a:gd name="T94" fmla="*/ 614 w 963"/>
                  <a:gd name="T95" fmla="*/ 17 h 746"/>
                  <a:gd name="T96" fmla="*/ 543 w 963"/>
                  <a:gd name="T97" fmla="*/ 45 h 746"/>
                  <a:gd name="T98" fmla="*/ 453 w 963"/>
                  <a:gd name="T99" fmla="*/ 35 h 746"/>
                  <a:gd name="T100" fmla="*/ 414 w 963"/>
                  <a:gd name="T101" fmla="*/ 33 h 746"/>
                  <a:gd name="T102" fmla="*/ 330 w 963"/>
                  <a:gd name="T103" fmla="*/ 35 h 746"/>
                  <a:gd name="T104" fmla="*/ 262 w 963"/>
                  <a:gd name="T105" fmla="*/ 19 h 746"/>
                  <a:gd name="T106" fmla="*/ 155 w 963"/>
                  <a:gd name="T107" fmla="*/ 17 h 746"/>
                  <a:gd name="T108" fmla="*/ 31 w 963"/>
                  <a:gd name="T109" fmla="*/ 84 h 746"/>
                  <a:gd name="T110" fmla="*/ 0 w 963"/>
                  <a:gd name="T111" fmla="*/ 154 h 746"/>
                  <a:gd name="T112" fmla="*/ 18 w 963"/>
                  <a:gd name="T113" fmla="*/ 228 h 746"/>
                  <a:gd name="T114" fmla="*/ 29 w 963"/>
                  <a:gd name="T115" fmla="*/ 273 h 746"/>
                  <a:gd name="T116" fmla="*/ 24 w 963"/>
                  <a:gd name="T117" fmla="*/ 326 h 746"/>
                  <a:gd name="T118" fmla="*/ 41 w 963"/>
                  <a:gd name="T119" fmla="*/ 339 h 746"/>
                  <a:gd name="T120" fmla="*/ 53 w 963"/>
                  <a:gd name="T121" fmla="*/ 343 h 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63" h="746">
                    <a:moveTo>
                      <a:pt x="53" y="343"/>
                    </a:moveTo>
                    <a:lnTo>
                      <a:pt x="55" y="341"/>
                    </a:lnTo>
                    <a:lnTo>
                      <a:pt x="61" y="347"/>
                    </a:lnTo>
                    <a:lnTo>
                      <a:pt x="61" y="347"/>
                    </a:lnTo>
                    <a:lnTo>
                      <a:pt x="61" y="347"/>
                    </a:lnTo>
                    <a:lnTo>
                      <a:pt x="61" y="347"/>
                    </a:lnTo>
                    <a:lnTo>
                      <a:pt x="71" y="365"/>
                    </a:lnTo>
                    <a:lnTo>
                      <a:pt x="76" y="371"/>
                    </a:lnTo>
                    <a:lnTo>
                      <a:pt x="88" y="371"/>
                    </a:lnTo>
                    <a:lnTo>
                      <a:pt x="94" y="371"/>
                    </a:lnTo>
                    <a:lnTo>
                      <a:pt x="98" y="373"/>
                    </a:lnTo>
                    <a:lnTo>
                      <a:pt x="102" y="375"/>
                    </a:lnTo>
                    <a:lnTo>
                      <a:pt x="108" y="379"/>
                    </a:lnTo>
                    <a:lnTo>
                      <a:pt x="113" y="384"/>
                    </a:lnTo>
                    <a:lnTo>
                      <a:pt x="115" y="386"/>
                    </a:lnTo>
                    <a:lnTo>
                      <a:pt x="117" y="390"/>
                    </a:lnTo>
                    <a:lnTo>
                      <a:pt x="121" y="390"/>
                    </a:lnTo>
                    <a:lnTo>
                      <a:pt x="129" y="392"/>
                    </a:lnTo>
                    <a:lnTo>
                      <a:pt x="135" y="398"/>
                    </a:lnTo>
                    <a:lnTo>
                      <a:pt x="139" y="400"/>
                    </a:lnTo>
                    <a:lnTo>
                      <a:pt x="145" y="400"/>
                    </a:lnTo>
                    <a:lnTo>
                      <a:pt x="149" y="404"/>
                    </a:lnTo>
                    <a:lnTo>
                      <a:pt x="151" y="404"/>
                    </a:lnTo>
                    <a:lnTo>
                      <a:pt x="153" y="404"/>
                    </a:lnTo>
                    <a:lnTo>
                      <a:pt x="156" y="400"/>
                    </a:lnTo>
                    <a:lnTo>
                      <a:pt x="160" y="400"/>
                    </a:lnTo>
                    <a:lnTo>
                      <a:pt x="162" y="402"/>
                    </a:lnTo>
                    <a:lnTo>
                      <a:pt x="162" y="402"/>
                    </a:lnTo>
                    <a:lnTo>
                      <a:pt x="162" y="404"/>
                    </a:lnTo>
                    <a:lnTo>
                      <a:pt x="162" y="410"/>
                    </a:lnTo>
                    <a:lnTo>
                      <a:pt x="164" y="414"/>
                    </a:lnTo>
                    <a:lnTo>
                      <a:pt x="166" y="416"/>
                    </a:lnTo>
                    <a:lnTo>
                      <a:pt x="168" y="418"/>
                    </a:lnTo>
                    <a:lnTo>
                      <a:pt x="172" y="418"/>
                    </a:lnTo>
                    <a:lnTo>
                      <a:pt x="172" y="420"/>
                    </a:lnTo>
                    <a:lnTo>
                      <a:pt x="176" y="418"/>
                    </a:lnTo>
                    <a:lnTo>
                      <a:pt x="180" y="416"/>
                    </a:lnTo>
                    <a:lnTo>
                      <a:pt x="182" y="414"/>
                    </a:lnTo>
                    <a:lnTo>
                      <a:pt x="182" y="414"/>
                    </a:lnTo>
                    <a:lnTo>
                      <a:pt x="182" y="414"/>
                    </a:lnTo>
                    <a:lnTo>
                      <a:pt x="182" y="414"/>
                    </a:lnTo>
                    <a:lnTo>
                      <a:pt x="182" y="414"/>
                    </a:lnTo>
                    <a:lnTo>
                      <a:pt x="184" y="412"/>
                    </a:lnTo>
                    <a:lnTo>
                      <a:pt x="194" y="408"/>
                    </a:lnTo>
                    <a:lnTo>
                      <a:pt x="201" y="406"/>
                    </a:lnTo>
                    <a:lnTo>
                      <a:pt x="205" y="406"/>
                    </a:lnTo>
                    <a:lnTo>
                      <a:pt x="205" y="406"/>
                    </a:lnTo>
                    <a:lnTo>
                      <a:pt x="233" y="410"/>
                    </a:lnTo>
                    <a:lnTo>
                      <a:pt x="250" y="406"/>
                    </a:lnTo>
                    <a:lnTo>
                      <a:pt x="250" y="406"/>
                    </a:lnTo>
                    <a:lnTo>
                      <a:pt x="250" y="406"/>
                    </a:lnTo>
                    <a:lnTo>
                      <a:pt x="254" y="408"/>
                    </a:lnTo>
                    <a:lnTo>
                      <a:pt x="256" y="408"/>
                    </a:lnTo>
                    <a:lnTo>
                      <a:pt x="256" y="410"/>
                    </a:lnTo>
                    <a:lnTo>
                      <a:pt x="258" y="410"/>
                    </a:lnTo>
                    <a:lnTo>
                      <a:pt x="258" y="414"/>
                    </a:lnTo>
                    <a:lnTo>
                      <a:pt x="260" y="416"/>
                    </a:lnTo>
                    <a:lnTo>
                      <a:pt x="260" y="423"/>
                    </a:lnTo>
                    <a:lnTo>
                      <a:pt x="262" y="429"/>
                    </a:lnTo>
                    <a:lnTo>
                      <a:pt x="264" y="433"/>
                    </a:lnTo>
                    <a:lnTo>
                      <a:pt x="264" y="435"/>
                    </a:lnTo>
                    <a:lnTo>
                      <a:pt x="264" y="437"/>
                    </a:lnTo>
                    <a:lnTo>
                      <a:pt x="266" y="439"/>
                    </a:lnTo>
                    <a:lnTo>
                      <a:pt x="270" y="441"/>
                    </a:lnTo>
                    <a:lnTo>
                      <a:pt x="270" y="441"/>
                    </a:lnTo>
                    <a:lnTo>
                      <a:pt x="278" y="441"/>
                    </a:lnTo>
                    <a:lnTo>
                      <a:pt x="280" y="441"/>
                    </a:lnTo>
                    <a:lnTo>
                      <a:pt x="280" y="441"/>
                    </a:lnTo>
                    <a:lnTo>
                      <a:pt x="280" y="441"/>
                    </a:lnTo>
                    <a:lnTo>
                      <a:pt x="282" y="443"/>
                    </a:lnTo>
                    <a:lnTo>
                      <a:pt x="282" y="445"/>
                    </a:lnTo>
                    <a:lnTo>
                      <a:pt x="283" y="445"/>
                    </a:lnTo>
                    <a:lnTo>
                      <a:pt x="283" y="447"/>
                    </a:lnTo>
                    <a:lnTo>
                      <a:pt x="285" y="447"/>
                    </a:lnTo>
                    <a:lnTo>
                      <a:pt x="285" y="447"/>
                    </a:lnTo>
                    <a:lnTo>
                      <a:pt x="285" y="447"/>
                    </a:lnTo>
                    <a:lnTo>
                      <a:pt x="285" y="447"/>
                    </a:lnTo>
                    <a:lnTo>
                      <a:pt x="285" y="449"/>
                    </a:lnTo>
                    <a:lnTo>
                      <a:pt x="283" y="451"/>
                    </a:lnTo>
                    <a:lnTo>
                      <a:pt x="285" y="453"/>
                    </a:lnTo>
                    <a:lnTo>
                      <a:pt x="285" y="453"/>
                    </a:lnTo>
                    <a:lnTo>
                      <a:pt x="295" y="459"/>
                    </a:lnTo>
                    <a:lnTo>
                      <a:pt x="297" y="459"/>
                    </a:lnTo>
                    <a:lnTo>
                      <a:pt x="297" y="461"/>
                    </a:lnTo>
                    <a:lnTo>
                      <a:pt x="299" y="462"/>
                    </a:lnTo>
                    <a:lnTo>
                      <a:pt x="299" y="464"/>
                    </a:lnTo>
                    <a:lnTo>
                      <a:pt x="301" y="472"/>
                    </a:lnTo>
                    <a:lnTo>
                      <a:pt x="301" y="476"/>
                    </a:lnTo>
                    <a:lnTo>
                      <a:pt x="301" y="476"/>
                    </a:lnTo>
                    <a:lnTo>
                      <a:pt x="301" y="482"/>
                    </a:lnTo>
                    <a:lnTo>
                      <a:pt x="301" y="484"/>
                    </a:lnTo>
                    <a:lnTo>
                      <a:pt x="301" y="486"/>
                    </a:lnTo>
                    <a:lnTo>
                      <a:pt x="301" y="488"/>
                    </a:lnTo>
                    <a:lnTo>
                      <a:pt x="299" y="492"/>
                    </a:lnTo>
                    <a:lnTo>
                      <a:pt x="297" y="494"/>
                    </a:lnTo>
                    <a:lnTo>
                      <a:pt x="293" y="496"/>
                    </a:lnTo>
                    <a:lnTo>
                      <a:pt x="291" y="498"/>
                    </a:lnTo>
                    <a:lnTo>
                      <a:pt x="289" y="502"/>
                    </a:lnTo>
                    <a:lnTo>
                      <a:pt x="287" y="503"/>
                    </a:lnTo>
                    <a:lnTo>
                      <a:pt x="285" y="505"/>
                    </a:lnTo>
                    <a:lnTo>
                      <a:pt x="283" y="505"/>
                    </a:lnTo>
                    <a:lnTo>
                      <a:pt x="283" y="507"/>
                    </a:lnTo>
                    <a:lnTo>
                      <a:pt x="282" y="507"/>
                    </a:lnTo>
                    <a:lnTo>
                      <a:pt x="282" y="507"/>
                    </a:lnTo>
                    <a:lnTo>
                      <a:pt x="282" y="507"/>
                    </a:lnTo>
                    <a:lnTo>
                      <a:pt x="282" y="509"/>
                    </a:lnTo>
                    <a:lnTo>
                      <a:pt x="282" y="509"/>
                    </a:lnTo>
                    <a:lnTo>
                      <a:pt x="282" y="511"/>
                    </a:lnTo>
                    <a:lnTo>
                      <a:pt x="282" y="513"/>
                    </a:lnTo>
                    <a:lnTo>
                      <a:pt x="282" y="513"/>
                    </a:lnTo>
                    <a:lnTo>
                      <a:pt x="278" y="517"/>
                    </a:lnTo>
                    <a:lnTo>
                      <a:pt x="278" y="519"/>
                    </a:lnTo>
                    <a:lnTo>
                      <a:pt x="278" y="523"/>
                    </a:lnTo>
                    <a:lnTo>
                      <a:pt x="278" y="529"/>
                    </a:lnTo>
                    <a:lnTo>
                      <a:pt x="278" y="531"/>
                    </a:lnTo>
                    <a:lnTo>
                      <a:pt x="280" y="533"/>
                    </a:lnTo>
                    <a:lnTo>
                      <a:pt x="278" y="539"/>
                    </a:lnTo>
                    <a:lnTo>
                      <a:pt x="276" y="544"/>
                    </a:lnTo>
                    <a:lnTo>
                      <a:pt x="274" y="552"/>
                    </a:lnTo>
                    <a:lnTo>
                      <a:pt x="274" y="574"/>
                    </a:lnTo>
                    <a:lnTo>
                      <a:pt x="274" y="580"/>
                    </a:lnTo>
                    <a:lnTo>
                      <a:pt x="274" y="585"/>
                    </a:lnTo>
                    <a:lnTo>
                      <a:pt x="276" y="589"/>
                    </a:lnTo>
                    <a:lnTo>
                      <a:pt x="278" y="595"/>
                    </a:lnTo>
                    <a:lnTo>
                      <a:pt x="283" y="603"/>
                    </a:lnTo>
                    <a:lnTo>
                      <a:pt x="289" y="613"/>
                    </a:lnTo>
                    <a:lnTo>
                      <a:pt x="291" y="611"/>
                    </a:lnTo>
                    <a:lnTo>
                      <a:pt x="295" y="603"/>
                    </a:lnTo>
                    <a:lnTo>
                      <a:pt x="295" y="601"/>
                    </a:lnTo>
                    <a:lnTo>
                      <a:pt x="295" y="601"/>
                    </a:lnTo>
                    <a:lnTo>
                      <a:pt x="301" y="599"/>
                    </a:lnTo>
                    <a:lnTo>
                      <a:pt x="303" y="601"/>
                    </a:lnTo>
                    <a:lnTo>
                      <a:pt x="303" y="601"/>
                    </a:lnTo>
                    <a:lnTo>
                      <a:pt x="315" y="605"/>
                    </a:lnTo>
                    <a:lnTo>
                      <a:pt x="315" y="605"/>
                    </a:lnTo>
                    <a:lnTo>
                      <a:pt x="315" y="605"/>
                    </a:lnTo>
                    <a:lnTo>
                      <a:pt x="317" y="605"/>
                    </a:lnTo>
                    <a:lnTo>
                      <a:pt x="319" y="605"/>
                    </a:lnTo>
                    <a:lnTo>
                      <a:pt x="321" y="605"/>
                    </a:lnTo>
                    <a:lnTo>
                      <a:pt x="323" y="607"/>
                    </a:lnTo>
                    <a:lnTo>
                      <a:pt x="323" y="607"/>
                    </a:lnTo>
                    <a:lnTo>
                      <a:pt x="323" y="607"/>
                    </a:lnTo>
                    <a:lnTo>
                      <a:pt x="323" y="607"/>
                    </a:lnTo>
                    <a:lnTo>
                      <a:pt x="324" y="609"/>
                    </a:lnTo>
                    <a:lnTo>
                      <a:pt x="324" y="609"/>
                    </a:lnTo>
                    <a:lnTo>
                      <a:pt x="324" y="609"/>
                    </a:lnTo>
                    <a:lnTo>
                      <a:pt x="324" y="611"/>
                    </a:lnTo>
                    <a:lnTo>
                      <a:pt x="324" y="613"/>
                    </a:lnTo>
                    <a:lnTo>
                      <a:pt x="326" y="613"/>
                    </a:lnTo>
                    <a:lnTo>
                      <a:pt x="326" y="615"/>
                    </a:lnTo>
                    <a:lnTo>
                      <a:pt x="328" y="615"/>
                    </a:lnTo>
                    <a:lnTo>
                      <a:pt x="332" y="615"/>
                    </a:lnTo>
                    <a:lnTo>
                      <a:pt x="334" y="615"/>
                    </a:lnTo>
                    <a:lnTo>
                      <a:pt x="334" y="617"/>
                    </a:lnTo>
                    <a:lnTo>
                      <a:pt x="334" y="617"/>
                    </a:lnTo>
                    <a:lnTo>
                      <a:pt x="334" y="617"/>
                    </a:lnTo>
                    <a:lnTo>
                      <a:pt x="334" y="617"/>
                    </a:lnTo>
                    <a:lnTo>
                      <a:pt x="334" y="621"/>
                    </a:lnTo>
                    <a:lnTo>
                      <a:pt x="332" y="623"/>
                    </a:lnTo>
                    <a:lnTo>
                      <a:pt x="332" y="626"/>
                    </a:lnTo>
                    <a:lnTo>
                      <a:pt x="336" y="630"/>
                    </a:lnTo>
                    <a:lnTo>
                      <a:pt x="340" y="630"/>
                    </a:lnTo>
                    <a:lnTo>
                      <a:pt x="340" y="630"/>
                    </a:lnTo>
                    <a:lnTo>
                      <a:pt x="344" y="628"/>
                    </a:lnTo>
                    <a:lnTo>
                      <a:pt x="346" y="628"/>
                    </a:lnTo>
                    <a:lnTo>
                      <a:pt x="348" y="628"/>
                    </a:lnTo>
                    <a:lnTo>
                      <a:pt x="350" y="630"/>
                    </a:lnTo>
                    <a:lnTo>
                      <a:pt x="360" y="638"/>
                    </a:lnTo>
                    <a:lnTo>
                      <a:pt x="367" y="642"/>
                    </a:lnTo>
                    <a:lnTo>
                      <a:pt x="373" y="644"/>
                    </a:lnTo>
                    <a:lnTo>
                      <a:pt x="381" y="648"/>
                    </a:lnTo>
                    <a:lnTo>
                      <a:pt x="383" y="650"/>
                    </a:lnTo>
                    <a:lnTo>
                      <a:pt x="385" y="652"/>
                    </a:lnTo>
                    <a:lnTo>
                      <a:pt x="387" y="652"/>
                    </a:lnTo>
                    <a:lnTo>
                      <a:pt x="387" y="654"/>
                    </a:lnTo>
                    <a:lnTo>
                      <a:pt x="389" y="656"/>
                    </a:lnTo>
                    <a:lnTo>
                      <a:pt x="391" y="662"/>
                    </a:lnTo>
                    <a:lnTo>
                      <a:pt x="393" y="664"/>
                    </a:lnTo>
                    <a:lnTo>
                      <a:pt x="393" y="664"/>
                    </a:lnTo>
                    <a:lnTo>
                      <a:pt x="395" y="664"/>
                    </a:lnTo>
                    <a:lnTo>
                      <a:pt x="399" y="666"/>
                    </a:lnTo>
                    <a:lnTo>
                      <a:pt x="401" y="666"/>
                    </a:lnTo>
                    <a:lnTo>
                      <a:pt x="403" y="669"/>
                    </a:lnTo>
                    <a:lnTo>
                      <a:pt x="403" y="671"/>
                    </a:lnTo>
                    <a:lnTo>
                      <a:pt x="405" y="675"/>
                    </a:lnTo>
                    <a:lnTo>
                      <a:pt x="407" y="679"/>
                    </a:lnTo>
                    <a:lnTo>
                      <a:pt x="407" y="683"/>
                    </a:lnTo>
                    <a:lnTo>
                      <a:pt x="408" y="689"/>
                    </a:lnTo>
                    <a:lnTo>
                      <a:pt x="410" y="703"/>
                    </a:lnTo>
                    <a:lnTo>
                      <a:pt x="410" y="708"/>
                    </a:lnTo>
                    <a:lnTo>
                      <a:pt x="408" y="712"/>
                    </a:lnTo>
                    <a:lnTo>
                      <a:pt x="408" y="712"/>
                    </a:lnTo>
                    <a:lnTo>
                      <a:pt x="407" y="714"/>
                    </a:lnTo>
                    <a:lnTo>
                      <a:pt x="407" y="714"/>
                    </a:lnTo>
                    <a:lnTo>
                      <a:pt x="405" y="714"/>
                    </a:lnTo>
                    <a:lnTo>
                      <a:pt x="405" y="716"/>
                    </a:lnTo>
                    <a:lnTo>
                      <a:pt x="405" y="716"/>
                    </a:lnTo>
                    <a:lnTo>
                      <a:pt x="405" y="718"/>
                    </a:lnTo>
                    <a:lnTo>
                      <a:pt x="405" y="720"/>
                    </a:lnTo>
                    <a:lnTo>
                      <a:pt x="405" y="720"/>
                    </a:lnTo>
                    <a:lnTo>
                      <a:pt x="405" y="722"/>
                    </a:lnTo>
                    <a:lnTo>
                      <a:pt x="405" y="722"/>
                    </a:lnTo>
                    <a:lnTo>
                      <a:pt x="407" y="724"/>
                    </a:lnTo>
                    <a:lnTo>
                      <a:pt x="408" y="726"/>
                    </a:lnTo>
                    <a:lnTo>
                      <a:pt x="408" y="726"/>
                    </a:lnTo>
                    <a:lnTo>
                      <a:pt x="408" y="726"/>
                    </a:lnTo>
                    <a:lnTo>
                      <a:pt x="408" y="728"/>
                    </a:lnTo>
                    <a:lnTo>
                      <a:pt x="410" y="728"/>
                    </a:lnTo>
                    <a:lnTo>
                      <a:pt x="410" y="728"/>
                    </a:lnTo>
                    <a:lnTo>
                      <a:pt x="408" y="730"/>
                    </a:lnTo>
                    <a:lnTo>
                      <a:pt x="408" y="732"/>
                    </a:lnTo>
                    <a:lnTo>
                      <a:pt x="408" y="732"/>
                    </a:lnTo>
                    <a:lnTo>
                      <a:pt x="414" y="734"/>
                    </a:lnTo>
                    <a:lnTo>
                      <a:pt x="430" y="742"/>
                    </a:lnTo>
                    <a:lnTo>
                      <a:pt x="432" y="744"/>
                    </a:lnTo>
                    <a:lnTo>
                      <a:pt x="436" y="744"/>
                    </a:lnTo>
                    <a:lnTo>
                      <a:pt x="444" y="740"/>
                    </a:lnTo>
                    <a:lnTo>
                      <a:pt x="453" y="738"/>
                    </a:lnTo>
                    <a:lnTo>
                      <a:pt x="457" y="736"/>
                    </a:lnTo>
                    <a:lnTo>
                      <a:pt x="459" y="734"/>
                    </a:lnTo>
                    <a:lnTo>
                      <a:pt x="461" y="736"/>
                    </a:lnTo>
                    <a:lnTo>
                      <a:pt x="463" y="738"/>
                    </a:lnTo>
                    <a:lnTo>
                      <a:pt x="465" y="738"/>
                    </a:lnTo>
                    <a:lnTo>
                      <a:pt x="465" y="738"/>
                    </a:lnTo>
                    <a:lnTo>
                      <a:pt x="479" y="730"/>
                    </a:lnTo>
                    <a:lnTo>
                      <a:pt x="481" y="730"/>
                    </a:lnTo>
                    <a:lnTo>
                      <a:pt x="485" y="730"/>
                    </a:lnTo>
                    <a:lnTo>
                      <a:pt x="489" y="734"/>
                    </a:lnTo>
                    <a:lnTo>
                      <a:pt x="492" y="734"/>
                    </a:lnTo>
                    <a:lnTo>
                      <a:pt x="502" y="734"/>
                    </a:lnTo>
                    <a:lnTo>
                      <a:pt x="508" y="732"/>
                    </a:lnTo>
                    <a:lnTo>
                      <a:pt x="518" y="726"/>
                    </a:lnTo>
                    <a:lnTo>
                      <a:pt x="524" y="726"/>
                    </a:lnTo>
                    <a:lnTo>
                      <a:pt x="528" y="728"/>
                    </a:lnTo>
                    <a:lnTo>
                      <a:pt x="534" y="734"/>
                    </a:lnTo>
                    <a:lnTo>
                      <a:pt x="535" y="742"/>
                    </a:lnTo>
                    <a:lnTo>
                      <a:pt x="537" y="744"/>
                    </a:lnTo>
                    <a:lnTo>
                      <a:pt x="541" y="746"/>
                    </a:lnTo>
                    <a:lnTo>
                      <a:pt x="547" y="746"/>
                    </a:lnTo>
                    <a:lnTo>
                      <a:pt x="551" y="746"/>
                    </a:lnTo>
                    <a:lnTo>
                      <a:pt x="559" y="746"/>
                    </a:lnTo>
                    <a:lnTo>
                      <a:pt x="565" y="744"/>
                    </a:lnTo>
                    <a:lnTo>
                      <a:pt x="582" y="726"/>
                    </a:lnTo>
                    <a:lnTo>
                      <a:pt x="592" y="722"/>
                    </a:lnTo>
                    <a:lnTo>
                      <a:pt x="602" y="718"/>
                    </a:lnTo>
                    <a:lnTo>
                      <a:pt x="606" y="716"/>
                    </a:lnTo>
                    <a:lnTo>
                      <a:pt x="608" y="716"/>
                    </a:lnTo>
                    <a:lnTo>
                      <a:pt x="608" y="716"/>
                    </a:lnTo>
                    <a:lnTo>
                      <a:pt x="608" y="716"/>
                    </a:lnTo>
                    <a:lnTo>
                      <a:pt x="610" y="722"/>
                    </a:lnTo>
                    <a:lnTo>
                      <a:pt x="614" y="724"/>
                    </a:lnTo>
                    <a:lnTo>
                      <a:pt x="616" y="724"/>
                    </a:lnTo>
                    <a:lnTo>
                      <a:pt x="627" y="722"/>
                    </a:lnTo>
                    <a:lnTo>
                      <a:pt x="629" y="722"/>
                    </a:lnTo>
                    <a:lnTo>
                      <a:pt x="631" y="716"/>
                    </a:lnTo>
                    <a:lnTo>
                      <a:pt x="631" y="716"/>
                    </a:lnTo>
                    <a:lnTo>
                      <a:pt x="631" y="708"/>
                    </a:lnTo>
                    <a:lnTo>
                      <a:pt x="631" y="703"/>
                    </a:lnTo>
                    <a:lnTo>
                      <a:pt x="629" y="699"/>
                    </a:lnTo>
                    <a:lnTo>
                      <a:pt x="627" y="693"/>
                    </a:lnTo>
                    <a:lnTo>
                      <a:pt x="625" y="687"/>
                    </a:lnTo>
                    <a:lnTo>
                      <a:pt x="625" y="687"/>
                    </a:lnTo>
                    <a:lnTo>
                      <a:pt x="627" y="687"/>
                    </a:lnTo>
                    <a:lnTo>
                      <a:pt x="629" y="685"/>
                    </a:lnTo>
                    <a:lnTo>
                      <a:pt x="631" y="683"/>
                    </a:lnTo>
                    <a:lnTo>
                      <a:pt x="631" y="681"/>
                    </a:lnTo>
                    <a:lnTo>
                      <a:pt x="631" y="679"/>
                    </a:lnTo>
                    <a:lnTo>
                      <a:pt x="631" y="677"/>
                    </a:lnTo>
                    <a:lnTo>
                      <a:pt x="633" y="675"/>
                    </a:lnTo>
                    <a:lnTo>
                      <a:pt x="637" y="673"/>
                    </a:lnTo>
                    <a:lnTo>
                      <a:pt x="637" y="673"/>
                    </a:lnTo>
                    <a:lnTo>
                      <a:pt x="645" y="671"/>
                    </a:lnTo>
                    <a:lnTo>
                      <a:pt x="653" y="673"/>
                    </a:lnTo>
                    <a:lnTo>
                      <a:pt x="666" y="677"/>
                    </a:lnTo>
                    <a:lnTo>
                      <a:pt x="674" y="677"/>
                    </a:lnTo>
                    <a:lnTo>
                      <a:pt x="682" y="671"/>
                    </a:lnTo>
                    <a:lnTo>
                      <a:pt x="688" y="664"/>
                    </a:lnTo>
                    <a:lnTo>
                      <a:pt x="692" y="658"/>
                    </a:lnTo>
                    <a:lnTo>
                      <a:pt x="694" y="646"/>
                    </a:lnTo>
                    <a:lnTo>
                      <a:pt x="696" y="642"/>
                    </a:lnTo>
                    <a:lnTo>
                      <a:pt x="700" y="640"/>
                    </a:lnTo>
                    <a:lnTo>
                      <a:pt x="709" y="644"/>
                    </a:lnTo>
                    <a:lnTo>
                      <a:pt x="723" y="644"/>
                    </a:lnTo>
                    <a:lnTo>
                      <a:pt x="729" y="642"/>
                    </a:lnTo>
                    <a:lnTo>
                      <a:pt x="735" y="630"/>
                    </a:lnTo>
                    <a:lnTo>
                      <a:pt x="739" y="628"/>
                    </a:lnTo>
                    <a:lnTo>
                      <a:pt x="741" y="630"/>
                    </a:lnTo>
                    <a:lnTo>
                      <a:pt x="743" y="630"/>
                    </a:lnTo>
                    <a:lnTo>
                      <a:pt x="743" y="632"/>
                    </a:lnTo>
                    <a:lnTo>
                      <a:pt x="754" y="648"/>
                    </a:lnTo>
                    <a:lnTo>
                      <a:pt x="754" y="650"/>
                    </a:lnTo>
                    <a:lnTo>
                      <a:pt x="750" y="650"/>
                    </a:lnTo>
                    <a:lnTo>
                      <a:pt x="746" y="652"/>
                    </a:lnTo>
                    <a:lnTo>
                      <a:pt x="746" y="654"/>
                    </a:lnTo>
                    <a:lnTo>
                      <a:pt x="750" y="656"/>
                    </a:lnTo>
                    <a:lnTo>
                      <a:pt x="750" y="660"/>
                    </a:lnTo>
                    <a:lnTo>
                      <a:pt x="750" y="662"/>
                    </a:lnTo>
                    <a:lnTo>
                      <a:pt x="744" y="662"/>
                    </a:lnTo>
                    <a:lnTo>
                      <a:pt x="743" y="664"/>
                    </a:lnTo>
                    <a:lnTo>
                      <a:pt x="744" y="669"/>
                    </a:lnTo>
                    <a:lnTo>
                      <a:pt x="748" y="673"/>
                    </a:lnTo>
                    <a:lnTo>
                      <a:pt x="752" y="675"/>
                    </a:lnTo>
                    <a:lnTo>
                      <a:pt x="768" y="677"/>
                    </a:lnTo>
                    <a:lnTo>
                      <a:pt x="772" y="677"/>
                    </a:lnTo>
                    <a:lnTo>
                      <a:pt x="774" y="677"/>
                    </a:lnTo>
                    <a:lnTo>
                      <a:pt x="776" y="673"/>
                    </a:lnTo>
                    <a:lnTo>
                      <a:pt x="778" y="671"/>
                    </a:lnTo>
                    <a:lnTo>
                      <a:pt x="784" y="673"/>
                    </a:lnTo>
                    <a:lnTo>
                      <a:pt x="786" y="673"/>
                    </a:lnTo>
                    <a:lnTo>
                      <a:pt x="789" y="669"/>
                    </a:lnTo>
                    <a:lnTo>
                      <a:pt x="791" y="666"/>
                    </a:lnTo>
                    <a:lnTo>
                      <a:pt x="791" y="652"/>
                    </a:lnTo>
                    <a:lnTo>
                      <a:pt x="791" y="652"/>
                    </a:lnTo>
                    <a:lnTo>
                      <a:pt x="793" y="648"/>
                    </a:lnTo>
                    <a:lnTo>
                      <a:pt x="793" y="648"/>
                    </a:lnTo>
                    <a:lnTo>
                      <a:pt x="793" y="646"/>
                    </a:lnTo>
                    <a:lnTo>
                      <a:pt x="793" y="644"/>
                    </a:lnTo>
                    <a:lnTo>
                      <a:pt x="791" y="644"/>
                    </a:lnTo>
                    <a:lnTo>
                      <a:pt x="791" y="644"/>
                    </a:lnTo>
                    <a:lnTo>
                      <a:pt x="789" y="640"/>
                    </a:lnTo>
                    <a:lnTo>
                      <a:pt x="789" y="638"/>
                    </a:lnTo>
                    <a:lnTo>
                      <a:pt x="787" y="636"/>
                    </a:lnTo>
                    <a:lnTo>
                      <a:pt x="786" y="634"/>
                    </a:lnTo>
                    <a:lnTo>
                      <a:pt x="786" y="634"/>
                    </a:lnTo>
                    <a:lnTo>
                      <a:pt x="784" y="634"/>
                    </a:lnTo>
                    <a:lnTo>
                      <a:pt x="782" y="634"/>
                    </a:lnTo>
                    <a:lnTo>
                      <a:pt x="782" y="632"/>
                    </a:lnTo>
                    <a:lnTo>
                      <a:pt x="780" y="628"/>
                    </a:lnTo>
                    <a:lnTo>
                      <a:pt x="780" y="625"/>
                    </a:lnTo>
                    <a:lnTo>
                      <a:pt x="778" y="623"/>
                    </a:lnTo>
                    <a:lnTo>
                      <a:pt x="776" y="621"/>
                    </a:lnTo>
                    <a:lnTo>
                      <a:pt x="774" y="623"/>
                    </a:lnTo>
                    <a:lnTo>
                      <a:pt x="764" y="628"/>
                    </a:lnTo>
                    <a:lnTo>
                      <a:pt x="756" y="628"/>
                    </a:lnTo>
                    <a:lnTo>
                      <a:pt x="752" y="626"/>
                    </a:lnTo>
                    <a:lnTo>
                      <a:pt x="750" y="623"/>
                    </a:lnTo>
                    <a:lnTo>
                      <a:pt x="750" y="615"/>
                    </a:lnTo>
                    <a:lnTo>
                      <a:pt x="754" y="609"/>
                    </a:lnTo>
                    <a:lnTo>
                      <a:pt x="762" y="601"/>
                    </a:lnTo>
                    <a:lnTo>
                      <a:pt x="764" y="593"/>
                    </a:lnTo>
                    <a:lnTo>
                      <a:pt x="766" y="589"/>
                    </a:lnTo>
                    <a:lnTo>
                      <a:pt x="766" y="582"/>
                    </a:lnTo>
                    <a:lnTo>
                      <a:pt x="766" y="576"/>
                    </a:lnTo>
                    <a:lnTo>
                      <a:pt x="768" y="570"/>
                    </a:lnTo>
                    <a:lnTo>
                      <a:pt x="770" y="566"/>
                    </a:lnTo>
                    <a:lnTo>
                      <a:pt x="780" y="560"/>
                    </a:lnTo>
                    <a:lnTo>
                      <a:pt x="784" y="556"/>
                    </a:lnTo>
                    <a:lnTo>
                      <a:pt x="786" y="552"/>
                    </a:lnTo>
                    <a:lnTo>
                      <a:pt x="787" y="546"/>
                    </a:lnTo>
                    <a:lnTo>
                      <a:pt x="786" y="541"/>
                    </a:lnTo>
                    <a:lnTo>
                      <a:pt x="782" y="531"/>
                    </a:lnTo>
                    <a:lnTo>
                      <a:pt x="780" y="525"/>
                    </a:lnTo>
                    <a:lnTo>
                      <a:pt x="782" y="521"/>
                    </a:lnTo>
                    <a:lnTo>
                      <a:pt x="782" y="519"/>
                    </a:lnTo>
                    <a:lnTo>
                      <a:pt x="782" y="515"/>
                    </a:lnTo>
                    <a:lnTo>
                      <a:pt x="784" y="513"/>
                    </a:lnTo>
                    <a:lnTo>
                      <a:pt x="784" y="509"/>
                    </a:lnTo>
                    <a:lnTo>
                      <a:pt x="784" y="496"/>
                    </a:lnTo>
                    <a:lnTo>
                      <a:pt x="784" y="492"/>
                    </a:lnTo>
                    <a:lnTo>
                      <a:pt x="786" y="488"/>
                    </a:lnTo>
                    <a:lnTo>
                      <a:pt x="789" y="486"/>
                    </a:lnTo>
                    <a:lnTo>
                      <a:pt x="789" y="484"/>
                    </a:lnTo>
                    <a:lnTo>
                      <a:pt x="791" y="484"/>
                    </a:lnTo>
                    <a:lnTo>
                      <a:pt x="793" y="484"/>
                    </a:lnTo>
                    <a:lnTo>
                      <a:pt x="793" y="482"/>
                    </a:lnTo>
                    <a:lnTo>
                      <a:pt x="793" y="478"/>
                    </a:lnTo>
                    <a:lnTo>
                      <a:pt x="791" y="472"/>
                    </a:lnTo>
                    <a:lnTo>
                      <a:pt x="791" y="470"/>
                    </a:lnTo>
                    <a:lnTo>
                      <a:pt x="793" y="464"/>
                    </a:lnTo>
                    <a:lnTo>
                      <a:pt x="797" y="461"/>
                    </a:lnTo>
                    <a:lnTo>
                      <a:pt x="801" y="459"/>
                    </a:lnTo>
                    <a:lnTo>
                      <a:pt x="803" y="455"/>
                    </a:lnTo>
                    <a:lnTo>
                      <a:pt x="805" y="451"/>
                    </a:lnTo>
                    <a:lnTo>
                      <a:pt x="805" y="449"/>
                    </a:lnTo>
                    <a:lnTo>
                      <a:pt x="805" y="447"/>
                    </a:lnTo>
                    <a:lnTo>
                      <a:pt x="807" y="445"/>
                    </a:lnTo>
                    <a:lnTo>
                      <a:pt x="815" y="443"/>
                    </a:lnTo>
                    <a:lnTo>
                      <a:pt x="817" y="443"/>
                    </a:lnTo>
                    <a:lnTo>
                      <a:pt x="823" y="443"/>
                    </a:lnTo>
                    <a:lnTo>
                      <a:pt x="827" y="443"/>
                    </a:lnTo>
                    <a:lnTo>
                      <a:pt x="846" y="439"/>
                    </a:lnTo>
                    <a:lnTo>
                      <a:pt x="852" y="435"/>
                    </a:lnTo>
                    <a:lnTo>
                      <a:pt x="856" y="433"/>
                    </a:lnTo>
                    <a:lnTo>
                      <a:pt x="858" y="429"/>
                    </a:lnTo>
                    <a:lnTo>
                      <a:pt x="862" y="425"/>
                    </a:lnTo>
                    <a:lnTo>
                      <a:pt x="868" y="412"/>
                    </a:lnTo>
                    <a:lnTo>
                      <a:pt x="868" y="408"/>
                    </a:lnTo>
                    <a:lnTo>
                      <a:pt x="868" y="406"/>
                    </a:lnTo>
                    <a:lnTo>
                      <a:pt x="868" y="398"/>
                    </a:lnTo>
                    <a:lnTo>
                      <a:pt x="868" y="394"/>
                    </a:lnTo>
                    <a:lnTo>
                      <a:pt x="873" y="386"/>
                    </a:lnTo>
                    <a:lnTo>
                      <a:pt x="881" y="384"/>
                    </a:lnTo>
                    <a:lnTo>
                      <a:pt x="899" y="390"/>
                    </a:lnTo>
                    <a:lnTo>
                      <a:pt x="901" y="390"/>
                    </a:lnTo>
                    <a:lnTo>
                      <a:pt x="903" y="388"/>
                    </a:lnTo>
                    <a:lnTo>
                      <a:pt x="905" y="388"/>
                    </a:lnTo>
                    <a:lnTo>
                      <a:pt x="905" y="386"/>
                    </a:lnTo>
                    <a:lnTo>
                      <a:pt x="907" y="384"/>
                    </a:lnTo>
                    <a:lnTo>
                      <a:pt x="909" y="384"/>
                    </a:lnTo>
                    <a:lnTo>
                      <a:pt x="926" y="392"/>
                    </a:lnTo>
                    <a:lnTo>
                      <a:pt x="930" y="392"/>
                    </a:lnTo>
                    <a:lnTo>
                      <a:pt x="932" y="388"/>
                    </a:lnTo>
                    <a:lnTo>
                      <a:pt x="934" y="379"/>
                    </a:lnTo>
                    <a:lnTo>
                      <a:pt x="936" y="371"/>
                    </a:lnTo>
                    <a:lnTo>
                      <a:pt x="936" y="369"/>
                    </a:lnTo>
                    <a:lnTo>
                      <a:pt x="940" y="365"/>
                    </a:lnTo>
                    <a:lnTo>
                      <a:pt x="944" y="359"/>
                    </a:lnTo>
                    <a:lnTo>
                      <a:pt x="948" y="357"/>
                    </a:lnTo>
                    <a:lnTo>
                      <a:pt x="954" y="357"/>
                    </a:lnTo>
                    <a:lnTo>
                      <a:pt x="957" y="355"/>
                    </a:lnTo>
                    <a:lnTo>
                      <a:pt x="961" y="351"/>
                    </a:lnTo>
                    <a:lnTo>
                      <a:pt x="963" y="347"/>
                    </a:lnTo>
                    <a:lnTo>
                      <a:pt x="961" y="341"/>
                    </a:lnTo>
                    <a:lnTo>
                      <a:pt x="957" y="339"/>
                    </a:lnTo>
                    <a:lnTo>
                      <a:pt x="930" y="334"/>
                    </a:lnTo>
                    <a:lnTo>
                      <a:pt x="920" y="338"/>
                    </a:lnTo>
                    <a:lnTo>
                      <a:pt x="916" y="338"/>
                    </a:lnTo>
                    <a:lnTo>
                      <a:pt x="907" y="334"/>
                    </a:lnTo>
                    <a:lnTo>
                      <a:pt x="905" y="332"/>
                    </a:lnTo>
                    <a:lnTo>
                      <a:pt x="905" y="328"/>
                    </a:lnTo>
                    <a:lnTo>
                      <a:pt x="905" y="324"/>
                    </a:lnTo>
                    <a:lnTo>
                      <a:pt x="911" y="316"/>
                    </a:lnTo>
                    <a:lnTo>
                      <a:pt x="911" y="312"/>
                    </a:lnTo>
                    <a:lnTo>
                      <a:pt x="912" y="302"/>
                    </a:lnTo>
                    <a:lnTo>
                      <a:pt x="914" y="298"/>
                    </a:lnTo>
                    <a:lnTo>
                      <a:pt x="920" y="293"/>
                    </a:lnTo>
                    <a:lnTo>
                      <a:pt x="920" y="289"/>
                    </a:lnTo>
                    <a:lnTo>
                      <a:pt x="918" y="283"/>
                    </a:lnTo>
                    <a:lnTo>
                      <a:pt x="918" y="275"/>
                    </a:lnTo>
                    <a:lnTo>
                      <a:pt x="922" y="271"/>
                    </a:lnTo>
                    <a:lnTo>
                      <a:pt x="926" y="265"/>
                    </a:lnTo>
                    <a:lnTo>
                      <a:pt x="928" y="261"/>
                    </a:lnTo>
                    <a:lnTo>
                      <a:pt x="930" y="254"/>
                    </a:lnTo>
                    <a:lnTo>
                      <a:pt x="932" y="246"/>
                    </a:lnTo>
                    <a:lnTo>
                      <a:pt x="930" y="238"/>
                    </a:lnTo>
                    <a:lnTo>
                      <a:pt x="928" y="232"/>
                    </a:lnTo>
                    <a:lnTo>
                      <a:pt x="918" y="230"/>
                    </a:lnTo>
                    <a:lnTo>
                      <a:pt x="911" y="228"/>
                    </a:lnTo>
                    <a:lnTo>
                      <a:pt x="887" y="216"/>
                    </a:lnTo>
                    <a:lnTo>
                      <a:pt x="875" y="209"/>
                    </a:lnTo>
                    <a:lnTo>
                      <a:pt x="868" y="193"/>
                    </a:lnTo>
                    <a:lnTo>
                      <a:pt x="864" y="183"/>
                    </a:lnTo>
                    <a:lnTo>
                      <a:pt x="860" y="177"/>
                    </a:lnTo>
                    <a:lnTo>
                      <a:pt x="842" y="162"/>
                    </a:lnTo>
                    <a:lnTo>
                      <a:pt x="832" y="152"/>
                    </a:lnTo>
                    <a:lnTo>
                      <a:pt x="823" y="144"/>
                    </a:lnTo>
                    <a:lnTo>
                      <a:pt x="807" y="134"/>
                    </a:lnTo>
                    <a:lnTo>
                      <a:pt x="795" y="121"/>
                    </a:lnTo>
                    <a:lnTo>
                      <a:pt x="789" y="115"/>
                    </a:lnTo>
                    <a:lnTo>
                      <a:pt x="782" y="109"/>
                    </a:lnTo>
                    <a:lnTo>
                      <a:pt x="778" y="107"/>
                    </a:lnTo>
                    <a:lnTo>
                      <a:pt x="778" y="103"/>
                    </a:lnTo>
                    <a:lnTo>
                      <a:pt x="774" y="93"/>
                    </a:lnTo>
                    <a:lnTo>
                      <a:pt x="772" y="90"/>
                    </a:lnTo>
                    <a:lnTo>
                      <a:pt x="770" y="90"/>
                    </a:lnTo>
                    <a:lnTo>
                      <a:pt x="760" y="90"/>
                    </a:lnTo>
                    <a:lnTo>
                      <a:pt x="758" y="90"/>
                    </a:lnTo>
                    <a:lnTo>
                      <a:pt x="750" y="86"/>
                    </a:lnTo>
                    <a:lnTo>
                      <a:pt x="739" y="88"/>
                    </a:lnTo>
                    <a:lnTo>
                      <a:pt x="721" y="84"/>
                    </a:lnTo>
                    <a:lnTo>
                      <a:pt x="680" y="78"/>
                    </a:lnTo>
                    <a:lnTo>
                      <a:pt x="674" y="74"/>
                    </a:lnTo>
                    <a:lnTo>
                      <a:pt x="670" y="64"/>
                    </a:lnTo>
                    <a:lnTo>
                      <a:pt x="666" y="54"/>
                    </a:lnTo>
                    <a:lnTo>
                      <a:pt x="664" y="52"/>
                    </a:lnTo>
                    <a:lnTo>
                      <a:pt x="659" y="45"/>
                    </a:lnTo>
                    <a:lnTo>
                      <a:pt x="659" y="43"/>
                    </a:lnTo>
                    <a:lnTo>
                      <a:pt x="657" y="37"/>
                    </a:lnTo>
                    <a:lnTo>
                      <a:pt x="651" y="19"/>
                    </a:lnTo>
                    <a:lnTo>
                      <a:pt x="647" y="6"/>
                    </a:lnTo>
                    <a:lnTo>
                      <a:pt x="645" y="2"/>
                    </a:lnTo>
                    <a:lnTo>
                      <a:pt x="641" y="0"/>
                    </a:lnTo>
                    <a:lnTo>
                      <a:pt x="639" y="2"/>
                    </a:lnTo>
                    <a:lnTo>
                      <a:pt x="637" y="6"/>
                    </a:lnTo>
                    <a:lnTo>
                      <a:pt x="637" y="8"/>
                    </a:lnTo>
                    <a:lnTo>
                      <a:pt x="637" y="11"/>
                    </a:lnTo>
                    <a:lnTo>
                      <a:pt x="635" y="11"/>
                    </a:lnTo>
                    <a:lnTo>
                      <a:pt x="631" y="10"/>
                    </a:lnTo>
                    <a:lnTo>
                      <a:pt x="629" y="10"/>
                    </a:lnTo>
                    <a:lnTo>
                      <a:pt x="614" y="17"/>
                    </a:lnTo>
                    <a:lnTo>
                      <a:pt x="608" y="19"/>
                    </a:lnTo>
                    <a:lnTo>
                      <a:pt x="602" y="25"/>
                    </a:lnTo>
                    <a:lnTo>
                      <a:pt x="588" y="43"/>
                    </a:lnTo>
                    <a:lnTo>
                      <a:pt x="584" y="47"/>
                    </a:lnTo>
                    <a:lnTo>
                      <a:pt x="575" y="52"/>
                    </a:lnTo>
                    <a:lnTo>
                      <a:pt x="569" y="54"/>
                    </a:lnTo>
                    <a:lnTo>
                      <a:pt x="565" y="52"/>
                    </a:lnTo>
                    <a:lnTo>
                      <a:pt x="553" y="45"/>
                    </a:lnTo>
                    <a:lnTo>
                      <a:pt x="547" y="43"/>
                    </a:lnTo>
                    <a:lnTo>
                      <a:pt x="543" y="45"/>
                    </a:lnTo>
                    <a:lnTo>
                      <a:pt x="522" y="54"/>
                    </a:lnTo>
                    <a:lnTo>
                      <a:pt x="518" y="54"/>
                    </a:lnTo>
                    <a:lnTo>
                      <a:pt x="518" y="54"/>
                    </a:lnTo>
                    <a:lnTo>
                      <a:pt x="512" y="54"/>
                    </a:lnTo>
                    <a:lnTo>
                      <a:pt x="508" y="51"/>
                    </a:lnTo>
                    <a:lnTo>
                      <a:pt x="492" y="39"/>
                    </a:lnTo>
                    <a:lnTo>
                      <a:pt x="473" y="33"/>
                    </a:lnTo>
                    <a:lnTo>
                      <a:pt x="471" y="33"/>
                    </a:lnTo>
                    <a:lnTo>
                      <a:pt x="465" y="33"/>
                    </a:lnTo>
                    <a:lnTo>
                      <a:pt x="453" y="35"/>
                    </a:lnTo>
                    <a:lnTo>
                      <a:pt x="450" y="33"/>
                    </a:lnTo>
                    <a:lnTo>
                      <a:pt x="448" y="33"/>
                    </a:lnTo>
                    <a:lnTo>
                      <a:pt x="450" y="31"/>
                    </a:lnTo>
                    <a:lnTo>
                      <a:pt x="448" y="29"/>
                    </a:lnTo>
                    <a:lnTo>
                      <a:pt x="448" y="27"/>
                    </a:lnTo>
                    <a:lnTo>
                      <a:pt x="446" y="27"/>
                    </a:lnTo>
                    <a:lnTo>
                      <a:pt x="442" y="27"/>
                    </a:lnTo>
                    <a:lnTo>
                      <a:pt x="430" y="27"/>
                    </a:lnTo>
                    <a:lnTo>
                      <a:pt x="424" y="27"/>
                    </a:lnTo>
                    <a:lnTo>
                      <a:pt x="414" y="33"/>
                    </a:lnTo>
                    <a:lnTo>
                      <a:pt x="408" y="33"/>
                    </a:lnTo>
                    <a:lnTo>
                      <a:pt x="391" y="25"/>
                    </a:lnTo>
                    <a:lnTo>
                      <a:pt x="379" y="21"/>
                    </a:lnTo>
                    <a:lnTo>
                      <a:pt x="375" y="21"/>
                    </a:lnTo>
                    <a:lnTo>
                      <a:pt x="356" y="25"/>
                    </a:lnTo>
                    <a:lnTo>
                      <a:pt x="354" y="27"/>
                    </a:lnTo>
                    <a:lnTo>
                      <a:pt x="354" y="31"/>
                    </a:lnTo>
                    <a:lnTo>
                      <a:pt x="346" y="39"/>
                    </a:lnTo>
                    <a:lnTo>
                      <a:pt x="338" y="41"/>
                    </a:lnTo>
                    <a:lnTo>
                      <a:pt x="330" y="35"/>
                    </a:lnTo>
                    <a:lnTo>
                      <a:pt x="324" y="21"/>
                    </a:lnTo>
                    <a:lnTo>
                      <a:pt x="321" y="11"/>
                    </a:lnTo>
                    <a:lnTo>
                      <a:pt x="315" y="10"/>
                    </a:lnTo>
                    <a:lnTo>
                      <a:pt x="309" y="10"/>
                    </a:lnTo>
                    <a:lnTo>
                      <a:pt x="303" y="13"/>
                    </a:lnTo>
                    <a:lnTo>
                      <a:pt x="297" y="17"/>
                    </a:lnTo>
                    <a:lnTo>
                      <a:pt x="274" y="27"/>
                    </a:lnTo>
                    <a:lnTo>
                      <a:pt x="272" y="27"/>
                    </a:lnTo>
                    <a:lnTo>
                      <a:pt x="268" y="27"/>
                    </a:lnTo>
                    <a:lnTo>
                      <a:pt x="262" y="19"/>
                    </a:lnTo>
                    <a:lnTo>
                      <a:pt x="256" y="17"/>
                    </a:lnTo>
                    <a:lnTo>
                      <a:pt x="256" y="15"/>
                    </a:lnTo>
                    <a:lnTo>
                      <a:pt x="246" y="13"/>
                    </a:lnTo>
                    <a:lnTo>
                      <a:pt x="196" y="15"/>
                    </a:lnTo>
                    <a:lnTo>
                      <a:pt x="194" y="13"/>
                    </a:lnTo>
                    <a:lnTo>
                      <a:pt x="186" y="10"/>
                    </a:lnTo>
                    <a:lnTo>
                      <a:pt x="184" y="8"/>
                    </a:lnTo>
                    <a:lnTo>
                      <a:pt x="176" y="8"/>
                    </a:lnTo>
                    <a:lnTo>
                      <a:pt x="156" y="15"/>
                    </a:lnTo>
                    <a:lnTo>
                      <a:pt x="155" y="17"/>
                    </a:lnTo>
                    <a:lnTo>
                      <a:pt x="108" y="39"/>
                    </a:lnTo>
                    <a:lnTo>
                      <a:pt x="92" y="41"/>
                    </a:lnTo>
                    <a:lnTo>
                      <a:pt x="86" y="43"/>
                    </a:lnTo>
                    <a:lnTo>
                      <a:pt x="63" y="62"/>
                    </a:lnTo>
                    <a:lnTo>
                      <a:pt x="61" y="62"/>
                    </a:lnTo>
                    <a:lnTo>
                      <a:pt x="53" y="62"/>
                    </a:lnTo>
                    <a:lnTo>
                      <a:pt x="47" y="66"/>
                    </a:lnTo>
                    <a:lnTo>
                      <a:pt x="41" y="70"/>
                    </a:lnTo>
                    <a:lnTo>
                      <a:pt x="35" y="78"/>
                    </a:lnTo>
                    <a:lnTo>
                      <a:pt x="31" y="84"/>
                    </a:lnTo>
                    <a:lnTo>
                      <a:pt x="28" y="93"/>
                    </a:lnTo>
                    <a:lnTo>
                      <a:pt x="28" y="101"/>
                    </a:lnTo>
                    <a:lnTo>
                      <a:pt x="26" y="107"/>
                    </a:lnTo>
                    <a:lnTo>
                      <a:pt x="18" y="109"/>
                    </a:lnTo>
                    <a:lnTo>
                      <a:pt x="8" y="109"/>
                    </a:lnTo>
                    <a:lnTo>
                      <a:pt x="2" y="111"/>
                    </a:lnTo>
                    <a:lnTo>
                      <a:pt x="2" y="121"/>
                    </a:lnTo>
                    <a:lnTo>
                      <a:pt x="2" y="146"/>
                    </a:lnTo>
                    <a:lnTo>
                      <a:pt x="2" y="150"/>
                    </a:lnTo>
                    <a:lnTo>
                      <a:pt x="0" y="154"/>
                    </a:lnTo>
                    <a:lnTo>
                      <a:pt x="0" y="158"/>
                    </a:lnTo>
                    <a:lnTo>
                      <a:pt x="0" y="170"/>
                    </a:lnTo>
                    <a:lnTo>
                      <a:pt x="2" y="195"/>
                    </a:lnTo>
                    <a:lnTo>
                      <a:pt x="4" y="201"/>
                    </a:lnTo>
                    <a:lnTo>
                      <a:pt x="6" y="209"/>
                    </a:lnTo>
                    <a:lnTo>
                      <a:pt x="6" y="211"/>
                    </a:lnTo>
                    <a:lnTo>
                      <a:pt x="8" y="211"/>
                    </a:lnTo>
                    <a:lnTo>
                      <a:pt x="10" y="213"/>
                    </a:lnTo>
                    <a:lnTo>
                      <a:pt x="16" y="224"/>
                    </a:lnTo>
                    <a:lnTo>
                      <a:pt x="18" y="228"/>
                    </a:lnTo>
                    <a:lnTo>
                      <a:pt x="18" y="234"/>
                    </a:lnTo>
                    <a:lnTo>
                      <a:pt x="20" y="238"/>
                    </a:lnTo>
                    <a:lnTo>
                      <a:pt x="26" y="256"/>
                    </a:lnTo>
                    <a:lnTo>
                      <a:pt x="26" y="259"/>
                    </a:lnTo>
                    <a:lnTo>
                      <a:pt x="26" y="261"/>
                    </a:lnTo>
                    <a:lnTo>
                      <a:pt x="26" y="263"/>
                    </a:lnTo>
                    <a:lnTo>
                      <a:pt x="26" y="267"/>
                    </a:lnTo>
                    <a:lnTo>
                      <a:pt x="26" y="269"/>
                    </a:lnTo>
                    <a:lnTo>
                      <a:pt x="28" y="271"/>
                    </a:lnTo>
                    <a:lnTo>
                      <a:pt x="29" y="273"/>
                    </a:lnTo>
                    <a:lnTo>
                      <a:pt x="29" y="275"/>
                    </a:lnTo>
                    <a:lnTo>
                      <a:pt x="29" y="277"/>
                    </a:lnTo>
                    <a:lnTo>
                      <a:pt x="31" y="285"/>
                    </a:lnTo>
                    <a:lnTo>
                      <a:pt x="35" y="298"/>
                    </a:lnTo>
                    <a:lnTo>
                      <a:pt x="33" y="304"/>
                    </a:lnTo>
                    <a:lnTo>
                      <a:pt x="31" y="308"/>
                    </a:lnTo>
                    <a:lnTo>
                      <a:pt x="29" y="310"/>
                    </a:lnTo>
                    <a:lnTo>
                      <a:pt x="24" y="326"/>
                    </a:lnTo>
                    <a:lnTo>
                      <a:pt x="24" y="326"/>
                    </a:lnTo>
                    <a:lnTo>
                      <a:pt x="24" y="326"/>
                    </a:lnTo>
                    <a:lnTo>
                      <a:pt x="24" y="328"/>
                    </a:lnTo>
                    <a:lnTo>
                      <a:pt x="33" y="318"/>
                    </a:lnTo>
                    <a:lnTo>
                      <a:pt x="35" y="320"/>
                    </a:lnTo>
                    <a:lnTo>
                      <a:pt x="35" y="326"/>
                    </a:lnTo>
                    <a:lnTo>
                      <a:pt x="35" y="330"/>
                    </a:lnTo>
                    <a:lnTo>
                      <a:pt x="37" y="330"/>
                    </a:lnTo>
                    <a:lnTo>
                      <a:pt x="39" y="332"/>
                    </a:lnTo>
                    <a:lnTo>
                      <a:pt x="39" y="334"/>
                    </a:lnTo>
                    <a:lnTo>
                      <a:pt x="41" y="338"/>
                    </a:lnTo>
                    <a:lnTo>
                      <a:pt x="41" y="339"/>
                    </a:lnTo>
                    <a:lnTo>
                      <a:pt x="41" y="343"/>
                    </a:lnTo>
                    <a:lnTo>
                      <a:pt x="39" y="343"/>
                    </a:lnTo>
                    <a:lnTo>
                      <a:pt x="37" y="343"/>
                    </a:lnTo>
                    <a:lnTo>
                      <a:pt x="37" y="343"/>
                    </a:lnTo>
                    <a:lnTo>
                      <a:pt x="37" y="345"/>
                    </a:lnTo>
                    <a:lnTo>
                      <a:pt x="37" y="353"/>
                    </a:lnTo>
                    <a:lnTo>
                      <a:pt x="37" y="355"/>
                    </a:lnTo>
                    <a:lnTo>
                      <a:pt x="49" y="345"/>
                    </a:lnTo>
                    <a:lnTo>
                      <a:pt x="51" y="343"/>
                    </a:lnTo>
                    <a:lnTo>
                      <a:pt x="53" y="34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54" name="Freeform 754">
                <a:extLst>
                  <a:ext uri="{FF2B5EF4-FFF2-40B4-BE49-F238E27FC236}">
                    <a16:creationId xmlns:a16="http://schemas.microsoft.com/office/drawing/2014/main" id="{6AA455F9-18F9-49BB-AAF8-49CF020112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4" y="1458"/>
                <a:ext cx="35" cy="132"/>
              </a:xfrm>
              <a:custGeom>
                <a:avLst/>
                <a:gdLst>
                  <a:gd name="T0" fmla="*/ 9 w 35"/>
                  <a:gd name="T1" fmla="*/ 132 h 132"/>
                  <a:gd name="T2" fmla="*/ 9 w 35"/>
                  <a:gd name="T3" fmla="*/ 132 h 132"/>
                  <a:gd name="T4" fmla="*/ 9 w 35"/>
                  <a:gd name="T5" fmla="*/ 126 h 132"/>
                  <a:gd name="T6" fmla="*/ 17 w 35"/>
                  <a:gd name="T7" fmla="*/ 117 h 132"/>
                  <a:gd name="T8" fmla="*/ 21 w 35"/>
                  <a:gd name="T9" fmla="*/ 111 h 132"/>
                  <a:gd name="T10" fmla="*/ 21 w 35"/>
                  <a:gd name="T11" fmla="*/ 105 h 132"/>
                  <a:gd name="T12" fmla="*/ 23 w 35"/>
                  <a:gd name="T13" fmla="*/ 97 h 132"/>
                  <a:gd name="T14" fmla="*/ 27 w 35"/>
                  <a:gd name="T15" fmla="*/ 91 h 132"/>
                  <a:gd name="T16" fmla="*/ 29 w 35"/>
                  <a:gd name="T17" fmla="*/ 89 h 132"/>
                  <a:gd name="T18" fmla="*/ 29 w 35"/>
                  <a:gd name="T19" fmla="*/ 87 h 132"/>
                  <a:gd name="T20" fmla="*/ 27 w 35"/>
                  <a:gd name="T21" fmla="*/ 83 h 132"/>
                  <a:gd name="T22" fmla="*/ 27 w 35"/>
                  <a:gd name="T23" fmla="*/ 78 h 132"/>
                  <a:gd name="T24" fmla="*/ 31 w 35"/>
                  <a:gd name="T25" fmla="*/ 74 h 132"/>
                  <a:gd name="T26" fmla="*/ 31 w 35"/>
                  <a:gd name="T27" fmla="*/ 68 h 132"/>
                  <a:gd name="T28" fmla="*/ 31 w 35"/>
                  <a:gd name="T29" fmla="*/ 58 h 132"/>
                  <a:gd name="T30" fmla="*/ 33 w 35"/>
                  <a:gd name="T31" fmla="*/ 54 h 132"/>
                  <a:gd name="T32" fmla="*/ 33 w 35"/>
                  <a:gd name="T33" fmla="*/ 48 h 132"/>
                  <a:gd name="T34" fmla="*/ 35 w 35"/>
                  <a:gd name="T35" fmla="*/ 46 h 132"/>
                  <a:gd name="T36" fmla="*/ 33 w 35"/>
                  <a:gd name="T37" fmla="*/ 19 h 132"/>
                  <a:gd name="T38" fmla="*/ 31 w 35"/>
                  <a:gd name="T39" fmla="*/ 7 h 132"/>
                  <a:gd name="T40" fmla="*/ 27 w 35"/>
                  <a:gd name="T41" fmla="*/ 0 h 132"/>
                  <a:gd name="T42" fmla="*/ 27 w 35"/>
                  <a:gd name="T43" fmla="*/ 7 h 132"/>
                  <a:gd name="T44" fmla="*/ 27 w 35"/>
                  <a:gd name="T45" fmla="*/ 27 h 132"/>
                  <a:gd name="T46" fmla="*/ 29 w 35"/>
                  <a:gd name="T47" fmla="*/ 33 h 132"/>
                  <a:gd name="T48" fmla="*/ 27 w 35"/>
                  <a:gd name="T49" fmla="*/ 35 h 132"/>
                  <a:gd name="T50" fmla="*/ 29 w 35"/>
                  <a:gd name="T51" fmla="*/ 37 h 132"/>
                  <a:gd name="T52" fmla="*/ 27 w 35"/>
                  <a:gd name="T53" fmla="*/ 42 h 132"/>
                  <a:gd name="T54" fmla="*/ 25 w 35"/>
                  <a:gd name="T55" fmla="*/ 66 h 132"/>
                  <a:gd name="T56" fmla="*/ 19 w 35"/>
                  <a:gd name="T57" fmla="*/ 91 h 132"/>
                  <a:gd name="T58" fmla="*/ 11 w 35"/>
                  <a:gd name="T59" fmla="*/ 107 h 132"/>
                  <a:gd name="T60" fmla="*/ 0 w 35"/>
                  <a:gd name="T61" fmla="*/ 130 h 132"/>
                  <a:gd name="T62" fmla="*/ 0 w 35"/>
                  <a:gd name="T63" fmla="*/ 130 h 132"/>
                  <a:gd name="T64" fmla="*/ 0 w 35"/>
                  <a:gd name="T65" fmla="*/ 130 h 132"/>
                  <a:gd name="T66" fmla="*/ 9 w 35"/>
                  <a:gd name="T67" fmla="*/ 1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5" h="132">
                    <a:moveTo>
                      <a:pt x="9" y="132"/>
                    </a:moveTo>
                    <a:lnTo>
                      <a:pt x="9" y="132"/>
                    </a:lnTo>
                    <a:lnTo>
                      <a:pt x="9" y="126"/>
                    </a:lnTo>
                    <a:lnTo>
                      <a:pt x="17" y="117"/>
                    </a:lnTo>
                    <a:lnTo>
                      <a:pt x="21" y="111"/>
                    </a:lnTo>
                    <a:lnTo>
                      <a:pt x="21" y="105"/>
                    </a:lnTo>
                    <a:lnTo>
                      <a:pt x="23" y="97"/>
                    </a:lnTo>
                    <a:lnTo>
                      <a:pt x="27" y="91"/>
                    </a:lnTo>
                    <a:lnTo>
                      <a:pt x="29" y="89"/>
                    </a:lnTo>
                    <a:lnTo>
                      <a:pt x="29" y="87"/>
                    </a:lnTo>
                    <a:lnTo>
                      <a:pt x="27" y="83"/>
                    </a:lnTo>
                    <a:lnTo>
                      <a:pt x="27" y="78"/>
                    </a:lnTo>
                    <a:lnTo>
                      <a:pt x="31" y="74"/>
                    </a:lnTo>
                    <a:lnTo>
                      <a:pt x="31" y="68"/>
                    </a:lnTo>
                    <a:lnTo>
                      <a:pt x="31" y="58"/>
                    </a:lnTo>
                    <a:lnTo>
                      <a:pt x="33" y="54"/>
                    </a:lnTo>
                    <a:lnTo>
                      <a:pt x="33" y="48"/>
                    </a:lnTo>
                    <a:lnTo>
                      <a:pt x="35" y="46"/>
                    </a:lnTo>
                    <a:lnTo>
                      <a:pt x="33" y="19"/>
                    </a:lnTo>
                    <a:lnTo>
                      <a:pt x="31" y="7"/>
                    </a:lnTo>
                    <a:lnTo>
                      <a:pt x="27" y="0"/>
                    </a:lnTo>
                    <a:lnTo>
                      <a:pt x="27" y="7"/>
                    </a:lnTo>
                    <a:lnTo>
                      <a:pt x="27" y="27"/>
                    </a:lnTo>
                    <a:lnTo>
                      <a:pt x="29" y="33"/>
                    </a:lnTo>
                    <a:lnTo>
                      <a:pt x="27" y="35"/>
                    </a:lnTo>
                    <a:lnTo>
                      <a:pt x="29" y="37"/>
                    </a:lnTo>
                    <a:lnTo>
                      <a:pt x="27" y="42"/>
                    </a:lnTo>
                    <a:lnTo>
                      <a:pt x="25" y="66"/>
                    </a:lnTo>
                    <a:lnTo>
                      <a:pt x="19" y="91"/>
                    </a:lnTo>
                    <a:lnTo>
                      <a:pt x="11" y="107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9" y="13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55" name="Freeform 755">
                <a:extLst>
                  <a:ext uri="{FF2B5EF4-FFF2-40B4-BE49-F238E27FC236}">
                    <a16:creationId xmlns:a16="http://schemas.microsoft.com/office/drawing/2014/main" id="{38C2584C-611D-47F9-941D-173368B043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" y="3732"/>
                <a:ext cx="24" cy="53"/>
              </a:xfrm>
              <a:custGeom>
                <a:avLst/>
                <a:gdLst>
                  <a:gd name="T0" fmla="*/ 2 w 24"/>
                  <a:gd name="T1" fmla="*/ 12 h 53"/>
                  <a:gd name="T2" fmla="*/ 2 w 24"/>
                  <a:gd name="T3" fmla="*/ 14 h 53"/>
                  <a:gd name="T4" fmla="*/ 2 w 24"/>
                  <a:gd name="T5" fmla="*/ 16 h 53"/>
                  <a:gd name="T6" fmla="*/ 2 w 24"/>
                  <a:gd name="T7" fmla="*/ 22 h 53"/>
                  <a:gd name="T8" fmla="*/ 2 w 24"/>
                  <a:gd name="T9" fmla="*/ 26 h 53"/>
                  <a:gd name="T10" fmla="*/ 4 w 24"/>
                  <a:gd name="T11" fmla="*/ 26 h 53"/>
                  <a:gd name="T12" fmla="*/ 6 w 24"/>
                  <a:gd name="T13" fmla="*/ 29 h 53"/>
                  <a:gd name="T14" fmla="*/ 6 w 24"/>
                  <a:gd name="T15" fmla="*/ 33 h 53"/>
                  <a:gd name="T16" fmla="*/ 6 w 24"/>
                  <a:gd name="T17" fmla="*/ 35 h 53"/>
                  <a:gd name="T18" fmla="*/ 6 w 24"/>
                  <a:gd name="T19" fmla="*/ 39 h 53"/>
                  <a:gd name="T20" fmla="*/ 6 w 24"/>
                  <a:gd name="T21" fmla="*/ 41 h 53"/>
                  <a:gd name="T22" fmla="*/ 4 w 24"/>
                  <a:gd name="T23" fmla="*/ 43 h 53"/>
                  <a:gd name="T24" fmla="*/ 2 w 24"/>
                  <a:gd name="T25" fmla="*/ 45 h 53"/>
                  <a:gd name="T26" fmla="*/ 0 w 24"/>
                  <a:gd name="T27" fmla="*/ 47 h 53"/>
                  <a:gd name="T28" fmla="*/ 0 w 24"/>
                  <a:gd name="T29" fmla="*/ 49 h 53"/>
                  <a:gd name="T30" fmla="*/ 4 w 24"/>
                  <a:gd name="T31" fmla="*/ 51 h 53"/>
                  <a:gd name="T32" fmla="*/ 4 w 24"/>
                  <a:gd name="T33" fmla="*/ 51 h 53"/>
                  <a:gd name="T34" fmla="*/ 14 w 24"/>
                  <a:gd name="T35" fmla="*/ 53 h 53"/>
                  <a:gd name="T36" fmla="*/ 16 w 24"/>
                  <a:gd name="T37" fmla="*/ 53 h 53"/>
                  <a:gd name="T38" fmla="*/ 18 w 24"/>
                  <a:gd name="T39" fmla="*/ 51 h 53"/>
                  <a:gd name="T40" fmla="*/ 24 w 24"/>
                  <a:gd name="T41" fmla="*/ 45 h 53"/>
                  <a:gd name="T42" fmla="*/ 24 w 24"/>
                  <a:gd name="T43" fmla="*/ 39 h 53"/>
                  <a:gd name="T44" fmla="*/ 24 w 24"/>
                  <a:gd name="T45" fmla="*/ 37 h 53"/>
                  <a:gd name="T46" fmla="*/ 22 w 24"/>
                  <a:gd name="T47" fmla="*/ 33 h 53"/>
                  <a:gd name="T48" fmla="*/ 18 w 24"/>
                  <a:gd name="T49" fmla="*/ 27 h 53"/>
                  <a:gd name="T50" fmla="*/ 14 w 24"/>
                  <a:gd name="T51" fmla="*/ 24 h 53"/>
                  <a:gd name="T52" fmla="*/ 14 w 24"/>
                  <a:gd name="T53" fmla="*/ 24 h 53"/>
                  <a:gd name="T54" fmla="*/ 14 w 24"/>
                  <a:gd name="T55" fmla="*/ 24 h 53"/>
                  <a:gd name="T56" fmla="*/ 14 w 24"/>
                  <a:gd name="T57" fmla="*/ 22 h 53"/>
                  <a:gd name="T58" fmla="*/ 14 w 24"/>
                  <a:gd name="T59" fmla="*/ 20 h 53"/>
                  <a:gd name="T60" fmla="*/ 16 w 24"/>
                  <a:gd name="T61" fmla="*/ 18 h 53"/>
                  <a:gd name="T62" fmla="*/ 16 w 24"/>
                  <a:gd name="T63" fmla="*/ 18 h 53"/>
                  <a:gd name="T64" fmla="*/ 14 w 24"/>
                  <a:gd name="T65" fmla="*/ 16 h 53"/>
                  <a:gd name="T66" fmla="*/ 14 w 24"/>
                  <a:gd name="T67" fmla="*/ 14 h 53"/>
                  <a:gd name="T68" fmla="*/ 12 w 24"/>
                  <a:gd name="T69" fmla="*/ 12 h 53"/>
                  <a:gd name="T70" fmla="*/ 12 w 24"/>
                  <a:gd name="T71" fmla="*/ 12 h 53"/>
                  <a:gd name="T72" fmla="*/ 12 w 24"/>
                  <a:gd name="T73" fmla="*/ 10 h 53"/>
                  <a:gd name="T74" fmla="*/ 12 w 24"/>
                  <a:gd name="T75" fmla="*/ 6 h 53"/>
                  <a:gd name="T76" fmla="*/ 12 w 24"/>
                  <a:gd name="T77" fmla="*/ 6 h 53"/>
                  <a:gd name="T78" fmla="*/ 10 w 24"/>
                  <a:gd name="T79" fmla="*/ 4 h 53"/>
                  <a:gd name="T80" fmla="*/ 8 w 24"/>
                  <a:gd name="T81" fmla="*/ 0 h 53"/>
                  <a:gd name="T82" fmla="*/ 6 w 24"/>
                  <a:gd name="T83" fmla="*/ 6 h 53"/>
                  <a:gd name="T84" fmla="*/ 2 w 24"/>
                  <a:gd name="T85" fmla="*/ 12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" h="53">
                    <a:moveTo>
                      <a:pt x="2" y="12"/>
                    </a:moveTo>
                    <a:lnTo>
                      <a:pt x="2" y="14"/>
                    </a:lnTo>
                    <a:lnTo>
                      <a:pt x="2" y="16"/>
                    </a:lnTo>
                    <a:lnTo>
                      <a:pt x="2" y="22"/>
                    </a:lnTo>
                    <a:lnTo>
                      <a:pt x="2" y="26"/>
                    </a:lnTo>
                    <a:lnTo>
                      <a:pt x="4" y="26"/>
                    </a:lnTo>
                    <a:lnTo>
                      <a:pt x="6" y="29"/>
                    </a:lnTo>
                    <a:lnTo>
                      <a:pt x="6" y="33"/>
                    </a:lnTo>
                    <a:lnTo>
                      <a:pt x="6" y="35"/>
                    </a:lnTo>
                    <a:lnTo>
                      <a:pt x="6" y="39"/>
                    </a:lnTo>
                    <a:lnTo>
                      <a:pt x="6" y="41"/>
                    </a:lnTo>
                    <a:lnTo>
                      <a:pt x="4" y="43"/>
                    </a:lnTo>
                    <a:lnTo>
                      <a:pt x="2" y="45"/>
                    </a:lnTo>
                    <a:lnTo>
                      <a:pt x="0" y="47"/>
                    </a:lnTo>
                    <a:lnTo>
                      <a:pt x="0" y="49"/>
                    </a:lnTo>
                    <a:lnTo>
                      <a:pt x="4" y="51"/>
                    </a:lnTo>
                    <a:lnTo>
                      <a:pt x="4" y="51"/>
                    </a:lnTo>
                    <a:lnTo>
                      <a:pt x="14" y="53"/>
                    </a:lnTo>
                    <a:lnTo>
                      <a:pt x="16" y="53"/>
                    </a:lnTo>
                    <a:lnTo>
                      <a:pt x="18" y="51"/>
                    </a:lnTo>
                    <a:lnTo>
                      <a:pt x="24" y="45"/>
                    </a:lnTo>
                    <a:lnTo>
                      <a:pt x="24" y="39"/>
                    </a:lnTo>
                    <a:lnTo>
                      <a:pt x="24" y="37"/>
                    </a:lnTo>
                    <a:lnTo>
                      <a:pt x="22" y="33"/>
                    </a:lnTo>
                    <a:lnTo>
                      <a:pt x="18" y="27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2"/>
                    </a:lnTo>
                    <a:lnTo>
                      <a:pt x="14" y="20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4" y="16"/>
                    </a:lnTo>
                    <a:lnTo>
                      <a:pt x="14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6" y="6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56" name="Freeform 756">
                <a:extLst>
                  <a:ext uri="{FF2B5EF4-FFF2-40B4-BE49-F238E27FC236}">
                    <a16:creationId xmlns:a16="http://schemas.microsoft.com/office/drawing/2014/main" id="{D3CF7F5B-D241-4374-A24B-2BB3E064A4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7" y="1463"/>
                <a:ext cx="25" cy="45"/>
              </a:xfrm>
              <a:custGeom>
                <a:avLst/>
                <a:gdLst>
                  <a:gd name="T0" fmla="*/ 16 w 25"/>
                  <a:gd name="T1" fmla="*/ 4 h 45"/>
                  <a:gd name="T2" fmla="*/ 16 w 25"/>
                  <a:gd name="T3" fmla="*/ 2 h 45"/>
                  <a:gd name="T4" fmla="*/ 14 w 25"/>
                  <a:gd name="T5" fmla="*/ 0 h 45"/>
                  <a:gd name="T6" fmla="*/ 12 w 25"/>
                  <a:gd name="T7" fmla="*/ 4 h 45"/>
                  <a:gd name="T8" fmla="*/ 10 w 25"/>
                  <a:gd name="T9" fmla="*/ 12 h 45"/>
                  <a:gd name="T10" fmla="*/ 8 w 25"/>
                  <a:gd name="T11" fmla="*/ 16 h 45"/>
                  <a:gd name="T12" fmla="*/ 6 w 25"/>
                  <a:gd name="T13" fmla="*/ 18 h 45"/>
                  <a:gd name="T14" fmla="*/ 4 w 25"/>
                  <a:gd name="T15" fmla="*/ 20 h 45"/>
                  <a:gd name="T16" fmla="*/ 2 w 25"/>
                  <a:gd name="T17" fmla="*/ 22 h 45"/>
                  <a:gd name="T18" fmla="*/ 0 w 25"/>
                  <a:gd name="T19" fmla="*/ 26 h 45"/>
                  <a:gd name="T20" fmla="*/ 0 w 25"/>
                  <a:gd name="T21" fmla="*/ 32 h 45"/>
                  <a:gd name="T22" fmla="*/ 2 w 25"/>
                  <a:gd name="T23" fmla="*/ 39 h 45"/>
                  <a:gd name="T24" fmla="*/ 6 w 25"/>
                  <a:gd name="T25" fmla="*/ 45 h 45"/>
                  <a:gd name="T26" fmla="*/ 10 w 25"/>
                  <a:gd name="T27" fmla="*/ 45 h 45"/>
                  <a:gd name="T28" fmla="*/ 12 w 25"/>
                  <a:gd name="T29" fmla="*/ 43 h 45"/>
                  <a:gd name="T30" fmla="*/ 14 w 25"/>
                  <a:gd name="T31" fmla="*/ 39 h 45"/>
                  <a:gd name="T32" fmla="*/ 18 w 25"/>
                  <a:gd name="T33" fmla="*/ 37 h 45"/>
                  <a:gd name="T34" fmla="*/ 20 w 25"/>
                  <a:gd name="T35" fmla="*/ 37 h 45"/>
                  <a:gd name="T36" fmla="*/ 25 w 25"/>
                  <a:gd name="T37" fmla="*/ 32 h 45"/>
                  <a:gd name="T38" fmla="*/ 25 w 25"/>
                  <a:gd name="T39" fmla="*/ 30 h 45"/>
                  <a:gd name="T40" fmla="*/ 16 w 25"/>
                  <a:gd name="T41" fmla="*/ 4 h 45"/>
                  <a:gd name="T42" fmla="*/ 16 w 25"/>
                  <a:gd name="T43" fmla="*/ 4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" h="45">
                    <a:moveTo>
                      <a:pt x="16" y="4"/>
                    </a:moveTo>
                    <a:lnTo>
                      <a:pt x="16" y="2"/>
                    </a:lnTo>
                    <a:lnTo>
                      <a:pt x="14" y="0"/>
                    </a:lnTo>
                    <a:lnTo>
                      <a:pt x="12" y="4"/>
                    </a:lnTo>
                    <a:lnTo>
                      <a:pt x="10" y="12"/>
                    </a:lnTo>
                    <a:lnTo>
                      <a:pt x="8" y="16"/>
                    </a:lnTo>
                    <a:lnTo>
                      <a:pt x="6" y="18"/>
                    </a:lnTo>
                    <a:lnTo>
                      <a:pt x="4" y="20"/>
                    </a:lnTo>
                    <a:lnTo>
                      <a:pt x="2" y="22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2" y="39"/>
                    </a:lnTo>
                    <a:lnTo>
                      <a:pt x="6" y="45"/>
                    </a:lnTo>
                    <a:lnTo>
                      <a:pt x="10" y="45"/>
                    </a:lnTo>
                    <a:lnTo>
                      <a:pt x="12" y="43"/>
                    </a:lnTo>
                    <a:lnTo>
                      <a:pt x="14" y="39"/>
                    </a:lnTo>
                    <a:lnTo>
                      <a:pt x="18" y="37"/>
                    </a:lnTo>
                    <a:lnTo>
                      <a:pt x="20" y="37"/>
                    </a:lnTo>
                    <a:lnTo>
                      <a:pt x="25" y="32"/>
                    </a:lnTo>
                    <a:lnTo>
                      <a:pt x="25" y="30"/>
                    </a:lnTo>
                    <a:lnTo>
                      <a:pt x="16" y="4"/>
                    </a:lnTo>
                    <a:lnTo>
                      <a:pt x="1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57" name="Freeform 757">
                <a:extLst>
                  <a:ext uri="{FF2B5EF4-FFF2-40B4-BE49-F238E27FC236}">
                    <a16:creationId xmlns:a16="http://schemas.microsoft.com/office/drawing/2014/main" id="{B5D93F0C-D7FA-4DC7-BD73-461F6B217B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9" y="1651"/>
                <a:ext cx="74" cy="53"/>
              </a:xfrm>
              <a:custGeom>
                <a:avLst/>
                <a:gdLst>
                  <a:gd name="T0" fmla="*/ 66 w 74"/>
                  <a:gd name="T1" fmla="*/ 13 h 53"/>
                  <a:gd name="T2" fmla="*/ 51 w 74"/>
                  <a:gd name="T3" fmla="*/ 10 h 53"/>
                  <a:gd name="T4" fmla="*/ 37 w 74"/>
                  <a:gd name="T5" fmla="*/ 10 h 53"/>
                  <a:gd name="T6" fmla="*/ 31 w 74"/>
                  <a:gd name="T7" fmla="*/ 8 h 53"/>
                  <a:gd name="T8" fmla="*/ 27 w 74"/>
                  <a:gd name="T9" fmla="*/ 0 h 53"/>
                  <a:gd name="T10" fmla="*/ 25 w 74"/>
                  <a:gd name="T11" fmla="*/ 0 h 53"/>
                  <a:gd name="T12" fmla="*/ 23 w 74"/>
                  <a:gd name="T13" fmla="*/ 2 h 53"/>
                  <a:gd name="T14" fmla="*/ 23 w 74"/>
                  <a:gd name="T15" fmla="*/ 4 h 53"/>
                  <a:gd name="T16" fmla="*/ 23 w 74"/>
                  <a:gd name="T17" fmla="*/ 6 h 53"/>
                  <a:gd name="T18" fmla="*/ 25 w 74"/>
                  <a:gd name="T19" fmla="*/ 8 h 53"/>
                  <a:gd name="T20" fmla="*/ 31 w 74"/>
                  <a:gd name="T21" fmla="*/ 12 h 53"/>
                  <a:gd name="T22" fmla="*/ 31 w 74"/>
                  <a:gd name="T23" fmla="*/ 13 h 53"/>
                  <a:gd name="T24" fmla="*/ 29 w 74"/>
                  <a:gd name="T25" fmla="*/ 15 h 53"/>
                  <a:gd name="T26" fmla="*/ 27 w 74"/>
                  <a:gd name="T27" fmla="*/ 17 h 53"/>
                  <a:gd name="T28" fmla="*/ 27 w 74"/>
                  <a:gd name="T29" fmla="*/ 19 h 53"/>
                  <a:gd name="T30" fmla="*/ 29 w 74"/>
                  <a:gd name="T31" fmla="*/ 21 h 53"/>
                  <a:gd name="T32" fmla="*/ 27 w 74"/>
                  <a:gd name="T33" fmla="*/ 23 h 53"/>
                  <a:gd name="T34" fmla="*/ 21 w 74"/>
                  <a:gd name="T35" fmla="*/ 25 h 53"/>
                  <a:gd name="T36" fmla="*/ 19 w 74"/>
                  <a:gd name="T37" fmla="*/ 25 h 53"/>
                  <a:gd name="T38" fmla="*/ 17 w 74"/>
                  <a:gd name="T39" fmla="*/ 25 h 53"/>
                  <a:gd name="T40" fmla="*/ 13 w 74"/>
                  <a:gd name="T41" fmla="*/ 23 h 53"/>
                  <a:gd name="T42" fmla="*/ 11 w 74"/>
                  <a:gd name="T43" fmla="*/ 21 h 53"/>
                  <a:gd name="T44" fmla="*/ 11 w 74"/>
                  <a:gd name="T45" fmla="*/ 25 h 53"/>
                  <a:gd name="T46" fmla="*/ 11 w 74"/>
                  <a:gd name="T47" fmla="*/ 29 h 53"/>
                  <a:gd name="T48" fmla="*/ 8 w 74"/>
                  <a:gd name="T49" fmla="*/ 27 h 53"/>
                  <a:gd name="T50" fmla="*/ 6 w 74"/>
                  <a:gd name="T51" fmla="*/ 27 h 53"/>
                  <a:gd name="T52" fmla="*/ 2 w 74"/>
                  <a:gd name="T53" fmla="*/ 33 h 53"/>
                  <a:gd name="T54" fmla="*/ 4 w 74"/>
                  <a:gd name="T55" fmla="*/ 33 h 53"/>
                  <a:gd name="T56" fmla="*/ 6 w 74"/>
                  <a:gd name="T57" fmla="*/ 35 h 53"/>
                  <a:gd name="T58" fmla="*/ 6 w 74"/>
                  <a:gd name="T59" fmla="*/ 37 h 53"/>
                  <a:gd name="T60" fmla="*/ 4 w 74"/>
                  <a:gd name="T61" fmla="*/ 37 h 53"/>
                  <a:gd name="T62" fmla="*/ 2 w 74"/>
                  <a:gd name="T63" fmla="*/ 39 h 53"/>
                  <a:gd name="T64" fmla="*/ 2 w 74"/>
                  <a:gd name="T65" fmla="*/ 41 h 53"/>
                  <a:gd name="T66" fmla="*/ 2 w 74"/>
                  <a:gd name="T67" fmla="*/ 45 h 53"/>
                  <a:gd name="T68" fmla="*/ 0 w 74"/>
                  <a:gd name="T69" fmla="*/ 45 h 53"/>
                  <a:gd name="T70" fmla="*/ 0 w 74"/>
                  <a:gd name="T71" fmla="*/ 47 h 53"/>
                  <a:gd name="T72" fmla="*/ 11 w 74"/>
                  <a:gd name="T73" fmla="*/ 51 h 53"/>
                  <a:gd name="T74" fmla="*/ 15 w 74"/>
                  <a:gd name="T75" fmla="*/ 53 h 53"/>
                  <a:gd name="T76" fmla="*/ 19 w 74"/>
                  <a:gd name="T77" fmla="*/ 51 h 53"/>
                  <a:gd name="T78" fmla="*/ 27 w 74"/>
                  <a:gd name="T79" fmla="*/ 39 h 53"/>
                  <a:gd name="T80" fmla="*/ 33 w 74"/>
                  <a:gd name="T81" fmla="*/ 33 h 53"/>
                  <a:gd name="T82" fmla="*/ 39 w 74"/>
                  <a:gd name="T83" fmla="*/ 31 h 53"/>
                  <a:gd name="T84" fmla="*/ 45 w 74"/>
                  <a:gd name="T85" fmla="*/ 29 h 53"/>
                  <a:gd name="T86" fmla="*/ 64 w 74"/>
                  <a:gd name="T87" fmla="*/ 35 h 53"/>
                  <a:gd name="T88" fmla="*/ 68 w 74"/>
                  <a:gd name="T89" fmla="*/ 33 h 53"/>
                  <a:gd name="T90" fmla="*/ 72 w 74"/>
                  <a:gd name="T91" fmla="*/ 33 h 53"/>
                  <a:gd name="T92" fmla="*/ 74 w 74"/>
                  <a:gd name="T93" fmla="*/ 31 h 53"/>
                  <a:gd name="T94" fmla="*/ 74 w 74"/>
                  <a:gd name="T95" fmla="*/ 29 h 53"/>
                  <a:gd name="T96" fmla="*/ 70 w 74"/>
                  <a:gd name="T97" fmla="*/ 17 h 53"/>
                  <a:gd name="T98" fmla="*/ 66 w 74"/>
                  <a:gd name="T99" fmla="*/ 1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74" h="53">
                    <a:moveTo>
                      <a:pt x="66" y="13"/>
                    </a:moveTo>
                    <a:lnTo>
                      <a:pt x="51" y="10"/>
                    </a:lnTo>
                    <a:lnTo>
                      <a:pt x="37" y="10"/>
                    </a:lnTo>
                    <a:lnTo>
                      <a:pt x="31" y="8"/>
                    </a:lnTo>
                    <a:lnTo>
                      <a:pt x="27" y="0"/>
                    </a:lnTo>
                    <a:lnTo>
                      <a:pt x="25" y="0"/>
                    </a:lnTo>
                    <a:lnTo>
                      <a:pt x="23" y="2"/>
                    </a:lnTo>
                    <a:lnTo>
                      <a:pt x="23" y="4"/>
                    </a:lnTo>
                    <a:lnTo>
                      <a:pt x="23" y="6"/>
                    </a:lnTo>
                    <a:lnTo>
                      <a:pt x="25" y="8"/>
                    </a:lnTo>
                    <a:lnTo>
                      <a:pt x="31" y="12"/>
                    </a:lnTo>
                    <a:lnTo>
                      <a:pt x="31" y="13"/>
                    </a:lnTo>
                    <a:lnTo>
                      <a:pt x="29" y="15"/>
                    </a:lnTo>
                    <a:lnTo>
                      <a:pt x="27" y="17"/>
                    </a:lnTo>
                    <a:lnTo>
                      <a:pt x="27" y="19"/>
                    </a:lnTo>
                    <a:lnTo>
                      <a:pt x="29" y="21"/>
                    </a:lnTo>
                    <a:lnTo>
                      <a:pt x="27" y="23"/>
                    </a:lnTo>
                    <a:lnTo>
                      <a:pt x="21" y="25"/>
                    </a:lnTo>
                    <a:lnTo>
                      <a:pt x="19" y="25"/>
                    </a:lnTo>
                    <a:lnTo>
                      <a:pt x="17" y="25"/>
                    </a:lnTo>
                    <a:lnTo>
                      <a:pt x="13" y="23"/>
                    </a:lnTo>
                    <a:lnTo>
                      <a:pt x="11" y="21"/>
                    </a:lnTo>
                    <a:lnTo>
                      <a:pt x="11" y="25"/>
                    </a:lnTo>
                    <a:lnTo>
                      <a:pt x="11" y="29"/>
                    </a:lnTo>
                    <a:lnTo>
                      <a:pt x="8" y="27"/>
                    </a:lnTo>
                    <a:lnTo>
                      <a:pt x="6" y="27"/>
                    </a:lnTo>
                    <a:lnTo>
                      <a:pt x="2" y="33"/>
                    </a:lnTo>
                    <a:lnTo>
                      <a:pt x="4" y="33"/>
                    </a:lnTo>
                    <a:lnTo>
                      <a:pt x="6" y="35"/>
                    </a:lnTo>
                    <a:lnTo>
                      <a:pt x="6" y="37"/>
                    </a:lnTo>
                    <a:lnTo>
                      <a:pt x="4" y="37"/>
                    </a:lnTo>
                    <a:lnTo>
                      <a:pt x="2" y="39"/>
                    </a:lnTo>
                    <a:lnTo>
                      <a:pt x="2" y="41"/>
                    </a:lnTo>
                    <a:lnTo>
                      <a:pt x="2" y="45"/>
                    </a:lnTo>
                    <a:lnTo>
                      <a:pt x="0" y="45"/>
                    </a:lnTo>
                    <a:lnTo>
                      <a:pt x="0" y="47"/>
                    </a:lnTo>
                    <a:lnTo>
                      <a:pt x="11" y="51"/>
                    </a:lnTo>
                    <a:lnTo>
                      <a:pt x="15" y="53"/>
                    </a:lnTo>
                    <a:lnTo>
                      <a:pt x="19" y="51"/>
                    </a:lnTo>
                    <a:lnTo>
                      <a:pt x="27" y="39"/>
                    </a:lnTo>
                    <a:lnTo>
                      <a:pt x="33" y="33"/>
                    </a:lnTo>
                    <a:lnTo>
                      <a:pt x="39" y="31"/>
                    </a:lnTo>
                    <a:lnTo>
                      <a:pt x="45" y="29"/>
                    </a:lnTo>
                    <a:lnTo>
                      <a:pt x="64" y="35"/>
                    </a:lnTo>
                    <a:lnTo>
                      <a:pt x="68" y="33"/>
                    </a:lnTo>
                    <a:lnTo>
                      <a:pt x="72" y="33"/>
                    </a:lnTo>
                    <a:lnTo>
                      <a:pt x="74" y="31"/>
                    </a:lnTo>
                    <a:lnTo>
                      <a:pt x="74" y="29"/>
                    </a:lnTo>
                    <a:lnTo>
                      <a:pt x="70" y="17"/>
                    </a:lnTo>
                    <a:lnTo>
                      <a:pt x="66" y="1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58" name="Freeform 758">
                <a:extLst>
                  <a:ext uri="{FF2B5EF4-FFF2-40B4-BE49-F238E27FC236}">
                    <a16:creationId xmlns:a16="http://schemas.microsoft.com/office/drawing/2014/main" id="{6DE1FD37-3E67-4381-85E5-694035AF55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7" y="1155"/>
                <a:ext cx="24" cy="15"/>
              </a:xfrm>
              <a:custGeom>
                <a:avLst/>
                <a:gdLst>
                  <a:gd name="T0" fmla="*/ 2 w 24"/>
                  <a:gd name="T1" fmla="*/ 6 h 15"/>
                  <a:gd name="T2" fmla="*/ 0 w 24"/>
                  <a:gd name="T3" fmla="*/ 6 h 15"/>
                  <a:gd name="T4" fmla="*/ 2 w 24"/>
                  <a:gd name="T5" fmla="*/ 12 h 15"/>
                  <a:gd name="T6" fmla="*/ 4 w 24"/>
                  <a:gd name="T7" fmla="*/ 14 h 15"/>
                  <a:gd name="T8" fmla="*/ 6 w 24"/>
                  <a:gd name="T9" fmla="*/ 15 h 15"/>
                  <a:gd name="T10" fmla="*/ 10 w 24"/>
                  <a:gd name="T11" fmla="*/ 15 h 15"/>
                  <a:gd name="T12" fmla="*/ 14 w 24"/>
                  <a:gd name="T13" fmla="*/ 15 h 15"/>
                  <a:gd name="T14" fmla="*/ 14 w 24"/>
                  <a:gd name="T15" fmla="*/ 14 h 15"/>
                  <a:gd name="T16" fmla="*/ 16 w 24"/>
                  <a:gd name="T17" fmla="*/ 10 h 15"/>
                  <a:gd name="T18" fmla="*/ 20 w 24"/>
                  <a:gd name="T19" fmla="*/ 6 h 15"/>
                  <a:gd name="T20" fmla="*/ 22 w 24"/>
                  <a:gd name="T21" fmla="*/ 4 h 15"/>
                  <a:gd name="T22" fmla="*/ 24 w 24"/>
                  <a:gd name="T23" fmla="*/ 4 h 15"/>
                  <a:gd name="T24" fmla="*/ 24 w 24"/>
                  <a:gd name="T25" fmla="*/ 4 h 15"/>
                  <a:gd name="T26" fmla="*/ 24 w 24"/>
                  <a:gd name="T27" fmla="*/ 4 h 15"/>
                  <a:gd name="T28" fmla="*/ 24 w 24"/>
                  <a:gd name="T29" fmla="*/ 0 h 15"/>
                  <a:gd name="T30" fmla="*/ 18 w 24"/>
                  <a:gd name="T31" fmla="*/ 4 h 15"/>
                  <a:gd name="T32" fmla="*/ 2 w 24"/>
                  <a:gd name="T33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15">
                    <a:moveTo>
                      <a:pt x="2" y="6"/>
                    </a:moveTo>
                    <a:lnTo>
                      <a:pt x="0" y="6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5"/>
                    </a:lnTo>
                    <a:lnTo>
                      <a:pt x="10" y="15"/>
                    </a:lnTo>
                    <a:lnTo>
                      <a:pt x="14" y="15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20" y="6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0"/>
                    </a:lnTo>
                    <a:lnTo>
                      <a:pt x="18" y="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59" name="Freeform 759">
                <a:extLst>
                  <a:ext uri="{FF2B5EF4-FFF2-40B4-BE49-F238E27FC236}">
                    <a16:creationId xmlns:a16="http://schemas.microsoft.com/office/drawing/2014/main" id="{71C70AA9-50F2-440B-984A-40C5254B2E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" y="1336"/>
                <a:ext cx="293" cy="459"/>
              </a:xfrm>
              <a:custGeom>
                <a:avLst/>
                <a:gdLst>
                  <a:gd name="T0" fmla="*/ 45 w 293"/>
                  <a:gd name="T1" fmla="*/ 116 h 459"/>
                  <a:gd name="T2" fmla="*/ 0 w 293"/>
                  <a:gd name="T3" fmla="*/ 118 h 459"/>
                  <a:gd name="T4" fmla="*/ 33 w 293"/>
                  <a:gd name="T5" fmla="*/ 135 h 459"/>
                  <a:gd name="T6" fmla="*/ 45 w 293"/>
                  <a:gd name="T7" fmla="*/ 170 h 459"/>
                  <a:gd name="T8" fmla="*/ 37 w 293"/>
                  <a:gd name="T9" fmla="*/ 184 h 459"/>
                  <a:gd name="T10" fmla="*/ 54 w 293"/>
                  <a:gd name="T11" fmla="*/ 211 h 459"/>
                  <a:gd name="T12" fmla="*/ 45 w 293"/>
                  <a:gd name="T13" fmla="*/ 227 h 459"/>
                  <a:gd name="T14" fmla="*/ 43 w 293"/>
                  <a:gd name="T15" fmla="*/ 235 h 459"/>
                  <a:gd name="T16" fmla="*/ 50 w 293"/>
                  <a:gd name="T17" fmla="*/ 237 h 459"/>
                  <a:gd name="T18" fmla="*/ 60 w 293"/>
                  <a:gd name="T19" fmla="*/ 262 h 459"/>
                  <a:gd name="T20" fmla="*/ 62 w 293"/>
                  <a:gd name="T21" fmla="*/ 272 h 459"/>
                  <a:gd name="T22" fmla="*/ 90 w 293"/>
                  <a:gd name="T23" fmla="*/ 270 h 459"/>
                  <a:gd name="T24" fmla="*/ 132 w 293"/>
                  <a:gd name="T25" fmla="*/ 280 h 459"/>
                  <a:gd name="T26" fmla="*/ 142 w 293"/>
                  <a:gd name="T27" fmla="*/ 289 h 459"/>
                  <a:gd name="T28" fmla="*/ 160 w 293"/>
                  <a:gd name="T29" fmla="*/ 319 h 459"/>
                  <a:gd name="T30" fmla="*/ 144 w 293"/>
                  <a:gd name="T31" fmla="*/ 317 h 459"/>
                  <a:gd name="T32" fmla="*/ 168 w 293"/>
                  <a:gd name="T33" fmla="*/ 340 h 459"/>
                  <a:gd name="T34" fmla="*/ 150 w 293"/>
                  <a:gd name="T35" fmla="*/ 344 h 459"/>
                  <a:gd name="T36" fmla="*/ 146 w 293"/>
                  <a:gd name="T37" fmla="*/ 366 h 459"/>
                  <a:gd name="T38" fmla="*/ 154 w 293"/>
                  <a:gd name="T39" fmla="*/ 387 h 459"/>
                  <a:gd name="T40" fmla="*/ 168 w 293"/>
                  <a:gd name="T41" fmla="*/ 412 h 459"/>
                  <a:gd name="T42" fmla="*/ 175 w 293"/>
                  <a:gd name="T43" fmla="*/ 450 h 459"/>
                  <a:gd name="T44" fmla="*/ 185 w 293"/>
                  <a:gd name="T45" fmla="*/ 418 h 459"/>
                  <a:gd name="T46" fmla="*/ 211 w 293"/>
                  <a:gd name="T47" fmla="*/ 373 h 459"/>
                  <a:gd name="T48" fmla="*/ 185 w 293"/>
                  <a:gd name="T49" fmla="*/ 358 h 459"/>
                  <a:gd name="T50" fmla="*/ 174 w 293"/>
                  <a:gd name="T51" fmla="*/ 356 h 459"/>
                  <a:gd name="T52" fmla="*/ 172 w 293"/>
                  <a:gd name="T53" fmla="*/ 334 h 459"/>
                  <a:gd name="T54" fmla="*/ 179 w 293"/>
                  <a:gd name="T55" fmla="*/ 332 h 459"/>
                  <a:gd name="T56" fmla="*/ 215 w 293"/>
                  <a:gd name="T57" fmla="*/ 332 h 459"/>
                  <a:gd name="T58" fmla="*/ 216 w 293"/>
                  <a:gd name="T59" fmla="*/ 307 h 459"/>
                  <a:gd name="T60" fmla="*/ 191 w 293"/>
                  <a:gd name="T61" fmla="*/ 284 h 459"/>
                  <a:gd name="T62" fmla="*/ 205 w 293"/>
                  <a:gd name="T63" fmla="*/ 293 h 459"/>
                  <a:gd name="T64" fmla="*/ 254 w 293"/>
                  <a:gd name="T65" fmla="*/ 260 h 459"/>
                  <a:gd name="T66" fmla="*/ 258 w 293"/>
                  <a:gd name="T67" fmla="*/ 223 h 459"/>
                  <a:gd name="T68" fmla="*/ 240 w 293"/>
                  <a:gd name="T69" fmla="*/ 163 h 459"/>
                  <a:gd name="T70" fmla="*/ 271 w 293"/>
                  <a:gd name="T71" fmla="*/ 151 h 459"/>
                  <a:gd name="T72" fmla="*/ 287 w 293"/>
                  <a:gd name="T73" fmla="*/ 118 h 459"/>
                  <a:gd name="T74" fmla="*/ 281 w 293"/>
                  <a:gd name="T75" fmla="*/ 79 h 459"/>
                  <a:gd name="T76" fmla="*/ 289 w 293"/>
                  <a:gd name="T77" fmla="*/ 32 h 459"/>
                  <a:gd name="T78" fmla="*/ 228 w 293"/>
                  <a:gd name="T79" fmla="*/ 0 h 459"/>
                  <a:gd name="T80" fmla="*/ 183 w 293"/>
                  <a:gd name="T81" fmla="*/ 51 h 459"/>
                  <a:gd name="T82" fmla="*/ 203 w 293"/>
                  <a:gd name="T83" fmla="*/ 127 h 459"/>
                  <a:gd name="T84" fmla="*/ 193 w 293"/>
                  <a:gd name="T85" fmla="*/ 133 h 459"/>
                  <a:gd name="T86" fmla="*/ 175 w 293"/>
                  <a:gd name="T87" fmla="*/ 137 h 459"/>
                  <a:gd name="T88" fmla="*/ 193 w 293"/>
                  <a:gd name="T89" fmla="*/ 94 h 459"/>
                  <a:gd name="T90" fmla="*/ 187 w 293"/>
                  <a:gd name="T91" fmla="*/ 69 h 459"/>
                  <a:gd name="T92" fmla="*/ 177 w 293"/>
                  <a:gd name="T93" fmla="*/ 92 h 459"/>
                  <a:gd name="T94" fmla="*/ 164 w 293"/>
                  <a:gd name="T95" fmla="*/ 118 h 459"/>
                  <a:gd name="T96" fmla="*/ 154 w 293"/>
                  <a:gd name="T97" fmla="*/ 133 h 459"/>
                  <a:gd name="T98" fmla="*/ 132 w 293"/>
                  <a:gd name="T99" fmla="*/ 122 h 459"/>
                  <a:gd name="T100" fmla="*/ 144 w 293"/>
                  <a:gd name="T101" fmla="*/ 100 h 459"/>
                  <a:gd name="T102" fmla="*/ 125 w 293"/>
                  <a:gd name="T103" fmla="*/ 102 h 459"/>
                  <a:gd name="T104" fmla="*/ 131 w 293"/>
                  <a:gd name="T105" fmla="*/ 67 h 459"/>
                  <a:gd name="T106" fmla="*/ 146 w 293"/>
                  <a:gd name="T107" fmla="*/ 67 h 459"/>
                  <a:gd name="T108" fmla="*/ 129 w 293"/>
                  <a:gd name="T109" fmla="*/ 57 h 459"/>
                  <a:gd name="T110" fmla="*/ 86 w 293"/>
                  <a:gd name="T111" fmla="*/ 53 h 459"/>
                  <a:gd name="T112" fmla="*/ 88 w 293"/>
                  <a:gd name="T113" fmla="*/ 90 h 459"/>
                  <a:gd name="T114" fmla="*/ 82 w 293"/>
                  <a:gd name="T115" fmla="*/ 104 h 459"/>
                  <a:gd name="T116" fmla="*/ 54 w 293"/>
                  <a:gd name="T117" fmla="*/ 120 h 4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3" h="459">
                    <a:moveTo>
                      <a:pt x="50" y="120"/>
                    </a:moveTo>
                    <a:lnTo>
                      <a:pt x="56" y="125"/>
                    </a:lnTo>
                    <a:lnTo>
                      <a:pt x="52" y="129"/>
                    </a:lnTo>
                    <a:lnTo>
                      <a:pt x="48" y="127"/>
                    </a:lnTo>
                    <a:lnTo>
                      <a:pt x="45" y="123"/>
                    </a:lnTo>
                    <a:lnTo>
                      <a:pt x="41" y="118"/>
                    </a:lnTo>
                    <a:lnTo>
                      <a:pt x="43" y="116"/>
                    </a:lnTo>
                    <a:lnTo>
                      <a:pt x="45" y="116"/>
                    </a:lnTo>
                    <a:lnTo>
                      <a:pt x="47" y="116"/>
                    </a:lnTo>
                    <a:lnTo>
                      <a:pt x="48" y="116"/>
                    </a:lnTo>
                    <a:lnTo>
                      <a:pt x="48" y="114"/>
                    </a:lnTo>
                    <a:lnTo>
                      <a:pt x="43" y="116"/>
                    </a:lnTo>
                    <a:lnTo>
                      <a:pt x="31" y="120"/>
                    </a:lnTo>
                    <a:lnTo>
                      <a:pt x="27" y="120"/>
                    </a:lnTo>
                    <a:lnTo>
                      <a:pt x="0" y="116"/>
                    </a:lnTo>
                    <a:lnTo>
                      <a:pt x="0" y="118"/>
                    </a:lnTo>
                    <a:lnTo>
                      <a:pt x="2" y="120"/>
                    </a:lnTo>
                    <a:lnTo>
                      <a:pt x="11" y="120"/>
                    </a:lnTo>
                    <a:lnTo>
                      <a:pt x="13" y="122"/>
                    </a:lnTo>
                    <a:lnTo>
                      <a:pt x="15" y="123"/>
                    </a:lnTo>
                    <a:lnTo>
                      <a:pt x="17" y="125"/>
                    </a:lnTo>
                    <a:lnTo>
                      <a:pt x="17" y="127"/>
                    </a:lnTo>
                    <a:lnTo>
                      <a:pt x="21" y="131"/>
                    </a:lnTo>
                    <a:lnTo>
                      <a:pt x="33" y="135"/>
                    </a:lnTo>
                    <a:lnTo>
                      <a:pt x="35" y="141"/>
                    </a:lnTo>
                    <a:lnTo>
                      <a:pt x="9" y="139"/>
                    </a:lnTo>
                    <a:lnTo>
                      <a:pt x="9" y="141"/>
                    </a:lnTo>
                    <a:lnTo>
                      <a:pt x="27" y="145"/>
                    </a:lnTo>
                    <a:lnTo>
                      <a:pt x="35" y="151"/>
                    </a:lnTo>
                    <a:lnTo>
                      <a:pt x="43" y="159"/>
                    </a:lnTo>
                    <a:lnTo>
                      <a:pt x="45" y="164"/>
                    </a:lnTo>
                    <a:lnTo>
                      <a:pt x="45" y="170"/>
                    </a:lnTo>
                    <a:lnTo>
                      <a:pt x="45" y="174"/>
                    </a:lnTo>
                    <a:lnTo>
                      <a:pt x="39" y="176"/>
                    </a:lnTo>
                    <a:lnTo>
                      <a:pt x="37" y="176"/>
                    </a:lnTo>
                    <a:lnTo>
                      <a:pt x="35" y="178"/>
                    </a:lnTo>
                    <a:lnTo>
                      <a:pt x="35" y="180"/>
                    </a:lnTo>
                    <a:lnTo>
                      <a:pt x="35" y="184"/>
                    </a:lnTo>
                    <a:lnTo>
                      <a:pt x="35" y="186"/>
                    </a:lnTo>
                    <a:lnTo>
                      <a:pt x="37" y="184"/>
                    </a:lnTo>
                    <a:lnTo>
                      <a:pt x="41" y="182"/>
                    </a:lnTo>
                    <a:lnTo>
                      <a:pt x="43" y="184"/>
                    </a:lnTo>
                    <a:lnTo>
                      <a:pt x="47" y="184"/>
                    </a:lnTo>
                    <a:lnTo>
                      <a:pt x="48" y="188"/>
                    </a:lnTo>
                    <a:lnTo>
                      <a:pt x="50" y="190"/>
                    </a:lnTo>
                    <a:lnTo>
                      <a:pt x="54" y="202"/>
                    </a:lnTo>
                    <a:lnTo>
                      <a:pt x="54" y="207"/>
                    </a:lnTo>
                    <a:lnTo>
                      <a:pt x="54" y="211"/>
                    </a:lnTo>
                    <a:lnTo>
                      <a:pt x="56" y="213"/>
                    </a:lnTo>
                    <a:lnTo>
                      <a:pt x="56" y="215"/>
                    </a:lnTo>
                    <a:lnTo>
                      <a:pt x="54" y="219"/>
                    </a:lnTo>
                    <a:lnTo>
                      <a:pt x="50" y="221"/>
                    </a:lnTo>
                    <a:lnTo>
                      <a:pt x="48" y="221"/>
                    </a:lnTo>
                    <a:lnTo>
                      <a:pt x="47" y="223"/>
                    </a:lnTo>
                    <a:lnTo>
                      <a:pt x="45" y="225"/>
                    </a:lnTo>
                    <a:lnTo>
                      <a:pt x="45" y="227"/>
                    </a:lnTo>
                    <a:lnTo>
                      <a:pt x="43" y="227"/>
                    </a:lnTo>
                    <a:lnTo>
                      <a:pt x="41" y="227"/>
                    </a:lnTo>
                    <a:lnTo>
                      <a:pt x="35" y="227"/>
                    </a:lnTo>
                    <a:lnTo>
                      <a:pt x="35" y="229"/>
                    </a:lnTo>
                    <a:lnTo>
                      <a:pt x="37" y="237"/>
                    </a:lnTo>
                    <a:lnTo>
                      <a:pt x="39" y="237"/>
                    </a:lnTo>
                    <a:lnTo>
                      <a:pt x="41" y="237"/>
                    </a:lnTo>
                    <a:lnTo>
                      <a:pt x="43" y="235"/>
                    </a:lnTo>
                    <a:lnTo>
                      <a:pt x="43" y="233"/>
                    </a:lnTo>
                    <a:lnTo>
                      <a:pt x="45" y="231"/>
                    </a:lnTo>
                    <a:lnTo>
                      <a:pt x="47" y="231"/>
                    </a:lnTo>
                    <a:lnTo>
                      <a:pt x="48" y="231"/>
                    </a:lnTo>
                    <a:lnTo>
                      <a:pt x="50" y="231"/>
                    </a:lnTo>
                    <a:lnTo>
                      <a:pt x="52" y="233"/>
                    </a:lnTo>
                    <a:lnTo>
                      <a:pt x="52" y="237"/>
                    </a:lnTo>
                    <a:lnTo>
                      <a:pt x="50" y="237"/>
                    </a:lnTo>
                    <a:lnTo>
                      <a:pt x="48" y="237"/>
                    </a:lnTo>
                    <a:lnTo>
                      <a:pt x="47" y="239"/>
                    </a:lnTo>
                    <a:lnTo>
                      <a:pt x="48" y="241"/>
                    </a:lnTo>
                    <a:lnTo>
                      <a:pt x="56" y="248"/>
                    </a:lnTo>
                    <a:lnTo>
                      <a:pt x="60" y="250"/>
                    </a:lnTo>
                    <a:lnTo>
                      <a:pt x="60" y="252"/>
                    </a:lnTo>
                    <a:lnTo>
                      <a:pt x="60" y="260"/>
                    </a:lnTo>
                    <a:lnTo>
                      <a:pt x="60" y="262"/>
                    </a:lnTo>
                    <a:lnTo>
                      <a:pt x="64" y="262"/>
                    </a:lnTo>
                    <a:lnTo>
                      <a:pt x="66" y="260"/>
                    </a:lnTo>
                    <a:lnTo>
                      <a:pt x="68" y="260"/>
                    </a:lnTo>
                    <a:lnTo>
                      <a:pt x="68" y="264"/>
                    </a:lnTo>
                    <a:lnTo>
                      <a:pt x="66" y="266"/>
                    </a:lnTo>
                    <a:lnTo>
                      <a:pt x="62" y="266"/>
                    </a:lnTo>
                    <a:lnTo>
                      <a:pt x="60" y="264"/>
                    </a:lnTo>
                    <a:lnTo>
                      <a:pt x="62" y="272"/>
                    </a:lnTo>
                    <a:lnTo>
                      <a:pt x="64" y="276"/>
                    </a:lnTo>
                    <a:lnTo>
                      <a:pt x="68" y="278"/>
                    </a:lnTo>
                    <a:lnTo>
                      <a:pt x="74" y="278"/>
                    </a:lnTo>
                    <a:lnTo>
                      <a:pt x="70" y="276"/>
                    </a:lnTo>
                    <a:lnTo>
                      <a:pt x="70" y="274"/>
                    </a:lnTo>
                    <a:lnTo>
                      <a:pt x="82" y="274"/>
                    </a:lnTo>
                    <a:lnTo>
                      <a:pt x="86" y="272"/>
                    </a:lnTo>
                    <a:lnTo>
                      <a:pt x="90" y="270"/>
                    </a:lnTo>
                    <a:lnTo>
                      <a:pt x="91" y="270"/>
                    </a:lnTo>
                    <a:lnTo>
                      <a:pt x="103" y="274"/>
                    </a:lnTo>
                    <a:lnTo>
                      <a:pt x="105" y="274"/>
                    </a:lnTo>
                    <a:lnTo>
                      <a:pt x="109" y="276"/>
                    </a:lnTo>
                    <a:lnTo>
                      <a:pt x="121" y="278"/>
                    </a:lnTo>
                    <a:lnTo>
                      <a:pt x="127" y="282"/>
                    </a:lnTo>
                    <a:lnTo>
                      <a:pt x="129" y="282"/>
                    </a:lnTo>
                    <a:lnTo>
                      <a:pt x="132" y="280"/>
                    </a:lnTo>
                    <a:lnTo>
                      <a:pt x="134" y="276"/>
                    </a:lnTo>
                    <a:lnTo>
                      <a:pt x="136" y="274"/>
                    </a:lnTo>
                    <a:lnTo>
                      <a:pt x="140" y="274"/>
                    </a:lnTo>
                    <a:lnTo>
                      <a:pt x="144" y="276"/>
                    </a:lnTo>
                    <a:lnTo>
                      <a:pt x="144" y="280"/>
                    </a:lnTo>
                    <a:lnTo>
                      <a:pt x="142" y="282"/>
                    </a:lnTo>
                    <a:lnTo>
                      <a:pt x="140" y="286"/>
                    </a:lnTo>
                    <a:lnTo>
                      <a:pt x="142" y="289"/>
                    </a:lnTo>
                    <a:lnTo>
                      <a:pt x="152" y="287"/>
                    </a:lnTo>
                    <a:lnTo>
                      <a:pt x="156" y="291"/>
                    </a:lnTo>
                    <a:lnTo>
                      <a:pt x="156" y="293"/>
                    </a:lnTo>
                    <a:lnTo>
                      <a:pt x="156" y="295"/>
                    </a:lnTo>
                    <a:lnTo>
                      <a:pt x="140" y="297"/>
                    </a:lnTo>
                    <a:lnTo>
                      <a:pt x="144" y="305"/>
                    </a:lnTo>
                    <a:lnTo>
                      <a:pt x="156" y="313"/>
                    </a:lnTo>
                    <a:lnTo>
                      <a:pt x="160" y="319"/>
                    </a:lnTo>
                    <a:lnTo>
                      <a:pt x="150" y="317"/>
                    </a:lnTo>
                    <a:lnTo>
                      <a:pt x="132" y="309"/>
                    </a:lnTo>
                    <a:lnTo>
                      <a:pt x="123" y="307"/>
                    </a:lnTo>
                    <a:lnTo>
                      <a:pt x="127" y="311"/>
                    </a:lnTo>
                    <a:lnTo>
                      <a:pt x="129" y="313"/>
                    </a:lnTo>
                    <a:lnTo>
                      <a:pt x="132" y="315"/>
                    </a:lnTo>
                    <a:lnTo>
                      <a:pt x="142" y="315"/>
                    </a:lnTo>
                    <a:lnTo>
                      <a:pt x="144" y="317"/>
                    </a:lnTo>
                    <a:lnTo>
                      <a:pt x="146" y="319"/>
                    </a:lnTo>
                    <a:lnTo>
                      <a:pt x="146" y="319"/>
                    </a:lnTo>
                    <a:lnTo>
                      <a:pt x="150" y="321"/>
                    </a:lnTo>
                    <a:lnTo>
                      <a:pt x="162" y="325"/>
                    </a:lnTo>
                    <a:lnTo>
                      <a:pt x="164" y="328"/>
                    </a:lnTo>
                    <a:lnTo>
                      <a:pt x="166" y="336"/>
                    </a:lnTo>
                    <a:lnTo>
                      <a:pt x="168" y="340"/>
                    </a:lnTo>
                    <a:lnTo>
                      <a:pt x="168" y="340"/>
                    </a:lnTo>
                    <a:lnTo>
                      <a:pt x="166" y="344"/>
                    </a:lnTo>
                    <a:lnTo>
                      <a:pt x="162" y="346"/>
                    </a:lnTo>
                    <a:lnTo>
                      <a:pt x="162" y="344"/>
                    </a:lnTo>
                    <a:lnTo>
                      <a:pt x="160" y="344"/>
                    </a:lnTo>
                    <a:lnTo>
                      <a:pt x="156" y="348"/>
                    </a:lnTo>
                    <a:lnTo>
                      <a:pt x="156" y="350"/>
                    </a:lnTo>
                    <a:lnTo>
                      <a:pt x="154" y="348"/>
                    </a:lnTo>
                    <a:lnTo>
                      <a:pt x="150" y="344"/>
                    </a:lnTo>
                    <a:lnTo>
                      <a:pt x="148" y="344"/>
                    </a:lnTo>
                    <a:lnTo>
                      <a:pt x="146" y="344"/>
                    </a:lnTo>
                    <a:lnTo>
                      <a:pt x="140" y="350"/>
                    </a:lnTo>
                    <a:lnTo>
                      <a:pt x="140" y="352"/>
                    </a:lnTo>
                    <a:lnTo>
                      <a:pt x="142" y="352"/>
                    </a:lnTo>
                    <a:lnTo>
                      <a:pt x="144" y="356"/>
                    </a:lnTo>
                    <a:lnTo>
                      <a:pt x="146" y="360"/>
                    </a:lnTo>
                    <a:lnTo>
                      <a:pt x="146" y="366"/>
                    </a:lnTo>
                    <a:lnTo>
                      <a:pt x="146" y="371"/>
                    </a:lnTo>
                    <a:lnTo>
                      <a:pt x="148" y="373"/>
                    </a:lnTo>
                    <a:lnTo>
                      <a:pt x="150" y="375"/>
                    </a:lnTo>
                    <a:lnTo>
                      <a:pt x="154" y="379"/>
                    </a:lnTo>
                    <a:lnTo>
                      <a:pt x="154" y="381"/>
                    </a:lnTo>
                    <a:lnTo>
                      <a:pt x="154" y="383"/>
                    </a:lnTo>
                    <a:lnTo>
                      <a:pt x="154" y="385"/>
                    </a:lnTo>
                    <a:lnTo>
                      <a:pt x="154" y="387"/>
                    </a:lnTo>
                    <a:lnTo>
                      <a:pt x="156" y="389"/>
                    </a:lnTo>
                    <a:lnTo>
                      <a:pt x="156" y="391"/>
                    </a:lnTo>
                    <a:lnTo>
                      <a:pt x="164" y="399"/>
                    </a:lnTo>
                    <a:lnTo>
                      <a:pt x="166" y="403"/>
                    </a:lnTo>
                    <a:lnTo>
                      <a:pt x="166" y="403"/>
                    </a:lnTo>
                    <a:lnTo>
                      <a:pt x="168" y="405"/>
                    </a:lnTo>
                    <a:lnTo>
                      <a:pt x="166" y="409"/>
                    </a:lnTo>
                    <a:lnTo>
                      <a:pt x="168" y="412"/>
                    </a:lnTo>
                    <a:lnTo>
                      <a:pt x="170" y="414"/>
                    </a:lnTo>
                    <a:lnTo>
                      <a:pt x="174" y="414"/>
                    </a:lnTo>
                    <a:lnTo>
                      <a:pt x="168" y="422"/>
                    </a:lnTo>
                    <a:lnTo>
                      <a:pt x="166" y="426"/>
                    </a:lnTo>
                    <a:lnTo>
                      <a:pt x="166" y="432"/>
                    </a:lnTo>
                    <a:lnTo>
                      <a:pt x="168" y="436"/>
                    </a:lnTo>
                    <a:lnTo>
                      <a:pt x="174" y="448"/>
                    </a:lnTo>
                    <a:lnTo>
                      <a:pt x="175" y="450"/>
                    </a:lnTo>
                    <a:lnTo>
                      <a:pt x="175" y="455"/>
                    </a:lnTo>
                    <a:lnTo>
                      <a:pt x="179" y="459"/>
                    </a:lnTo>
                    <a:lnTo>
                      <a:pt x="183" y="459"/>
                    </a:lnTo>
                    <a:lnTo>
                      <a:pt x="183" y="448"/>
                    </a:lnTo>
                    <a:lnTo>
                      <a:pt x="181" y="432"/>
                    </a:lnTo>
                    <a:lnTo>
                      <a:pt x="181" y="422"/>
                    </a:lnTo>
                    <a:lnTo>
                      <a:pt x="183" y="418"/>
                    </a:lnTo>
                    <a:lnTo>
                      <a:pt x="185" y="418"/>
                    </a:lnTo>
                    <a:lnTo>
                      <a:pt x="189" y="412"/>
                    </a:lnTo>
                    <a:lnTo>
                      <a:pt x="191" y="410"/>
                    </a:lnTo>
                    <a:lnTo>
                      <a:pt x="193" y="409"/>
                    </a:lnTo>
                    <a:lnTo>
                      <a:pt x="199" y="397"/>
                    </a:lnTo>
                    <a:lnTo>
                      <a:pt x="201" y="393"/>
                    </a:lnTo>
                    <a:lnTo>
                      <a:pt x="216" y="381"/>
                    </a:lnTo>
                    <a:lnTo>
                      <a:pt x="216" y="379"/>
                    </a:lnTo>
                    <a:lnTo>
                      <a:pt x="211" y="373"/>
                    </a:lnTo>
                    <a:lnTo>
                      <a:pt x="207" y="366"/>
                    </a:lnTo>
                    <a:lnTo>
                      <a:pt x="205" y="364"/>
                    </a:lnTo>
                    <a:lnTo>
                      <a:pt x="201" y="364"/>
                    </a:lnTo>
                    <a:lnTo>
                      <a:pt x="197" y="366"/>
                    </a:lnTo>
                    <a:lnTo>
                      <a:pt x="195" y="366"/>
                    </a:lnTo>
                    <a:lnTo>
                      <a:pt x="191" y="364"/>
                    </a:lnTo>
                    <a:lnTo>
                      <a:pt x="187" y="358"/>
                    </a:lnTo>
                    <a:lnTo>
                      <a:pt x="185" y="358"/>
                    </a:lnTo>
                    <a:lnTo>
                      <a:pt x="185" y="356"/>
                    </a:lnTo>
                    <a:lnTo>
                      <a:pt x="181" y="350"/>
                    </a:lnTo>
                    <a:lnTo>
                      <a:pt x="181" y="350"/>
                    </a:lnTo>
                    <a:lnTo>
                      <a:pt x="177" y="352"/>
                    </a:lnTo>
                    <a:lnTo>
                      <a:pt x="175" y="352"/>
                    </a:lnTo>
                    <a:lnTo>
                      <a:pt x="175" y="354"/>
                    </a:lnTo>
                    <a:lnTo>
                      <a:pt x="175" y="356"/>
                    </a:lnTo>
                    <a:lnTo>
                      <a:pt x="174" y="356"/>
                    </a:lnTo>
                    <a:lnTo>
                      <a:pt x="172" y="356"/>
                    </a:lnTo>
                    <a:lnTo>
                      <a:pt x="170" y="354"/>
                    </a:lnTo>
                    <a:lnTo>
                      <a:pt x="168" y="352"/>
                    </a:lnTo>
                    <a:lnTo>
                      <a:pt x="170" y="348"/>
                    </a:lnTo>
                    <a:lnTo>
                      <a:pt x="170" y="344"/>
                    </a:lnTo>
                    <a:lnTo>
                      <a:pt x="172" y="340"/>
                    </a:lnTo>
                    <a:lnTo>
                      <a:pt x="172" y="336"/>
                    </a:lnTo>
                    <a:lnTo>
                      <a:pt x="172" y="334"/>
                    </a:lnTo>
                    <a:lnTo>
                      <a:pt x="174" y="334"/>
                    </a:lnTo>
                    <a:lnTo>
                      <a:pt x="174" y="334"/>
                    </a:lnTo>
                    <a:lnTo>
                      <a:pt x="174" y="332"/>
                    </a:lnTo>
                    <a:lnTo>
                      <a:pt x="174" y="332"/>
                    </a:lnTo>
                    <a:lnTo>
                      <a:pt x="174" y="332"/>
                    </a:lnTo>
                    <a:lnTo>
                      <a:pt x="174" y="332"/>
                    </a:lnTo>
                    <a:lnTo>
                      <a:pt x="174" y="330"/>
                    </a:lnTo>
                    <a:lnTo>
                      <a:pt x="179" y="332"/>
                    </a:lnTo>
                    <a:lnTo>
                      <a:pt x="187" y="340"/>
                    </a:lnTo>
                    <a:lnTo>
                      <a:pt x="193" y="344"/>
                    </a:lnTo>
                    <a:lnTo>
                      <a:pt x="197" y="342"/>
                    </a:lnTo>
                    <a:lnTo>
                      <a:pt x="203" y="338"/>
                    </a:lnTo>
                    <a:lnTo>
                      <a:pt x="205" y="336"/>
                    </a:lnTo>
                    <a:lnTo>
                      <a:pt x="209" y="336"/>
                    </a:lnTo>
                    <a:lnTo>
                      <a:pt x="213" y="336"/>
                    </a:lnTo>
                    <a:lnTo>
                      <a:pt x="215" y="332"/>
                    </a:lnTo>
                    <a:lnTo>
                      <a:pt x="215" y="327"/>
                    </a:lnTo>
                    <a:lnTo>
                      <a:pt x="209" y="313"/>
                    </a:lnTo>
                    <a:lnTo>
                      <a:pt x="209" y="313"/>
                    </a:lnTo>
                    <a:lnTo>
                      <a:pt x="209" y="311"/>
                    </a:lnTo>
                    <a:lnTo>
                      <a:pt x="213" y="309"/>
                    </a:lnTo>
                    <a:lnTo>
                      <a:pt x="215" y="309"/>
                    </a:lnTo>
                    <a:lnTo>
                      <a:pt x="215" y="307"/>
                    </a:lnTo>
                    <a:lnTo>
                      <a:pt x="216" y="307"/>
                    </a:lnTo>
                    <a:lnTo>
                      <a:pt x="218" y="303"/>
                    </a:lnTo>
                    <a:lnTo>
                      <a:pt x="216" y="297"/>
                    </a:lnTo>
                    <a:lnTo>
                      <a:pt x="211" y="295"/>
                    </a:lnTo>
                    <a:lnTo>
                      <a:pt x="195" y="293"/>
                    </a:lnTo>
                    <a:lnTo>
                      <a:pt x="191" y="289"/>
                    </a:lnTo>
                    <a:lnTo>
                      <a:pt x="189" y="287"/>
                    </a:lnTo>
                    <a:lnTo>
                      <a:pt x="191" y="286"/>
                    </a:lnTo>
                    <a:lnTo>
                      <a:pt x="191" y="284"/>
                    </a:lnTo>
                    <a:lnTo>
                      <a:pt x="193" y="284"/>
                    </a:lnTo>
                    <a:lnTo>
                      <a:pt x="193" y="282"/>
                    </a:lnTo>
                    <a:lnTo>
                      <a:pt x="197" y="280"/>
                    </a:lnTo>
                    <a:lnTo>
                      <a:pt x="201" y="282"/>
                    </a:lnTo>
                    <a:lnTo>
                      <a:pt x="203" y="286"/>
                    </a:lnTo>
                    <a:lnTo>
                      <a:pt x="201" y="291"/>
                    </a:lnTo>
                    <a:lnTo>
                      <a:pt x="203" y="293"/>
                    </a:lnTo>
                    <a:lnTo>
                      <a:pt x="205" y="293"/>
                    </a:lnTo>
                    <a:lnTo>
                      <a:pt x="207" y="291"/>
                    </a:lnTo>
                    <a:lnTo>
                      <a:pt x="207" y="289"/>
                    </a:lnTo>
                    <a:lnTo>
                      <a:pt x="207" y="284"/>
                    </a:lnTo>
                    <a:lnTo>
                      <a:pt x="209" y="278"/>
                    </a:lnTo>
                    <a:lnTo>
                      <a:pt x="211" y="274"/>
                    </a:lnTo>
                    <a:lnTo>
                      <a:pt x="216" y="270"/>
                    </a:lnTo>
                    <a:lnTo>
                      <a:pt x="218" y="268"/>
                    </a:lnTo>
                    <a:lnTo>
                      <a:pt x="254" y="260"/>
                    </a:lnTo>
                    <a:lnTo>
                      <a:pt x="261" y="252"/>
                    </a:lnTo>
                    <a:lnTo>
                      <a:pt x="263" y="252"/>
                    </a:lnTo>
                    <a:lnTo>
                      <a:pt x="265" y="248"/>
                    </a:lnTo>
                    <a:lnTo>
                      <a:pt x="263" y="241"/>
                    </a:lnTo>
                    <a:lnTo>
                      <a:pt x="263" y="237"/>
                    </a:lnTo>
                    <a:lnTo>
                      <a:pt x="261" y="233"/>
                    </a:lnTo>
                    <a:lnTo>
                      <a:pt x="261" y="227"/>
                    </a:lnTo>
                    <a:lnTo>
                      <a:pt x="258" y="223"/>
                    </a:lnTo>
                    <a:lnTo>
                      <a:pt x="250" y="217"/>
                    </a:lnTo>
                    <a:lnTo>
                      <a:pt x="248" y="215"/>
                    </a:lnTo>
                    <a:lnTo>
                      <a:pt x="236" y="215"/>
                    </a:lnTo>
                    <a:lnTo>
                      <a:pt x="234" y="213"/>
                    </a:lnTo>
                    <a:lnTo>
                      <a:pt x="226" y="207"/>
                    </a:lnTo>
                    <a:lnTo>
                      <a:pt x="220" y="192"/>
                    </a:lnTo>
                    <a:lnTo>
                      <a:pt x="230" y="174"/>
                    </a:lnTo>
                    <a:lnTo>
                      <a:pt x="240" y="163"/>
                    </a:lnTo>
                    <a:lnTo>
                      <a:pt x="244" y="159"/>
                    </a:lnTo>
                    <a:lnTo>
                      <a:pt x="256" y="153"/>
                    </a:lnTo>
                    <a:lnTo>
                      <a:pt x="259" y="153"/>
                    </a:lnTo>
                    <a:lnTo>
                      <a:pt x="261" y="155"/>
                    </a:lnTo>
                    <a:lnTo>
                      <a:pt x="263" y="155"/>
                    </a:lnTo>
                    <a:lnTo>
                      <a:pt x="265" y="157"/>
                    </a:lnTo>
                    <a:lnTo>
                      <a:pt x="269" y="155"/>
                    </a:lnTo>
                    <a:lnTo>
                      <a:pt x="271" y="151"/>
                    </a:lnTo>
                    <a:lnTo>
                      <a:pt x="271" y="149"/>
                    </a:lnTo>
                    <a:lnTo>
                      <a:pt x="279" y="143"/>
                    </a:lnTo>
                    <a:lnTo>
                      <a:pt x="285" y="131"/>
                    </a:lnTo>
                    <a:lnTo>
                      <a:pt x="289" y="125"/>
                    </a:lnTo>
                    <a:lnTo>
                      <a:pt x="287" y="123"/>
                    </a:lnTo>
                    <a:lnTo>
                      <a:pt x="287" y="122"/>
                    </a:lnTo>
                    <a:lnTo>
                      <a:pt x="287" y="120"/>
                    </a:lnTo>
                    <a:lnTo>
                      <a:pt x="287" y="118"/>
                    </a:lnTo>
                    <a:lnTo>
                      <a:pt x="287" y="114"/>
                    </a:lnTo>
                    <a:lnTo>
                      <a:pt x="287" y="106"/>
                    </a:lnTo>
                    <a:lnTo>
                      <a:pt x="289" y="102"/>
                    </a:lnTo>
                    <a:lnTo>
                      <a:pt x="289" y="100"/>
                    </a:lnTo>
                    <a:lnTo>
                      <a:pt x="287" y="96"/>
                    </a:lnTo>
                    <a:lnTo>
                      <a:pt x="285" y="90"/>
                    </a:lnTo>
                    <a:lnTo>
                      <a:pt x="283" y="84"/>
                    </a:lnTo>
                    <a:lnTo>
                      <a:pt x="281" y="79"/>
                    </a:lnTo>
                    <a:lnTo>
                      <a:pt x="281" y="75"/>
                    </a:lnTo>
                    <a:lnTo>
                      <a:pt x="279" y="69"/>
                    </a:lnTo>
                    <a:lnTo>
                      <a:pt x="273" y="63"/>
                    </a:lnTo>
                    <a:lnTo>
                      <a:pt x="273" y="61"/>
                    </a:lnTo>
                    <a:lnTo>
                      <a:pt x="275" y="57"/>
                    </a:lnTo>
                    <a:lnTo>
                      <a:pt x="281" y="45"/>
                    </a:lnTo>
                    <a:lnTo>
                      <a:pt x="283" y="40"/>
                    </a:lnTo>
                    <a:lnTo>
                      <a:pt x="289" y="32"/>
                    </a:lnTo>
                    <a:lnTo>
                      <a:pt x="293" y="26"/>
                    </a:lnTo>
                    <a:lnTo>
                      <a:pt x="283" y="18"/>
                    </a:lnTo>
                    <a:lnTo>
                      <a:pt x="279" y="16"/>
                    </a:lnTo>
                    <a:lnTo>
                      <a:pt x="273" y="12"/>
                    </a:lnTo>
                    <a:lnTo>
                      <a:pt x="269" y="10"/>
                    </a:lnTo>
                    <a:lnTo>
                      <a:pt x="258" y="10"/>
                    </a:lnTo>
                    <a:lnTo>
                      <a:pt x="244" y="2"/>
                    </a:lnTo>
                    <a:lnTo>
                      <a:pt x="228" y="0"/>
                    </a:lnTo>
                    <a:lnTo>
                      <a:pt x="216" y="8"/>
                    </a:lnTo>
                    <a:lnTo>
                      <a:pt x="189" y="30"/>
                    </a:lnTo>
                    <a:lnTo>
                      <a:pt x="174" y="40"/>
                    </a:lnTo>
                    <a:lnTo>
                      <a:pt x="166" y="47"/>
                    </a:lnTo>
                    <a:lnTo>
                      <a:pt x="162" y="55"/>
                    </a:lnTo>
                    <a:lnTo>
                      <a:pt x="166" y="57"/>
                    </a:lnTo>
                    <a:lnTo>
                      <a:pt x="170" y="57"/>
                    </a:lnTo>
                    <a:lnTo>
                      <a:pt x="183" y="51"/>
                    </a:lnTo>
                    <a:lnTo>
                      <a:pt x="187" y="51"/>
                    </a:lnTo>
                    <a:lnTo>
                      <a:pt x="189" y="53"/>
                    </a:lnTo>
                    <a:lnTo>
                      <a:pt x="193" y="57"/>
                    </a:lnTo>
                    <a:lnTo>
                      <a:pt x="197" y="73"/>
                    </a:lnTo>
                    <a:lnTo>
                      <a:pt x="197" y="77"/>
                    </a:lnTo>
                    <a:lnTo>
                      <a:pt x="197" y="88"/>
                    </a:lnTo>
                    <a:lnTo>
                      <a:pt x="205" y="120"/>
                    </a:lnTo>
                    <a:lnTo>
                      <a:pt x="203" y="127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3" y="139"/>
                    </a:lnTo>
                    <a:lnTo>
                      <a:pt x="189" y="137"/>
                    </a:lnTo>
                    <a:lnTo>
                      <a:pt x="189" y="135"/>
                    </a:lnTo>
                    <a:lnTo>
                      <a:pt x="189" y="135"/>
                    </a:lnTo>
                    <a:lnTo>
                      <a:pt x="195" y="137"/>
                    </a:lnTo>
                    <a:lnTo>
                      <a:pt x="193" y="133"/>
                    </a:lnTo>
                    <a:lnTo>
                      <a:pt x="191" y="129"/>
                    </a:lnTo>
                    <a:lnTo>
                      <a:pt x="187" y="129"/>
                    </a:lnTo>
                    <a:lnTo>
                      <a:pt x="185" y="129"/>
                    </a:lnTo>
                    <a:lnTo>
                      <a:pt x="185" y="135"/>
                    </a:lnTo>
                    <a:lnTo>
                      <a:pt x="181" y="139"/>
                    </a:lnTo>
                    <a:lnTo>
                      <a:pt x="175" y="141"/>
                    </a:lnTo>
                    <a:lnTo>
                      <a:pt x="174" y="141"/>
                    </a:lnTo>
                    <a:lnTo>
                      <a:pt x="175" y="137"/>
                    </a:lnTo>
                    <a:lnTo>
                      <a:pt x="181" y="131"/>
                    </a:lnTo>
                    <a:lnTo>
                      <a:pt x="181" y="127"/>
                    </a:lnTo>
                    <a:lnTo>
                      <a:pt x="183" y="122"/>
                    </a:lnTo>
                    <a:lnTo>
                      <a:pt x="187" y="122"/>
                    </a:lnTo>
                    <a:lnTo>
                      <a:pt x="193" y="123"/>
                    </a:lnTo>
                    <a:lnTo>
                      <a:pt x="197" y="118"/>
                    </a:lnTo>
                    <a:lnTo>
                      <a:pt x="197" y="106"/>
                    </a:lnTo>
                    <a:lnTo>
                      <a:pt x="193" y="94"/>
                    </a:lnTo>
                    <a:lnTo>
                      <a:pt x="189" y="84"/>
                    </a:lnTo>
                    <a:lnTo>
                      <a:pt x="189" y="82"/>
                    </a:lnTo>
                    <a:lnTo>
                      <a:pt x="187" y="82"/>
                    </a:lnTo>
                    <a:lnTo>
                      <a:pt x="187" y="81"/>
                    </a:lnTo>
                    <a:lnTo>
                      <a:pt x="187" y="77"/>
                    </a:lnTo>
                    <a:lnTo>
                      <a:pt x="187" y="75"/>
                    </a:lnTo>
                    <a:lnTo>
                      <a:pt x="187" y="71"/>
                    </a:lnTo>
                    <a:lnTo>
                      <a:pt x="187" y="69"/>
                    </a:lnTo>
                    <a:lnTo>
                      <a:pt x="185" y="67"/>
                    </a:lnTo>
                    <a:lnTo>
                      <a:pt x="183" y="65"/>
                    </a:lnTo>
                    <a:lnTo>
                      <a:pt x="177" y="59"/>
                    </a:lnTo>
                    <a:lnTo>
                      <a:pt x="174" y="59"/>
                    </a:lnTo>
                    <a:lnTo>
                      <a:pt x="174" y="65"/>
                    </a:lnTo>
                    <a:lnTo>
                      <a:pt x="177" y="73"/>
                    </a:lnTo>
                    <a:lnTo>
                      <a:pt x="179" y="82"/>
                    </a:lnTo>
                    <a:lnTo>
                      <a:pt x="177" y="92"/>
                    </a:lnTo>
                    <a:lnTo>
                      <a:pt x="174" y="92"/>
                    </a:lnTo>
                    <a:lnTo>
                      <a:pt x="168" y="94"/>
                    </a:lnTo>
                    <a:lnTo>
                      <a:pt x="166" y="98"/>
                    </a:lnTo>
                    <a:lnTo>
                      <a:pt x="164" y="104"/>
                    </a:lnTo>
                    <a:lnTo>
                      <a:pt x="162" y="108"/>
                    </a:lnTo>
                    <a:lnTo>
                      <a:pt x="162" y="112"/>
                    </a:lnTo>
                    <a:lnTo>
                      <a:pt x="162" y="114"/>
                    </a:lnTo>
                    <a:lnTo>
                      <a:pt x="164" y="118"/>
                    </a:lnTo>
                    <a:lnTo>
                      <a:pt x="164" y="120"/>
                    </a:lnTo>
                    <a:lnTo>
                      <a:pt x="164" y="120"/>
                    </a:lnTo>
                    <a:lnTo>
                      <a:pt x="164" y="120"/>
                    </a:lnTo>
                    <a:lnTo>
                      <a:pt x="156" y="135"/>
                    </a:lnTo>
                    <a:lnTo>
                      <a:pt x="154" y="137"/>
                    </a:lnTo>
                    <a:lnTo>
                      <a:pt x="152" y="141"/>
                    </a:lnTo>
                    <a:lnTo>
                      <a:pt x="152" y="135"/>
                    </a:lnTo>
                    <a:lnTo>
                      <a:pt x="154" y="133"/>
                    </a:lnTo>
                    <a:lnTo>
                      <a:pt x="154" y="131"/>
                    </a:lnTo>
                    <a:lnTo>
                      <a:pt x="152" y="127"/>
                    </a:lnTo>
                    <a:lnTo>
                      <a:pt x="148" y="122"/>
                    </a:lnTo>
                    <a:lnTo>
                      <a:pt x="146" y="120"/>
                    </a:lnTo>
                    <a:lnTo>
                      <a:pt x="144" y="122"/>
                    </a:lnTo>
                    <a:lnTo>
                      <a:pt x="142" y="122"/>
                    </a:lnTo>
                    <a:lnTo>
                      <a:pt x="134" y="122"/>
                    </a:lnTo>
                    <a:lnTo>
                      <a:pt x="132" y="122"/>
                    </a:lnTo>
                    <a:lnTo>
                      <a:pt x="131" y="120"/>
                    </a:lnTo>
                    <a:lnTo>
                      <a:pt x="132" y="118"/>
                    </a:lnTo>
                    <a:lnTo>
                      <a:pt x="134" y="116"/>
                    </a:lnTo>
                    <a:lnTo>
                      <a:pt x="148" y="114"/>
                    </a:lnTo>
                    <a:lnTo>
                      <a:pt x="148" y="112"/>
                    </a:lnTo>
                    <a:lnTo>
                      <a:pt x="146" y="108"/>
                    </a:lnTo>
                    <a:lnTo>
                      <a:pt x="146" y="102"/>
                    </a:lnTo>
                    <a:lnTo>
                      <a:pt x="144" y="100"/>
                    </a:lnTo>
                    <a:lnTo>
                      <a:pt x="140" y="100"/>
                    </a:lnTo>
                    <a:lnTo>
                      <a:pt x="138" y="100"/>
                    </a:lnTo>
                    <a:lnTo>
                      <a:pt x="136" y="102"/>
                    </a:lnTo>
                    <a:lnTo>
                      <a:pt x="132" y="104"/>
                    </a:lnTo>
                    <a:lnTo>
                      <a:pt x="125" y="104"/>
                    </a:lnTo>
                    <a:lnTo>
                      <a:pt x="123" y="104"/>
                    </a:lnTo>
                    <a:lnTo>
                      <a:pt x="123" y="102"/>
                    </a:lnTo>
                    <a:lnTo>
                      <a:pt x="125" y="102"/>
                    </a:lnTo>
                    <a:lnTo>
                      <a:pt x="127" y="100"/>
                    </a:lnTo>
                    <a:lnTo>
                      <a:pt x="131" y="96"/>
                    </a:lnTo>
                    <a:lnTo>
                      <a:pt x="132" y="94"/>
                    </a:lnTo>
                    <a:lnTo>
                      <a:pt x="138" y="96"/>
                    </a:lnTo>
                    <a:lnTo>
                      <a:pt x="140" y="96"/>
                    </a:lnTo>
                    <a:lnTo>
                      <a:pt x="142" y="90"/>
                    </a:lnTo>
                    <a:lnTo>
                      <a:pt x="140" y="82"/>
                    </a:lnTo>
                    <a:lnTo>
                      <a:pt x="131" y="67"/>
                    </a:lnTo>
                    <a:lnTo>
                      <a:pt x="132" y="65"/>
                    </a:lnTo>
                    <a:lnTo>
                      <a:pt x="134" y="63"/>
                    </a:lnTo>
                    <a:lnTo>
                      <a:pt x="140" y="63"/>
                    </a:lnTo>
                    <a:lnTo>
                      <a:pt x="140" y="67"/>
                    </a:lnTo>
                    <a:lnTo>
                      <a:pt x="140" y="67"/>
                    </a:lnTo>
                    <a:lnTo>
                      <a:pt x="142" y="69"/>
                    </a:lnTo>
                    <a:lnTo>
                      <a:pt x="144" y="69"/>
                    </a:lnTo>
                    <a:lnTo>
                      <a:pt x="146" y="67"/>
                    </a:lnTo>
                    <a:lnTo>
                      <a:pt x="144" y="63"/>
                    </a:lnTo>
                    <a:lnTo>
                      <a:pt x="146" y="59"/>
                    </a:lnTo>
                    <a:lnTo>
                      <a:pt x="150" y="53"/>
                    </a:lnTo>
                    <a:lnTo>
                      <a:pt x="152" y="51"/>
                    </a:lnTo>
                    <a:lnTo>
                      <a:pt x="150" y="47"/>
                    </a:lnTo>
                    <a:lnTo>
                      <a:pt x="146" y="49"/>
                    </a:lnTo>
                    <a:lnTo>
                      <a:pt x="140" y="53"/>
                    </a:lnTo>
                    <a:lnTo>
                      <a:pt x="129" y="57"/>
                    </a:lnTo>
                    <a:lnTo>
                      <a:pt x="121" y="57"/>
                    </a:lnTo>
                    <a:lnTo>
                      <a:pt x="119" y="53"/>
                    </a:lnTo>
                    <a:lnTo>
                      <a:pt x="91" y="49"/>
                    </a:lnTo>
                    <a:lnTo>
                      <a:pt x="88" y="51"/>
                    </a:lnTo>
                    <a:lnTo>
                      <a:pt x="66" y="40"/>
                    </a:lnTo>
                    <a:lnTo>
                      <a:pt x="68" y="45"/>
                    </a:lnTo>
                    <a:lnTo>
                      <a:pt x="72" y="49"/>
                    </a:lnTo>
                    <a:lnTo>
                      <a:pt x="86" y="53"/>
                    </a:lnTo>
                    <a:lnTo>
                      <a:pt x="95" y="55"/>
                    </a:lnTo>
                    <a:lnTo>
                      <a:pt x="101" y="57"/>
                    </a:lnTo>
                    <a:lnTo>
                      <a:pt x="105" y="67"/>
                    </a:lnTo>
                    <a:lnTo>
                      <a:pt x="105" y="79"/>
                    </a:lnTo>
                    <a:lnTo>
                      <a:pt x="101" y="86"/>
                    </a:lnTo>
                    <a:lnTo>
                      <a:pt x="95" y="84"/>
                    </a:lnTo>
                    <a:lnTo>
                      <a:pt x="91" y="90"/>
                    </a:lnTo>
                    <a:lnTo>
                      <a:pt x="88" y="90"/>
                    </a:lnTo>
                    <a:lnTo>
                      <a:pt x="84" y="90"/>
                    </a:lnTo>
                    <a:lnTo>
                      <a:pt x="80" y="88"/>
                    </a:lnTo>
                    <a:lnTo>
                      <a:pt x="80" y="90"/>
                    </a:lnTo>
                    <a:lnTo>
                      <a:pt x="84" y="94"/>
                    </a:lnTo>
                    <a:lnTo>
                      <a:pt x="84" y="96"/>
                    </a:lnTo>
                    <a:lnTo>
                      <a:pt x="84" y="98"/>
                    </a:lnTo>
                    <a:lnTo>
                      <a:pt x="82" y="102"/>
                    </a:lnTo>
                    <a:lnTo>
                      <a:pt x="82" y="104"/>
                    </a:lnTo>
                    <a:lnTo>
                      <a:pt x="82" y="110"/>
                    </a:lnTo>
                    <a:lnTo>
                      <a:pt x="80" y="112"/>
                    </a:lnTo>
                    <a:lnTo>
                      <a:pt x="78" y="114"/>
                    </a:lnTo>
                    <a:lnTo>
                      <a:pt x="72" y="116"/>
                    </a:lnTo>
                    <a:lnTo>
                      <a:pt x="66" y="120"/>
                    </a:lnTo>
                    <a:lnTo>
                      <a:pt x="62" y="120"/>
                    </a:lnTo>
                    <a:lnTo>
                      <a:pt x="56" y="120"/>
                    </a:lnTo>
                    <a:lnTo>
                      <a:pt x="54" y="120"/>
                    </a:lnTo>
                    <a:lnTo>
                      <a:pt x="52" y="118"/>
                    </a:lnTo>
                    <a:lnTo>
                      <a:pt x="50" y="12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60" name="Freeform 760">
                <a:extLst>
                  <a:ext uri="{FF2B5EF4-FFF2-40B4-BE49-F238E27FC236}">
                    <a16:creationId xmlns:a16="http://schemas.microsoft.com/office/drawing/2014/main" id="{5EDB7D1D-A2FB-4ED7-86B4-CAB1B49CF4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" y="1376"/>
                <a:ext cx="25" cy="72"/>
              </a:xfrm>
              <a:custGeom>
                <a:avLst/>
                <a:gdLst>
                  <a:gd name="T0" fmla="*/ 8 w 25"/>
                  <a:gd name="T1" fmla="*/ 39 h 72"/>
                  <a:gd name="T2" fmla="*/ 6 w 25"/>
                  <a:gd name="T3" fmla="*/ 42 h 72"/>
                  <a:gd name="T4" fmla="*/ 2 w 25"/>
                  <a:gd name="T5" fmla="*/ 42 h 72"/>
                  <a:gd name="T6" fmla="*/ 0 w 25"/>
                  <a:gd name="T7" fmla="*/ 46 h 72"/>
                  <a:gd name="T8" fmla="*/ 0 w 25"/>
                  <a:gd name="T9" fmla="*/ 52 h 72"/>
                  <a:gd name="T10" fmla="*/ 2 w 25"/>
                  <a:gd name="T11" fmla="*/ 62 h 72"/>
                  <a:gd name="T12" fmla="*/ 6 w 25"/>
                  <a:gd name="T13" fmla="*/ 70 h 72"/>
                  <a:gd name="T14" fmla="*/ 12 w 25"/>
                  <a:gd name="T15" fmla="*/ 72 h 72"/>
                  <a:gd name="T16" fmla="*/ 18 w 25"/>
                  <a:gd name="T17" fmla="*/ 66 h 72"/>
                  <a:gd name="T18" fmla="*/ 20 w 25"/>
                  <a:gd name="T19" fmla="*/ 60 h 72"/>
                  <a:gd name="T20" fmla="*/ 18 w 25"/>
                  <a:gd name="T21" fmla="*/ 50 h 72"/>
                  <a:gd name="T22" fmla="*/ 20 w 25"/>
                  <a:gd name="T23" fmla="*/ 44 h 72"/>
                  <a:gd name="T24" fmla="*/ 24 w 25"/>
                  <a:gd name="T25" fmla="*/ 41 h 72"/>
                  <a:gd name="T26" fmla="*/ 25 w 25"/>
                  <a:gd name="T27" fmla="*/ 35 h 72"/>
                  <a:gd name="T28" fmla="*/ 25 w 25"/>
                  <a:gd name="T29" fmla="*/ 33 h 72"/>
                  <a:gd name="T30" fmla="*/ 24 w 25"/>
                  <a:gd name="T31" fmla="*/ 35 h 72"/>
                  <a:gd name="T32" fmla="*/ 24 w 25"/>
                  <a:gd name="T33" fmla="*/ 39 h 72"/>
                  <a:gd name="T34" fmla="*/ 22 w 25"/>
                  <a:gd name="T35" fmla="*/ 39 h 72"/>
                  <a:gd name="T36" fmla="*/ 18 w 25"/>
                  <a:gd name="T37" fmla="*/ 35 h 72"/>
                  <a:gd name="T38" fmla="*/ 18 w 25"/>
                  <a:gd name="T39" fmla="*/ 33 h 72"/>
                  <a:gd name="T40" fmla="*/ 18 w 25"/>
                  <a:gd name="T41" fmla="*/ 29 h 72"/>
                  <a:gd name="T42" fmla="*/ 18 w 25"/>
                  <a:gd name="T43" fmla="*/ 27 h 72"/>
                  <a:gd name="T44" fmla="*/ 20 w 25"/>
                  <a:gd name="T45" fmla="*/ 23 h 72"/>
                  <a:gd name="T46" fmla="*/ 16 w 25"/>
                  <a:gd name="T47" fmla="*/ 21 h 72"/>
                  <a:gd name="T48" fmla="*/ 12 w 25"/>
                  <a:gd name="T49" fmla="*/ 19 h 72"/>
                  <a:gd name="T50" fmla="*/ 8 w 25"/>
                  <a:gd name="T51" fmla="*/ 13 h 72"/>
                  <a:gd name="T52" fmla="*/ 8 w 25"/>
                  <a:gd name="T53" fmla="*/ 1 h 72"/>
                  <a:gd name="T54" fmla="*/ 6 w 25"/>
                  <a:gd name="T55" fmla="*/ 0 h 72"/>
                  <a:gd name="T56" fmla="*/ 2 w 25"/>
                  <a:gd name="T57" fmla="*/ 3 h 72"/>
                  <a:gd name="T58" fmla="*/ 0 w 25"/>
                  <a:gd name="T59" fmla="*/ 7 h 72"/>
                  <a:gd name="T60" fmla="*/ 0 w 25"/>
                  <a:gd name="T61" fmla="*/ 13 h 72"/>
                  <a:gd name="T62" fmla="*/ 2 w 25"/>
                  <a:gd name="T63" fmla="*/ 17 h 72"/>
                  <a:gd name="T64" fmla="*/ 6 w 25"/>
                  <a:gd name="T65" fmla="*/ 19 h 72"/>
                  <a:gd name="T66" fmla="*/ 10 w 25"/>
                  <a:gd name="T67" fmla="*/ 21 h 72"/>
                  <a:gd name="T68" fmla="*/ 12 w 25"/>
                  <a:gd name="T69" fmla="*/ 25 h 72"/>
                  <a:gd name="T70" fmla="*/ 12 w 25"/>
                  <a:gd name="T71" fmla="*/ 31 h 72"/>
                  <a:gd name="T72" fmla="*/ 10 w 25"/>
                  <a:gd name="T73" fmla="*/ 35 h 72"/>
                  <a:gd name="T74" fmla="*/ 8 w 25"/>
                  <a:gd name="T75" fmla="*/ 3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5" h="72">
                    <a:moveTo>
                      <a:pt x="8" y="39"/>
                    </a:moveTo>
                    <a:lnTo>
                      <a:pt x="6" y="42"/>
                    </a:lnTo>
                    <a:lnTo>
                      <a:pt x="2" y="42"/>
                    </a:lnTo>
                    <a:lnTo>
                      <a:pt x="0" y="46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2" y="72"/>
                    </a:lnTo>
                    <a:lnTo>
                      <a:pt x="18" y="66"/>
                    </a:lnTo>
                    <a:lnTo>
                      <a:pt x="20" y="60"/>
                    </a:lnTo>
                    <a:lnTo>
                      <a:pt x="18" y="50"/>
                    </a:lnTo>
                    <a:lnTo>
                      <a:pt x="20" y="44"/>
                    </a:lnTo>
                    <a:lnTo>
                      <a:pt x="24" y="41"/>
                    </a:lnTo>
                    <a:lnTo>
                      <a:pt x="25" y="35"/>
                    </a:lnTo>
                    <a:lnTo>
                      <a:pt x="25" y="33"/>
                    </a:lnTo>
                    <a:lnTo>
                      <a:pt x="24" y="35"/>
                    </a:lnTo>
                    <a:lnTo>
                      <a:pt x="24" y="39"/>
                    </a:lnTo>
                    <a:lnTo>
                      <a:pt x="22" y="39"/>
                    </a:lnTo>
                    <a:lnTo>
                      <a:pt x="18" y="35"/>
                    </a:lnTo>
                    <a:lnTo>
                      <a:pt x="18" y="33"/>
                    </a:lnTo>
                    <a:lnTo>
                      <a:pt x="18" y="29"/>
                    </a:lnTo>
                    <a:lnTo>
                      <a:pt x="18" y="27"/>
                    </a:lnTo>
                    <a:lnTo>
                      <a:pt x="20" y="23"/>
                    </a:lnTo>
                    <a:lnTo>
                      <a:pt x="16" y="21"/>
                    </a:lnTo>
                    <a:lnTo>
                      <a:pt x="12" y="19"/>
                    </a:lnTo>
                    <a:lnTo>
                      <a:pt x="8" y="13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2" y="17"/>
                    </a:lnTo>
                    <a:lnTo>
                      <a:pt x="6" y="19"/>
                    </a:lnTo>
                    <a:lnTo>
                      <a:pt x="10" y="21"/>
                    </a:lnTo>
                    <a:lnTo>
                      <a:pt x="12" y="25"/>
                    </a:lnTo>
                    <a:lnTo>
                      <a:pt x="12" y="31"/>
                    </a:lnTo>
                    <a:lnTo>
                      <a:pt x="10" y="35"/>
                    </a:lnTo>
                    <a:lnTo>
                      <a:pt x="8" y="3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61" name="Freeform 761">
                <a:extLst>
                  <a:ext uri="{FF2B5EF4-FFF2-40B4-BE49-F238E27FC236}">
                    <a16:creationId xmlns:a16="http://schemas.microsoft.com/office/drawing/2014/main" id="{22118DF2-2972-4C29-A853-1FA52D3309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" y="841"/>
                <a:ext cx="480" cy="886"/>
              </a:xfrm>
              <a:custGeom>
                <a:avLst/>
                <a:gdLst>
                  <a:gd name="T0" fmla="*/ 187 w 480"/>
                  <a:gd name="T1" fmla="*/ 878 h 886"/>
                  <a:gd name="T2" fmla="*/ 213 w 480"/>
                  <a:gd name="T3" fmla="*/ 882 h 886"/>
                  <a:gd name="T4" fmla="*/ 242 w 480"/>
                  <a:gd name="T5" fmla="*/ 864 h 886"/>
                  <a:gd name="T6" fmla="*/ 258 w 480"/>
                  <a:gd name="T7" fmla="*/ 870 h 886"/>
                  <a:gd name="T8" fmla="*/ 275 w 480"/>
                  <a:gd name="T9" fmla="*/ 861 h 886"/>
                  <a:gd name="T10" fmla="*/ 240 w 480"/>
                  <a:gd name="T11" fmla="*/ 820 h 886"/>
                  <a:gd name="T12" fmla="*/ 230 w 480"/>
                  <a:gd name="T13" fmla="*/ 790 h 886"/>
                  <a:gd name="T14" fmla="*/ 261 w 480"/>
                  <a:gd name="T15" fmla="*/ 775 h 886"/>
                  <a:gd name="T16" fmla="*/ 258 w 480"/>
                  <a:gd name="T17" fmla="*/ 726 h 886"/>
                  <a:gd name="T18" fmla="*/ 250 w 480"/>
                  <a:gd name="T19" fmla="*/ 685 h 886"/>
                  <a:gd name="T20" fmla="*/ 269 w 480"/>
                  <a:gd name="T21" fmla="*/ 671 h 886"/>
                  <a:gd name="T22" fmla="*/ 248 w 480"/>
                  <a:gd name="T23" fmla="*/ 624 h 886"/>
                  <a:gd name="T24" fmla="*/ 322 w 480"/>
                  <a:gd name="T25" fmla="*/ 620 h 886"/>
                  <a:gd name="T26" fmla="*/ 314 w 480"/>
                  <a:gd name="T27" fmla="*/ 576 h 886"/>
                  <a:gd name="T28" fmla="*/ 349 w 480"/>
                  <a:gd name="T29" fmla="*/ 581 h 886"/>
                  <a:gd name="T30" fmla="*/ 365 w 480"/>
                  <a:gd name="T31" fmla="*/ 529 h 886"/>
                  <a:gd name="T32" fmla="*/ 381 w 480"/>
                  <a:gd name="T33" fmla="*/ 453 h 886"/>
                  <a:gd name="T34" fmla="*/ 396 w 480"/>
                  <a:gd name="T35" fmla="*/ 472 h 886"/>
                  <a:gd name="T36" fmla="*/ 402 w 480"/>
                  <a:gd name="T37" fmla="*/ 492 h 886"/>
                  <a:gd name="T38" fmla="*/ 429 w 480"/>
                  <a:gd name="T39" fmla="*/ 466 h 886"/>
                  <a:gd name="T40" fmla="*/ 472 w 480"/>
                  <a:gd name="T41" fmla="*/ 427 h 886"/>
                  <a:gd name="T42" fmla="*/ 379 w 480"/>
                  <a:gd name="T43" fmla="*/ 363 h 886"/>
                  <a:gd name="T44" fmla="*/ 353 w 480"/>
                  <a:gd name="T45" fmla="*/ 376 h 886"/>
                  <a:gd name="T46" fmla="*/ 342 w 480"/>
                  <a:gd name="T47" fmla="*/ 320 h 886"/>
                  <a:gd name="T48" fmla="*/ 285 w 480"/>
                  <a:gd name="T49" fmla="*/ 341 h 886"/>
                  <a:gd name="T50" fmla="*/ 365 w 480"/>
                  <a:gd name="T51" fmla="*/ 318 h 886"/>
                  <a:gd name="T52" fmla="*/ 367 w 480"/>
                  <a:gd name="T53" fmla="*/ 244 h 886"/>
                  <a:gd name="T54" fmla="*/ 322 w 480"/>
                  <a:gd name="T55" fmla="*/ 205 h 886"/>
                  <a:gd name="T56" fmla="*/ 396 w 480"/>
                  <a:gd name="T57" fmla="*/ 169 h 886"/>
                  <a:gd name="T58" fmla="*/ 408 w 480"/>
                  <a:gd name="T59" fmla="*/ 1 h 886"/>
                  <a:gd name="T60" fmla="*/ 205 w 480"/>
                  <a:gd name="T61" fmla="*/ 187 h 886"/>
                  <a:gd name="T62" fmla="*/ 23 w 480"/>
                  <a:gd name="T63" fmla="*/ 316 h 886"/>
                  <a:gd name="T64" fmla="*/ 58 w 480"/>
                  <a:gd name="T65" fmla="*/ 335 h 886"/>
                  <a:gd name="T66" fmla="*/ 82 w 480"/>
                  <a:gd name="T67" fmla="*/ 335 h 886"/>
                  <a:gd name="T68" fmla="*/ 70 w 480"/>
                  <a:gd name="T69" fmla="*/ 326 h 886"/>
                  <a:gd name="T70" fmla="*/ 80 w 480"/>
                  <a:gd name="T71" fmla="*/ 287 h 886"/>
                  <a:gd name="T72" fmla="*/ 125 w 480"/>
                  <a:gd name="T73" fmla="*/ 236 h 886"/>
                  <a:gd name="T74" fmla="*/ 160 w 480"/>
                  <a:gd name="T75" fmla="*/ 226 h 886"/>
                  <a:gd name="T76" fmla="*/ 277 w 480"/>
                  <a:gd name="T77" fmla="*/ 208 h 886"/>
                  <a:gd name="T78" fmla="*/ 248 w 480"/>
                  <a:gd name="T79" fmla="*/ 240 h 886"/>
                  <a:gd name="T80" fmla="*/ 181 w 480"/>
                  <a:gd name="T81" fmla="*/ 257 h 886"/>
                  <a:gd name="T82" fmla="*/ 183 w 480"/>
                  <a:gd name="T83" fmla="*/ 302 h 886"/>
                  <a:gd name="T84" fmla="*/ 203 w 480"/>
                  <a:gd name="T85" fmla="*/ 326 h 886"/>
                  <a:gd name="T86" fmla="*/ 211 w 480"/>
                  <a:gd name="T87" fmla="*/ 370 h 886"/>
                  <a:gd name="T88" fmla="*/ 199 w 480"/>
                  <a:gd name="T89" fmla="*/ 347 h 886"/>
                  <a:gd name="T90" fmla="*/ 176 w 480"/>
                  <a:gd name="T91" fmla="*/ 347 h 886"/>
                  <a:gd name="T92" fmla="*/ 172 w 480"/>
                  <a:gd name="T93" fmla="*/ 329 h 886"/>
                  <a:gd name="T94" fmla="*/ 152 w 480"/>
                  <a:gd name="T95" fmla="*/ 294 h 886"/>
                  <a:gd name="T96" fmla="*/ 107 w 480"/>
                  <a:gd name="T97" fmla="*/ 343 h 886"/>
                  <a:gd name="T98" fmla="*/ 107 w 480"/>
                  <a:gd name="T99" fmla="*/ 378 h 886"/>
                  <a:gd name="T100" fmla="*/ 78 w 480"/>
                  <a:gd name="T101" fmla="*/ 361 h 886"/>
                  <a:gd name="T102" fmla="*/ 33 w 480"/>
                  <a:gd name="T103" fmla="*/ 365 h 886"/>
                  <a:gd name="T104" fmla="*/ 23 w 480"/>
                  <a:gd name="T105" fmla="*/ 326 h 886"/>
                  <a:gd name="T106" fmla="*/ 4 w 480"/>
                  <a:gd name="T107" fmla="*/ 535 h 886"/>
                  <a:gd name="T108" fmla="*/ 49 w 480"/>
                  <a:gd name="T109" fmla="*/ 556 h 886"/>
                  <a:gd name="T110" fmla="*/ 8 w 480"/>
                  <a:gd name="T111" fmla="*/ 540 h 886"/>
                  <a:gd name="T112" fmla="*/ 2 w 480"/>
                  <a:gd name="T113" fmla="*/ 671 h 886"/>
                  <a:gd name="T114" fmla="*/ 33 w 480"/>
                  <a:gd name="T115" fmla="*/ 658 h 886"/>
                  <a:gd name="T116" fmla="*/ 93 w 480"/>
                  <a:gd name="T117" fmla="*/ 738 h 886"/>
                  <a:gd name="T118" fmla="*/ 72 w 480"/>
                  <a:gd name="T119" fmla="*/ 771 h 886"/>
                  <a:gd name="T120" fmla="*/ 80 w 480"/>
                  <a:gd name="T121" fmla="*/ 786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80" h="886">
                    <a:moveTo>
                      <a:pt x="97" y="861"/>
                    </a:moveTo>
                    <a:lnTo>
                      <a:pt x="99" y="861"/>
                    </a:lnTo>
                    <a:lnTo>
                      <a:pt x="107" y="861"/>
                    </a:lnTo>
                    <a:lnTo>
                      <a:pt x="109" y="861"/>
                    </a:lnTo>
                    <a:lnTo>
                      <a:pt x="117" y="857"/>
                    </a:lnTo>
                    <a:lnTo>
                      <a:pt x="121" y="857"/>
                    </a:lnTo>
                    <a:lnTo>
                      <a:pt x="121" y="857"/>
                    </a:lnTo>
                    <a:lnTo>
                      <a:pt x="135" y="859"/>
                    </a:lnTo>
                    <a:lnTo>
                      <a:pt x="148" y="864"/>
                    </a:lnTo>
                    <a:lnTo>
                      <a:pt x="168" y="868"/>
                    </a:lnTo>
                    <a:lnTo>
                      <a:pt x="183" y="872"/>
                    </a:lnTo>
                    <a:lnTo>
                      <a:pt x="187" y="874"/>
                    </a:lnTo>
                    <a:lnTo>
                      <a:pt x="187" y="874"/>
                    </a:lnTo>
                    <a:lnTo>
                      <a:pt x="187" y="874"/>
                    </a:lnTo>
                    <a:lnTo>
                      <a:pt x="187" y="878"/>
                    </a:lnTo>
                    <a:lnTo>
                      <a:pt x="187" y="878"/>
                    </a:lnTo>
                    <a:lnTo>
                      <a:pt x="187" y="882"/>
                    </a:lnTo>
                    <a:lnTo>
                      <a:pt x="189" y="884"/>
                    </a:lnTo>
                    <a:lnTo>
                      <a:pt x="189" y="886"/>
                    </a:lnTo>
                    <a:lnTo>
                      <a:pt x="191" y="886"/>
                    </a:lnTo>
                    <a:lnTo>
                      <a:pt x="191" y="886"/>
                    </a:lnTo>
                    <a:lnTo>
                      <a:pt x="205" y="886"/>
                    </a:lnTo>
                    <a:lnTo>
                      <a:pt x="207" y="886"/>
                    </a:lnTo>
                    <a:lnTo>
                      <a:pt x="207" y="886"/>
                    </a:lnTo>
                    <a:lnTo>
                      <a:pt x="209" y="884"/>
                    </a:lnTo>
                    <a:lnTo>
                      <a:pt x="209" y="884"/>
                    </a:lnTo>
                    <a:lnTo>
                      <a:pt x="209" y="884"/>
                    </a:lnTo>
                    <a:lnTo>
                      <a:pt x="209" y="884"/>
                    </a:lnTo>
                    <a:lnTo>
                      <a:pt x="211" y="884"/>
                    </a:lnTo>
                    <a:lnTo>
                      <a:pt x="213" y="882"/>
                    </a:lnTo>
                    <a:lnTo>
                      <a:pt x="213" y="882"/>
                    </a:lnTo>
                    <a:lnTo>
                      <a:pt x="213" y="882"/>
                    </a:lnTo>
                    <a:lnTo>
                      <a:pt x="215" y="882"/>
                    </a:lnTo>
                    <a:lnTo>
                      <a:pt x="219" y="884"/>
                    </a:lnTo>
                    <a:lnTo>
                      <a:pt x="219" y="884"/>
                    </a:lnTo>
                    <a:lnTo>
                      <a:pt x="222" y="884"/>
                    </a:lnTo>
                    <a:lnTo>
                      <a:pt x="224" y="884"/>
                    </a:lnTo>
                    <a:lnTo>
                      <a:pt x="224" y="884"/>
                    </a:lnTo>
                    <a:lnTo>
                      <a:pt x="224" y="884"/>
                    </a:lnTo>
                    <a:lnTo>
                      <a:pt x="224" y="884"/>
                    </a:lnTo>
                    <a:lnTo>
                      <a:pt x="224" y="884"/>
                    </a:lnTo>
                    <a:lnTo>
                      <a:pt x="224" y="878"/>
                    </a:lnTo>
                    <a:lnTo>
                      <a:pt x="228" y="874"/>
                    </a:lnTo>
                    <a:lnTo>
                      <a:pt x="234" y="868"/>
                    </a:lnTo>
                    <a:lnTo>
                      <a:pt x="238" y="864"/>
                    </a:lnTo>
                    <a:lnTo>
                      <a:pt x="238" y="864"/>
                    </a:lnTo>
                    <a:lnTo>
                      <a:pt x="240" y="864"/>
                    </a:lnTo>
                    <a:lnTo>
                      <a:pt x="242" y="864"/>
                    </a:lnTo>
                    <a:lnTo>
                      <a:pt x="244" y="863"/>
                    </a:lnTo>
                    <a:lnTo>
                      <a:pt x="244" y="861"/>
                    </a:lnTo>
                    <a:lnTo>
                      <a:pt x="246" y="859"/>
                    </a:lnTo>
                    <a:lnTo>
                      <a:pt x="248" y="851"/>
                    </a:lnTo>
                    <a:lnTo>
                      <a:pt x="250" y="851"/>
                    </a:lnTo>
                    <a:lnTo>
                      <a:pt x="254" y="849"/>
                    </a:lnTo>
                    <a:lnTo>
                      <a:pt x="258" y="851"/>
                    </a:lnTo>
                    <a:lnTo>
                      <a:pt x="260" y="855"/>
                    </a:lnTo>
                    <a:lnTo>
                      <a:pt x="254" y="857"/>
                    </a:lnTo>
                    <a:lnTo>
                      <a:pt x="254" y="857"/>
                    </a:lnTo>
                    <a:lnTo>
                      <a:pt x="254" y="861"/>
                    </a:lnTo>
                    <a:lnTo>
                      <a:pt x="258" y="864"/>
                    </a:lnTo>
                    <a:lnTo>
                      <a:pt x="258" y="866"/>
                    </a:lnTo>
                    <a:lnTo>
                      <a:pt x="256" y="866"/>
                    </a:lnTo>
                    <a:lnTo>
                      <a:pt x="256" y="868"/>
                    </a:lnTo>
                    <a:lnTo>
                      <a:pt x="258" y="870"/>
                    </a:lnTo>
                    <a:lnTo>
                      <a:pt x="261" y="870"/>
                    </a:lnTo>
                    <a:lnTo>
                      <a:pt x="267" y="870"/>
                    </a:lnTo>
                    <a:lnTo>
                      <a:pt x="269" y="870"/>
                    </a:lnTo>
                    <a:lnTo>
                      <a:pt x="271" y="876"/>
                    </a:lnTo>
                    <a:lnTo>
                      <a:pt x="273" y="878"/>
                    </a:lnTo>
                    <a:lnTo>
                      <a:pt x="275" y="876"/>
                    </a:lnTo>
                    <a:lnTo>
                      <a:pt x="277" y="874"/>
                    </a:lnTo>
                    <a:lnTo>
                      <a:pt x="277" y="870"/>
                    </a:lnTo>
                    <a:lnTo>
                      <a:pt x="275" y="868"/>
                    </a:lnTo>
                    <a:lnTo>
                      <a:pt x="275" y="866"/>
                    </a:lnTo>
                    <a:lnTo>
                      <a:pt x="273" y="864"/>
                    </a:lnTo>
                    <a:lnTo>
                      <a:pt x="271" y="863"/>
                    </a:lnTo>
                    <a:lnTo>
                      <a:pt x="269" y="863"/>
                    </a:lnTo>
                    <a:lnTo>
                      <a:pt x="269" y="859"/>
                    </a:lnTo>
                    <a:lnTo>
                      <a:pt x="271" y="859"/>
                    </a:lnTo>
                    <a:lnTo>
                      <a:pt x="275" y="861"/>
                    </a:lnTo>
                    <a:lnTo>
                      <a:pt x="277" y="861"/>
                    </a:lnTo>
                    <a:lnTo>
                      <a:pt x="279" y="859"/>
                    </a:lnTo>
                    <a:lnTo>
                      <a:pt x="279" y="859"/>
                    </a:lnTo>
                    <a:lnTo>
                      <a:pt x="279" y="857"/>
                    </a:lnTo>
                    <a:lnTo>
                      <a:pt x="275" y="835"/>
                    </a:lnTo>
                    <a:lnTo>
                      <a:pt x="273" y="831"/>
                    </a:lnTo>
                    <a:lnTo>
                      <a:pt x="271" y="829"/>
                    </a:lnTo>
                    <a:lnTo>
                      <a:pt x="261" y="825"/>
                    </a:lnTo>
                    <a:lnTo>
                      <a:pt x="258" y="823"/>
                    </a:lnTo>
                    <a:lnTo>
                      <a:pt x="252" y="816"/>
                    </a:lnTo>
                    <a:lnTo>
                      <a:pt x="248" y="814"/>
                    </a:lnTo>
                    <a:lnTo>
                      <a:pt x="246" y="816"/>
                    </a:lnTo>
                    <a:lnTo>
                      <a:pt x="244" y="816"/>
                    </a:lnTo>
                    <a:lnTo>
                      <a:pt x="244" y="818"/>
                    </a:lnTo>
                    <a:lnTo>
                      <a:pt x="242" y="818"/>
                    </a:lnTo>
                    <a:lnTo>
                      <a:pt x="240" y="820"/>
                    </a:lnTo>
                    <a:lnTo>
                      <a:pt x="236" y="818"/>
                    </a:lnTo>
                    <a:lnTo>
                      <a:pt x="226" y="822"/>
                    </a:lnTo>
                    <a:lnTo>
                      <a:pt x="224" y="822"/>
                    </a:lnTo>
                    <a:lnTo>
                      <a:pt x="224" y="818"/>
                    </a:lnTo>
                    <a:lnTo>
                      <a:pt x="226" y="816"/>
                    </a:lnTo>
                    <a:lnTo>
                      <a:pt x="234" y="814"/>
                    </a:lnTo>
                    <a:lnTo>
                      <a:pt x="238" y="812"/>
                    </a:lnTo>
                    <a:lnTo>
                      <a:pt x="240" y="810"/>
                    </a:lnTo>
                    <a:lnTo>
                      <a:pt x="244" y="804"/>
                    </a:lnTo>
                    <a:lnTo>
                      <a:pt x="240" y="798"/>
                    </a:lnTo>
                    <a:lnTo>
                      <a:pt x="238" y="796"/>
                    </a:lnTo>
                    <a:lnTo>
                      <a:pt x="236" y="794"/>
                    </a:lnTo>
                    <a:lnTo>
                      <a:pt x="230" y="794"/>
                    </a:lnTo>
                    <a:lnTo>
                      <a:pt x="228" y="794"/>
                    </a:lnTo>
                    <a:lnTo>
                      <a:pt x="228" y="792"/>
                    </a:lnTo>
                    <a:lnTo>
                      <a:pt x="230" y="790"/>
                    </a:lnTo>
                    <a:lnTo>
                      <a:pt x="232" y="790"/>
                    </a:lnTo>
                    <a:lnTo>
                      <a:pt x="236" y="790"/>
                    </a:lnTo>
                    <a:lnTo>
                      <a:pt x="236" y="788"/>
                    </a:lnTo>
                    <a:lnTo>
                      <a:pt x="234" y="788"/>
                    </a:lnTo>
                    <a:lnTo>
                      <a:pt x="232" y="786"/>
                    </a:lnTo>
                    <a:lnTo>
                      <a:pt x="232" y="784"/>
                    </a:lnTo>
                    <a:lnTo>
                      <a:pt x="234" y="782"/>
                    </a:lnTo>
                    <a:lnTo>
                      <a:pt x="236" y="782"/>
                    </a:lnTo>
                    <a:lnTo>
                      <a:pt x="238" y="781"/>
                    </a:lnTo>
                    <a:lnTo>
                      <a:pt x="242" y="779"/>
                    </a:lnTo>
                    <a:lnTo>
                      <a:pt x="244" y="777"/>
                    </a:lnTo>
                    <a:lnTo>
                      <a:pt x="246" y="775"/>
                    </a:lnTo>
                    <a:lnTo>
                      <a:pt x="246" y="773"/>
                    </a:lnTo>
                    <a:lnTo>
                      <a:pt x="248" y="773"/>
                    </a:lnTo>
                    <a:lnTo>
                      <a:pt x="258" y="775"/>
                    </a:lnTo>
                    <a:lnTo>
                      <a:pt x="261" y="775"/>
                    </a:lnTo>
                    <a:lnTo>
                      <a:pt x="263" y="773"/>
                    </a:lnTo>
                    <a:lnTo>
                      <a:pt x="265" y="771"/>
                    </a:lnTo>
                    <a:lnTo>
                      <a:pt x="265" y="769"/>
                    </a:lnTo>
                    <a:lnTo>
                      <a:pt x="267" y="765"/>
                    </a:lnTo>
                    <a:lnTo>
                      <a:pt x="267" y="761"/>
                    </a:lnTo>
                    <a:lnTo>
                      <a:pt x="269" y="759"/>
                    </a:lnTo>
                    <a:lnTo>
                      <a:pt x="269" y="757"/>
                    </a:lnTo>
                    <a:lnTo>
                      <a:pt x="269" y="751"/>
                    </a:lnTo>
                    <a:lnTo>
                      <a:pt x="267" y="749"/>
                    </a:lnTo>
                    <a:lnTo>
                      <a:pt x="265" y="749"/>
                    </a:lnTo>
                    <a:lnTo>
                      <a:pt x="260" y="738"/>
                    </a:lnTo>
                    <a:lnTo>
                      <a:pt x="258" y="736"/>
                    </a:lnTo>
                    <a:lnTo>
                      <a:pt x="258" y="734"/>
                    </a:lnTo>
                    <a:lnTo>
                      <a:pt x="260" y="732"/>
                    </a:lnTo>
                    <a:lnTo>
                      <a:pt x="260" y="730"/>
                    </a:lnTo>
                    <a:lnTo>
                      <a:pt x="258" y="726"/>
                    </a:lnTo>
                    <a:lnTo>
                      <a:pt x="256" y="724"/>
                    </a:lnTo>
                    <a:lnTo>
                      <a:pt x="252" y="722"/>
                    </a:lnTo>
                    <a:lnTo>
                      <a:pt x="252" y="720"/>
                    </a:lnTo>
                    <a:lnTo>
                      <a:pt x="252" y="718"/>
                    </a:lnTo>
                    <a:lnTo>
                      <a:pt x="252" y="714"/>
                    </a:lnTo>
                    <a:lnTo>
                      <a:pt x="252" y="712"/>
                    </a:lnTo>
                    <a:lnTo>
                      <a:pt x="250" y="706"/>
                    </a:lnTo>
                    <a:lnTo>
                      <a:pt x="250" y="704"/>
                    </a:lnTo>
                    <a:lnTo>
                      <a:pt x="252" y="702"/>
                    </a:lnTo>
                    <a:lnTo>
                      <a:pt x="258" y="702"/>
                    </a:lnTo>
                    <a:lnTo>
                      <a:pt x="260" y="700"/>
                    </a:lnTo>
                    <a:lnTo>
                      <a:pt x="261" y="697"/>
                    </a:lnTo>
                    <a:lnTo>
                      <a:pt x="261" y="693"/>
                    </a:lnTo>
                    <a:lnTo>
                      <a:pt x="261" y="689"/>
                    </a:lnTo>
                    <a:lnTo>
                      <a:pt x="252" y="685"/>
                    </a:lnTo>
                    <a:lnTo>
                      <a:pt x="250" y="685"/>
                    </a:lnTo>
                    <a:lnTo>
                      <a:pt x="248" y="685"/>
                    </a:lnTo>
                    <a:lnTo>
                      <a:pt x="240" y="687"/>
                    </a:lnTo>
                    <a:lnTo>
                      <a:pt x="238" y="687"/>
                    </a:lnTo>
                    <a:lnTo>
                      <a:pt x="234" y="685"/>
                    </a:lnTo>
                    <a:lnTo>
                      <a:pt x="238" y="683"/>
                    </a:lnTo>
                    <a:lnTo>
                      <a:pt x="244" y="681"/>
                    </a:lnTo>
                    <a:lnTo>
                      <a:pt x="246" y="677"/>
                    </a:lnTo>
                    <a:lnTo>
                      <a:pt x="246" y="677"/>
                    </a:lnTo>
                    <a:lnTo>
                      <a:pt x="244" y="675"/>
                    </a:lnTo>
                    <a:lnTo>
                      <a:pt x="246" y="675"/>
                    </a:lnTo>
                    <a:lnTo>
                      <a:pt x="250" y="677"/>
                    </a:lnTo>
                    <a:lnTo>
                      <a:pt x="252" y="677"/>
                    </a:lnTo>
                    <a:lnTo>
                      <a:pt x="256" y="677"/>
                    </a:lnTo>
                    <a:lnTo>
                      <a:pt x="260" y="675"/>
                    </a:lnTo>
                    <a:lnTo>
                      <a:pt x="269" y="671"/>
                    </a:lnTo>
                    <a:lnTo>
                      <a:pt x="269" y="671"/>
                    </a:lnTo>
                    <a:lnTo>
                      <a:pt x="269" y="667"/>
                    </a:lnTo>
                    <a:lnTo>
                      <a:pt x="269" y="665"/>
                    </a:lnTo>
                    <a:lnTo>
                      <a:pt x="271" y="663"/>
                    </a:lnTo>
                    <a:lnTo>
                      <a:pt x="275" y="663"/>
                    </a:lnTo>
                    <a:lnTo>
                      <a:pt x="277" y="661"/>
                    </a:lnTo>
                    <a:lnTo>
                      <a:pt x="283" y="656"/>
                    </a:lnTo>
                    <a:lnTo>
                      <a:pt x="291" y="648"/>
                    </a:lnTo>
                    <a:lnTo>
                      <a:pt x="295" y="646"/>
                    </a:lnTo>
                    <a:lnTo>
                      <a:pt x="277" y="646"/>
                    </a:lnTo>
                    <a:lnTo>
                      <a:pt x="275" y="644"/>
                    </a:lnTo>
                    <a:lnTo>
                      <a:pt x="273" y="642"/>
                    </a:lnTo>
                    <a:lnTo>
                      <a:pt x="271" y="638"/>
                    </a:lnTo>
                    <a:lnTo>
                      <a:pt x="269" y="636"/>
                    </a:lnTo>
                    <a:lnTo>
                      <a:pt x="261" y="626"/>
                    </a:lnTo>
                    <a:lnTo>
                      <a:pt x="260" y="624"/>
                    </a:lnTo>
                    <a:lnTo>
                      <a:pt x="248" y="624"/>
                    </a:lnTo>
                    <a:lnTo>
                      <a:pt x="244" y="622"/>
                    </a:lnTo>
                    <a:lnTo>
                      <a:pt x="244" y="622"/>
                    </a:lnTo>
                    <a:lnTo>
                      <a:pt x="244" y="620"/>
                    </a:lnTo>
                    <a:lnTo>
                      <a:pt x="244" y="620"/>
                    </a:lnTo>
                    <a:lnTo>
                      <a:pt x="244" y="618"/>
                    </a:lnTo>
                    <a:lnTo>
                      <a:pt x="248" y="620"/>
                    </a:lnTo>
                    <a:lnTo>
                      <a:pt x="265" y="620"/>
                    </a:lnTo>
                    <a:lnTo>
                      <a:pt x="267" y="622"/>
                    </a:lnTo>
                    <a:lnTo>
                      <a:pt x="273" y="626"/>
                    </a:lnTo>
                    <a:lnTo>
                      <a:pt x="283" y="632"/>
                    </a:lnTo>
                    <a:lnTo>
                      <a:pt x="289" y="630"/>
                    </a:lnTo>
                    <a:lnTo>
                      <a:pt x="297" y="626"/>
                    </a:lnTo>
                    <a:lnTo>
                      <a:pt x="314" y="620"/>
                    </a:lnTo>
                    <a:lnTo>
                      <a:pt x="318" y="622"/>
                    </a:lnTo>
                    <a:lnTo>
                      <a:pt x="320" y="622"/>
                    </a:lnTo>
                    <a:lnTo>
                      <a:pt x="322" y="620"/>
                    </a:lnTo>
                    <a:lnTo>
                      <a:pt x="320" y="617"/>
                    </a:lnTo>
                    <a:lnTo>
                      <a:pt x="322" y="613"/>
                    </a:lnTo>
                    <a:lnTo>
                      <a:pt x="328" y="609"/>
                    </a:lnTo>
                    <a:lnTo>
                      <a:pt x="328" y="607"/>
                    </a:lnTo>
                    <a:lnTo>
                      <a:pt x="324" y="607"/>
                    </a:lnTo>
                    <a:lnTo>
                      <a:pt x="322" y="607"/>
                    </a:lnTo>
                    <a:lnTo>
                      <a:pt x="322" y="605"/>
                    </a:lnTo>
                    <a:lnTo>
                      <a:pt x="322" y="599"/>
                    </a:lnTo>
                    <a:lnTo>
                      <a:pt x="326" y="593"/>
                    </a:lnTo>
                    <a:lnTo>
                      <a:pt x="326" y="589"/>
                    </a:lnTo>
                    <a:lnTo>
                      <a:pt x="324" y="589"/>
                    </a:lnTo>
                    <a:lnTo>
                      <a:pt x="301" y="583"/>
                    </a:lnTo>
                    <a:lnTo>
                      <a:pt x="297" y="579"/>
                    </a:lnTo>
                    <a:lnTo>
                      <a:pt x="301" y="577"/>
                    </a:lnTo>
                    <a:lnTo>
                      <a:pt x="308" y="577"/>
                    </a:lnTo>
                    <a:lnTo>
                      <a:pt x="314" y="576"/>
                    </a:lnTo>
                    <a:lnTo>
                      <a:pt x="314" y="576"/>
                    </a:lnTo>
                    <a:lnTo>
                      <a:pt x="316" y="574"/>
                    </a:lnTo>
                    <a:lnTo>
                      <a:pt x="316" y="572"/>
                    </a:lnTo>
                    <a:lnTo>
                      <a:pt x="318" y="570"/>
                    </a:lnTo>
                    <a:lnTo>
                      <a:pt x="336" y="570"/>
                    </a:lnTo>
                    <a:lnTo>
                      <a:pt x="338" y="570"/>
                    </a:lnTo>
                    <a:lnTo>
                      <a:pt x="340" y="572"/>
                    </a:lnTo>
                    <a:lnTo>
                      <a:pt x="340" y="574"/>
                    </a:lnTo>
                    <a:lnTo>
                      <a:pt x="340" y="577"/>
                    </a:lnTo>
                    <a:lnTo>
                      <a:pt x="342" y="579"/>
                    </a:lnTo>
                    <a:lnTo>
                      <a:pt x="344" y="583"/>
                    </a:lnTo>
                    <a:lnTo>
                      <a:pt x="345" y="583"/>
                    </a:lnTo>
                    <a:lnTo>
                      <a:pt x="347" y="585"/>
                    </a:lnTo>
                    <a:lnTo>
                      <a:pt x="349" y="583"/>
                    </a:lnTo>
                    <a:lnTo>
                      <a:pt x="349" y="583"/>
                    </a:lnTo>
                    <a:lnTo>
                      <a:pt x="349" y="581"/>
                    </a:lnTo>
                    <a:lnTo>
                      <a:pt x="351" y="579"/>
                    </a:lnTo>
                    <a:lnTo>
                      <a:pt x="351" y="576"/>
                    </a:lnTo>
                    <a:lnTo>
                      <a:pt x="349" y="574"/>
                    </a:lnTo>
                    <a:lnTo>
                      <a:pt x="349" y="572"/>
                    </a:lnTo>
                    <a:lnTo>
                      <a:pt x="349" y="570"/>
                    </a:lnTo>
                    <a:lnTo>
                      <a:pt x="351" y="568"/>
                    </a:lnTo>
                    <a:lnTo>
                      <a:pt x="353" y="568"/>
                    </a:lnTo>
                    <a:lnTo>
                      <a:pt x="355" y="568"/>
                    </a:lnTo>
                    <a:lnTo>
                      <a:pt x="355" y="566"/>
                    </a:lnTo>
                    <a:lnTo>
                      <a:pt x="359" y="560"/>
                    </a:lnTo>
                    <a:lnTo>
                      <a:pt x="359" y="558"/>
                    </a:lnTo>
                    <a:lnTo>
                      <a:pt x="361" y="556"/>
                    </a:lnTo>
                    <a:lnTo>
                      <a:pt x="361" y="550"/>
                    </a:lnTo>
                    <a:lnTo>
                      <a:pt x="361" y="542"/>
                    </a:lnTo>
                    <a:lnTo>
                      <a:pt x="361" y="538"/>
                    </a:lnTo>
                    <a:lnTo>
                      <a:pt x="365" y="529"/>
                    </a:lnTo>
                    <a:lnTo>
                      <a:pt x="363" y="527"/>
                    </a:lnTo>
                    <a:lnTo>
                      <a:pt x="361" y="527"/>
                    </a:lnTo>
                    <a:lnTo>
                      <a:pt x="357" y="529"/>
                    </a:lnTo>
                    <a:lnTo>
                      <a:pt x="359" y="523"/>
                    </a:lnTo>
                    <a:lnTo>
                      <a:pt x="361" y="519"/>
                    </a:lnTo>
                    <a:lnTo>
                      <a:pt x="363" y="513"/>
                    </a:lnTo>
                    <a:lnTo>
                      <a:pt x="361" y="505"/>
                    </a:lnTo>
                    <a:lnTo>
                      <a:pt x="359" y="499"/>
                    </a:lnTo>
                    <a:lnTo>
                      <a:pt x="357" y="495"/>
                    </a:lnTo>
                    <a:lnTo>
                      <a:pt x="355" y="490"/>
                    </a:lnTo>
                    <a:lnTo>
                      <a:pt x="357" y="484"/>
                    </a:lnTo>
                    <a:lnTo>
                      <a:pt x="361" y="478"/>
                    </a:lnTo>
                    <a:lnTo>
                      <a:pt x="371" y="470"/>
                    </a:lnTo>
                    <a:lnTo>
                      <a:pt x="375" y="464"/>
                    </a:lnTo>
                    <a:lnTo>
                      <a:pt x="379" y="454"/>
                    </a:lnTo>
                    <a:lnTo>
                      <a:pt x="381" y="453"/>
                    </a:lnTo>
                    <a:lnTo>
                      <a:pt x="383" y="453"/>
                    </a:lnTo>
                    <a:lnTo>
                      <a:pt x="385" y="453"/>
                    </a:lnTo>
                    <a:lnTo>
                      <a:pt x="385" y="449"/>
                    </a:lnTo>
                    <a:lnTo>
                      <a:pt x="387" y="445"/>
                    </a:lnTo>
                    <a:lnTo>
                      <a:pt x="388" y="447"/>
                    </a:lnTo>
                    <a:lnTo>
                      <a:pt x="392" y="445"/>
                    </a:lnTo>
                    <a:lnTo>
                      <a:pt x="394" y="447"/>
                    </a:lnTo>
                    <a:lnTo>
                      <a:pt x="396" y="449"/>
                    </a:lnTo>
                    <a:lnTo>
                      <a:pt x="398" y="451"/>
                    </a:lnTo>
                    <a:lnTo>
                      <a:pt x="400" y="451"/>
                    </a:lnTo>
                    <a:lnTo>
                      <a:pt x="402" y="451"/>
                    </a:lnTo>
                    <a:lnTo>
                      <a:pt x="398" y="460"/>
                    </a:lnTo>
                    <a:lnTo>
                      <a:pt x="398" y="464"/>
                    </a:lnTo>
                    <a:lnTo>
                      <a:pt x="400" y="470"/>
                    </a:lnTo>
                    <a:lnTo>
                      <a:pt x="398" y="474"/>
                    </a:lnTo>
                    <a:lnTo>
                      <a:pt x="396" y="472"/>
                    </a:lnTo>
                    <a:lnTo>
                      <a:pt x="392" y="470"/>
                    </a:lnTo>
                    <a:lnTo>
                      <a:pt x="390" y="468"/>
                    </a:lnTo>
                    <a:lnTo>
                      <a:pt x="387" y="468"/>
                    </a:lnTo>
                    <a:lnTo>
                      <a:pt x="381" y="474"/>
                    </a:lnTo>
                    <a:lnTo>
                      <a:pt x="377" y="474"/>
                    </a:lnTo>
                    <a:lnTo>
                      <a:pt x="381" y="478"/>
                    </a:lnTo>
                    <a:lnTo>
                      <a:pt x="385" y="484"/>
                    </a:lnTo>
                    <a:lnTo>
                      <a:pt x="387" y="486"/>
                    </a:lnTo>
                    <a:lnTo>
                      <a:pt x="390" y="484"/>
                    </a:lnTo>
                    <a:lnTo>
                      <a:pt x="394" y="482"/>
                    </a:lnTo>
                    <a:lnTo>
                      <a:pt x="396" y="482"/>
                    </a:lnTo>
                    <a:lnTo>
                      <a:pt x="404" y="484"/>
                    </a:lnTo>
                    <a:lnTo>
                      <a:pt x="404" y="486"/>
                    </a:lnTo>
                    <a:lnTo>
                      <a:pt x="406" y="488"/>
                    </a:lnTo>
                    <a:lnTo>
                      <a:pt x="404" y="490"/>
                    </a:lnTo>
                    <a:lnTo>
                      <a:pt x="402" y="492"/>
                    </a:lnTo>
                    <a:lnTo>
                      <a:pt x="400" y="494"/>
                    </a:lnTo>
                    <a:lnTo>
                      <a:pt x="402" y="495"/>
                    </a:lnTo>
                    <a:lnTo>
                      <a:pt x="404" y="501"/>
                    </a:lnTo>
                    <a:lnTo>
                      <a:pt x="404" y="503"/>
                    </a:lnTo>
                    <a:lnTo>
                      <a:pt x="408" y="505"/>
                    </a:lnTo>
                    <a:lnTo>
                      <a:pt x="410" y="503"/>
                    </a:lnTo>
                    <a:lnTo>
                      <a:pt x="412" y="503"/>
                    </a:lnTo>
                    <a:lnTo>
                      <a:pt x="414" y="501"/>
                    </a:lnTo>
                    <a:lnTo>
                      <a:pt x="414" y="495"/>
                    </a:lnTo>
                    <a:lnTo>
                      <a:pt x="412" y="488"/>
                    </a:lnTo>
                    <a:lnTo>
                      <a:pt x="410" y="482"/>
                    </a:lnTo>
                    <a:lnTo>
                      <a:pt x="416" y="474"/>
                    </a:lnTo>
                    <a:lnTo>
                      <a:pt x="420" y="468"/>
                    </a:lnTo>
                    <a:lnTo>
                      <a:pt x="424" y="464"/>
                    </a:lnTo>
                    <a:lnTo>
                      <a:pt x="428" y="464"/>
                    </a:lnTo>
                    <a:lnTo>
                      <a:pt x="429" y="466"/>
                    </a:lnTo>
                    <a:lnTo>
                      <a:pt x="431" y="466"/>
                    </a:lnTo>
                    <a:lnTo>
                      <a:pt x="433" y="468"/>
                    </a:lnTo>
                    <a:lnTo>
                      <a:pt x="433" y="472"/>
                    </a:lnTo>
                    <a:lnTo>
                      <a:pt x="433" y="476"/>
                    </a:lnTo>
                    <a:lnTo>
                      <a:pt x="431" y="478"/>
                    </a:lnTo>
                    <a:lnTo>
                      <a:pt x="428" y="478"/>
                    </a:lnTo>
                    <a:lnTo>
                      <a:pt x="431" y="486"/>
                    </a:lnTo>
                    <a:lnTo>
                      <a:pt x="437" y="490"/>
                    </a:lnTo>
                    <a:lnTo>
                      <a:pt x="441" y="488"/>
                    </a:lnTo>
                    <a:lnTo>
                      <a:pt x="445" y="480"/>
                    </a:lnTo>
                    <a:lnTo>
                      <a:pt x="443" y="470"/>
                    </a:lnTo>
                    <a:lnTo>
                      <a:pt x="445" y="466"/>
                    </a:lnTo>
                    <a:lnTo>
                      <a:pt x="447" y="462"/>
                    </a:lnTo>
                    <a:lnTo>
                      <a:pt x="455" y="456"/>
                    </a:lnTo>
                    <a:lnTo>
                      <a:pt x="471" y="435"/>
                    </a:lnTo>
                    <a:lnTo>
                      <a:pt x="472" y="427"/>
                    </a:lnTo>
                    <a:lnTo>
                      <a:pt x="472" y="421"/>
                    </a:lnTo>
                    <a:lnTo>
                      <a:pt x="474" y="413"/>
                    </a:lnTo>
                    <a:lnTo>
                      <a:pt x="476" y="406"/>
                    </a:lnTo>
                    <a:lnTo>
                      <a:pt x="480" y="402"/>
                    </a:lnTo>
                    <a:lnTo>
                      <a:pt x="480" y="400"/>
                    </a:lnTo>
                    <a:lnTo>
                      <a:pt x="469" y="390"/>
                    </a:lnTo>
                    <a:lnTo>
                      <a:pt x="465" y="380"/>
                    </a:lnTo>
                    <a:lnTo>
                      <a:pt x="461" y="376"/>
                    </a:lnTo>
                    <a:lnTo>
                      <a:pt x="457" y="374"/>
                    </a:lnTo>
                    <a:lnTo>
                      <a:pt x="451" y="372"/>
                    </a:lnTo>
                    <a:lnTo>
                      <a:pt x="410" y="380"/>
                    </a:lnTo>
                    <a:lnTo>
                      <a:pt x="396" y="378"/>
                    </a:lnTo>
                    <a:lnTo>
                      <a:pt x="385" y="370"/>
                    </a:lnTo>
                    <a:lnTo>
                      <a:pt x="379" y="367"/>
                    </a:lnTo>
                    <a:lnTo>
                      <a:pt x="379" y="365"/>
                    </a:lnTo>
                    <a:lnTo>
                      <a:pt x="379" y="363"/>
                    </a:lnTo>
                    <a:lnTo>
                      <a:pt x="377" y="357"/>
                    </a:lnTo>
                    <a:lnTo>
                      <a:pt x="377" y="355"/>
                    </a:lnTo>
                    <a:lnTo>
                      <a:pt x="373" y="353"/>
                    </a:lnTo>
                    <a:lnTo>
                      <a:pt x="371" y="355"/>
                    </a:lnTo>
                    <a:lnTo>
                      <a:pt x="365" y="363"/>
                    </a:lnTo>
                    <a:lnTo>
                      <a:pt x="357" y="369"/>
                    </a:lnTo>
                    <a:lnTo>
                      <a:pt x="357" y="372"/>
                    </a:lnTo>
                    <a:lnTo>
                      <a:pt x="355" y="380"/>
                    </a:lnTo>
                    <a:lnTo>
                      <a:pt x="355" y="392"/>
                    </a:lnTo>
                    <a:lnTo>
                      <a:pt x="353" y="394"/>
                    </a:lnTo>
                    <a:lnTo>
                      <a:pt x="349" y="394"/>
                    </a:lnTo>
                    <a:lnTo>
                      <a:pt x="351" y="390"/>
                    </a:lnTo>
                    <a:lnTo>
                      <a:pt x="353" y="386"/>
                    </a:lnTo>
                    <a:lnTo>
                      <a:pt x="353" y="382"/>
                    </a:lnTo>
                    <a:lnTo>
                      <a:pt x="353" y="378"/>
                    </a:lnTo>
                    <a:lnTo>
                      <a:pt x="353" y="376"/>
                    </a:lnTo>
                    <a:lnTo>
                      <a:pt x="353" y="367"/>
                    </a:lnTo>
                    <a:lnTo>
                      <a:pt x="355" y="367"/>
                    </a:lnTo>
                    <a:lnTo>
                      <a:pt x="363" y="357"/>
                    </a:lnTo>
                    <a:lnTo>
                      <a:pt x="375" y="347"/>
                    </a:lnTo>
                    <a:lnTo>
                      <a:pt x="379" y="339"/>
                    </a:lnTo>
                    <a:lnTo>
                      <a:pt x="377" y="329"/>
                    </a:lnTo>
                    <a:lnTo>
                      <a:pt x="375" y="322"/>
                    </a:lnTo>
                    <a:lnTo>
                      <a:pt x="371" y="324"/>
                    </a:lnTo>
                    <a:lnTo>
                      <a:pt x="365" y="328"/>
                    </a:lnTo>
                    <a:lnTo>
                      <a:pt x="359" y="328"/>
                    </a:lnTo>
                    <a:lnTo>
                      <a:pt x="351" y="326"/>
                    </a:lnTo>
                    <a:lnTo>
                      <a:pt x="347" y="326"/>
                    </a:lnTo>
                    <a:lnTo>
                      <a:pt x="349" y="322"/>
                    </a:lnTo>
                    <a:lnTo>
                      <a:pt x="349" y="322"/>
                    </a:lnTo>
                    <a:lnTo>
                      <a:pt x="344" y="320"/>
                    </a:lnTo>
                    <a:lnTo>
                      <a:pt x="342" y="320"/>
                    </a:lnTo>
                    <a:lnTo>
                      <a:pt x="340" y="324"/>
                    </a:lnTo>
                    <a:lnTo>
                      <a:pt x="340" y="326"/>
                    </a:lnTo>
                    <a:lnTo>
                      <a:pt x="338" y="328"/>
                    </a:lnTo>
                    <a:lnTo>
                      <a:pt x="336" y="329"/>
                    </a:lnTo>
                    <a:lnTo>
                      <a:pt x="334" y="329"/>
                    </a:lnTo>
                    <a:lnTo>
                      <a:pt x="332" y="329"/>
                    </a:lnTo>
                    <a:lnTo>
                      <a:pt x="330" y="328"/>
                    </a:lnTo>
                    <a:lnTo>
                      <a:pt x="328" y="328"/>
                    </a:lnTo>
                    <a:lnTo>
                      <a:pt x="328" y="328"/>
                    </a:lnTo>
                    <a:lnTo>
                      <a:pt x="328" y="329"/>
                    </a:lnTo>
                    <a:lnTo>
                      <a:pt x="328" y="331"/>
                    </a:lnTo>
                    <a:lnTo>
                      <a:pt x="326" y="331"/>
                    </a:lnTo>
                    <a:lnTo>
                      <a:pt x="324" y="331"/>
                    </a:lnTo>
                    <a:lnTo>
                      <a:pt x="318" y="335"/>
                    </a:lnTo>
                    <a:lnTo>
                      <a:pt x="293" y="343"/>
                    </a:lnTo>
                    <a:lnTo>
                      <a:pt x="285" y="341"/>
                    </a:lnTo>
                    <a:lnTo>
                      <a:pt x="285" y="339"/>
                    </a:lnTo>
                    <a:lnTo>
                      <a:pt x="308" y="335"/>
                    </a:lnTo>
                    <a:lnTo>
                      <a:pt x="316" y="331"/>
                    </a:lnTo>
                    <a:lnTo>
                      <a:pt x="322" y="328"/>
                    </a:lnTo>
                    <a:lnTo>
                      <a:pt x="328" y="324"/>
                    </a:lnTo>
                    <a:lnTo>
                      <a:pt x="330" y="324"/>
                    </a:lnTo>
                    <a:lnTo>
                      <a:pt x="334" y="322"/>
                    </a:lnTo>
                    <a:lnTo>
                      <a:pt x="336" y="322"/>
                    </a:lnTo>
                    <a:lnTo>
                      <a:pt x="338" y="318"/>
                    </a:lnTo>
                    <a:lnTo>
                      <a:pt x="344" y="318"/>
                    </a:lnTo>
                    <a:lnTo>
                      <a:pt x="345" y="318"/>
                    </a:lnTo>
                    <a:lnTo>
                      <a:pt x="349" y="320"/>
                    </a:lnTo>
                    <a:lnTo>
                      <a:pt x="353" y="324"/>
                    </a:lnTo>
                    <a:lnTo>
                      <a:pt x="355" y="320"/>
                    </a:lnTo>
                    <a:lnTo>
                      <a:pt x="357" y="318"/>
                    </a:lnTo>
                    <a:lnTo>
                      <a:pt x="365" y="318"/>
                    </a:lnTo>
                    <a:lnTo>
                      <a:pt x="367" y="320"/>
                    </a:lnTo>
                    <a:lnTo>
                      <a:pt x="371" y="322"/>
                    </a:lnTo>
                    <a:lnTo>
                      <a:pt x="373" y="322"/>
                    </a:lnTo>
                    <a:lnTo>
                      <a:pt x="375" y="318"/>
                    </a:lnTo>
                    <a:lnTo>
                      <a:pt x="375" y="316"/>
                    </a:lnTo>
                    <a:lnTo>
                      <a:pt x="373" y="314"/>
                    </a:lnTo>
                    <a:lnTo>
                      <a:pt x="371" y="312"/>
                    </a:lnTo>
                    <a:lnTo>
                      <a:pt x="367" y="300"/>
                    </a:lnTo>
                    <a:lnTo>
                      <a:pt x="367" y="292"/>
                    </a:lnTo>
                    <a:lnTo>
                      <a:pt x="365" y="281"/>
                    </a:lnTo>
                    <a:lnTo>
                      <a:pt x="363" y="265"/>
                    </a:lnTo>
                    <a:lnTo>
                      <a:pt x="363" y="261"/>
                    </a:lnTo>
                    <a:lnTo>
                      <a:pt x="363" y="257"/>
                    </a:lnTo>
                    <a:lnTo>
                      <a:pt x="365" y="249"/>
                    </a:lnTo>
                    <a:lnTo>
                      <a:pt x="365" y="246"/>
                    </a:lnTo>
                    <a:lnTo>
                      <a:pt x="367" y="244"/>
                    </a:lnTo>
                    <a:lnTo>
                      <a:pt x="371" y="238"/>
                    </a:lnTo>
                    <a:lnTo>
                      <a:pt x="367" y="236"/>
                    </a:lnTo>
                    <a:lnTo>
                      <a:pt x="353" y="236"/>
                    </a:lnTo>
                    <a:lnTo>
                      <a:pt x="351" y="234"/>
                    </a:lnTo>
                    <a:lnTo>
                      <a:pt x="344" y="228"/>
                    </a:lnTo>
                    <a:lnTo>
                      <a:pt x="338" y="226"/>
                    </a:lnTo>
                    <a:lnTo>
                      <a:pt x="322" y="208"/>
                    </a:lnTo>
                    <a:lnTo>
                      <a:pt x="318" y="206"/>
                    </a:lnTo>
                    <a:lnTo>
                      <a:pt x="316" y="208"/>
                    </a:lnTo>
                    <a:lnTo>
                      <a:pt x="312" y="210"/>
                    </a:lnTo>
                    <a:lnTo>
                      <a:pt x="308" y="214"/>
                    </a:lnTo>
                    <a:lnTo>
                      <a:pt x="306" y="214"/>
                    </a:lnTo>
                    <a:lnTo>
                      <a:pt x="308" y="212"/>
                    </a:lnTo>
                    <a:lnTo>
                      <a:pt x="314" y="206"/>
                    </a:lnTo>
                    <a:lnTo>
                      <a:pt x="318" y="205"/>
                    </a:lnTo>
                    <a:lnTo>
                      <a:pt x="322" y="205"/>
                    </a:lnTo>
                    <a:lnTo>
                      <a:pt x="328" y="210"/>
                    </a:lnTo>
                    <a:lnTo>
                      <a:pt x="334" y="214"/>
                    </a:lnTo>
                    <a:lnTo>
                      <a:pt x="344" y="224"/>
                    </a:lnTo>
                    <a:lnTo>
                      <a:pt x="359" y="234"/>
                    </a:lnTo>
                    <a:lnTo>
                      <a:pt x="361" y="234"/>
                    </a:lnTo>
                    <a:lnTo>
                      <a:pt x="363" y="232"/>
                    </a:lnTo>
                    <a:lnTo>
                      <a:pt x="371" y="232"/>
                    </a:lnTo>
                    <a:lnTo>
                      <a:pt x="373" y="232"/>
                    </a:lnTo>
                    <a:lnTo>
                      <a:pt x="375" y="232"/>
                    </a:lnTo>
                    <a:lnTo>
                      <a:pt x="377" y="228"/>
                    </a:lnTo>
                    <a:lnTo>
                      <a:pt x="379" y="224"/>
                    </a:lnTo>
                    <a:lnTo>
                      <a:pt x="383" y="208"/>
                    </a:lnTo>
                    <a:lnTo>
                      <a:pt x="385" y="197"/>
                    </a:lnTo>
                    <a:lnTo>
                      <a:pt x="387" y="187"/>
                    </a:lnTo>
                    <a:lnTo>
                      <a:pt x="392" y="175"/>
                    </a:lnTo>
                    <a:lnTo>
                      <a:pt x="396" y="169"/>
                    </a:lnTo>
                    <a:lnTo>
                      <a:pt x="406" y="164"/>
                    </a:lnTo>
                    <a:lnTo>
                      <a:pt x="408" y="160"/>
                    </a:lnTo>
                    <a:lnTo>
                      <a:pt x="404" y="128"/>
                    </a:lnTo>
                    <a:lnTo>
                      <a:pt x="404" y="111"/>
                    </a:lnTo>
                    <a:lnTo>
                      <a:pt x="410" y="97"/>
                    </a:lnTo>
                    <a:lnTo>
                      <a:pt x="404" y="83"/>
                    </a:lnTo>
                    <a:lnTo>
                      <a:pt x="394" y="70"/>
                    </a:lnTo>
                    <a:lnTo>
                      <a:pt x="390" y="56"/>
                    </a:lnTo>
                    <a:lnTo>
                      <a:pt x="396" y="37"/>
                    </a:lnTo>
                    <a:lnTo>
                      <a:pt x="410" y="15"/>
                    </a:lnTo>
                    <a:lnTo>
                      <a:pt x="418" y="7"/>
                    </a:lnTo>
                    <a:lnTo>
                      <a:pt x="428" y="3"/>
                    </a:lnTo>
                    <a:lnTo>
                      <a:pt x="424" y="1"/>
                    </a:lnTo>
                    <a:lnTo>
                      <a:pt x="418" y="0"/>
                    </a:lnTo>
                    <a:lnTo>
                      <a:pt x="414" y="0"/>
                    </a:lnTo>
                    <a:lnTo>
                      <a:pt x="408" y="1"/>
                    </a:lnTo>
                    <a:lnTo>
                      <a:pt x="398" y="9"/>
                    </a:lnTo>
                    <a:lnTo>
                      <a:pt x="377" y="31"/>
                    </a:lnTo>
                    <a:lnTo>
                      <a:pt x="365" y="41"/>
                    </a:lnTo>
                    <a:lnTo>
                      <a:pt x="351" y="46"/>
                    </a:lnTo>
                    <a:lnTo>
                      <a:pt x="336" y="48"/>
                    </a:lnTo>
                    <a:lnTo>
                      <a:pt x="320" y="48"/>
                    </a:lnTo>
                    <a:lnTo>
                      <a:pt x="312" y="50"/>
                    </a:lnTo>
                    <a:lnTo>
                      <a:pt x="308" y="56"/>
                    </a:lnTo>
                    <a:lnTo>
                      <a:pt x="306" y="56"/>
                    </a:lnTo>
                    <a:lnTo>
                      <a:pt x="301" y="68"/>
                    </a:lnTo>
                    <a:lnTo>
                      <a:pt x="289" y="82"/>
                    </a:lnTo>
                    <a:lnTo>
                      <a:pt x="283" y="91"/>
                    </a:lnTo>
                    <a:lnTo>
                      <a:pt x="248" y="158"/>
                    </a:lnTo>
                    <a:lnTo>
                      <a:pt x="234" y="171"/>
                    </a:lnTo>
                    <a:lnTo>
                      <a:pt x="220" y="181"/>
                    </a:lnTo>
                    <a:lnTo>
                      <a:pt x="205" y="187"/>
                    </a:lnTo>
                    <a:lnTo>
                      <a:pt x="189" y="189"/>
                    </a:lnTo>
                    <a:lnTo>
                      <a:pt x="148" y="183"/>
                    </a:lnTo>
                    <a:lnTo>
                      <a:pt x="144" y="183"/>
                    </a:lnTo>
                    <a:lnTo>
                      <a:pt x="136" y="193"/>
                    </a:lnTo>
                    <a:lnTo>
                      <a:pt x="131" y="197"/>
                    </a:lnTo>
                    <a:lnTo>
                      <a:pt x="115" y="201"/>
                    </a:lnTo>
                    <a:lnTo>
                      <a:pt x="107" y="199"/>
                    </a:lnTo>
                    <a:lnTo>
                      <a:pt x="93" y="195"/>
                    </a:lnTo>
                    <a:lnTo>
                      <a:pt x="88" y="195"/>
                    </a:lnTo>
                    <a:lnTo>
                      <a:pt x="82" y="199"/>
                    </a:lnTo>
                    <a:lnTo>
                      <a:pt x="68" y="222"/>
                    </a:lnTo>
                    <a:lnTo>
                      <a:pt x="58" y="230"/>
                    </a:lnTo>
                    <a:lnTo>
                      <a:pt x="29" y="281"/>
                    </a:lnTo>
                    <a:lnTo>
                      <a:pt x="25" y="288"/>
                    </a:lnTo>
                    <a:lnTo>
                      <a:pt x="23" y="302"/>
                    </a:lnTo>
                    <a:lnTo>
                      <a:pt x="23" y="316"/>
                    </a:lnTo>
                    <a:lnTo>
                      <a:pt x="25" y="322"/>
                    </a:lnTo>
                    <a:lnTo>
                      <a:pt x="27" y="322"/>
                    </a:lnTo>
                    <a:lnTo>
                      <a:pt x="27" y="318"/>
                    </a:lnTo>
                    <a:lnTo>
                      <a:pt x="27" y="312"/>
                    </a:lnTo>
                    <a:lnTo>
                      <a:pt x="25" y="300"/>
                    </a:lnTo>
                    <a:lnTo>
                      <a:pt x="27" y="300"/>
                    </a:lnTo>
                    <a:lnTo>
                      <a:pt x="31" y="304"/>
                    </a:lnTo>
                    <a:lnTo>
                      <a:pt x="35" y="304"/>
                    </a:lnTo>
                    <a:lnTo>
                      <a:pt x="35" y="306"/>
                    </a:lnTo>
                    <a:lnTo>
                      <a:pt x="37" y="318"/>
                    </a:lnTo>
                    <a:lnTo>
                      <a:pt x="39" y="322"/>
                    </a:lnTo>
                    <a:lnTo>
                      <a:pt x="43" y="326"/>
                    </a:lnTo>
                    <a:lnTo>
                      <a:pt x="47" y="329"/>
                    </a:lnTo>
                    <a:lnTo>
                      <a:pt x="49" y="331"/>
                    </a:lnTo>
                    <a:lnTo>
                      <a:pt x="52" y="331"/>
                    </a:lnTo>
                    <a:lnTo>
                      <a:pt x="58" y="335"/>
                    </a:lnTo>
                    <a:lnTo>
                      <a:pt x="62" y="337"/>
                    </a:lnTo>
                    <a:lnTo>
                      <a:pt x="64" y="343"/>
                    </a:lnTo>
                    <a:lnTo>
                      <a:pt x="64" y="347"/>
                    </a:lnTo>
                    <a:lnTo>
                      <a:pt x="70" y="351"/>
                    </a:lnTo>
                    <a:lnTo>
                      <a:pt x="74" y="357"/>
                    </a:lnTo>
                    <a:lnTo>
                      <a:pt x="78" y="357"/>
                    </a:lnTo>
                    <a:lnTo>
                      <a:pt x="76" y="355"/>
                    </a:lnTo>
                    <a:lnTo>
                      <a:pt x="76" y="353"/>
                    </a:lnTo>
                    <a:lnTo>
                      <a:pt x="76" y="353"/>
                    </a:lnTo>
                    <a:lnTo>
                      <a:pt x="80" y="353"/>
                    </a:lnTo>
                    <a:lnTo>
                      <a:pt x="82" y="351"/>
                    </a:lnTo>
                    <a:lnTo>
                      <a:pt x="84" y="349"/>
                    </a:lnTo>
                    <a:lnTo>
                      <a:pt x="86" y="345"/>
                    </a:lnTo>
                    <a:lnTo>
                      <a:pt x="84" y="341"/>
                    </a:lnTo>
                    <a:lnTo>
                      <a:pt x="82" y="337"/>
                    </a:lnTo>
                    <a:lnTo>
                      <a:pt x="82" y="335"/>
                    </a:lnTo>
                    <a:lnTo>
                      <a:pt x="82" y="329"/>
                    </a:lnTo>
                    <a:lnTo>
                      <a:pt x="82" y="328"/>
                    </a:lnTo>
                    <a:lnTo>
                      <a:pt x="80" y="326"/>
                    </a:lnTo>
                    <a:lnTo>
                      <a:pt x="68" y="331"/>
                    </a:lnTo>
                    <a:lnTo>
                      <a:pt x="66" y="331"/>
                    </a:lnTo>
                    <a:lnTo>
                      <a:pt x="62" y="328"/>
                    </a:lnTo>
                    <a:lnTo>
                      <a:pt x="60" y="328"/>
                    </a:lnTo>
                    <a:lnTo>
                      <a:pt x="52" y="329"/>
                    </a:lnTo>
                    <a:lnTo>
                      <a:pt x="52" y="328"/>
                    </a:lnTo>
                    <a:lnTo>
                      <a:pt x="54" y="326"/>
                    </a:lnTo>
                    <a:lnTo>
                      <a:pt x="58" y="324"/>
                    </a:lnTo>
                    <a:lnTo>
                      <a:pt x="60" y="324"/>
                    </a:lnTo>
                    <a:lnTo>
                      <a:pt x="62" y="324"/>
                    </a:lnTo>
                    <a:lnTo>
                      <a:pt x="66" y="326"/>
                    </a:lnTo>
                    <a:lnTo>
                      <a:pt x="68" y="328"/>
                    </a:lnTo>
                    <a:lnTo>
                      <a:pt x="70" y="326"/>
                    </a:lnTo>
                    <a:lnTo>
                      <a:pt x="72" y="326"/>
                    </a:lnTo>
                    <a:lnTo>
                      <a:pt x="72" y="322"/>
                    </a:lnTo>
                    <a:lnTo>
                      <a:pt x="72" y="318"/>
                    </a:lnTo>
                    <a:lnTo>
                      <a:pt x="70" y="318"/>
                    </a:lnTo>
                    <a:lnTo>
                      <a:pt x="64" y="318"/>
                    </a:lnTo>
                    <a:lnTo>
                      <a:pt x="64" y="318"/>
                    </a:lnTo>
                    <a:lnTo>
                      <a:pt x="66" y="314"/>
                    </a:lnTo>
                    <a:lnTo>
                      <a:pt x="66" y="310"/>
                    </a:lnTo>
                    <a:lnTo>
                      <a:pt x="64" y="298"/>
                    </a:lnTo>
                    <a:lnTo>
                      <a:pt x="66" y="294"/>
                    </a:lnTo>
                    <a:lnTo>
                      <a:pt x="68" y="292"/>
                    </a:lnTo>
                    <a:lnTo>
                      <a:pt x="72" y="292"/>
                    </a:lnTo>
                    <a:lnTo>
                      <a:pt x="72" y="290"/>
                    </a:lnTo>
                    <a:lnTo>
                      <a:pt x="74" y="288"/>
                    </a:lnTo>
                    <a:lnTo>
                      <a:pt x="76" y="288"/>
                    </a:lnTo>
                    <a:lnTo>
                      <a:pt x="80" y="287"/>
                    </a:lnTo>
                    <a:lnTo>
                      <a:pt x="84" y="279"/>
                    </a:lnTo>
                    <a:lnTo>
                      <a:pt x="86" y="279"/>
                    </a:lnTo>
                    <a:lnTo>
                      <a:pt x="86" y="277"/>
                    </a:lnTo>
                    <a:lnTo>
                      <a:pt x="86" y="273"/>
                    </a:lnTo>
                    <a:lnTo>
                      <a:pt x="86" y="273"/>
                    </a:lnTo>
                    <a:lnTo>
                      <a:pt x="88" y="265"/>
                    </a:lnTo>
                    <a:lnTo>
                      <a:pt x="90" y="261"/>
                    </a:lnTo>
                    <a:lnTo>
                      <a:pt x="92" y="259"/>
                    </a:lnTo>
                    <a:lnTo>
                      <a:pt x="95" y="255"/>
                    </a:lnTo>
                    <a:lnTo>
                      <a:pt x="95" y="249"/>
                    </a:lnTo>
                    <a:lnTo>
                      <a:pt x="97" y="247"/>
                    </a:lnTo>
                    <a:lnTo>
                      <a:pt x="101" y="246"/>
                    </a:lnTo>
                    <a:lnTo>
                      <a:pt x="105" y="244"/>
                    </a:lnTo>
                    <a:lnTo>
                      <a:pt x="111" y="246"/>
                    </a:lnTo>
                    <a:lnTo>
                      <a:pt x="119" y="242"/>
                    </a:lnTo>
                    <a:lnTo>
                      <a:pt x="125" y="236"/>
                    </a:lnTo>
                    <a:lnTo>
                      <a:pt x="123" y="234"/>
                    </a:lnTo>
                    <a:lnTo>
                      <a:pt x="127" y="232"/>
                    </a:lnTo>
                    <a:lnTo>
                      <a:pt x="131" y="230"/>
                    </a:lnTo>
                    <a:lnTo>
                      <a:pt x="133" y="232"/>
                    </a:lnTo>
                    <a:lnTo>
                      <a:pt x="135" y="236"/>
                    </a:lnTo>
                    <a:lnTo>
                      <a:pt x="136" y="236"/>
                    </a:lnTo>
                    <a:lnTo>
                      <a:pt x="138" y="232"/>
                    </a:lnTo>
                    <a:lnTo>
                      <a:pt x="142" y="228"/>
                    </a:lnTo>
                    <a:lnTo>
                      <a:pt x="144" y="228"/>
                    </a:lnTo>
                    <a:lnTo>
                      <a:pt x="148" y="226"/>
                    </a:lnTo>
                    <a:lnTo>
                      <a:pt x="150" y="224"/>
                    </a:lnTo>
                    <a:lnTo>
                      <a:pt x="154" y="222"/>
                    </a:lnTo>
                    <a:lnTo>
                      <a:pt x="156" y="224"/>
                    </a:lnTo>
                    <a:lnTo>
                      <a:pt x="156" y="226"/>
                    </a:lnTo>
                    <a:lnTo>
                      <a:pt x="158" y="226"/>
                    </a:lnTo>
                    <a:lnTo>
                      <a:pt x="160" y="226"/>
                    </a:lnTo>
                    <a:lnTo>
                      <a:pt x="164" y="222"/>
                    </a:lnTo>
                    <a:lnTo>
                      <a:pt x="170" y="220"/>
                    </a:lnTo>
                    <a:lnTo>
                      <a:pt x="172" y="218"/>
                    </a:lnTo>
                    <a:lnTo>
                      <a:pt x="170" y="214"/>
                    </a:lnTo>
                    <a:lnTo>
                      <a:pt x="189" y="230"/>
                    </a:lnTo>
                    <a:lnTo>
                      <a:pt x="191" y="232"/>
                    </a:lnTo>
                    <a:lnTo>
                      <a:pt x="195" y="232"/>
                    </a:lnTo>
                    <a:lnTo>
                      <a:pt x="234" y="216"/>
                    </a:lnTo>
                    <a:lnTo>
                      <a:pt x="248" y="216"/>
                    </a:lnTo>
                    <a:lnTo>
                      <a:pt x="256" y="214"/>
                    </a:lnTo>
                    <a:lnTo>
                      <a:pt x="261" y="208"/>
                    </a:lnTo>
                    <a:lnTo>
                      <a:pt x="263" y="208"/>
                    </a:lnTo>
                    <a:lnTo>
                      <a:pt x="267" y="210"/>
                    </a:lnTo>
                    <a:lnTo>
                      <a:pt x="269" y="212"/>
                    </a:lnTo>
                    <a:lnTo>
                      <a:pt x="273" y="212"/>
                    </a:lnTo>
                    <a:lnTo>
                      <a:pt x="277" y="208"/>
                    </a:lnTo>
                    <a:lnTo>
                      <a:pt x="283" y="201"/>
                    </a:lnTo>
                    <a:lnTo>
                      <a:pt x="285" y="199"/>
                    </a:lnTo>
                    <a:lnTo>
                      <a:pt x="285" y="201"/>
                    </a:lnTo>
                    <a:lnTo>
                      <a:pt x="289" y="203"/>
                    </a:lnTo>
                    <a:lnTo>
                      <a:pt x="295" y="205"/>
                    </a:lnTo>
                    <a:lnTo>
                      <a:pt x="304" y="214"/>
                    </a:lnTo>
                    <a:lnTo>
                      <a:pt x="287" y="216"/>
                    </a:lnTo>
                    <a:lnTo>
                      <a:pt x="279" y="214"/>
                    </a:lnTo>
                    <a:lnTo>
                      <a:pt x="273" y="218"/>
                    </a:lnTo>
                    <a:lnTo>
                      <a:pt x="265" y="220"/>
                    </a:lnTo>
                    <a:lnTo>
                      <a:pt x="263" y="224"/>
                    </a:lnTo>
                    <a:lnTo>
                      <a:pt x="260" y="230"/>
                    </a:lnTo>
                    <a:lnTo>
                      <a:pt x="254" y="240"/>
                    </a:lnTo>
                    <a:lnTo>
                      <a:pt x="252" y="242"/>
                    </a:lnTo>
                    <a:lnTo>
                      <a:pt x="250" y="242"/>
                    </a:lnTo>
                    <a:lnTo>
                      <a:pt x="248" y="240"/>
                    </a:lnTo>
                    <a:lnTo>
                      <a:pt x="248" y="238"/>
                    </a:lnTo>
                    <a:lnTo>
                      <a:pt x="248" y="236"/>
                    </a:lnTo>
                    <a:lnTo>
                      <a:pt x="250" y="236"/>
                    </a:lnTo>
                    <a:lnTo>
                      <a:pt x="250" y="234"/>
                    </a:lnTo>
                    <a:lnTo>
                      <a:pt x="230" y="224"/>
                    </a:lnTo>
                    <a:lnTo>
                      <a:pt x="224" y="224"/>
                    </a:lnTo>
                    <a:lnTo>
                      <a:pt x="199" y="234"/>
                    </a:lnTo>
                    <a:lnTo>
                      <a:pt x="199" y="234"/>
                    </a:lnTo>
                    <a:lnTo>
                      <a:pt x="197" y="238"/>
                    </a:lnTo>
                    <a:lnTo>
                      <a:pt x="197" y="240"/>
                    </a:lnTo>
                    <a:lnTo>
                      <a:pt x="195" y="240"/>
                    </a:lnTo>
                    <a:lnTo>
                      <a:pt x="195" y="240"/>
                    </a:lnTo>
                    <a:lnTo>
                      <a:pt x="193" y="240"/>
                    </a:lnTo>
                    <a:lnTo>
                      <a:pt x="187" y="246"/>
                    </a:lnTo>
                    <a:lnTo>
                      <a:pt x="185" y="251"/>
                    </a:lnTo>
                    <a:lnTo>
                      <a:pt x="181" y="257"/>
                    </a:lnTo>
                    <a:lnTo>
                      <a:pt x="177" y="265"/>
                    </a:lnTo>
                    <a:lnTo>
                      <a:pt x="181" y="267"/>
                    </a:lnTo>
                    <a:lnTo>
                      <a:pt x="183" y="269"/>
                    </a:lnTo>
                    <a:lnTo>
                      <a:pt x="185" y="269"/>
                    </a:lnTo>
                    <a:lnTo>
                      <a:pt x="185" y="271"/>
                    </a:lnTo>
                    <a:lnTo>
                      <a:pt x="185" y="275"/>
                    </a:lnTo>
                    <a:lnTo>
                      <a:pt x="187" y="277"/>
                    </a:lnTo>
                    <a:lnTo>
                      <a:pt x="185" y="279"/>
                    </a:lnTo>
                    <a:lnTo>
                      <a:pt x="185" y="281"/>
                    </a:lnTo>
                    <a:lnTo>
                      <a:pt x="181" y="287"/>
                    </a:lnTo>
                    <a:lnTo>
                      <a:pt x="179" y="287"/>
                    </a:lnTo>
                    <a:lnTo>
                      <a:pt x="179" y="290"/>
                    </a:lnTo>
                    <a:lnTo>
                      <a:pt x="181" y="294"/>
                    </a:lnTo>
                    <a:lnTo>
                      <a:pt x="181" y="298"/>
                    </a:lnTo>
                    <a:lnTo>
                      <a:pt x="183" y="300"/>
                    </a:lnTo>
                    <a:lnTo>
                      <a:pt x="183" y="302"/>
                    </a:lnTo>
                    <a:lnTo>
                      <a:pt x="185" y="304"/>
                    </a:lnTo>
                    <a:lnTo>
                      <a:pt x="187" y="306"/>
                    </a:lnTo>
                    <a:lnTo>
                      <a:pt x="191" y="308"/>
                    </a:lnTo>
                    <a:lnTo>
                      <a:pt x="191" y="310"/>
                    </a:lnTo>
                    <a:lnTo>
                      <a:pt x="191" y="314"/>
                    </a:lnTo>
                    <a:lnTo>
                      <a:pt x="189" y="318"/>
                    </a:lnTo>
                    <a:lnTo>
                      <a:pt x="181" y="324"/>
                    </a:lnTo>
                    <a:lnTo>
                      <a:pt x="179" y="328"/>
                    </a:lnTo>
                    <a:lnTo>
                      <a:pt x="181" y="331"/>
                    </a:lnTo>
                    <a:lnTo>
                      <a:pt x="183" y="331"/>
                    </a:lnTo>
                    <a:lnTo>
                      <a:pt x="187" y="328"/>
                    </a:lnTo>
                    <a:lnTo>
                      <a:pt x="189" y="326"/>
                    </a:lnTo>
                    <a:lnTo>
                      <a:pt x="197" y="324"/>
                    </a:lnTo>
                    <a:lnTo>
                      <a:pt x="199" y="322"/>
                    </a:lnTo>
                    <a:lnTo>
                      <a:pt x="201" y="324"/>
                    </a:lnTo>
                    <a:lnTo>
                      <a:pt x="203" y="326"/>
                    </a:lnTo>
                    <a:lnTo>
                      <a:pt x="205" y="333"/>
                    </a:lnTo>
                    <a:lnTo>
                      <a:pt x="205" y="333"/>
                    </a:lnTo>
                    <a:lnTo>
                      <a:pt x="205" y="341"/>
                    </a:lnTo>
                    <a:lnTo>
                      <a:pt x="201" y="351"/>
                    </a:lnTo>
                    <a:lnTo>
                      <a:pt x="201" y="363"/>
                    </a:lnTo>
                    <a:lnTo>
                      <a:pt x="201" y="363"/>
                    </a:lnTo>
                    <a:lnTo>
                      <a:pt x="201" y="365"/>
                    </a:lnTo>
                    <a:lnTo>
                      <a:pt x="201" y="367"/>
                    </a:lnTo>
                    <a:lnTo>
                      <a:pt x="201" y="367"/>
                    </a:lnTo>
                    <a:lnTo>
                      <a:pt x="203" y="367"/>
                    </a:lnTo>
                    <a:lnTo>
                      <a:pt x="205" y="367"/>
                    </a:lnTo>
                    <a:lnTo>
                      <a:pt x="205" y="365"/>
                    </a:lnTo>
                    <a:lnTo>
                      <a:pt x="209" y="363"/>
                    </a:lnTo>
                    <a:lnTo>
                      <a:pt x="213" y="365"/>
                    </a:lnTo>
                    <a:lnTo>
                      <a:pt x="213" y="369"/>
                    </a:lnTo>
                    <a:lnTo>
                      <a:pt x="211" y="370"/>
                    </a:lnTo>
                    <a:lnTo>
                      <a:pt x="209" y="369"/>
                    </a:lnTo>
                    <a:lnTo>
                      <a:pt x="209" y="370"/>
                    </a:lnTo>
                    <a:lnTo>
                      <a:pt x="205" y="374"/>
                    </a:lnTo>
                    <a:lnTo>
                      <a:pt x="205" y="374"/>
                    </a:lnTo>
                    <a:lnTo>
                      <a:pt x="203" y="374"/>
                    </a:lnTo>
                    <a:lnTo>
                      <a:pt x="203" y="372"/>
                    </a:lnTo>
                    <a:lnTo>
                      <a:pt x="203" y="370"/>
                    </a:lnTo>
                    <a:lnTo>
                      <a:pt x="197" y="369"/>
                    </a:lnTo>
                    <a:lnTo>
                      <a:pt x="197" y="367"/>
                    </a:lnTo>
                    <a:lnTo>
                      <a:pt x="195" y="365"/>
                    </a:lnTo>
                    <a:lnTo>
                      <a:pt x="195" y="363"/>
                    </a:lnTo>
                    <a:lnTo>
                      <a:pt x="195" y="361"/>
                    </a:lnTo>
                    <a:lnTo>
                      <a:pt x="193" y="361"/>
                    </a:lnTo>
                    <a:lnTo>
                      <a:pt x="195" y="357"/>
                    </a:lnTo>
                    <a:lnTo>
                      <a:pt x="199" y="351"/>
                    </a:lnTo>
                    <a:lnTo>
                      <a:pt x="199" y="347"/>
                    </a:lnTo>
                    <a:lnTo>
                      <a:pt x="197" y="343"/>
                    </a:lnTo>
                    <a:lnTo>
                      <a:pt x="195" y="343"/>
                    </a:lnTo>
                    <a:lnTo>
                      <a:pt x="193" y="345"/>
                    </a:lnTo>
                    <a:lnTo>
                      <a:pt x="189" y="343"/>
                    </a:lnTo>
                    <a:lnTo>
                      <a:pt x="185" y="341"/>
                    </a:lnTo>
                    <a:lnTo>
                      <a:pt x="179" y="343"/>
                    </a:lnTo>
                    <a:lnTo>
                      <a:pt x="176" y="341"/>
                    </a:lnTo>
                    <a:lnTo>
                      <a:pt x="177" y="335"/>
                    </a:lnTo>
                    <a:lnTo>
                      <a:pt x="176" y="335"/>
                    </a:lnTo>
                    <a:lnTo>
                      <a:pt x="176" y="339"/>
                    </a:lnTo>
                    <a:lnTo>
                      <a:pt x="174" y="341"/>
                    </a:lnTo>
                    <a:lnTo>
                      <a:pt x="172" y="345"/>
                    </a:lnTo>
                    <a:lnTo>
                      <a:pt x="172" y="347"/>
                    </a:lnTo>
                    <a:lnTo>
                      <a:pt x="174" y="347"/>
                    </a:lnTo>
                    <a:lnTo>
                      <a:pt x="174" y="345"/>
                    </a:lnTo>
                    <a:lnTo>
                      <a:pt x="176" y="347"/>
                    </a:lnTo>
                    <a:lnTo>
                      <a:pt x="177" y="351"/>
                    </a:lnTo>
                    <a:lnTo>
                      <a:pt x="174" y="351"/>
                    </a:lnTo>
                    <a:lnTo>
                      <a:pt x="172" y="351"/>
                    </a:lnTo>
                    <a:lnTo>
                      <a:pt x="170" y="351"/>
                    </a:lnTo>
                    <a:lnTo>
                      <a:pt x="166" y="361"/>
                    </a:lnTo>
                    <a:lnTo>
                      <a:pt x="164" y="365"/>
                    </a:lnTo>
                    <a:lnTo>
                      <a:pt x="162" y="365"/>
                    </a:lnTo>
                    <a:lnTo>
                      <a:pt x="160" y="361"/>
                    </a:lnTo>
                    <a:lnTo>
                      <a:pt x="160" y="351"/>
                    </a:lnTo>
                    <a:lnTo>
                      <a:pt x="160" y="347"/>
                    </a:lnTo>
                    <a:lnTo>
                      <a:pt x="160" y="343"/>
                    </a:lnTo>
                    <a:lnTo>
                      <a:pt x="166" y="339"/>
                    </a:lnTo>
                    <a:lnTo>
                      <a:pt x="168" y="335"/>
                    </a:lnTo>
                    <a:lnTo>
                      <a:pt x="166" y="333"/>
                    </a:lnTo>
                    <a:lnTo>
                      <a:pt x="166" y="331"/>
                    </a:lnTo>
                    <a:lnTo>
                      <a:pt x="172" y="329"/>
                    </a:lnTo>
                    <a:lnTo>
                      <a:pt x="176" y="322"/>
                    </a:lnTo>
                    <a:lnTo>
                      <a:pt x="179" y="322"/>
                    </a:lnTo>
                    <a:lnTo>
                      <a:pt x="177" y="314"/>
                    </a:lnTo>
                    <a:lnTo>
                      <a:pt x="176" y="312"/>
                    </a:lnTo>
                    <a:lnTo>
                      <a:pt x="174" y="308"/>
                    </a:lnTo>
                    <a:lnTo>
                      <a:pt x="172" y="304"/>
                    </a:lnTo>
                    <a:lnTo>
                      <a:pt x="170" y="296"/>
                    </a:lnTo>
                    <a:lnTo>
                      <a:pt x="168" y="292"/>
                    </a:lnTo>
                    <a:lnTo>
                      <a:pt x="166" y="290"/>
                    </a:lnTo>
                    <a:lnTo>
                      <a:pt x="162" y="288"/>
                    </a:lnTo>
                    <a:lnTo>
                      <a:pt x="158" y="288"/>
                    </a:lnTo>
                    <a:lnTo>
                      <a:pt x="158" y="290"/>
                    </a:lnTo>
                    <a:lnTo>
                      <a:pt x="156" y="292"/>
                    </a:lnTo>
                    <a:lnTo>
                      <a:pt x="156" y="292"/>
                    </a:lnTo>
                    <a:lnTo>
                      <a:pt x="154" y="294"/>
                    </a:lnTo>
                    <a:lnTo>
                      <a:pt x="152" y="294"/>
                    </a:lnTo>
                    <a:lnTo>
                      <a:pt x="148" y="292"/>
                    </a:lnTo>
                    <a:lnTo>
                      <a:pt x="146" y="292"/>
                    </a:lnTo>
                    <a:lnTo>
                      <a:pt x="144" y="292"/>
                    </a:lnTo>
                    <a:lnTo>
                      <a:pt x="136" y="300"/>
                    </a:lnTo>
                    <a:lnTo>
                      <a:pt x="131" y="304"/>
                    </a:lnTo>
                    <a:lnTo>
                      <a:pt x="129" y="306"/>
                    </a:lnTo>
                    <a:lnTo>
                      <a:pt x="127" y="312"/>
                    </a:lnTo>
                    <a:lnTo>
                      <a:pt x="125" y="318"/>
                    </a:lnTo>
                    <a:lnTo>
                      <a:pt x="127" y="318"/>
                    </a:lnTo>
                    <a:lnTo>
                      <a:pt x="133" y="318"/>
                    </a:lnTo>
                    <a:lnTo>
                      <a:pt x="136" y="320"/>
                    </a:lnTo>
                    <a:lnTo>
                      <a:pt x="136" y="322"/>
                    </a:lnTo>
                    <a:lnTo>
                      <a:pt x="129" y="322"/>
                    </a:lnTo>
                    <a:lnTo>
                      <a:pt x="121" y="324"/>
                    </a:lnTo>
                    <a:lnTo>
                      <a:pt x="119" y="326"/>
                    </a:lnTo>
                    <a:lnTo>
                      <a:pt x="107" y="343"/>
                    </a:lnTo>
                    <a:lnTo>
                      <a:pt x="99" y="343"/>
                    </a:lnTo>
                    <a:lnTo>
                      <a:pt x="97" y="345"/>
                    </a:lnTo>
                    <a:lnTo>
                      <a:pt x="97" y="349"/>
                    </a:lnTo>
                    <a:lnTo>
                      <a:pt x="101" y="351"/>
                    </a:lnTo>
                    <a:lnTo>
                      <a:pt x="101" y="353"/>
                    </a:lnTo>
                    <a:lnTo>
                      <a:pt x="101" y="357"/>
                    </a:lnTo>
                    <a:lnTo>
                      <a:pt x="103" y="357"/>
                    </a:lnTo>
                    <a:lnTo>
                      <a:pt x="103" y="359"/>
                    </a:lnTo>
                    <a:lnTo>
                      <a:pt x="105" y="359"/>
                    </a:lnTo>
                    <a:lnTo>
                      <a:pt x="111" y="363"/>
                    </a:lnTo>
                    <a:lnTo>
                      <a:pt x="111" y="365"/>
                    </a:lnTo>
                    <a:lnTo>
                      <a:pt x="111" y="367"/>
                    </a:lnTo>
                    <a:lnTo>
                      <a:pt x="109" y="367"/>
                    </a:lnTo>
                    <a:lnTo>
                      <a:pt x="109" y="369"/>
                    </a:lnTo>
                    <a:lnTo>
                      <a:pt x="109" y="374"/>
                    </a:lnTo>
                    <a:lnTo>
                      <a:pt x="107" y="378"/>
                    </a:lnTo>
                    <a:lnTo>
                      <a:pt x="107" y="382"/>
                    </a:lnTo>
                    <a:lnTo>
                      <a:pt x="107" y="384"/>
                    </a:lnTo>
                    <a:lnTo>
                      <a:pt x="107" y="388"/>
                    </a:lnTo>
                    <a:lnTo>
                      <a:pt x="107" y="388"/>
                    </a:lnTo>
                    <a:lnTo>
                      <a:pt x="105" y="390"/>
                    </a:lnTo>
                    <a:lnTo>
                      <a:pt x="95" y="392"/>
                    </a:lnTo>
                    <a:lnTo>
                      <a:pt x="92" y="392"/>
                    </a:lnTo>
                    <a:lnTo>
                      <a:pt x="90" y="390"/>
                    </a:lnTo>
                    <a:lnTo>
                      <a:pt x="88" y="386"/>
                    </a:lnTo>
                    <a:lnTo>
                      <a:pt x="84" y="384"/>
                    </a:lnTo>
                    <a:lnTo>
                      <a:pt x="84" y="380"/>
                    </a:lnTo>
                    <a:lnTo>
                      <a:pt x="84" y="378"/>
                    </a:lnTo>
                    <a:lnTo>
                      <a:pt x="84" y="376"/>
                    </a:lnTo>
                    <a:lnTo>
                      <a:pt x="84" y="374"/>
                    </a:lnTo>
                    <a:lnTo>
                      <a:pt x="78" y="361"/>
                    </a:lnTo>
                    <a:lnTo>
                      <a:pt x="78" y="361"/>
                    </a:lnTo>
                    <a:lnTo>
                      <a:pt x="76" y="363"/>
                    </a:lnTo>
                    <a:lnTo>
                      <a:pt x="74" y="367"/>
                    </a:lnTo>
                    <a:lnTo>
                      <a:pt x="72" y="370"/>
                    </a:lnTo>
                    <a:lnTo>
                      <a:pt x="70" y="370"/>
                    </a:lnTo>
                    <a:lnTo>
                      <a:pt x="62" y="365"/>
                    </a:lnTo>
                    <a:lnTo>
                      <a:pt x="60" y="363"/>
                    </a:lnTo>
                    <a:lnTo>
                      <a:pt x="56" y="361"/>
                    </a:lnTo>
                    <a:lnTo>
                      <a:pt x="49" y="359"/>
                    </a:lnTo>
                    <a:lnTo>
                      <a:pt x="41" y="359"/>
                    </a:lnTo>
                    <a:lnTo>
                      <a:pt x="35" y="361"/>
                    </a:lnTo>
                    <a:lnTo>
                      <a:pt x="35" y="363"/>
                    </a:lnTo>
                    <a:lnTo>
                      <a:pt x="37" y="365"/>
                    </a:lnTo>
                    <a:lnTo>
                      <a:pt x="37" y="367"/>
                    </a:lnTo>
                    <a:lnTo>
                      <a:pt x="35" y="369"/>
                    </a:lnTo>
                    <a:lnTo>
                      <a:pt x="33" y="367"/>
                    </a:lnTo>
                    <a:lnTo>
                      <a:pt x="33" y="365"/>
                    </a:lnTo>
                    <a:lnTo>
                      <a:pt x="33" y="359"/>
                    </a:lnTo>
                    <a:lnTo>
                      <a:pt x="33" y="357"/>
                    </a:lnTo>
                    <a:lnTo>
                      <a:pt x="35" y="355"/>
                    </a:lnTo>
                    <a:lnTo>
                      <a:pt x="33" y="353"/>
                    </a:lnTo>
                    <a:lnTo>
                      <a:pt x="27" y="353"/>
                    </a:lnTo>
                    <a:lnTo>
                      <a:pt x="25" y="351"/>
                    </a:lnTo>
                    <a:lnTo>
                      <a:pt x="23" y="347"/>
                    </a:lnTo>
                    <a:lnTo>
                      <a:pt x="23" y="345"/>
                    </a:lnTo>
                    <a:lnTo>
                      <a:pt x="23" y="343"/>
                    </a:lnTo>
                    <a:lnTo>
                      <a:pt x="19" y="343"/>
                    </a:lnTo>
                    <a:lnTo>
                      <a:pt x="19" y="343"/>
                    </a:lnTo>
                    <a:lnTo>
                      <a:pt x="17" y="341"/>
                    </a:lnTo>
                    <a:lnTo>
                      <a:pt x="17" y="339"/>
                    </a:lnTo>
                    <a:lnTo>
                      <a:pt x="19" y="337"/>
                    </a:lnTo>
                    <a:lnTo>
                      <a:pt x="23" y="328"/>
                    </a:lnTo>
                    <a:lnTo>
                      <a:pt x="23" y="326"/>
                    </a:lnTo>
                    <a:lnTo>
                      <a:pt x="21" y="324"/>
                    </a:lnTo>
                    <a:lnTo>
                      <a:pt x="21" y="322"/>
                    </a:lnTo>
                    <a:lnTo>
                      <a:pt x="19" y="320"/>
                    </a:lnTo>
                    <a:lnTo>
                      <a:pt x="17" y="324"/>
                    </a:lnTo>
                    <a:lnTo>
                      <a:pt x="13" y="331"/>
                    </a:lnTo>
                    <a:lnTo>
                      <a:pt x="6" y="359"/>
                    </a:lnTo>
                    <a:lnTo>
                      <a:pt x="6" y="363"/>
                    </a:lnTo>
                    <a:lnTo>
                      <a:pt x="4" y="369"/>
                    </a:lnTo>
                    <a:lnTo>
                      <a:pt x="6" y="472"/>
                    </a:lnTo>
                    <a:lnTo>
                      <a:pt x="6" y="480"/>
                    </a:lnTo>
                    <a:lnTo>
                      <a:pt x="2" y="499"/>
                    </a:lnTo>
                    <a:lnTo>
                      <a:pt x="2" y="505"/>
                    </a:lnTo>
                    <a:lnTo>
                      <a:pt x="2" y="527"/>
                    </a:lnTo>
                    <a:lnTo>
                      <a:pt x="2" y="531"/>
                    </a:lnTo>
                    <a:lnTo>
                      <a:pt x="4" y="535"/>
                    </a:lnTo>
                    <a:lnTo>
                      <a:pt x="4" y="535"/>
                    </a:lnTo>
                    <a:lnTo>
                      <a:pt x="6" y="536"/>
                    </a:lnTo>
                    <a:lnTo>
                      <a:pt x="8" y="535"/>
                    </a:lnTo>
                    <a:lnTo>
                      <a:pt x="6" y="529"/>
                    </a:lnTo>
                    <a:lnTo>
                      <a:pt x="8" y="523"/>
                    </a:lnTo>
                    <a:lnTo>
                      <a:pt x="8" y="517"/>
                    </a:lnTo>
                    <a:lnTo>
                      <a:pt x="8" y="503"/>
                    </a:lnTo>
                    <a:lnTo>
                      <a:pt x="9" y="501"/>
                    </a:lnTo>
                    <a:lnTo>
                      <a:pt x="11" y="501"/>
                    </a:lnTo>
                    <a:lnTo>
                      <a:pt x="25" y="507"/>
                    </a:lnTo>
                    <a:lnTo>
                      <a:pt x="31" y="511"/>
                    </a:lnTo>
                    <a:lnTo>
                      <a:pt x="35" y="519"/>
                    </a:lnTo>
                    <a:lnTo>
                      <a:pt x="37" y="529"/>
                    </a:lnTo>
                    <a:lnTo>
                      <a:pt x="37" y="538"/>
                    </a:lnTo>
                    <a:lnTo>
                      <a:pt x="43" y="546"/>
                    </a:lnTo>
                    <a:lnTo>
                      <a:pt x="47" y="552"/>
                    </a:lnTo>
                    <a:lnTo>
                      <a:pt x="49" y="556"/>
                    </a:lnTo>
                    <a:lnTo>
                      <a:pt x="49" y="562"/>
                    </a:lnTo>
                    <a:lnTo>
                      <a:pt x="49" y="566"/>
                    </a:lnTo>
                    <a:lnTo>
                      <a:pt x="43" y="574"/>
                    </a:lnTo>
                    <a:lnTo>
                      <a:pt x="35" y="579"/>
                    </a:lnTo>
                    <a:lnTo>
                      <a:pt x="31" y="579"/>
                    </a:lnTo>
                    <a:lnTo>
                      <a:pt x="23" y="585"/>
                    </a:lnTo>
                    <a:lnTo>
                      <a:pt x="15" y="591"/>
                    </a:lnTo>
                    <a:lnTo>
                      <a:pt x="15" y="589"/>
                    </a:lnTo>
                    <a:lnTo>
                      <a:pt x="13" y="585"/>
                    </a:lnTo>
                    <a:lnTo>
                      <a:pt x="15" y="581"/>
                    </a:lnTo>
                    <a:lnTo>
                      <a:pt x="15" y="577"/>
                    </a:lnTo>
                    <a:lnTo>
                      <a:pt x="17" y="576"/>
                    </a:lnTo>
                    <a:lnTo>
                      <a:pt x="15" y="572"/>
                    </a:lnTo>
                    <a:lnTo>
                      <a:pt x="13" y="564"/>
                    </a:lnTo>
                    <a:lnTo>
                      <a:pt x="9" y="540"/>
                    </a:lnTo>
                    <a:lnTo>
                      <a:pt x="8" y="540"/>
                    </a:lnTo>
                    <a:lnTo>
                      <a:pt x="8" y="538"/>
                    </a:lnTo>
                    <a:lnTo>
                      <a:pt x="8" y="538"/>
                    </a:lnTo>
                    <a:lnTo>
                      <a:pt x="6" y="538"/>
                    </a:lnTo>
                    <a:lnTo>
                      <a:pt x="6" y="538"/>
                    </a:lnTo>
                    <a:lnTo>
                      <a:pt x="6" y="538"/>
                    </a:lnTo>
                    <a:lnTo>
                      <a:pt x="6" y="540"/>
                    </a:lnTo>
                    <a:lnTo>
                      <a:pt x="6" y="540"/>
                    </a:lnTo>
                    <a:lnTo>
                      <a:pt x="6" y="542"/>
                    </a:lnTo>
                    <a:lnTo>
                      <a:pt x="6" y="544"/>
                    </a:lnTo>
                    <a:lnTo>
                      <a:pt x="13" y="603"/>
                    </a:lnTo>
                    <a:lnTo>
                      <a:pt x="13" y="615"/>
                    </a:lnTo>
                    <a:lnTo>
                      <a:pt x="11" y="626"/>
                    </a:lnTo>
                    <a:lnTo>
                      <a:pt x="9" y="638"/>
                    </a:lnTo>
                    <a:lnTo>
                      <a:pt x="0" y="663"/>
                    </a:lnTo>
                    <a:lnTo>
                      <a:pt x="0" y="667"/>
                    </a:lnTo>
                    <a:lnTo>
                      <a:pt x="2" y="671"/>
                    </a:lnTo>
                    <a:lnTo>
                      <a:pt x="11" y="673"/>
                    </a:lnTo>
                    <a:lnTo>
                      <a:pt x="15" y="675"/>
                    </a:lnTo>
                    <a:lnTo>
                      <a:pt x="37" y="693"/>
                    </a:lnTo>
                    <a:lnTo>
                      <a:pt x="39" y="691"/>
                    </a:lnTo>
                    <a:lnTo>
                      <a:pt x="37" y="685"/>
                    </a:lnTo>
                    <a:lnTo>
                      <a:pt x="33" y="681"/>
                    </a:lnTo>
                    <a:lnTo>
                      <a:pt x="29" y="679"/>
                    </a:lnTo>
                    <a:lnTo>
                      <a:pt x="25" y="677"/>
                    </a:lnTo>
                    <a:lnTo>
                      <a:pt x="27" y="675"/>
                    </a:lnTo>
                    <a:lnTo>
                      <a:pt x="27" y="673"/>
                    </a:lnTo>
                    <a:lnTo>
                      <a:pt x="29" y="673"/>
                    </a:lnTo>
                    <a:lnTo>
                      <a:pt x="25" y="669"/>
                    </a:lnTo>
                    <a:lnTo>
                      <a:pt x="23" y="665"/>
                    </a:lnTo>
                    <a:lnTo>
                      <a:pt x="25" y="661"/>
                    </a:lnTo>
                    <a:lnTo>
                      <a:pt x="29" y="659"/>
                    </a:lnTo>
                    <a:lnTo>
                      <a:pt x="33" y="658"/>
                    </a:lnTo>
                    <a:lnTo>
                      <a:pt x="37" y="658"/>
                    </a:lnTo>
                    <a:lnTo>
                      <a:pt x="39" y="659"/>
                    </a:lnTo>
                    <a:lnTo>
                      <a:pt x="39" y="661"/>
                    </a:lnTo>
                    <a:lnTo>
                      <a:pt x="35" y="661"/>
                    </a:lnTo>
                    <a:lnTo>
                      <a:pt x="35" y="663"/>
                    </a:lnTo>
                    <a:lnTo>
                      <a:pt x="50" y="687"/>
                    </a:lnTo>
                    <a:lnTo>
                      <a:pt x="58" y="693"/>
                    </a:lnTo>
                    <a:lnTo>
                      <a:pt x="66" y="697"/>
                    </a:lnTo>
                    <a:lnTo>
                      <a:pt x="76" y="697"/>
                    </a:lnTo>
                    <a:lnTo>
                      <a:pt x="84" y="699"/>
                    </a:lnTo>
                    <a:lnTo>
                      <a:pt x="88" y="700"/>
                    </a:lnTo>
                    <a:lnTo>
                      <a:pt x="90" y="706"/>
                    </a:lnTo>
                    <a:lnTo>
                      <a:pt x="92" y="712"/>
                    </a:lnTo>
                    <a:lnTo>
                      <a:pt x="92" y="726"/>
                    </a:lnTo>
                    <a:lnTo>
                      <a:pt x="93" y="734"/>
                    </a:lnTo>
                    <a:lnTo>
                      <a:pt x="93" y="738"/>
                    </a:lnTo>
                    <a:lnTo>
                      <a:pt x="93" y="740"/>
                    </a:lnTo>
                    <a:lnTo>
                      <a:pt x="92" y="743"/>
                    </a:lnTo>
                    <a:lnTo>
                      <a:pt x="92" y="747"/>
                    </a:lnTo>
                    <a:lnTo>
                      <a:pt x="93" y="759"/>
                    </a:lnTo>
                    <a:lnTo>
                      <a:pt x="95" y="773"/>
                    </a:lnTo>
                    <a:lnTo>
                      <a:pt x="99" y="782"/>
                    </a:lnTo>
                    <a:lnTo>
                      <a:pt x="99" y="788"/>
                    </a:lnTo>
                    <a:lnTo>
                      <a:pt x="95" y="788"/>
                    </a:lnTo>
                    <a:lnTo>
                      <a:pt x="86" y="786"/>
                    </a:lnTo>
                    <a:lnTo>
                      <a:pt x="76" y="786"/>
                    </a:lnTo>
                    <a:lnTo>
                      <a:pt x="76" y="782"/>
                    </a:lnTo>
                    <a:lnTo>
                      <a:pt x="80" y="779"/>
                    </a:lnTo>
                    <a:lnTo>
                      <a:pt x="80" y="777"/>
                    </a:lnTo>
                    <a:lnTo>
                      <a:pt x="84" y="777"/>
                    </a:lnTo>
                    <a:lnTo>
                      <a:pt x="80" y="773"/>
                    </a:lnTo>
                    <a:lnTo>
                      <a:pt x="72" y="771"/>
                    </a:lnTo>
                    <a:lnTo>
                      <a:pt x="66" y="771"/>
                    </a:lnTo>
                    <a:lnTo>
                      <a:pt x="62" y="777"/>
                    </a:lnTo>
                    <a:lnTo>
                      <a:pt x="62" y="784"/>
                    </a:lnTo>
                    <a:lnTo>
                      <a:pt x="60" y="792"/>
                    </a:lnTo>
                    <a:lnTo>
                      <a:pt x="60" y="798"/>
                    </a:lnTo>
                    <a:lnTo>
                      <a:pt x="62" y="806"/>
                    </a:lnTo>
                    <a:lnTo>
                      <a:pt x="64" y="810"/>
                    </a:lnTo>
                    <a:lnTo>
                      <a:pt x="68" y="810"/>
                    </a:lnTo>
                    <a:lnTo>
                      <a:pt x="70" y="808"/>
                    </a:lnTo>
                    <a:lnTo>
                      <a:pt x="72" y="806"/>
                    </a:lnTo>
                    <a:lnTo>
                      <a:pt x="74" y="802"/>
                    </a:lnTo>
                    <a:lnTo>
                      <a:pt x="76" y="802"/>
                    </a:lnTo>
                    <a:lnTo>
                      <a:pt x="78" y="800"/>
                    </a:lnTo>
                    <a:lnTo>
                      <a:pt x="78" y="790"/>
                    </a:lnTo>
                    <a:lnTo>
                      <a:pt x="78" y="786"/>
                    </a:lnTo>
                    <a:lnTo>
                      <a:pt x="80" y="786"/>
                    </a:lnTo>
                    <a:lnTo>
                      <a:pt x="97" y="790"/>
                    </a:lnTo>
                    <a:lnTo>
                      <a:pt x="95" y="798"/>
                    </a:lnTo>
                    <a:lnTo>
                      <a:pt x="93" y="806"/>
                    </a:lnTo>
                    <a:lnTo>
                      <a:pt x="92" y="814"/>
                    </a:lnTo>
                    <a:lnTo>
                      <a:pt x="92" y="822"/>
                    </a:lnTo>
                    <a:lnTo>
                      <a:pt x="92" y="829"/>
                    </a:lnTo>
                    <a:lnTo>
                      <a:pt x="95" y="837"/>
                    </a:lnTo>
                    <a:lnTo>
                      <a:pt x="97" y="845"/>
                    </a:lnTo>
                    <a:lnTo>
                      <a:pt x="93" y="853"/>
                    </a:lnTo>
                    <a:lnTo>
                      <a:pt x="95" y="855"/>
                    </a:lnTo>
                    <a:lnTo>
                      <a:pt x="93" y="859"/>
                    </a:lnTo>
                    <a:lnTo>
                      <a:pt x="93" y="859"/>
                    </a:lnTo>
                    <a:lnTo>
                      <a:pt x="93" y="859"/>
                    </a:lnTo>
                    <a:lnTo>
                      <a:pt x="97" y="86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62" name="Freeform 762">
                <a:extLst>
                  <a:ext uri="{FF2B5EF4-FFF2-40B4-BE49-F238E27FC236}">
                    <a16:creationId xmlns:a16="http://schemas.microsoft.com/office/drawing/2014/main" id="{535C9D80-CDBD-4BB1-8B71-15EC5846AE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9" y="1581"/>
                <a:ext cx="78" cy="91"/>
              </a:xfrm>
              <a:custGeom>
                <a:avLst/>
                <a:gdLst>
                  <a:gd name="T0" fmla="*/ 17 w 78"/>
                  <a:gd name="T1" fmla="*/ 74 h 91"/>
                  <a:gd name="T2" fmla="*/ 29 w 78"/>
                  <a:gd name="T3" fmla="*/ 78 h 91"/>
                  <a:gd name="T4" fmla="*/ 41 w 78"/>
                  <a:gd name="T5" fmla="*/ 85 h 91"/>
                  <a:gd name="T6" fmla="*/ 50 w 78"/>
                  <a:gd name="T7" fmla="*/ 89 h 91"/>
                  <a:gd name="T8" fmla="*/ 56 w 78"/>
                  <a:gd name="T9" fmla="*/ 89 h 91"/>
                  <a:gd name="T10" fmla="*/ 66 w 78"/>
                  <a:gd name="T11" fmla="*/ 91 h 91"/>
                  <a:gd name="T12" fmla="*/ 68 w 78"/>
                  <a:gd name="T13" fmla="*/ 89 h 91"/>
                  <a:gd name="T14" fmla="*/ 70 w 78"/>
                  <a:gd name="T15" fmla="*/ 87 h 91"/>
                  <a:gd name="T16" fmla="*/ 72 w 78"/>
                  <a:gd name="T17" fmla="*/ 83 h 91"/>
                  <a:gd name="T18" fmla="*/ 72 w 78"/>
                  <a:gd name="T19" fmla="*/ 80 h 91"/>
                  <a:gd name="T20" fmla="*/ 72 w 78"/>
                  <a:gd name="T21" fmla="*/ 78 h 91"/>
                  <a:gd name="T22" fmla="*/ 70 w 78"/>
                  <a:gd name="T23" fmla="*/ 76 h 91"/>
                  <a:gd name="T24" fmla="*/ 72 w 78"/>
                  <a:gd name="T25" fmla="*/ 74 h 91"/>
                  <a:gd name="T26" fmla="*/ 76 w 78"/>
                  <a:gd name="T27" fmla="*/ 68 h 91"/>
                  <a:gd name="T28" fmla="*/ 78 w 78"/>
                  <a:gd name="T29" fmla="*/ 64 h 91"/>
                  <a:gd name="T30" fmla="*/ 78 w 78"/>
                  <a:gd name="T31" fmla="*/ 62 h 91"/>
                  <a:gd name="T32" fmla="*/ 78 w 78"/>
                  <a:gd name="T33" fmla="*/ 58 h 91"/>
                  <a:gd name="T34" fmla="*/ 76 w 78"/>
                  <a:gd name="T35" fmla="*/ 54 h 91"/>
                  <a:gd name="T36" fmla="*/ 78 w 78"/>
                  <a:gd name="T37" fmla="*/ 54 h 91"/>
                  <a:gd name="T38" fmla="*/ 78 w 78"/>
                  <a:gd name="T39" fmla="*/ 52 h 91"/>
                  <a:gd name="T40" fmla="*/ 78 w 78"/>
                  <a:gd name="T41" fmla="*/ 52 h 91"/>
                  <a:gd name="T42" fmla="*/ 78 w 78"/>
                  <a:gd name="T43" fmla="*/ 50 h 91"/>
                  <a:gd name="T44" fmla="*/ 76 w 78"/>
                  <a:gd name="T45" fmla="*/ 46 h 91"/>
                  <a:gd name="T46" fmla="*/ 68 w 78"/>
                  <a:gd name="T47" fmla="*/ 44 h 91"/>
                  <a:gd name="T48" fmla="*/ 54 w 78"/>
                  <a:gd name="T49" fmla="*/ 35 h 91"/>
                  <a:gd name="T50" fmla="*/ 52 w 78"/>
                  <a:gd name="T51" fmla="*/ 35 h 91"/>
                  <a:gd name="T52" fmla="*/ 50 w 78"/>
                  <a:gd name="T53" fmla="*/ 33 h 91"/>
                  <a:gd name="T54" fmla="*/ 48 w 78"/>
                  <a:gd name="T55" fmla="*/ 27 h 91"/>
                  <a:gd name="T56" fmla="*/ 44 w 78"/>
                  <a:gd name="T57" fmla="*/ 25 h 91"/>
                  <a:gd name="T58" fmla="*/ 41 w 78"/>
                  <a:gd name="T59" fmla="*/ 27 h 91"/>
                  <a:gd name="T60" fmla="*/ 35 w 78"/>
                  <a:gd name="T61" fmla="*/ 21 h 91"/>
                  <a:gd name="T62" fmla="*/ 29 w 78"/>
                  <a:gd name="T63" fmla="*/ 17 h 91"/>
                  <a:gd name="T64" fmla="*/ 25 w 78"/>
                  <a:gd name="T65" fmla="*/ 13 h 91"/>
                  <a:gd name="T66" fmla="*/ 21 w 78"/>
                  <a:gd name="T67" fmla="*/ 9 h 91"/>
                  <a:gd name="T68" fmla="*/ 15 w 78"/>
                  <a:gd name="T69" fmla="*/ 0 h 91"/>
                  <a:gd name="T70" fmla="*/ 13 w 78"/>
                  <a:gd name="T71" fmla="*/ 0 h 91"/>
                  <a:gd name="T72" fmla="*/ 11 w 78"/>
                  <a:gd name="T73" fmla="*/ 1 h 91"/>
                  <a:gd name="T74" fmla="*/ 9 w 78"/>
                  <a:gd name="T75" fmla="*/ 7 h 91"/>
                  <a:gd name="T76" fmla="*/ 9 w 78"/>
                  <a:gd name="T77" fmla="*/ 11 h 91"/>
                  <a:gd name="T78" fmla="*/ 5 w 78"/>
                  <a:gd name="T79" fmla="*/ 17 h 91"/>
                  <a:gd name="T80" fmla="*/ 3 w 78"/>
                  <a:gd name="T81" fmla="*/ 21 h 91"/>
                  <a:gd name="T82" fmla="*/ 3 w 78"/>
                  <a:gd name="T83" fmla="*/ 23 h 91"/>
                  <a:gd name="T84" fmla="*/ 3 w 78"/>
                  <a:gd name="T85" fmla="*/ 41 h 91"/>
                  <a:gd name="T86" fmla="*/ 1 w 78"/>
                  <a:gd name="T87" fmla="*/ 54 h 91"/>
                  <a:gd name="T88" fmla="*/ 0 w 78"/>
                  <a:gd name="T89" fmla="*/ 60 h 91"/>
                  <a:gd name="T90" fmla="*/ 3 w 78"/>
                  <a:gd name="T91" fmla="*/ 64 h 91"/>
                  <a:gd name="T92" fmla="*/ 17 w 78"/>
                  <a:gd name="T93" fmla="*/ 74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78" h="91">
                    <a:moveTo>
                      <a:pt x="17" y="74"/>
                    </a:moveTo>
                    <a:lnTo>
                      <a:pt x="29" y="78"/>
                    </a:lnTo>
                    <a:lnTo>
                      <a:pt x="41" y="85"/>
                    </a:lnTo>
                    <a:lnTo>
                      <a:pt x="50" y="89"/>
                    </a:lnTo>
                    <a:lnTo>
                      <a:pt x="56" y="89"/>
                    </a:lnTo>
                    <a:lnTo>
                      <a:pt x="66" y="91"/>
                    </a:lnTo>
                    <a:lnTo>
                      <a:pt x="68" y="89"/>
                    </a:lnTo>
                    <a:lnTo>
                      <a:pt x="70" y="87"/>
                    </a:lnTo>
                    <a:lnTo>
                      <a:pt x="72" y="83"/>
                    </a:lnTo>
                    <a:lnTo>
                      <a:pt x="72" y="80"/>
                    </a:lnTo>
                    <a:lnTo>
                      <a:pt x="72" y="78"/>
                    </a:lnTo>
                    <a:lnTo>
                      <a:pt x="70" y="76"/>
                    </a:lnTo>
                    <a:lnTo>
                      <a:pt x="72" y="74"/>
                    </a:lnTo>
                    <a:lnTo>
                      <a:pt x="76" y="68"/>
                    </a:lnTo>
                    <a:lnTo>
                      <a:pt x="78" y="64"/>
                    </a:lnTo>
                    <a:lnTo>
                      <a:pt x="78" y="62"/>
                    </a:lnTo>
                    <a:lnTo>
                      <a:pt x="78" y="58"/>
                    </a:lnTo>
                    <a:lnTo>
                      <a:pt x="76" y="54"/>
                    </a:lnTo>
                    <a:lnTo>
                      <a:pt x="78" y="54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0"/>
                    </a:lnTo>
                    <a:lnTo>
                      <a:pt x="76" y="46"/>
                    </a:lnTo>
                    <a:lnTo>
                      <a:pt x="68" y="44"/>
                    </a:lnTo>
                    <a:lnTo>
                      <a:pt x="54" y="35"/>
                    </a:lnTo>
                    <a:lnTo>
                      <a:pt x="52" y="35"/>
                    </a:lnTo>
                    <a:lnTo>
                      <a:pt x="50" y="33"/>
                    </a:lnTo>
                    <a:lnTo>
                      <a:pt x="48" y="27"/>
                    </a:lnTo>
                    <a:lnTo>
                      <a:pt x="44" y="25"/>
                    </a:lnTo>
                    <a:lnTo>
                      <a:pt x="41" y="27"/>
                    </a:lnTo>
                    <a:lnTo>
                      <a:pt x="35" y="21"/>
                    </a:lnTo>
                    <a:lnTo>
                      <a:pt x="29" y="17"/>
                    </a:lnTo>
                    <a:lnTo>
                      <a:pt x="25" y="13"/>
                    </a:lnTo>
                    <a:lnTo>
                      <a:pt x="21" y="9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9" y="7"/>
                    </a:lnTo>
                    <a:lnTo>
                      <a:pt x="9" y="11"/>
                    </a:lnTo>
                    <a:lnTo>
                      <a:pt x="5" y="17"/>
                    </a:lnTo>
                    <a:lnTo>
                      <a:pt x="3" y="21"/>
                    </a:lnTo>
                    <a:lnTo>
                      <a:pt x="3" y="23"/>
                    </a:lnTo>
                    <a:lnTo>
                      <a:pt x="3" y="41"/>
                    </a:lnTo>
                    <a:lnTo>
                      <a:pt x="1" y="54"/>
                    </a:lnTo>
                    <a:lnTo>
                      <a:pt x="0" y="60"/>
                    </a:lnTo>
                    <a:lnTo>
                      <a:pt x="3" y="64"/>
                    </a:lnTo>
                    <a:lnTo>
                      <a:pt x="17" y="7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63" name="Freeform 763">
                <a:extLst>
                  <a:ext uri="{FF2B5EF4-FFF2-40B4-BE49-F238E27FC236}">
                    <a16:creationId xmlns:a16="http://schemas.microsoft.com/office/drawing/2014/main" id="{C1F280B3-7E43-4A07-82C6-9DB4743A8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" y="1079"/>
                <a:ext cx="68" cy="91"/>
              </a:xfrm>
              <a:custGeom>
                <a:avLst/>
                <a:gdLst>
                  <a:gd name="T0" fmla="*/ 22 w 68"/>
                  <a:gd name="T1" fmla="*/ 91 h 91"/>
                  <a:gd name="T2" fmla="*/ 29 w 68"/>
                  <a:gd name="T3" fmla="*/ 90 h 91"/>
                  <a:gd name="T4" fmla="*/ 43 w 68"/>
                  <a:gd name="T5" fmla="*/ 80 h 91"/>
                  <a:gd name="T6" fmla="*/ 53 w 68"/>
                  <a:gd name="T7" fmla="*/ 72 h 91"/>
                  <a:gd name="T8" fmla="*/ 57 w 68"/>
                  <a:gd name="T9" fmla="*/ 62 h 91"/>
                  <a:gd name="T10" fmla="*/ 59 w 68"/>
                  <a:gd name="T11" fmla="*/ 56 h 91"/>
                  <a:gd name="T12" fmla="*/ 59 w 68"/>
                  <a:gd name="T13" fmla="*/ 56 h 91"/>
                  <a:gd name="T14" fmla="*/ 61 w 68"/>
                  <a:gd name="T15" fmla="*/ 54 h 91"/>
                  <a:gd name="T16" fmla="*/ 59 w 68"/>
                  <a:gd name="T17" fmla="*/ 52 h 91"/>
                  <a:gd name="T18" fmla="*/ 55 w 68"/>
                  <a:gd name="T19" fmla="*/ 39 h 91"/>
                  <a:gd name="T20" fmla="*/ 55 w 68"/>
                  <a:gd name="T21" fmla="*/ 37 h 91"/>
                  <a:gd name="T22" fmla="*/ 55 w 68"/>
                  <a:gd name="T23" fmla="*/ 31 h 91"/>
                  <a:gd name="T24" fmla="*/ 59 w 68"/>
                  <a:gd name="T25" fmla="*/ 27 h 91"/>
                  <a:gd name="T26" fmla="*/ 61 w 68"/>
                  <a:gd name="T27" fmla="*/ 29 h 91"/>
                  <a:gd name="T28" fmla="*/ 63 w 68"/>
                  <a:gd name="T29" fmla="*/ 35 h 91"/>
                  <a:gd name="T30" fmla="*/ 65 w 68"/>
                  <a:gd name="T31" fmla="*/ 33 h 91"/>
                  <a:gd name="T32" fmla="*/ 68 w 68"/>
                  <a:gd name="T33" fmla="*/ 19 h 91"/>
                  <a:gd name="T34" fmla="*/ 68 w 68"/>
                  <a:gd name="T35" fmla="*/ 15 h 91"/>
                  <a:gd name="T36" fmla="*/ 66 w 68"/>
                  <a:gd name="T37" fmla="*/ 9 h 91"/>
                  <a:gd name="T38" fmla="*/ 68 w 68"/>
                  <a:gd name="T39" fmla="*/ 4 h 91"/>
                  <a:gd name="T40" fmla="*/ 66 w 68"/>
                  <a:gd name="T41" fmla="*/ 0 h 91"/>
                  <a:gd name="T42" fmla="*/ 63 w 68"/>
                  <a:gd name="T43" fmla="*/ 8 h 91"/>
                  <a:gd name="T44" fmla="*/ 53 w 68"/>
                  <a:gd name="T45" fmla="*/ 17 h 91"/>
                  <a:gd name="T46" fmla="*/ 47 w 68"/>
                  <a:gd name="T47" fmla="*/ 19 h 91"/>
                  <a:gd name="T48" fmla="*/ 31 w 68"/>
                  <a:gd name="T49" fmla="*/ 25 h 91"/>
                  <a:gd name="T50" fmla="*/ 25 w 68"/>
                  <a:gd name="T51" fmla="*/ 27 h 91"/>
                  <a:gd name="T52" fmla="*/ 23 w 68"/>
                  <a:gd name="T53" fmla="*/ 27 h 91"/>
                  <a:gd name="T54" fmla="*/ 22 w 68"/>
                  <a:gd name="T55" fmla="*/ 33 h 91"/>
                  <a:gd name="T56" fmla="*/ 23 w 68"/>
                  <a:gd name="T57" fmla="*/ 35 h 91"/>
                  <a:gd name="T58" fmla="*/ 18 w 68"/>
                  <a:gd name="T59" fmla="*/ 43 h 91"/>
                  <a:gd name="T60" fmla="*/ 20 w 68"/>
                  <a:gd name="T61" fmla="*/ 47 h 91"/>
                  <a:gd name="T62" fmla="*/ 23 w 68"/>
                  <a:gd name="T63" fmla="*/ 47 h 91"/>
                  <a:gd name="T64" fmla="*/ 22 w 68"/>
                  <a:gd name="T65" fmla="*/ 52 h 91"/>
                  <a:gd name="T66" fmla="*/ 4 w 68"/>
                  <a:gd name="T67" fmla="*/ 58 h 91"/>
                  <a:gd name="T68" fmla="*/ 6 w 68"/>
                  <a:gd name="T69" fmla="*/ 62 h 91"/>
                  <a:gd name="T70" fmla="*/ 6 w 68"/>
                  <a:gd name="T71" fmla="*/ 66 h 91"/>
                  <a:gd name="T72" fmla="*/ 2 w 68"/>
                  <a:gd name="T73" fmla="*/ 68 h 91"/>
                  <a:gd name="T74" fmla="*/ 0 w 68"/>
                  <a:gd name="T75" fmla="*/ 70 h 91"/>
                  <a:gd name="T76" fmla="*/ 2 w 68"/>
                  <a:gd name="T77" fmla="*/ 74 h 91"/>
                  <a:gd name="T78" fmla="*/ 8 w 68"/>
                  <a:gd name="T79" fmla="*/ 72 h 91"/>
                  <a:gd name="T80" fmla="*/ 16 w 68"/>
                  <a:gd name="T81" fmla="*/ 8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8" h="91">
                    <a:moveTo>
                      <a:pt x="18" y="82"/>
                    </a:moveTo>
                    <a:lnTo>
                      <a:pt x="22" y="91"/>
                    </a:lnTo>
                    <a:lnTo>
                      <a:pt x="23" y="91"/>
                    </a:lnTo>
                    <a:lnTo>
                      <a:pt x="29" y="90"/>
                    </a:lnTo>
                    <a:lnTo>
                      <a:pt x="41" y="86"/>
                    </a:lnTo>
                    <a:lnTo>
                      <a:pt x="43" y="80"/>
                    </a:lnTo>
                    <a:lnTo>
                      <a:pt x="49" y="76"/>
                    </a:lnTo>
                    <a:lnTo>
                      <a:pt x="53" y="72"/>
                    </a:lnTo>
                    <a:lnTo>
                      <a:pt x="55" y="68"/>
                    </a:lnTo>
                    <a:lnTo>
                      <a:pt x="57" y="62"/>
                    </a:lnTo>
                    <a:lnTo>
                      <a:pt x="59" y="58"/>
                    </a:lnTo>
                    <a:lnTo>
                      <a:pt x="59" y="56"/>
                    </a:lnTo>
                    <a:lnTo>
                      <a:pt x="57" y="56"/>
                    </a:lnTo>
                    <a:lnTo>
                      <a:pt x="59" y="56"/>
                    </a:lnTo>
                    <a:lnTo>
                      <a:pt x="59" y="56"/>
                    </a:lnTo>
                    <a:lnTo>
                      <a:pt x="61" y="54"/>
                    </a:lnTo>
                    <a:lnTo>
                      <a:pt x="61" y="54"/>
                    </a:lnTo>
                    <a:lnTo>
                      <a:pt x="59" y="52"/>
                    </a:lnTo>
                    <a:lnTo>
                      <a:pt x="57" y="49"/>
                    </a:lnTo>
                    <a:lnTo>
                      <a:pt x="55" y="39"/>
                    </a:lnTo>
                    <a:lnTo>
                      <a:pt x="55" y="37"/>
                    </a:lnTo>
                    <a:lnTo>
                      <a:pt x="55" y="37"/>
                    </a:lnTo>
                    <a:lnTo>
                      <a:pt x="53" y="35"/>
                    </a:lnTo>
                    <a:lnTo>
                      <a:pt x="55" y="31"/>
                    </a:lnTo>
                    <a:lnTo>
                      <a:pt x="55" y="29"/>
                    </a:lnTo>
                    <a:lnTo>
                      <a:pt x="59" y="27"/>
                    </a:lnTo>
                    <a:lnTo>
                      <a:pt x="61" y="27"/>
                    </a:lnTo>
                    <a:lnTo>
                      <a:pt x="61" y="29"/>
                    </a:lnTo>
                    <a:lnTo>
                      <a:pt x="63" y="31"/>
                    </a:lnTo>
                    <a:lnTo>
                      <a:pt x="63" y="35"/>
                    </a:lnTo>
                    <a:lnTo>
                      <a:pt x="63" y="33"/>
                    </a:lnTo>
                    <a:lnTo>
                      <a:pt x="65" y="33"/>
                    </a:lnTo>
                    <a:lnTo>
                      <a:pt x="66" y="29"/>
                    </a:lnTo>
                    <a:lnTo>
                      <a:pt x="68" y="19"/>
                    </a:lnTo>
                    <a:lnTo>
                      <a:pt x="68" y="17"/>
                    </a:lnTo>
                    <a:lnTo>
                      <a:pt x="68" y="15"/>
                    </a:lnTo>
                    <a:lnTo>
                      <a:pt x="66" y="11"/>
                    </a:lnTo>
                    <a:lnTo>
                      <a:pt x="66" y="9"/>
                    </a:lnTo>
                    <a:lnTo>
                      <a:pt x="66" y="8"/>
                    </a:lnTo>
                    <a:lnTo>
                      <a:pt x="68" y="4"/>
                    </a:lnTo>
                    <a:lnTo>
                      <a:pt x="68" y="2"/>
                    </a:lnTo>
                    <a:lnTo>
                      <a:pt x="66" y="0"/>
                    </a:lnTo>
                    <a:lnTo>
                      <a:pt x="65" y="4"/>
                    </a:lnTo>
                    <a:lnTo>
                      <a:pt x="63" y="8"/>
                    </a:lnTo>
                    <a:lnTo>
                      <a:pt x="59" y="6"/>
                    </a:lnTo>
                    <a:lnTo>
                      <a:pt x="53" y="17"/>
                    </a:lnTo>
                    <a:lnTo>
                      <a:pt x="49" y="21"/>
                    </a:lnTo>
                    <a:lnTo>
                      <a:pt x="47" y="19"/>
                    </a:lnTo>
                    <a:lnTo>
                      <a:pt x="41" y="23"/>
                    </a:lnTo>
                    <a:lnTo>
                      <a:pt x="31" y="25"/>
                    </a:lnTo>
                    <a:lnTo>
                      <a:pt x="27" y="27"/>
                    </a:lnTo>
                    <a:lnTo>
                      <a:pt x="25" y="27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2" y="27"/>
                    </a:lnTo>
                    <a:lnTo>
                      <a:pt x="22" y="33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2" y="39"/>
                    </a:lnTo>
                    <a:lnTo>
                      <a:pt x="18" y="43"/>
                    </a:lnTo>
                    <a:lnTo>
                      <a:pt x="18" y="45"/>
                    </a:lnTo>
                    <a:lnTo>
                      <a:pt x="20" y="47"/>
                    </a:lnTo>
                    <a:lnTo>
                      <a:pt x="22" y="47"/>
                    </a:lnTo>
                    <a:lnTo>
                      <a:pt x="23" y="47"/>
                    </a:lnTo>
                    <a:lnTo>
                      <a:pt x="25" y="47"/>
                    </a:lnTo>
                    <a:lnTo>
                      <a:pt x="22" y="52"/>
                    </a:lnTo>
                    <a:lnTo>
                      <a:pt x="10" y="54"/>
                    </a:lnTo>
                    <a:lnTo>
                      <a:pt x="4" y="58"/>
                    </a:lnTo>
                    <a:lnTo>
                      <a:pt x="6" y="58"/>
                    </a:lnTo>
                    <a:lnTo>
                      <a:pt x="6" y="62"/>
                    </a:lnTo>
                    <a:lnTo>
                      <a:pt x="6" y="64"/>
                    </a:lnTo>
                    <a:lnTo>
                      <a:pt x="6" y="66"/>
                    </a:lnTo>
                    <a:lnTo>
                      <a:pt x="4" y="66"/>
                    </a:lnTo>
                    <a:lnTo>
                      <a:pt x="2" y="68"/>
                    </a:lnTo>
                    <a:lnTo>
                      <a:pt x="2" y="68"/>
                    </a:lnTo>
                    <a:lnTo>
                      <a:pt x="0" y="70"/>
                    </a:lnTo>
                    <a:lnTo>
                      <a:pt x="0" y="74"/>
                    </a:lnTo>
                    <a:lnTo>
                      <a:pt x="2" y="74"/>
                    </a:lnTo>
                    <a:lnTo>
                      <a:pt x="6" y="72"/>
                    </a:lnTo>
                    <a:lnTo>
                      <a:pt x="8" y="72"/>
                    </a:lnTo>
                    <a:lnTo>
                      <a:pt x="12" y="74"/>
                    </a:lnTo>
                    <a:lnTo>
                      <a:pt x="16" y="80"/>
                    </a:lnTo>
                    <a:lnTo>
                      <a:pt x="18" y="8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64" name="Freeform 764">
                <a:extLst>
                  <a:ext uri="{FF2B5EF4-FFF2-40B4-BE49-F238E27FC236}">
                    <a16:creationId xmlns:a16="http://schemas.microsoft.com/office/drawing/2014/main" id="{A00D96B4-F45A-44ED-BEA5-36BC0F23AF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" y="1682"/>
                <a:ext cx="143" cy="96"/>
              </a:xfrm>
              <a:custGeom>
                <a:avLst/>
                <a:gdLst>
                  <a:gd name="T0" fmla="*/ 139 w 143"/>
                  <a:gd name="T1" fmla="*/ 51 h 96"/>
                  <a:gd name="T2" fmla="*/ 129 w 143"/>
                  <a:gd name="T3" fmla="*/ 39 h 96"/>
                  <a:gd name="T4" fmla="*/ 131 w 143"/>
                  <a:gd name="T5" fmla="*/ 37 h 96"/>
                  <a:gd name="T6" fmla="*/ 125 w 143"/>
                  <a:gd name="T7" fmla="*/ 33 h 96"/>
                  <a:gd name="T8" fmla="*/ 121 w 143"/>
                  <a:gd name="T9" fmla="*/ 25 h 96"/>
                  <a:gd name="T10" fmla="*/ 108 w 143"/>
                  <a:gd name="T11" fmla="*/ 16 h 96"/>
                  <a:gd name="T12" fmla="*/ 108 w 143"/>
                  <a:gd name="T13" fmla="*/ 23 h 96"/>
                  <a:gd name="T14" fmla="*/ 108 w 143"/>
                  <a:gd name="T15" fmla="*/ 27 h 96"/>
                  <a:gd name="T16" fmla="*/ 100 w 143"/>
                  <a:gd name="T17" fmla="*/ 29 h 96"/>
                  <a:gd name="T18" fmla="*/ 96 w 143"/>
                  <a:gd name="T19" fmla="*/ 35 h 96"/>
                  <a:gd name="T20" fmla="*/ 100 w 143"/>
                  <a:gd name="T21" fmla="*/ 43 h 96"/>
                  <a:gd name="T22" fmla="*/ 65 w 143"/>
                  <a:gd name="T23" fmla="*/ 25 h 96"/>
                  <a:gd name="T24" fmla="*/ 57 w 143"/>
                  <a:gd name="T25" fmla="*/ 12 h 96"/>
                  <a:gd name="T26" fmla="*/ 51 w 143"/>
                  <a:gd name="T27" fmla="*/ 8 h 96"/>
                  <a:gd name="T28" fmla="*/ 39 w 143"/>
                  <a:gd name="T29" fmla="*/ 0 h 96"/>
                  <a:gd name="T30" fmla="*/ 12 w 143"/>
                  <a:gd name="T31" fmla="*/ 4 h 96"/>
                  <a:gd name="T32" fmla="*/ 2 w 143"/>
                  <a:gd name="T33" fmla="*/ 16 h 96"/>
                  <a:gd name="T34" fmla="*/ 4 w 143"/>
                  <a:gd name="T35" fmla="*/ 23 h 96"/>
                  <a:gd name="T36" fmla="*/ 16 w 143"/>
                  <a:gd name="T37" fmla="*/ 35 h 96"/>
                  <a:gd name="T38" fmla="*/ 14 w 143"/>
                  <a:gd name="T39" fmla="*/ 43 h 96"/>
                  <a:gd name="T40" fmla="*/ 4 w 143"/>
                  <a:gd name="T41" fmla="*/ 43 h 96"/>
                  <a:gd name="T42" fmla="*/ 0 w 143"/>
                  <a:gd name="T43" fmla="*/ 51 h 96"/>
                  <a:gd name="T44" fmla="*/ 4 w 143"/>
                  <a:gd name="T45" fmla="*/ 57 h 96"/>
                  <a:gd name="T46" fmla="*/ 24 w 143"/>
                  <a:gd name="T47" fmla="*/ 64 h 96"/>
                  <a:gd name="T48" fmla="*/ 49 w 143"/>
                  <a:gd name="T49" fmla="*/ 78 h 96"/>
                  <a:gd name="T50" fmla="*/ 74 w 143"/>
                  <a:gd name="T51" fmla="*/ 96 h 96"/>
                  <a:gd name="T52" fmla="*/ 86 w 143"/>
                  <a:gd name="T53" fmla="*/ 90 h 96"/>
                  <a:gd name="T54" fmla="*/ 102 w 143"/>
                  <a:gd name="T55" fmla="*/ 84 h 96"/>
                  <a:gd name="T56" fmla="*/ 135 w 143"/>
                  <a:gd name="T57" fmla="*/ 88 h 96"/>
                  <a:gd name="T58" fmla="*/ 141 w 143"/>
                  <a:gd name="T59" fmla="*/ 76 h 96"/>
                  <a:gd name="T60" fmla="*/ 135 w 143"/>
                  <a:gd name="T61" fmla="*/ 70 h 96"/>
                  <a:gd name="T62" fmla="*/ 139 w 143"/>
                  <a:gd name="T63" fmla="*/ 68 h 96"/>
                  <a:gd name="T64" fmla="*/ 143 w 143"/>
                  <a:gd name="T65" fmla="*/ 63 h 96"/>
                  <a:gd name="T66" fmla="*/ 143 w 143"/>
                  <a:gd name="T67" fmla="*/ 59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3" h="96">
                    <a:moveTo>
                      <a:pt x="141" y="55"/>
                    </a:moveTo>
                    <a:lnTo>
                      <a:pt x="139" y="51"/>
                    </a:lnTo>
                    <a:lnTo>
                      <a:pt x="131" y="45"/>
                    </a:lnTo>
                    <a:lnTo>
                      <a:pt x="129" y="39"/>
                    </a:lnTo>
                    <a:lnTo>
                      <a:pt x="129" y="39"/>
                    </a:lnTo>
                    <a:lnTo>
                      <a:pt x="131" y="37"/>
                    </a:lnTo>
                    <a:lnTo>
                      <a:pt x="129" y="35"/>
                    </a:lnTo>
                    <a:lnTo>
                      <a:pt x="125" y="33"/>
                    </a:lnTo>
                    <a:lnTo>
                      <a:pt x="121" y="29"/>
                    </a:lnTo>
                    <a:lnTo>
                      <a:pt x="121" y="25"/>
                    </a:lnTo>
                    <a:lnTo>
                      <a:pt x="108" y="14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8" y="23"/>
                    </a:lnTo>
                    <a:lnTo>
                      <a:pt x="110" y="27"/>
                    </a:lnTo>
                    <a:lnTo>
                      <a:pt x="108" y="27"/>
                    </a:lnTo>
                    <a:lnTo>
                      <a:pt x="104" y="29"/>
                    </a:lnTo>
                    <a:lnTo>
                      <a:pt x="100" y="29"/>
                    </a:lnTo>
                    <a:lnTo>
                      <a:pt x="96" y="31"/>
                    </a:lnTo>
                    <a:lnTo>
                      <a:pt x="96" y="35"/>
                    </a:lnTo>
                    <a:lnTo>
                      <a:pt x="98" y="37"/>
                    </a:lnTo>
                    <a:lnTo>
                      <a:pt x="100" y="43"/>
                    </a:lnTo>
                    <a:lnTo>
                      <a:pt x="69" y="25"/>
                    </a:lnTo>
                    <a:lnTo>
                      <a:pt x="65" y="25"/>
                    </a:lnTo>
                    <a:lnTo>
                      <a:pt x="61" y="23"/>
                    </a:lnTo>
                    <a:lnTo>
                      <a:pt x="57" y="12"/>
                    </a:lnTo>
                    <a:lnTo>
                      <a:pt x="53" y="10"/>
                    </a:lnTo>
                    <a:lnTo>
                      <a:pt x="51" y="8"/>
                    </a:lnTo>
                    <a:lnTo>
                      <a:pt x="43" y="2"/>
                    </a:lnTo>
                    <a:lnTo>
                      <a:pt x="39" y="0"/>
                    </a:lnTo>
                    <a:lnTo>
                      <a:pt x="14" y="4"/>
                    </a:lnTo>
                    <a:lnTo>
                      <a:pt x="12" y="4"/>
                    </a:lnTo>
                    <a:lnTo>
                      <a:pt x="4" y="12"/>
                    </a:lnTo>
                    <a:lnTo>
                      <a:pt x="2" y="16"/>
                    </a:lnTo>
                    <a:lnTo>
                      <a:pt x="2" y="22"/>
                    </a:lnTo>
                    <a:lnTo>
                      <a:pt x="4" y="23"/>
                    </a:lnTo>
                    <a:lnTo>
                      <a:pt x="12" y="33"/>
                    </a:lnTo>
                    <a:lnTo>
                      <a:pt x="16" y="35"/>
                    </a:lnTo>
                    <a:lnTo>
                      <a:pt x="18" y="37"/>
                    </a:lnTo>
                    <a:lnTo>
                      <a:pt x="14" y="43"/>
                    </a:lnTo>
                    <a:lnTo>
                      <a:pt x="10" y="43"/>
                    </a:lnTo>
                    <a:lnTo>
                      <a:pt x="4" y="43"/>
                    </a:lnTo>
                    <a:lnTo>
                      <a:pt x="0" y="45"/>
                    </a:lnTo>
                    <a:lnTo>
                      <a:pt x="0" y="51"/>
                    </a:lnTo>
                    <a:lnTo>
                      <a:pt x="2" y="55"/>
                    </a:lnTo>
                    <a:lnTo>
                      <a:pt x="4" y="57"/>
                    </a:lnTo>
                    <a:lnTo>
                      <a:pt x="14" y="61"/>
                    </a:lnTo>
                    <a:lnTo>
                      <a:pt x="24" y="64"/>
                    </a:lnTo>
                    <a:lnTo>
                      <a:pt x="31" y="66"/>
                    </a:lnTo>
                    <a:lnTo>
                      <a:pt x="49" y="78"/>
                    </a:lnTo>
                    <a:lnTo>
                      <a:pt x="59" y="86"/>
                    </a:lnTo>
                    <a:lnTo>
                      <a:pt x="74" y="96"/>
                    </a:lnTo>
                    <a:lnTo>
                      <a:pt x="78" y="96"/>
                    </a:lnTo>
                    <a:lnTo>
                      <a:pt x="86" y="90"/>
                    </a:lnTo>
                    <a:lnTo>
                      <a:pt x="94" y="86"/>
                    </a:lnTo>
                    <a:lnTo>
                      <a:pt x="102" y="84"/>
                    </a:lnTo>
                    <a:lnTo>
                      <a:pt x="127" y="90"/>
                    </a:lnTo>
                    <a:lnTo>
                      <a:pt x="135" y="88"/>
                    </a:lnTo>
                    <a:lnTo>
                      <a:pt x="141" y="82"/>
                    </a:lnTo>
                    <a:lnTo>
                      <a:pt x="141" y="76"/>
                    </a:lnTo>
                    <a:lnTo>
                      <a:pt x="135" y="72"/>
                    </a:lnTo>
                    <a:lnTo>
                      <a:pt x="135" y="70"/>
                    </a:lnTo>
                    <a:lnTo>
                      <a:pt x="137" y="68"/>
                    </a:lnTo>
                    <a:lnTo>
                      <a:pt x="139" y="68"/>
                    </a:lnTo>
                    <a:lnTo>
                      <a:pt x="141" y="66"/>
                    </a:lnTo>
                    <a:lnTo>
                      <a:pt x="143" y="63"/>
                    </a:lnTo>
                    <a:lnTo>
                      <a:pt x="143" y="61"/>
                    </a:lnTo>
                    <a:lnTo>
                      <a:pt x="143" y="59"/>
                    </a:lnTo>
                    <a:lnTo>
                      <a:pt x="141" y="5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65" name="Freeform 765">
                <a:extLst>
                  <a:ext uri="{FF2B5EF4-FFF2-40B4-BE49-F238E27FC236}">
                    <a16:creationId xmlns:a16="http://schemas.microsoft.com/office/drawing/2014/main" id="{94D0F8BC-998D-43F1-AE76-D9B26B5956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" y="1534"/>
                <a:ext cx="19" cy="37"/>
              </a:xfrm>
              <a:custGeom>
                <a:avLst/>
                <a:gdLst>
                  <a:gd name="T0" fmla="*/ 5 w 19"/>
                  <a:gd name="T1" fmla="*/ 25 h 37"/>
                  <a:gd name="T2" fmla="*/ 9 w 19"/>
                  <a:gd name="T3" fmla="*/ 33 h 37"/>
                  <a:gd name="T4" fmla="*/ 13 w 19"/>
                  <a:gd name="T5" fmla="*/ 37 h 37"/>
                  <a:gd name="T6" fmla="*/ 19 w 19"/>
                  <a:gd name="T7" fmla="*/ 35 h 37"/>
                  <a:gd name="T8" fmla="*/ 17 w 19"/>
                  <a:gd name="T9" fmla="*/ 33 h 37"/>
                  <a:gd name="T10" fmla="*/ 15 w 19"/>
                  <a:gd name="T11" fmla="*/ 27 h 37"/>
                  <a:gd name="T12" fmla="*/ 15 w 19"/>
                  <a:gd name="T13" fmla="*/ 23 h 37"/>
                  <a:gd name="T14" fmla="*/ 13 w 19"/>
                  <a:gd name="T15" fmla="*/ 21 h 37"/>
                  <a:gd name="T16" fmla="*/ 15 w 19"/>
                  <a:gd name="T17" fmla="*/ 15 h 37"/>
                  <a:gd name="T18" fmla="*/ 15 w 19"/>
                  <a:gd name="T19" fmla="*/ 11 h 37"/>
                  <a:gd name="T20" fmla="*/ 13 w 19"/>
                  <a:gd name="T21" fmla="*/ 9 h 37"/>
                  <a:gd name="T22" fmla="*/ 9 w 19"/>
                  <a:gd name="T23" fmla="*/ 9 h 37"/>
                  <a:gd name="T24" fmla="*/ 7 w 19"/>
                  <a:gd name="T25" fmla="*/ 7 h 37"/>
                  <a:gd name="T26" fmla="*/ 7 w 19"/>
                  <a:gd name="T27" fmla="*/ 0 h 37"/>
                  <a:gd name="T28" fmla="*/ 2 w 19"/>
                  <a:gd name="T29" fmla="*/ 0 h 37"/>
                  <a:gd name="T30" fmla="*/ 0 w 19"/>
                  <a:gd name="T31" fmla="*/ 6 h 37"/>
                  <a:gd name="T32" fmla="*/ 2 w 19"/>
                  <a:gd name="T33" fmla="*/ 11 h 37"/>
                  <a:gd name="T34" fmla="*/ 5 w 19"/>
                  <a:gd name="T35" fmla="*/ 25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" h="37">
                    <a:moveTo>
                      <a:pt x="5" y="25"/>
                    </a:moveTo>
                    <a:lnTo>
                      <a:pt x="9" y="33"/>
                    </a:lnTo>
                    <a:lnTo>
                      <a:pt x="13" y="37"/>
                    </a:lnTo>
                    <a:lnTo>
                      <a:pt x="19" y="35"/>
                    </a:lnTo>
                    <a:lnTo>
                      <a:pt x="17" y="33"/>
                    </a:lnTo>
                    <a:lnTo>
                      <a:pt x="15" y="27"/>
                    </a:lnTo>
                    <a:lnTo>
                      <a:pt x="15" y="23"/>
                    </a:lnTo>
                    <a:lnTo>
                      <a:pt x="13" y="21"/>
                    </a:lnTo>
                    <a:lnTo>
                      <a:pt x="15" y="15"/>
                    </a:lnTo>
                    <a:lnTo>
                      <a:pt x="15" y="11"/>
                    </a:lnTo>
                    <a:lnTo>
                      <a:pt x="13" y="9"/>
                    </a:lnTo>
                    <a:lnTo>
                      <a:pt x="9" y="9"/>
                    </a:lnTo>
                    <a:lnTo>
                      <a:pt x="7" y="7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2" y="11"/>
                    </a:lnTo>
                    <a:lnTo>
                      <a:pt x="5" y="2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66" name="Freeform 766">
                <a:extLst>
                  <a:ext uri="{FF2B5EF4-FFF2-40B4-BE49-F238E27FC236}">
                    <a16:creationId xmlns:a16="http://schemas.microsoft.com/office/drawing/2014/main" id="{ABE7A70E-3EF4-4C3F-97E8-E167A105A0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" y="1645"/>
                <a:ext cx="74" cy="66"/>
              </a:xfrm>
              <a:custGeom>
                <a:avLst/>
                <a:gdLst>
                  <a:gd name="T0" fmla="*/ 60 w 74"/>
                  <a:gd name="T1" fmla="*/ 25 h 66"/>
                  <a:gd name="T2" fmla="*/ 50 w 74"/>
                  <a:gd name="T3" fmla="*/ 18 h 66"/>
                  <a:gd name="T4" fmla="*/ 37 w 74"/>
                  <a:gd name="T5" fmla="*/ 14 h 66"/>
                  <a:gd name="T6" fmla="*/ 21 w 74"/>
                  <a:gd name="T7" fmla="*/ 0 h 66"/>
                  <a:gd name="T8" fmla="*/ 0 w 74"/>
                  <a:gd name="T9" fmla="*/ 8 h 66"/>
                  <a:gd name="T10" fmla="*/ 4 w 74"/>
                  <a:gd name="T11" fmla="*/ 12 h 66"/>
                  <a:gd name="T12" fmla="*/ 9 w 74"/>
                  <a:gd name="T13" fmla="*/ 10 h 66"/>
                  <a:gd name="T14" fmla="*/ 11 w 74"/>
                  <a:gd name="T15" fmla="*/ 12 h 66"/>
                  <a:gd name="T16" fmla="*/ 7 w 74"/>
                  <a:gd name="T17" fmla="*/ 16 h 66"/>
                  <a:gd name="T18" fmla="*/ 9 w 74"/>
                  <a:gd name="T19" fmla="*/ 19 h 66"/>
                  <a:gd name="T20" fmla="*/ 13 w 74"/>
                  <a:gd name="T21" fmla="*/ 21 h 66"/>
                  <a:gd name="T22" fmla="*/ 29 w 74"/>
                  <a:gd name="T23" fmla="*/ 19 h 66"/>
                  <a:gd name="T24" fmla="*/ 27 w 74"/>
                  <a:gd name="T25" fmla="*/ 25 h 66"/>
                  <a:gd name="T26" fmla="*/ 35 w 74"/>
                  <a:gd name="T27" fmla="*/ 33 h 66"/>
                  <a:gd name="T28" fmla="*/ 35 w 74"/>
                  <a:gd name="T29" fmla="*/ 35 h 66"/>
                  <a:gd name="T30" fmla="*/ 35 w 74"/>
                  <a:gd name="T31" fmla="*/ 37 h 66"/>
                  <a:gd name="T32" fmla="*/ 37 w 74"/>
                  <a:gd name="T33" fmla="*/ 41 h 66"/>
                  <a:gd name="T34" fmla="*/ 29 w 74"/>
                  <a:gd name="T35" fmla="*/ 37 h 66"/>
                  <a:gd name="T36" fmla="*/ 21 w 74"/>
                  <a:gd name="T37" fmla="*/ 31 h 66"/>
                  <a:gd name="T38" fmla="*/ 23 w 74"/>
                  <a:gd name="T39" fmla="*/ 31 h 66"/>
                  <a:gd name="T40" fmla="*/ 25 w 74"/>
                  <a:gd name="T41" fmla="*/ 49 h 66"/>
                  <a:gd name="T42" fmla="*/ 39 w 74"/>
                  <a:gd name="T43" fmla="*/ 55 h 66"/>
                  <a:gd name="T44" fmla="*/ 43 w 74"/>
                  <a:gd name="T45" fmla="*/ 51 h 66"/>
                  <a:gd name="T46" fmla="*/ 45 w 74"/>
                  <a:gd name="T47" fmla="*/ 51 h 66"/>
                  <a:gd name="T48" fmla="*/ 60 w 74"/>
                  <a:gd name="T49" fmla="*/ 60 h 66"/>
                  <a:gd name="T50" fmla="*/ 56 w 74"/>
                  <a:gd name="T51" fmla="*/ 60 h 66"/>
                  <a:gd name="T52" fmla="*/ 47 w 74"/>
                  <a:gd name="T53" fmla="*/ 55 h 66"/>
                  <a:gd name="T54" fmla="*/ 41 w 74"/>
                  <a:gd name="T55" fmla="*/ 59 h 66"/>
                  <a:gd name="T56" fmla="*/ 52 w 74"/>
                  <a:gd name="T57" fmla="*/ 62 h 66"/>
                  <a:gd name="T58" fmla="*/ 56 w 74"/>
                  <a:gd name="T59" fmla="*/ 66 h 66"/>
                  <a:gd name="T60" fmla="*/ 64 w 74"/>
                  <a:gd name="T61" fmla="*/ 60 h 66"/>
                  <a:gd name="T62" fmla="*/ 70 w 74"/>
                  <a:gd name="T63" fmla="*/ 60 h 66"/>
                  <a:gd name="T64" fmla="*/ 74 w 74"/>
                  <a:gd name="T65" fmla="*/ 57 h 66"/>
                  <a:gd name="T66" fmla="*/ 64 w 74"/>
                  <a:gd name="T67" fmla="*/ 31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4" h="66">
                    <a:moveTo>
                      <a:pt x="64" y="31"/>
                    </a:moveTo>
                    <a:lnTo>
                      <a:pt x="60" y="25"/>
                    </a:lnTo>
                    <a:lnTo>
                      <a:pt x="56" y="21"/>
                    </a:lnTo>
                    <a:lnTo>
                      <a:pt x="50" y="18"/>
                    </a:lnTo>
                    <a:lnTo>
                      <a:pt x="43" y="16"/>
                    </a:lnTo>
                    <a:lnTo>
                      <a:pt x="37" y="14"/>
                    </a:lnTo>
                    <a:lnTo>
                      <a:pt x="27" y="2"/>
                    </a:lnTo>
                    <a:lnTo>
                      <a:pt x="21" y="0"/>
                    </a:lnTo>
                    <a:lnTo>
                      <a:pt x="15" y="2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5" y="12"/>
                    </a:lnTo>
                    <a:lnTo>
                      <a:pt x="9" y="10"/>
                    </a:lnTo>
                    <a:lnTo>
                      <a:pt x="11" y="10"/>
                    </a:lnTo>
                    <a:lnTo>
                      <a:pt x="11" y="12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7" y="19"/>
                    </a:lnTo>
                    <a:lnTo>
                      <a:pt x="9" y="19"/>
                    </a:lnTo>
                    <a:lnTo>
                      <a:pt x="11" y="19"/>
                    </a:lnTo>
                    <a:lnTo>
                      <a:pt x="13" y="21"/>
                    </a:lnTo>
                    <a:lnTo>
                      <a:pt x="15" y="21"/>
                    </a:lnTo>
                    <a:lnTo>
                      <a:pt x="29" y="19"/>
                    </a:lnTo>
                    <a:lnTo>
                      <a:pt x="29" y="21"/>
                    </a:lnTo>
                    <a:lnTo>
                      <a:pt x="27" y="25"/>
                    </a:lnTo>
                    <a:lnTo>
                      <a:pt x="27" y="27"/>
                    </a:lnTo>
                    <a:lnTo>
                      <a:pt x="35" y="33"/>
                    </a:lnTo>
                    <a:lnTo>
                      <a:pt x="37" y="33"/>
                    </a:lnTo>
                    <a:lnTo>
                      <a:pt x="35" y="35"/>
                    </a:lnTo>
                    <a:lnTo>
                      <a:pt x="35" y="35"/>
                    </a:lnTo>
                    <a:lnTo>
                      <a:pt x="35" y="37"/>
                    </a:lnTo>
                    <a:lnTo>
                      <a:pt x="37" y="39"/>
                    </a:lnTo>
                    <a:lnTo>
                      <a:pt x="37" y="41"/>
                    </a:lnTo>
                    <a:lnTo>
                      <a:pt x="33" y="41"/>
                    </a:lnTo>
                    <a:lnTo>
                      <a:pt x="29" y="37"/>
                    </a:lnTo>
                    <a:lnTo>
                      <a:pt x="25" y="33"/>
                    </a:lnTo>
                    <a:lnTo>
                      <a:pt x="21" y="31"/>
                    </a:lnTo>
                    <a:lnTo>
                      <a:pt x="21" y="31"/>
                    </a:lnTo>
                    <a:lnTo>
                      <a:pt x="23" y="31"/>
                    </a:lnTo>
                    <a:lnTo>
                      <a:pt x="23" y="41"/>
                    </a:lnTo>
                    <a:lnTo>
                      <a:pt x="25" y="49"/>
                    </a:lnTo>
                    <a:lnTo>
                      <a:pt x="31" y="55"/>
                    </a:lnTo>
                    <a:lnTo>
                      <a:pt x="39" y="55"/>
                    </a:lnTo>
                    <a:lnTo>
                      <a:pt x="39" y="53"/>
                    </a:lnTo>
                    <a:lnTo>
                      <a:pt x="43" y="51"/>
                    </a:lnTo>
                    <a:lnTo>
                      <a:pt x="43" y="51"/>
                    </a:lnTo>
                    <a:lnTo>
                      <a:pt x="45" y="51"/>
                    </a:lnTo>
                    <a:lnTo>
                      <a:pt x="52" y="53"/>
                    </a:lnTo>
                    <a:lnTo>
                      <a:pt x="60" y="60"/>
                    </a:lnTo>
                    <a:lnTo>
                      <a:pt x="60" y="62"/>
                    </a:lnTo>
                    <a:lnTo>
                      <a:pt x="56" y="60"/>
                    </a:lnTo>
                    <a:lnTo>
                      <a:pt x="50" y="57"/>
                    </a:lnTo>
                    <a:lnTo>
                      <a:pt x="47" y="55"/>
                    </a:lnTo>
                    <a:lnTo>
                      <a:pt x="41" y="57"/>
                    </a:lnTo>
                    <a:lnTo>
                      <a:pt x="41" y="59"/>
                    </a:lnTo>
                    <a:lnTo>
                      <a:pt x="45" y="60"/>
                    </a:lnTo>
                    <a:lnTo>
                      <a:pt x="52" y="62"/>
                    </a:lnTo>
                    <a:lnTo>
                      <a:pt x="54" y="64"/>
                    </a:lnTo>
                    <a:lnTo>
                      <a:pt x="56" y="66"/>
                    </a:lnTo>
                    <a:lnTo>
                      <a:pt x="60" y="64"/>
                    </a:lnTo>
                    <a:lnTo>
                      <a:pt x="64" y="60"/>
                    </a:lnTo>
                    <a:lnTo>
                      <a:pt x="66" y="60"/>
                    </a:lnTo>
                    <a:lnTo>
                      <a:pt x="70" y="60"/>
                    </a:lnTo>
                    <a:lnTo>
                      <a:pt x="74" y="60"/>
                    </a:lnTo>
                    <a:lnTo>
                      <a:pt x="74" y="57"/>
                    </a:lnTo>
                    <a:lnTo>
                      <a:pt x="66" y="37"/>
                    </a:lnTo>
                    <a:lnTo>
                      <a:pt x="64" y="3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67" name="Freeform 767">
                <a:extLst>
                  <a:ext uri="{FF2B5EF4-FFF2-40B4-BE49-F238E27FC236}">
                    <a16:creationId xmlns:a16="http://schemas.microsoft.com/office/drawing/2014/main" id="{7354F5A8-C614-4601-B413-A390306EF2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" y="1623"/>
                <a:ext cx="58" cy="123"/>
              </a:xfrm>
              <a:custGeom>
                <a:avLst/>
                <a:gdLst>
                  <a:gd name="T0" fmla="*/ 49 w 58"/>
                  <a:gd name="T1" fmla="*/ 12 h 123"/>
                  <a:gd name="T2" fmla="*/ 43 w 58"/>
                  <a:gd name="T3" fmla="*/ 26 h 123"/>
                  <a:gd name="T4" fmla="*/ 41 w 58"/>
                  <a:gd name="T5" fmla="*/ 34 h 123"/>
                  <a:gd name="T6" fmla="*/ 31 w 58"/>
                  <a:gd name="T7" fmla="*/ 47 h 123"/>
                  <a:gd name="T8" fmla="*/ 27 w 58"/>
                  <a:gd name="T9" fmla="*/ 51 h 123"/>
                  <a:gd name="T10" fmla="*/ 19 w 58"/>
                  <a:gd name="T11" fmla="*/ 61 h 123"/>
                  <a:gd name="T12" fmla="*/ 15 w 58"/>
                  <a:gd name="T13" fmla="*/ 67 h 123"/>
                  <a:gd name="T14" fmla="*/ 13 w 58"/>
                  <a:gd name="T15" fmla="*/ 75 h 123"/>
                  <a:gd name="T16" fmla="*/ 13 w 58"/>
                  <a:gd name="T17" fmla="*/ 75 h 123"/>
                  <a:gd name="T18" fmla="*/ 15 w 58"/>
                  <a:gd name="T19" fmla="*/ 75 h 123"/>
                  <a:gd name="T20" fmla="*/ 17 w 58"/>
                  <a:gd name="T21" fmla="*/ 75 h 123"/>
                  <a:gd name="T22" fmla="*/ 19 w 58"/>
                  <a:gd name="T23" fmla="*/ 75 h 123"/>
                  <a:gd name="T24" fmla="*/ 19 w 58"/>
                  <a:gd name="T25" fmla="*/ 77 h 123"/>
                  <a:gd name="T26" fmla="*/ 19 w 58"/>
                  <a:gd name="T27" fmla="*/ 81 h 123"/>
                  <a:gd name="T28" fmla="*/ 15 w 58"/>
                  <a:gd name="T29" fmla="*/ 82 h 123"/>
                  <a:gd name="T30" fmla="*/ 15 w 58"/>
                  <a:gd name="T31" fmla="*/ 81 h 123"/>
                  <a:gd name="T32" fmla="*/ 13 w 58"/>
                  <a:gd name="T33" fmla="*/ 81 h 123"/>
                  <a:gd name="T34" fmla="*/ 11 w 58"/>
                  <a:gd name="T35" fmla="*/ 81 h 123"/>
                  <a:gd name="T36" fmla="*/ 9 w 58"/>
                  <a:gd name="T37" fmla="*/ 86 h 123"/>
                  <a:gd name="T38" fmla="*/ 8 w 58"/>
                  <a:gd name="T39" fmla="*/ 90 h 123"/>
                  <a:gd name="T40" fmla="*/ 6 w 58"/>
                  <a:gd name="T41" fmla="*/ 92 h 123"/>
                  <a:gd name="T42" fmla="*/ 4 w 58"/>
                  <a:gd name="T43" fmla="*/ 94 h 123"/>
                  <a:gd name="T44" fmla="*/ 0 w 58"/>
                  <a:gd name="T45" fmla="*/ 94 h 123"/>
                  <a:gd name="T46" fmla="*/ 4 w 58"/>
                  <a:gd name="T47" fmla="*/ 98 h 123"/>
                  <a:gd name="T48" fmla="*/ 6 w 58"/>
                  <a:gd name="T49" fmla="*/ 100 h 123"/>
                  <a:gd name="T50" fmla="*/ 8 w 58"/>
                  <a:gd name="T51" fmla="*/ 104 h 123"/>
                  <a:gd name="T52" fmla="*/ 11 w 58"/>
                  <a:gd name="T53" fmla="*/ 122 h 123"/>
                  <a:gd name="T54" fmla="*/ 15 w 58"/>
                  <a:gd name="T55" fmla="*/ 123 h 123"/>
                  <a:gd name="T56" fmla="*/ 19 w 58"/>
                  <a:gd name="T57" fmla="*/ 123 h 123"/>
                  <a:gd name="T58" fmla="*/ 21 w 58"/>
                  <a:gd name="T59" fmla="*/ 122 h 123"/>
                  <a:gd name="T60" fmla="*/ 23 w 58"/>
                  <a:gd name="T61" fmla="*/ 120 h 123"/>
                  <a:gd name="T62" fmla="*/ 39 w 58"/>
                  <a:gd name="T63" fmla="*/ 65 h 123"/>
                  <a:gd name="T64" fmla="*/ 47 w 58"/>
                  <a:gd name="T65" fmla="*/ 47 h 123"/>
                  <a:gd name="T66" fmla="*/ 51 w 58"/>
                  <a:gd name="T67" fmla="*/ 38 h 123"/>
                  <a:gd name="T68" fmla="*/ 58 w 58"/>
                  <a:gd name="T69" fmla="*/ 2 h 123"/>
                  <a:gd name="T70" fmla="*/ 54 w 58"/>
                  <a:gd name="T71" fmla="*/ 0 h 123"/>
                  <a:gd name="T72" fmla="*/ 49 w 58"/>
                  <a:gd name="T73" fmla="*/ 12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8" h="123">
                    <a:moveTo>
                      <a:pt x="49" y="12"/>
                    </a:moveTo>
                    <a:lnTo>
                      <a:pt x="43" y="26"/>
                    </a:lnTo>
                    <a:lnTo>
                      <a:pt x="41" y="34"/>
                    </a:lnTo>
                    <a:lnTo>
                      <a:pt x="31" y="47"/>
                    </a:lnTo>
                    <a:lnTo>
                      <a:pt x="27" y="51"/>
                    </a:lnTo>
                    <a:lnTo>
                      <a:pt x="19" y="61"/>
                    </a:lnTo>
                    <a:lnTo>
                      <a:pt x="15" y="67"/>
                    </a:lnTo>
                    <a:lnTo>
                      <a:pt x="13" y="75"/>
                    </a:lnTo>
                    <a:lnTo>
                      <a:pt x="13" y="75"/>
                    </a:lnTo>
                    <a:lnTo>
                      <a:pt x="15" y="75"/>
                    </a:lnTo>
                    <a:lnTo>
                      <a:pt x="17" y="75"/>
                    </a:lnTo>
                    <a:lnTo>
                      <a:pt x="19" y="75"/>
                    </a:lnTo>
                    <a:lnTo>
                      <a:pt x="19" y="77"/>
                    </a:lnTo>
                    <a:lnTo>
                      <a:pt x="19" y="81"/>
                    </a:lnTo>
                    <a:lnTo>
                      <a:pt x="15" y="82"/>
                    </a:lnTo>
                    <a:lnTo>
                      <a:pt x="15" y="81"/>
                    </a:lnTo>
                    <a:lnTo>
                      <a:pt x="13" y="81"/>
                    </a:lnTo>
                    <a:lnTo>
                      <a:pt x="11" y="81"/>
                    </a:lnTo>
                    <a:lnTo>
                      <a:pt x="9" y="86"/>
                    </a:lnTo>
                    <a:lnTo>
                      <a:pt x="8" y="90"/>
                    </a:lnTo>
                    <a:lnTo>
                      <a:pt x="6" y="92"/>
                    </a:lnTo>
                    <a:lnTo>
                      <a:pt x="4" y="94"/>
                    </a:lnTo>
                    <a:lnTo>
                      <a:pt x="0" y="94"/>
                    </a:lnTo>
                    <a:lnTo>
                      <a:pt x="4" y="98"/>
                    </a:lnTo>
                    <a:lnTo>
                      <a:pt x="6" y="100"/>
                    </a:lnTo>
                    <a:lnTo>
                      <a:pt x="8" y="104"/>
                    </a:lnTo>
                    <a:lnTo>
                      <a:pt x="11" y="122"/>
                    </a:lnTo>
                    <a:lnTo>
                      <a:pt x="15" y="123"/>
                    </a:lnTo>
                    <a:lnTo>
                      <a:pt x="19" y="123"/>
                    </a:lnTo>
                    <a:lnTo>
                      <a:pt x="21" y="122"/>
                    </a:lnTo>
                    <a:lnTo>
                      <a:pt x="23" y="120"/>
                    </a:lnTo>
                    <a:lnTo>
                      <a:pt x="39" y="65"/>
                    </a:lnTo>
                    <a:lnTo>
                      <a:pt x="47" y="47"/>
                    </a:lnTo>
                    <a:lnTo>
                      <a:pt x="51" y="38"/>
                    </a:lnTo>
                    <a:lnTo>
                      <a:pt x="58" y="2"/>
                    </a:lnTo>
                    <a:lnTo>
                      <a:pt x="54" y="0"/>
                    </a:lnTo>
                    <a:lnTo>
                      <a:pt x="49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68" name="Freeform 768">
                <a:extLst>
                  <a:ext uri="{FF2B5EF4-FFF2-40B4-BE49-F238E27FC236}">
                    <a16:creationId xmlns:a16="http://schemas.microsoft.com/office/drawing/2014/main" id="{076B7C9F-1B7C-4603-9E5D-52D8439BE1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" y="1489"/>
                <a:ext cx="196" cy="172"/>
              </a:xfrm>
              <a:custGeom>
                <a:avLst/>
                <a:gdLst>
                  <a:gd name="T0" fmla="*/ 176 w 196"/>
                  <a:gd name="T1" fmla="*/ 162 h 172"/>
                  <a:gd name="T2" fmla="*/ 182 w 196"/>
                  <a:gd name="T3" fmla="*/ 150 h 172"/>
                  <a:gd name="T4" fmla="*/ 188 w 196"/>
                  <a:gd name="T5" fmla="*/ 134 h 172"/>
                  <a:gd name="T6" fmla="*/ 192 w 196"/>
                  <a:gd name="T7" fmla="*/ 113 h 172"/>
                  <a:gd name="T8" fmla="*/ 186 w 196"/>
                  <a:gd name="T9" fmla="*/ 92 h 172"/>
                  <a:gd name="T10" fmla="*/ 196 w 196"/>
                  <a:gd name="T11" fmla="*/ 95 h 172"/>
                  <a:gd name="T12" fmla="*/ 172 w 196"/>
                  <a:gd name="T13" fmla="*/ 52 h 172"/>
                  <a:gd name="T14" fmla="*/ 153 w 196"/>
                  <a:gd name="T15" fmla="*/ 49 h 172"/>
                  <a:gd name="T16" fmla="*/ 149 w 196"/>
                  <a:gd name="T17" fmla="*/ 52 h 172"/>
                  <a:gd name="T18" fmla="*/ 153 w 196"/>
                  <a:gd name="T19" fmla="*/ 45 h 172"/>
                  <a:gd name="T20" fmla="*/ 180 w 196"/>
                  <a:gd name="T21" fmla="*/ 39 h 172"/>
                  <a:gd name="T22" fmla="*/ 174 w 196"/>
                  <a:gd name="T23" fmla="*/ 27 h 172"/>
                  <a:gd name="T24" fmla="*/ 172 w 196"/>
                  <a:gd name="T25" fmla="*/ 19 h 172"/>
                  <a:gd name="T26" fmla="*/ 157 w 196"/>
                  <a:gd name="T27" fmla="*/ 4 h 172"/>
                  <a:gd name="T28" fmla="*/ 155 w 196"/>
                  <a:gd name="T29" fmla="*/ 11 h 172"/>
                  <a:gd name="T30" fmla="*/ 157 w 196"/>
                  <a:gd name="T31" fmla="*/ 29 h 172"/>
                  <a:gd name="T32" fmla="*/ 151 w 196"/>
                  <a:gd name="T33" fmla="*/ 27 h 172"/>
                  <a:gd name="T34" fmla="*/ 155 w 196"/>
                  <a:gd name="T35" fmla="*/ 31 h 172"/>
                  <a:gd name="T36" fmla="*/ 157 w 196"/>
                  <a:gd name="T37" fmla="*/ 37 h 172"/>
                  <a:gd name="T38" fmla="*/ 133 w 196"/>
                  <a:gd name="T39" fmla="*/ 51 h 172"/>
                  <a:gd name="T40" fmla="*/ 133 w 196"/>
                  <a:gd name="T41" fmla="*/ 37 h 172"/>
                  <a:gd name="T42" fmla="*/ 137 w 196"/>
                  <a:gd name="T43" fmla="*/ 31 h 172"/>
                  <a:gd name="T44" fmla="*/ 137 w 196"/>
                  <a:gd name="T45" fmla="*/ 23 h 172"/>
                  <a:gd name="T46" fmla="*/ 133 w 196"/>
                  <a:gd name="T47" fmla="*/ 19 h 172"/>
                  <a:gd name="T48" fmla="*/ 125 w 196"/>
                  <a:gd name="T49" fmla="*/ 13 h 172"/>
                  <a:gd name="T50" fmla="*/ 104 w 196"/>
                  <a:gd name="T51" fmla="*/ 0 h 172"/>
                  <a:gd name="T52" fmla="*/ 102 w 196"/>
                  <a:gd name="T53" fmla="*/ 10 h 172"/>
                  <a:gd name="T54" fmla="*/ 94 w 196"/>
                  <a:gd name="T55" fmla="*/ 4 h 172"/>
                  <a:gd name="T56" fmla="*/ 45 w 196"/>
                  <a:gd name="T57" fmla="*/ 29 h 172"/>
                  <a:gd name="T58" fmla="*/ 28 w 196"/>
                  <a:gd name="T59" fmla="*/ 21 h 172"/>
                  <a:gd name="T60" fmla="*/ 8 w 196"/>
                  <a:gd name="T61" fmla="*/ 29 h 172"/>
                  <a:gd name="T62" fmla="*/ 0 w 196"/>
                  <a:gd name="T63" fmla="*/ 37 h 172"/>
                  <a:gd name="T64" fmla="*/ 14 w 196"/>
                  <a:gd name="T65" fmla="*/ 51 h 172"/>
                  <a:gd name="T66" fmla="*/ 12 w 196"/>
                  <a:gd name="T67" fmla="*/ 52 h 172"/>
                  <a:gd name="T68" fmla="*/ 26 w 196"/>
                  <a:gd name="T69" fmla="*/ 60 h 172"/>
                  <a:gd name="T70" fmla="*/ 28 w 196"/>
                  <a:gd name="T71" fmla="*/ 68 h 172"/>
                  <a:gd name="T72" fmla="*/ 22 w 196"/>
                  <a:gd name="T73" fmla="*/ 76 h 172"/>
                  <a:gd name="T74" fmla="*/ 34 w 196"/>
                  <a:gd name="T75" fmla="*/ 78 h 172"/>
                  <a:gd name="T76" fmla="*/ 38 w 196"/>
                  <a:gd name="T77" fmla="*/ 95 h 172"/>
                  <a:gd name="T78" fmla="*/ 36 w 196"/>
                  <a:gd name="T79" fmla="*/ 105 h 172"/>
                  <a:gd name="T80" fmla="*/ 40 w 196"/>
                  <a:gd name="T81" fmla="*/ 113 h 172"/>
                  <a:gd name="T82" fmla="*/ 51 w 196"/>
                  <a:gd name="T83" fmla="*/ 119 h 172"/>
                  <a:gd name="T84" fmla="*/ 51 w 196"/>
                  <a:gd name="T85" fmla="*/ 131 h 172"/>
                  <a:gd name="T86" fmla="*/ 53 w 196"/>
                  <a:gd name="T87" fmla="*/ 140 h 172"/>
                  <a:gd name="T88" fmla="*/ 59 w 196"/>
                  <a:gd name="T89" fmla="*/ 144 h 172"/>
                  <a:gd name="T90" fmla="*/ 53 w 196"/>
                  <a:gd name="T91" fmla="*/ 127 h 172"/>
                  <a:gd name="T92" fmla="*/ 65 w 196"/>
                  <a:gd name="T93" fmla="*/ 129 h 172"/>
                  <a:gd name="T94" fmla="*/ 75 w 196"/>
                  <a:gd name="T95" fmla="*/ 127 h 172"/>
                  <a:gd name="T96" fmla="*/ 79 w 196"/>
                  <a:gd name="T97" fmla="*/ 144 h 172"/>
                  <a:gd name="T98" fmla="*/ 79 w 196"/>
                  <a:gd name="T99" fmla="*/ 154 h 172"/>
                  <a:gd name="T100" fmla="*/ 88 w 196"/>
                  <a:gd name="T101" fmla="*/ 156 h 172"/>
                  <a:gd name="T102" fmla="*/ 110 w 196"/>
                  <a:gd name="T103" fmla="*/ 162 h 172"/>
                  <a:gd name="T104" fmla="*/ 120 w 196"/>
                  <a:gd name="T105" fmla="*/ 166 h 172"/>
                  <a:gd name="T106" fmla="*/ 141 w 196"/>
                  <a:gd name="T107" fmla="*/ 172 h 172"/>
                  <a:gd name="T108" fmla="*/ 153 w 196"/>
                  <a:gd name="T109" fmla="*/ 16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96" h="172">
                    <a:moveTo>
                      <a:pt x="159" y="162"/>
                    </a:moveTo>
                    <a:lnTo>
                      <a:pt x="166" y="162"/>
                    </a:lnTo>
                    <a:lnTo>
                      <a:pt x="172" y="164"/>
                    </a:lnTo>
                    <a:lnTo>
                      <a:pt x="176" y="162"/>
                    </a:lnTo>
                    <a:lnTo>
                      <a:pt x="178" y="160"/>
                    </a:lnTo>
                    <a:lnTo>
                      <a:pt x="180" y="158"/>
                    </a:lnTo>
                    <a:lnTo>
                      <a:pt x="180" y="154"/>
                    </a:lnTo>
                    <a:lnTo>
                      <a:pt x="182" y="150"/>
                    </a:lnTo>
                    <a:lnTo>
                      <a:pt x="186" y="144"/>
                    </a:lnTo>
                    <a:lnTo>
                      <a:pt x="186" y="144"/>
                    </a:lnTo>
                    <a:lnTo>
                      <a:pt x="188" y="138"/>
                    </a:lnTo>
                    <a:lnTo>
                      <a:pt x="188" y="134"/>
                    </a:lnTo>
                    <a:lnTo>
                      <a:pt x="190" y="129"/>
                    </a:lnTo>
                    <a:lnTo>
                      <a:pt x="192" y="125"/>
                    </a:lnTo>
                    <a:lnTo>
                      <a:pt x="192" y="119"/>
                    </a:lnTo>
                    <a:lnTo>
                      <a:pt x="192" y="113"/>
                    </a:lnTo>
                    <a:lnTo>
                      <a:pt x="190" y="107"/>
                    </a:lnTo>
                    <a:lnTo>
                      <a:pt x="186" y="101"/>
                    </a:lnTo>
                    <a:lnTo>
                      <a:pt x="184" y="97"/>
                    </a:lnTo>
                    <a:lnTo>
                      <a:pt x="186" y="92"/>
                    </a:lnTo>
                    <a:lnTo>
                      <a:pt x="188" y="92"/>
                    </a:lnTo>
                    <a:lnTo>
                      <a:pt x="192" y="93"/>
                    </a:lnTo>
                    <a:lnTo>
                      <a:pt x="194" y="95"/>
                    </a:lnTo>
                    <a:lnTo>
                      <a:pt x="196" y="95"/>
                    </a:lnTo>
                    <a:lnTo>
                      <a:pt x="194" y="92"/>
                    </a:lnTo>
                    <a:lnTo>
                      <a:pt x="190" y="80"/>
                    </a:lnTo>
                    <a:lnTo>
                      <a:pt x="188" y="76"/>
                    </a:lnTo>
                    <a:lnTo>
                      <a:pt x="172" y="52"/>
                    </a:lnTo>
                    <a:lnTo>
                      <a:pt x="170" y="51"/>
                    </a:lnTo>
                    <a:lnTo>
                      <a:pt x="159" y="47"/>
                    </a:lnTo>
                    <a:lnTo>
                      <a:pt x="155" y="47"/>
                    </a:lnTo>
                    <a:lnTo>
                      <a:pt x="153" y="49"/>
                    </a:lnTo>
                    <a:lnTo>
                      <a:pt x="155" y="51"/>
                    </a:lnTo>
                    <a:lnTo>
                      <a:pt x="155" y="52"/>
                    </a:lnTo>
                    <a:lnTo>
                      <a:pt x="153" y="54"/>
                    </a:lnTo>
                    <a:lnTo>
                      <a:pt x="149" y="52"/>
                    </a:lnTo>
                    <a:lnTo>
                      <a:pt x="147" y="52"/>
                    </a:lnTo>
                    <a:lnTo>
                      <a:pt x="149" y="49"/>
                    </a:lnTo>
                    <a:lnTo>
                      <a:pt x="151" y="47"/>
                    </a:lnTo>
                    <a:lnTo>
                      <a:pt x="153" y="45"/>
                    </a:lnTo>
                    <a:lnTo>
                      <a:pt x="165" y="47"/>
                    </a:lnTo>
                    <a:lnTo>
                      <a:pt x="172" y="43"/>
                    </a:lnTo>
                    <a:lnTo>
                      <a:pt x="178" y="41"/>
                    </a:lnTo>
                    <a:lnTo>
                      <a:pt x="180" y="39"/>
                    </a:lnTo>
                    <a:lnTo>
                      <a:pt x="180" y="37"/>
                    </a:lnTo>
                    <a:lnTo>
                      <a:pt x="178" y="31"/>
                    </a:lnTo>
                    <a:lnTo>
                      <a:pt x="174" y="29"/>
                    </a:lnTo>
                    <a:lnTo>
                      <a:pt x="174" y="27"/>
                    </a:lnTo>
                    <a:lnTo>
                      <a:pt x="174" y="27"/>
                    </a:lnTo>
                    <a:lnTo>
                      <a:pt x="174" y="25"/>
                    </a:lnTo>
                    <a:lnTo>
                      <a:pt x="174" y="21"/>
                    </a:lnTo>
                    <a:lnTo>
                      <a:pt x="172" y="19"/>
                    </a:lnTo>
                    <a:lnTo>
                      <a:pt x="165" y="8"/>
                    </a:lnTo>
                    <a:lnTo>
                      <a:pt x="161" y="2"/>
                    </a:lnTo>
                    <a:lnTo>
                      <a:pt x="157" y="2"/>
                    </a:lnTo>
                    <a:lnTo>
                      <a:pt x="157" y="4"/>
                    </a:lnTo>
                    <a:lnTo>
                      <a:pt x="159" y="11"/>
                    </a:lnTo>
                    <a:lnTo>
                      <a:pt x="159" y="15"/>
                    </a:lnTo>
                    <a:lnTo>
                      <a:pt x="155" y="13"/>
                    </a:lnTo>
                    <a:lnTo>
                      <a:pt x="155" y="11"/>
                    </a:lnTo>
                    <a:lnTo>
                      <a:pt x="157" y="17"/>
                    </a:lnTo>
                    <a:lnTo>
                      <a:pt x="157" y="21"/>
                    </a:lnTo>
                    <a:lnTo>
                      <a:pt x="159" y="27"/>
                    </a:lnTo>
                    <a:lnTo>
                      <a:pt x="157" y="29"/>
                    </a:lnTo>
                    <a:lnTo>
                      <a:pt x="155" y="29"/>
                    </a:lnTo>
                    <a:lnTo>
                      <a:pt x="153" y="27"/>
                    </a:lnTo>
                    <a:lnTo>
                      <a:pt x="151" y="25"/>
                    </a:lnTo>
                    <a:lnTo>
                      <a:pt x="151" y="27"/>
                    </a:lnTo>
                    <a:lnTo>
                      <a:pt x="151" y="29"/>
                    </a:lnTo>
                    <a:lnTo>
                      <a:pt x="153" y="31"/>
                    </a:lnTo>
                    <a:lnTo>
                      <a:pt x="153" y="31"/>
                    </a:lnTo>
                    <a:lnTo>
                      <a:pt x="155" y="31"/>
                    </a:lnTo>
                    <a:lnTo>
                      <a:pt x="157" y="33"/>
                    </a:lnTo>
                    <a:lnTo>
                      <a:pt x="157" y="35"/>
                    </a:lnTo>
                    <a:lnTo>
                      <a:pt x="157" y="37"/>
                    </a:lnTo>
                    <a:lnTo>
                      <a:pt x="157" y="37"/>
                    </a:lnTo>
                    <a:lnTo>
                      <a:pt x="151" y="39"/>
                    </a:lnTo>
                    <a:lnTo>
                      <a:pt x="139" y="45"/>
                    </a:lnTo>
                    <a:lnTo>
                      <a:pt x="137" y="45"/>
                    </a:lnTo>
                    <a:lnTo>
                      <a:pt x="133" y="51"/>
                    </a:lnTo>
                    <a:lnTo>
                      <a:pt x="127" y="52"/>
                    </a:lnTo>
                    <a:lnTo>
                      <a:pt x="125" y="47"/>
                    </a:lnTo>
                    <a:lnTo>
                      <a:pt x="131" y="37"/>
                    </a:lnTo>
                    <a:lnTo>
                      <a:pt x="133" y="37"/>
                    </a:lnTo>
                    <a:lnTo>
                      <a:pt x="135" y="37"/>
                    </a:lnTo>
                    <a:lnTo>
                      <a:pt x="137" y="37"/>
                    </a:lnTo>
                    <a:lnTo>
                      <a:pt x="137" y="33"/>
                    </a:lnTo>
                    <a:lnTo>
                      <a:pt x="137" y="31"/>
                    </a:lnTo>
                    <a:lnTo>
                      <a:pt x="135" y="29"/>
                    </a:lnTo>
                    <a:lnTo>
                      <a:pt x="133" y="29"/>
                    </a:lnTo>
                    <a:lnTo>
                      <a:pt x="135" y="25"/>
                    </a:lnTo>
                    <a:lnTo>
                      <a:pt x="137" y="23"/>
                    </a:lnTo>
                    <a:lnTo>
                      <a:pt x="139" y="23"/>
                    </a:lnTo>
                    <a:lnTo>
                      <a:pt x="141" y="25"/>
                    </a:lnTo>
                    <a:lnTo>
                      <a:pt x="137" y="21"/>
                    </a:lnTo>
                    <a:lnTo>
                      <a:pt x="133" y="19"/>
                    </a:lnTo>
                    <a:lnTo>
                      <a:pt x="131" y="19"/>
                    </a:lnTo>
                    <a:lnTo>
                      <a:pt x="129" y="19"/>
                    </a:lnTo>
                    <a:lnTo>
                      <a:pt x="127" y="17"/>
                    </a:lnTo>
                    <a:lnTo>
                      <a:pt x="125" y="13"/>
                    </a:lnTo>
                    <a:lnTo>
                      <a:pt x="124" y="10"/>
                    </a:lnTo>
                    <a:lnTo>
                      <a:pt x="112" y="2"/>
                    </a:lnTo>
                    <a:lnTo>
                      <a:pt x="106" y="0"/>
                    </a:lnTo>
                    <a:lnTo>
                      <a:pt x="104" y="0"/>
                    </a:lnTo>
                    <a:lnTo>
                      <a:pt x="106" y="6"/>
                    </a:lnTo>
                    <a:lnTo>
                      <a:pt x="104" y="10"/>
                    </a:lnTo>
                    <a:lnTo>
                      <a:pt x="102" y="10"/>
                    </a:lnTo>
                    <a:lnTo>
                      <a:pt x="102" y="10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94" y="4"/>
                    </a:lnTo>
                    <a:lnTo>
                      <a:pt x="90" y="6"/>
                    </a:lnTo>
                    <a:lnTo>
                      <a:pt x="84" y="10"/>
                    </a:lnTo>
                    <a:lnTo>
                      <a:pt x="61" y="17"/>
                    </a:lnTo>
                    <a:lnTo>
                      <a:pt x="45" y="29"/>
                    </a:lnTo>
                    <a:lnTo>
                      <a:pt x="36" y="33"/>
                    </a:lnTo>
                    <a:lnTo>
                      <a:pt x="28" y="27"/>
                    </a:lnTo>
                    <a:lnTo>
                      <a:pt x="28" y="25"/>
                    </a:lnTo>
                    <a:lnTo>
                      <a:pt x="28" y="21"/>
                    </a:lnTo>
                    <a:lnTo>
                      <a:pt x="26" y="21"/>
                    </a:lnTo>
                    <a:lnTo>
                      <a:pt x="24" y="19"/>
                    </a:lnTo>
                    <a:lnTo>
                      <a:pt x="14" y="21"/>
                    </a:lnTo>
                    <a:lnTo>
                      <a:pt x="8" y="29"/>
                    </a:lnTo>
                    <a:lnTo>
                      <a:pt x="6" y="31"/>
                    </a:lnTo>
                    <a:lnTo>
                      <a:pt x="4" y="31"/>
                    </a:lnTo>
                    <a:lnTo>
                      <a:pt x="2" y="33"/>
                    </a:lnTo>
                    <a:lnTo>
                      <a:pt x="0" y="37"/>
                    </a:lnTo>
                    <a:lnTo>
                      <a:pt x="8" y="37"/>
                    </a:lnTo>
                    <a:lnTo>
                      <a:pt x="24" y="52"/>
                    </a:lnTo>
                    <a:lnTo>
                      <a:pt x="20" y="52"/>
                    </a:lnTo>
                    <a:lnTo>
                      <a:pt x="14" y="51"/>
                    </a:lnTo>
                    <a:lnTo>
                      <a:pt x="10" y="47"/>
                    </a:lnTo>
                    <a:lnTo>
                      <a:pt x="6" y="45"/>
                    </a:lnTo>
                    <a:lnTo>
                      <a:pt x="6" y="47"/>
                    </a:lnTo>
                    <a:lnTo>
                      <a:pt x="12" y="52"/>
                    </a:lnTo>
                    <a:lnTo>
                      <a:pt x="14" y="54"/>
                    </a:lnTo>
                    <a:lnTo>
                      <a:pt x="20" y="54"/>
                    </a:lnTo>
                    <a:lnTo>
                      <a:pt x="24" y="56"/>
                    </a:lnTo>
                    <a:lnTo>
                      <a:pt x="26" y="60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8" y="64"/>
                    </a:lnTo>
                    <a:lnTo>
                      <a:pt x="28" y="68"/>
                    </a:lnTo>
                    <a:lnTo>
                      <a:pt x="24" y="68"/>
                    </a:lnTo>
                    <a:lnTo>
                      <a:pt x="20" y="68"/>
                    </a:lnTo>
                    <a:lnTo>
                      <a:pt x="18" y="70"/>
                    </a:lnTo>
                    <a:lnTo>
                      <a:pt x="22" y="76"/>
                    </a:lnTo>
                    <a:lnTo>
                      <a:pt x="24" y="78"/>
                    </a:lnTo>
                    <a:lnTo>
                      <a:pt x="28" y="78"/>
                    </a:lnTo>
                    <a:lnTo>
                      <a:pt x="32" y="78"/>
                    </a:lnTo>
                    <a:lnTo>
                      <a:pt x="34" y="78"/>
                    </a:lnTo>
                    <a:lnTo>
                      <a:pt x="36" y="80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8" y="95"/>
                    </a:lnTo>
                    <a:lnTo>
                      <a:pt x="38" y="99"/>
                    </a:lnTo>
                    <a:lnTo>
                      <a:pt x="38" y="101"/>
                    </a:lnTo>
                    <a:lnTo>
                      <a:pt x="36" y="103"/>
                    </a:lnTo>
                    <a:lnTo>
                      <a:pt x="36" y="105"/>
                    </a:lnTo>
                    <a:lnTo>
                      <a:pt x="36" y="107"/>
                    </a:lnTo>
                    <a:lnTo>
                      <a:pt x="38" y="109"/>
                    </a:lnTo>
                    <a:lnTo>
                      <a:pt x="38" y="111"/>
                    </a:lnTo>
                    <a:lnTo>
                      <a:pt x="40" y="113"/>
                    </a:lnTo>
                    <a:lnTo>
                      <a:pt x="40" y="115"/>
                    </a:lnTo>
                    <a:lnTo>
                      <a:pt x="43" y="115"/>
                    </a:lnTo>
                    <a:lnTo>
                      <a:pt x="49" y="117"/>
                    </a:lnTo>
                    <a:lnTo>
                      <a:pt x="51" y="119"/>
                    </a:lnTo>
                    <a:lnTo>
                      <a:pt x="51" y="121"/>
                    </a:lnTo>
                    <a:lnTo>
                      <a:pt x="51" y="125"/>
                    </a:lnTo>
                    <a:lnTo>
                      <a:pt x="51" y="127"/>
                    </a:lnTo>
                    <a:lnTo>
                      <a:pt x="51" y="131"/>
                    </a:lnTo>
                    <a:lnTo>
                      <a:pt x="53" y="136"/>
                    </a:lnTo>
                    <a:lnTo>
                      <a:pt x="53" y="138"/>
                    </a:lnTo>
                    <a:lnTo>
                      <a:pt x="53" y="140"/>
                    </a:lnTo>
                    <a:lnTo>
                      <a:pt x="53" y="140"/>
                    </a:lnTo>
                    <a:lnTo>
                      <a:pt x="53" y="142"/>
                    </a:lnTo>
                    <a:lnTo>
                      <a:pt x="53" y="142"/>
                    </a:lnTo>
                    <a:lnTo>
                      <a:pt x="53" y="144"/>
                    </a:lnTo>
                    <a:lnTo>
                      <a:pt x="59" y="144"/>
                    </a:lnTo>
                    <a:lnTo>
                      <a:pt x="59" y="144"/>
                    </a:lnTo>
                    <a:lnTo>
                      <a:pt x="61" y="140"/>
                    </a:lnTo>
                    <a:lnTo>
                      <a:pt x="55" y="131"/>
                    </a:lnTo>
                    <a:lnTo>
                      <a:pt x="53" y="127"/>
                    </a:lnTo>
                    <a:lnTo>
                      <a:pt x="55" y="123"/>
                    </a:lnTo>
                    <a:lnTo>
                      <a:pt x="59" y="125"/>
                    </a:lnTo>
                    <a:lnTo>
                      <a:pt x="61" y="129"/>
                    </a:lnTo>
                    <a:lnTo>
                      <a:pt x="65" y="129"/>
                    </a:lnTo>
                    <a:lnTo>
                      <a:pt x="67" y="129"/>
                    </a:lnTo>
                    <a:lnTo>
                      <a:pt x="69" y="127"/>
                    </a:lnTo>
                    <a:lnTo>
                      <a:pt x="71" y="127"/>
                    </a:lnTo>
                    <a:lnTo>
                      <a:pt x="75" y="127"/>
                    </a:lnTo>
                    <a:lnTo>
                      <a:pt x="77" y="131"/>
                    </a:lnTo>
                    <a:lnTo>
                      <a:pt x="79" y="136"/>
                    </a:lnTo>
                    <a:lnTo>
                      <a:pt x="81" y="140"/>
                    </a:lnTo>
                    <a:lnTo>
                      <a:pt x="79" y="144"/>
                    </a:lnTo>
                    <a:lnTo>
                      <a:pt x="67" y="154"/>
                    </a:lnTo>
                    <a:lnTo>
                      <a:pt x="69" y="156"/>
                    </a:lnTo>
                    <a:lnTo>
                      <a:pt x="75" y="154"/>
                    </a:lnTo>
                    <a:lnTo>
                      <a:pt x="79" y="154"/>
                    </a:lnTo>
                    <a:lnTo>
                      <a:pt x="82" y="156"/>
                    </a:lnTo>
                    <a:lnTo>
                      <a:pt x="86" y="160"/>
                    </a:lnTo>
                    <a:lnTo>
                      <a:pt x="88" y="162"/>
                    </a:lnTo>
                    <a:lnTo>
                      <a:pt x="88" y="156"/>
                    </a:lnTo>
                    <a:lnTo>
                      <a:pt x="90" y="154"/>
                    </a:lnTo>
                    <a:lnTo>
                      <a:pt x="94" y="154"/>
                    </a:lnTo>
                    <a:lnTo>
                      <a:pt x="108" y="162"/>
                    </a:lnTo>
                    <a:lnTo>
                      <a:pt x="110" y="162"/>
                    </a:lnTo>
                    <a:lnTo>
                      <a:pt x="114" y="162"/>
                    </a:lnTo>
                    <a:lnTo>
                      <a:pt x="116" y="162"/>
                    </a:lnTo>
                    <a:lnTo>
                      <a:pt x="118" y="164"/>
                    </a:lnTo>
                    <a:lnTo>
                      <a:pt x="120" y="166"/>
                    </a:lnTo>
                    <a:lnTo>
                      <a:pt x="120" y="166"/>
                    </a:lnTo>
                    <a:lnTo>
                      <a:pt x="124" y="168"/>
                    </a:lnTo>
                    <a:lnTo>
                      <a:pt x="135" y="168"/>
                    </a:lnTo>
                    <a:lnTo>
                      <a:pt x="141" y="172"/>
                    </a:lnTo>
                    <a:lnTo>
                      <a:pt x="145" y="172"/>
                    </a:lnTo>
                    <a:lnTo>
                      <a:pt x="149" y="170"/>
                    </a:lnTo>
                    <a:lnTo>
                      <a:pt x="151" y="166"/>
                    </a:lnTo>
                    <a:lnTo>
                      <a:pt x="153" y="164"/>
                    </a:lnTo>
                    <a:lnTo>
                      <a:pt x="157" y="164"/>
                    </a:lnTo>
                    <a:lnTo>
                      <a:pt x="159" y="16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69" name="Freeform 769">
                <a:extLst>
                  <a:ext uri="{FF2B5EF4-FFF2-40B4-BE49-F238E27FC236}">
                    <a16:creationId xmlns:a16="http://schemas.microsoft.com/office/drawing/2014/main" id="{F39246C6-ECBD-4A46-A514-3E7822479E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" y="1676"/>
                <a:ext cx="55" cy="45"/>
              </a:xfrm>
              <a:custGeom>
                <a:avLst/>
                <a:gdLst>
                  <a:gd name="T0" fmla="*/ 53 w 55"/>
                  <a:gd name="T1" fmla="*/ 35 h 45"/>
                  <a:gd name="T2" fmla="*/ 53 w 55"/>
                  <a:gd name="T3" fmla="*/ 29 h 45"/>
                  <a:gd name="T4" fmla="*/ 51 w 55"/>
                  <a:gd name="T5" fmla="*/ 28 h 45"/>
                  <a:gd name="T6" fmla="*/ 47 w 55"/>
                  <a:gd name="T7" fmla="*/ 26 h 45"/>
                  <a:gd name="T8" fmla="*/ 45 w 55"/>
                  <a:gd name="T9" fmla="*/ 24 h 45"/>
                  <a:gd name="T10" fmla="*/ 47 w 55"/>
                  <a:gd name="T11" fmla="*/ 28 h 45"/>
                  <a:gd name="T12" fmla="*/ 47 w 55"/>
                  <a:gd name="T13" fmla="*/ 29 h 45"/>
                  <a:gd name="T14" fmla="*/ 43 w 55"/>
                  <a:gd name="T15" fmla="*/ 31 h 45"/>
                  <a:gd name="T16" fmla="*/ 41 w 55"/>
                  <a:gd name="T17" fmla="*/ 31 h 45"/>
                  <a:gd name="T18" fmla="*/ 39 w 55"/>
                  <a:gd name="T19" fmla="*/ 29 h 45"/>
                  <a:gd name="T20" fmla="*/ 38 w 55"/>
                  <a:gd name="T21" fmla="*/ 20 h 45"/>
                  <a:gd name="T22" fmla="*/ 34 w 55"/>
                  <a:gd name="T23" fmla="*/ 18 h 45"/>
                  <a:gd name="T24" fmla="*/ 36 w 55"/>
                  <a:gd name="T25" fmla="*/ 22 h 45"/>
                  <a:gd name="T26" fmla="*/ 36 w 55"/>
                  <a:gd name="T27" fmla="*/ 24 h 45"/>
                  <a:gd name="T28" fmla="*/ 34 w 55"/>
                  <a:gd name="T29" fmla="*/ 26 h 45"/>
                  <a:gd name="T30" fmla="*/ 30 w 55"/>
                  <a:gd name="T31" fmla="*/ 26 h 45"/>
                  <a:gd name="T32" fmla="*/ 28 w 55"/>
                  <a:gd name="T33" fmla="*/ 24 h 45"/>
                  <a:gd name="T34" fmla="*/ 26 w 55"/>
                  <a:gd name="T35" fmla="*/ 22 h 45"/>
                  <a:gd name="T36" fmla="*/ 22 w 55"/>
                  <a:gd name="T37" fmla="*/ 16 h 45"/>
                  <a:gd name="T38" fmla="*/ 18 w 55"/>
                  <a:gd name="T39" fmla="*/ 12 h 45"/>
                  <a:gd name="T40" fmla="*/ 4 w 55"/>
                  <a:gd name="T41" fmla="*/ 4 h 45"/>
                  <a:gd name="T42" fmla="*/ 0 w 55"/>
                  <a:gd name="T43" fmla="*/ 0 h 45"/>
                  <a:gd name="T44" fmla="*/ 2 w 55"/>
                  <a:gd name="T45" fmla="*/ 6 h 45"/>
                  <a:gd name="T46" fmla="*/ 4 w 55"/>
                  <a:gd name="T47" fmla="*/ 12 h 45"/>
                  <a:gd name="T48" fmla="*/ 34 w 55"/>
                  <a:gd name="T49" fmla="*/ 43 h 45"/>
                  <a:gd name="T50" fmla="*/ 38 w 55"/>
                  <a:gd name="T51" fmla="*/ 45 h 45"/>
                  <a:gd name="T52" fmla="*/ 39 w 55"/>
                  <a:gd name="T53" fmla="*/ 43 h 45"/>
                  <a:gd name="T54" fmla="*/ 43 w 55"/>
                  <a:gd name="T55" fmla="*/ 39 h 45"/>
                  <a:gd name="T56" fmla="*/ 55 w 55"/>
                  <a:gd name="T57" fmla="*/ 37 h 45"/>
                  <a:gd name="T58" fmla="*/ 55 w 55"/>
                  <a:gd name="T59" fmla="*/ 35 h 45"/>
                  <a:gd name="T60" fmla="*/ 53 w 55"/>
                  <a:gd name="T61" fmla="*/ 3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5" h="45">
                    <a:moveTo>
                      <a:pt x="53" y="35"/>
                    </a:moveTo>
                    <a:lnTo>
                      <a:pt x="53" y="29"/>
                    </a:lnTo>
                    <a:lnTo>
                      <a:pt x="51" y="28"/>
                    </a:lnTo>
                    <a:lnTo>
                      <a:pt x="47" y="26"/>
                    </a:lnTo>
                    <a:lnTo>
                      <a:pt x="45" y="24"/>
                    </a:lnTo>
                    <a:lnTo>
                      <a:pt x="47" y="28"/>
                    </a:lnTo>
                    <a:lnTo>
                      <a:pt x="47" y="29"/>
                    </a:lnTo>
                    <a:lnTo>
                      <a:pt x="43" y="31"/>
                    </a:lnTo>
                    <a:lnTo>
                      <a:pt x="41" y="31"/>
                    </a:lnTo>
                    <a:lnTo>
                      <a:pt x="39" y="29"/>
                    </a:lnTo>
                    <a:lnTo>
                      <a:pt x="38" y="20"/>
                    </a:lnTo>
                    <a:lnTo>
                      <a:pt x="34" y="18"/>
                    </a:lnTo>
                    <a:lnTo>
                      <a:pt x="36" y="22"/>
                    </a:lnTo>
                    <a:lnTo>
                      <a:pt x="36" y="24"/>
                    </a:lnTo>
                    <a:lnTo>
                      <a:pt x="34" y="26"/>
                    </a:lnTo>
                    <a:lnTo>
                      <a:pt x="30" y="26"/>
                    </a:lnTo>
                    <a:lnTo>
                      <a:pt x="28" y="24"/>
                    </a:lnTo>
                    <a:lnTo>
                      <a:pt x="26" y="22"/>
                    </a:lnTo>
                    <a:lnTo>
                      <a:pt x="22" y="16"/>
                    </a:lnTo>
                    <a:lnTo>
                      <a:pt x="18" y="12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2" y="6"/>
                    </a:lnTo>
                    <a:lnTo>
                      <a:pt x="4" y="12"/>
                    </a:lnTo>
                    <a:lnTo>
                      <a:pt x="34" y="43"/>
                    </a:lnTo>
                    <a:lnTo>
                      <a:pt x="38" y="45"/>
                    </a:lnTo>
                    <a:lnTo>
                      <a:pt x="39" y="43"/>
                    </a:lnTo>
                    <a:lnTo>
                      <a:pt x="43" y="39"/>
                    </a:lnTo>
                    <a:lnTo>
                      <a:pt x="55" y="37"/>
                    </a:lnTo>
                    <a:lnTo>
                      <a:pt x="55" y="35"/>
                    </a:lnTo>
                    <a:lnTo>
                      <a:pt x="53" y="3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70" name="Freeform 770">
                <a:extLst>
                  <a:ext uri="{FF2B5EF4-FFF2-40B4-BE49-F238E27FC236}">
                    <a16:creationId xmlns:a16="http://schemas.microsoft.com/office/drawing/2014/main" id="{46530193-D0DD-4A39-AC4D-C2246B123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8" y="971"/>
                <a:ext cx="58" cy="41"/>
              </a:xfrm>
              <a:custGeom>
                <a:avLst/>
                <a:gdLst>
                  <a:gd name="T0" fmla="*/ 6 w 58"/>
                  <a:gd name="T1" fmla="*/ 26 h 41"/>
                  <a:gd name="T2" fmla="*/ 11 w 58"/>
                  <a:gd name="T3" fmla="*/ 30 h 41"/>
                  <a:gd name="T4" fmla="*/ 17 w 58"/>
                  <a:gd name="T5" fmla="*/ 30 h 41"/>
                  <a:gd name="T6" fmla="*/ 21 w 58"/>
                  <a:gd name="T7" fmla="*/ 39 h 41"/>
                  <a:gd name="T8" fmla="*/ 25 w 58"/>
                  <a:gd name="T9" fmla="*/ 41 h 41"/>
                  <a:gd name="T10" fmla="*/ 29 w 58"/>
                  <a:gd name="T11" fmla="*/ 39 h 41"/>
                  <a:gd name="T12" fmla="*/ 33 w 58"/>
                  <a:gd name="T13" fmla="*/ 37 h 41"/>
                  <a:gd name="T14" fmla="*/ 33 w 58"/>
                  <a:gd name="T15" fmla="*/ 32 h 41"/>
                  <a:gd name="T16" fmla="*/ 35 w 58"/>
                  <a:gd name="T17" fmla="*/ 30 h 41"/>
                  <a:gd name="T18" fmla="*/ 41 w 58"/>
                  <a:gd name="T19" fmla="*/ 24 h 41"/>
                  <a:gd name="T20" fmla="*/ 41 w 58"/>
                  <a:gd name="T21" fmla="*/ 20 h 41"/>
                  <a:gd name="T22" fmla="*/ 39 w 58"/>
                  <a:gd name="T23" fmla="*/ 14 h 41"/>
                  <a:gd name="T24" fmla="*/ 35 w 58"/>
                  <a:gd name="T25" fmla="*/ 12 h 41"/>
                  <a:gd name="T26" fmla="*/ 49 w 58"/>
                  <a:gd name="T27" fmla="*/ 10 h 41"/>
                  <a:gd name="T28" fmla="*/ 52 w 58"/>
                  <a:gd name="T29" fmla="*/ 10 h 41"/>
                  <a:gd name="T30" fmla="*/ 56 w 58"/>
                  <a:gd name="T31" fmla="*/ 12 h 41"/>
                  <a:gd name="T32" fmla="*/ 58 w 58"/>
                  <a:gd name="T33" fmla="*/ 8 h 41"/>
                  <a:gd name="T34" fmla="*/ 58 w 58"/>
                  <a:gd name="T35" fmla="*/ 6 h 41"/>
                  <a:gd name="T36" fmla="*/ 56 w 58"/>
                  <a:gd name="T37" fmla="*/ 2 h 41"/>
                  <a:gd name="T38" fmla="*/ 54 w 58"/>
                  <a:gd name="T39" fmla="*/ 0 h 41"/>
                  <a:gd name="T40" fmla="*/ 52 w 58"/>
                  <a:gd name="T41" fmla="*/ 0 h 41"/>
                  <a:gd name="T42" fmla="*/ 49 w 58"/>
                  <a:gd name="T43" fmla="*/ 0 h 41"/>
                  <a:gd name="T44" fmla="*/ 41 w 58"/>
                  <a:gd name="T45" fmla="*/ 4 h 41"/>
                  <a:gd name="T46" fmla="*/ 29 w 58"/>
                  <a:gd name="T47" fmla="*/ 4 h 41"/>
                  <a:gd name="T48" fmla="*/ 27 w 58"/>
                  <a:gd name="T49" fmla="*/ 6 h 41"/>
                  <a:gd name="T50" fmla="*/ 23 w 58"/>
                  <a:gd name="T51" fmla="*/ 8 h 41"/>
                  <a:gd name="T52" fmla="*/ 15 w 58"/>
                  <a:gd name="T53" fmla="*/ 8 h 41"/>
                  <a:gd name="T54" fmla="*/ 11 w 58"/>
                  <a:gd name="T55" fmla="*/ 12 h 41"/>
                  <a:gd name="T56" fmla="*/ 6 w 58"/>
                  <a:gd name="T57" fmla="*/ 18 h 41"/>
                  <a:gd name="T58" fmla="*/ 0 w 58"/>
                  <a:gd name="T59" fmla="*/ 18 h 41"/>
                  <a:gd name="T60" fmla="*/ 0 w 58"/>
                  <a:gd name="T61" fmla="*/ 20 h 41"/>
                  <a:gd name="T62" fmla="*/ 4 w 58"/>
                  <a:gd name="T63" fmla="*/ 24 h 41"/>
                  <a:gd name="T64" fmla="*/ 6 w 58"/>
                  <a:gd name="T65" fmla="*/ 2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8" h="41">
                    <a:moveTo>
                      <a:pt x="6" y="26"/>
                    </a:moveTo>
                    <a:lnTo>
                      <a:pt x="11" y="30"/>
                    </a:lnTo>
                    <a:lnTo>
                      <a:pt x="17" y="30"/>
                    </a:lnTo>
                    <a:lnTo>
                      <a:pt x="21" y="39"/>
                    </a:lnTo>
                    <a:lnTo>
                      <a:pt x="25" y="41"/>
                    </a:lnTo>
                    <a:lnTo>
                      <a:pt x="29" y="39"/>
                    </a:lnTo>
                    <a:lnTo>
                      <a:pt x="33" y="37"/>
                    </a:lnTo>
                    <a:lnTo>
                      <a:pt x="33" y="32"/>
                    </a:lnTo>
                    <a:lnTo>
                      <a:pt x="35" y="30"/>
                    </a:lnTo>
                    <a:lnTo>
                      <a:pt x="41" y="24"/>
                    </a:lnTo>
                    <a:lnTo>
                      <a:pt x="41" y="20"/>
                    </a:lnTo>
                    <a:lnTo>
                      <a:pt x="39" y="14"/>
                    </a:lnTo>
                    <a:lnTo>
                      <a:pt x="35" y="12"/>
                    </a:lnTo>
                    <a:lnTo>
                      <a:pt x="49" y="10"/>
                    </a:lnTo>
                    <a:lnTo>
                      <a:pt x="52" y="10"/>
                    </a:lnTo>
                    <a:lnTo>
                      <a:pt x="56" y="12"/>
                    </a:lnTo>
                    <a:lnTo>
                      <a:pt x="58" y="8"/>
                    </a:lnTo>
                    <a:lnTo>
                      <a:pt x="58" y="6"/>
                    </a:lnTo>
                    <a:lnTo>
                      <a:pt x="56" y="2"/>
                    </a:lnTo>
                    <a:lnTo>
                      <a:pt x="54" y="0"/>
                    </a:lnTo>
                    <a:lnTo>
                      <a:pt x="52" y="0"/>
                    </a:lnTo>
                    <a:lnTo>
                      <a:pt x="49" y="0"/>
                    </a:lnTo>
                    <a:lnTo>
                      <a:pt x="41" y="4"/>
                    </a:lnTo>
                    <a:lnTo>
                      <a:pt x="29" y="4"/>
                    </a:lnTo>
                    <a:lnTo>
                      <a:pt x="27" y="6"/>
                    </a:lnTo>
                    <a:lnTo>
                      <a:pt x="23" y="8"/>
                    </a:lnTo>
                    <a:lnTo>
                      <a:pt x="15" y="8"/>
                    </a:lnTo>
                    <a:lnTo>
                      <a:pt x="11" y="12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4" y="24"/>
                    </a:lnTo>
                    <a:lnTo>
                      <a:pt x="6" y="2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71" name="Freeform 771">
                <a:extLst>
                  <a:ext uri="{FF2B5EF4-FFF2-40B4-BE49-F238E27FC236}">
                    <a16:creationId xmlns:a16="http://schemas.microsoft.com/office/drawing/2014/main" id="{3AFAC92E-FE5D-4E06-A575-5C4A822DE2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" y="2770"/>
                <a:ext cx="1131" cy="640"/>
              </a:xfrm>
              <a:custGeom>
                <a:avLst/>
                <a:gdLst>
                  <a:gd name="T0" fmla="*/ 947 w 1131"/>
                  <a:gd name="T1" fmla="*/ 562 h 640"/>
                  <a:gd name="T2" fmla="*/ 1018 w 1131"/>
                  <a:gd name="T3" fmla="*/ 462 h 640"/>
                  <a:gd name="T4" fmla="*/ 1123 w 1131"/>
                  <a:gd name="T5" fmla="*/ 398 h 640"/>
                  <a:gd name="T6" fmla="*/ 1104 w 1131"/>
                  <a:gd name="T7" fmla="*/ 351 h 640"/>
                  <a:gd name="T8" fmla="*/ 1076 w 1131"/>
                  <a:gd name="T9" fmla="*/ 298 h 640"/>
                  <a:gd name="T10" fmla="*/ 1035 w 1131"/>
                  <a:gd name="T11" fmla="*/ 287 h 640"/>
                  <a:gd name="T12" fmla="*/ 992 w 1131"/>
                  <a:gd name="T13" fmla="*/ 265 h 640"/>
                  <a:gd name="T14" fmla="*/ 953 w 1131"/>
                  <a:gd name="T15" fmla="*/ 269 h 640"/>
                  <a:gd name="T16" fmla="*/ 940 w 1131"/>
                  <a:gd name="T17" fmla="*/ 246 h 640"/>
                  <a:gd name="T18" fmla="*/ 943 w 1131"/>
                  <a:gd name="T19" fmla="*/ 208 h 640"/>
                  <a:gd name="T20" fmla="*/ 938 w 1131"/>
                  <a:gd name="T21" fmla="*/ 193 h 640"/>
                  <a:gd name="T22" fmla="*/ 883 w 1131"/>
                  <a:gd name="T23" fmla="*/ 207 h 640"/>
                  <a:gd name="T24" fmla="*/ 859 w 1131"/>
                  <a:gd name="T25" fmla="*/ 185 h 640"/>
                  <a:gd name="T26" fmla="*/ 820 w 1131"/>
                  <a:gd name="T27" fmla="*/ 164 h 640"/>
                  <a:gd name="T28" fmla="*/ 824 w 1131"/>
                  <a:gd name="T29" fmla="*/ 208 h 640"/>
                  <a:gd name="T30" fmla="*/ 811 w 1131"/>
                  <a:gd name="T31" fmla="*/ 216 h 640"/>
                  <a:gd name="T32" fmla="*/ 766 w 1131"/>
                  <a:gd name="T33" fmla="*/ 248 h 640"/>
                  <a:gd name="T34" fmla="*/ 715 w 1131"/>
                  <a:gd name="T35" fmla="*/ 185 h 640"/>
                  <a:gd name="T36" fmla="*/ 689 w 1131"/>
                  <a:gd name="T37" fmla="*/ 158 h 640"/>
                  <a:gd name="T38" fmla="*/ 715 w 1131"/>
                  <a:gd name="T39" fmla="*/ 144 h 640"/>
                  <a:gd name="T40" fmla="*/ 695 w 1131"/>
                  <a:gd name="T41" fmla="*/ 99 h 640"/>
                  <a:gd name="T42" fmla="*/ 654 w 1131"/>
                  <a:gd name="T43" fmla="*/ 103 h 640"/>
                  <a:gd name="T44" fmla="*/ 602 w 1131"/>
                  <a:gd name="T45" fmla="*/ 80 h 640"/>
                  <a:gd name="T46" fmla="*/ 545 w 1131"/>
                  <a:gd name="T47" fmla="*/ 54 h 640"/>
                  <a:gd name="T48" fmla="*/ 514 w 1131"/>
                  <a:gd name="T49" fmla="*/ 7 h 640"/>
                  <a:gd name="T50" fmla="*/ 486 w 1131"/>
                  <a:gd name="T51" fmla="*/ 9 h 640"/>
                  <a:gd name="T52" fmla="*/ 486 w 1131"/>
                  <a:gd name="T53" fmla="*/ 35 h 640"/>
                  <a:gd name="T54" fmla="*/ 424 w 1131"/>
                  <a:gd name="T55" fmla="*/ 50 h 640"/>
                  <a:gd name="T56" fmla="*/ 412 w 1131"/>
                  <a:gd name="T57" fmla="*/ 9 h 640"/>
                  <a:gd name="T58" fmla="*/ 375 w 1131"/>
                  <a:gd name="T59" fmla="*/ 0 h 640"/>
                  <a:gd name="T60" fmla="*/ 367 w 1131"/>
                  <a:gd name="T61" fmla="*/ 41 h 640"/>
                  <a:gd name="T62" fmla="*/ 301 w 1131"/>
                  <a:gd name="T63" fmla="*/ 72 h 640"/>
                  <a:gd name="T64" fmla="*/ 242 w 1131"/>
                  <a:gd name="T65" fmla="*/ 95 h 640"/>
                  <a:gd name="T66" fmla="*/ 223 w 1131"/>
                  <a:gd name="T67" fmla="*/ 115 h 640"/>
                  <a:gd name="T68" fmla="*/ 193 w 1131"/>
                  <a:gd name="T69" fmla="*/ 121 h 640"/>
                  <a:gd name="T70" fmla="*/ 158 w 1131"/>
                  <a:gd name="T71" fmla="*/ 142 h 640"/>
                  <a:gd name="T72" fmla="*/ 107 w 1131"/>
                  <a:gd name="T73" fmla="*/ 162 h 640"/>
                  <a:gd name="T74" fmla="*/ 64 w 1131"/>
                  <a:gd name="T75" fmla="*/ 183 h 640"/>
                  <a:gd name="T76" fmla="*/ 37 w 1131"/>
                  <a:gd name="T77" fmla="*/ 230 h 640"/>
                  <a:gd name="T78" fmla="*/ 27 w 1131"/>
                  <a:gd name="T79" fmla="*/ 207 h 640"/>
                  <a:gd name="T80" fmla="*/ 6 w 1131"/>
                  <a:gd name="T81" fmla="*/ 201 h 640"/>
                  <a:gd name="T82" fmla="*/ 19 w 1131"/>
                  <a:gd name="T83" fmla="*/ 246 h 640"/>
                  <a:gd name="T84" fmla="*/ 64 w 1131"/>
                  <a:gd name="T85" fmla="*/ 290 h 640"/>
                  <a:gd name="T86" fmla="*/ 53 w 1131"/>
                  <a:gd name="T87" fmla="*/ 341 h 640"/>
                  <a:gd name="T88" fmla="*/ 74 w 1131"/>
                  <a:gd name="T89" fmla="*/ 374 h 640"/>
                  <a:gd name="T90" fmla="*/ 92 w 1131"/>
                  <a:gd name="T91" fmla="*/ 404 h 640"/>
                  <a:gd name="T92" fmla="*/ 141 w 1131"/>
                  <a:gd name="T93" fmla="*/ 445 h 640"/>
                  <a:gd name="T94" fmla="*/ 182 w 1131"/>
                  <a:gd name="T95" fmla="*/ 495 h 640"/>
                  <a:gd name="T96" fmla="*/ 230 w 1131"/>
                  <a:gd name="T97" fmla="*/ 542 h 640"/>
                  <a:gd name="T98" fmla="*/ 264 w 1131"/>
                  <a:gd name="T99" fmla="*/ 558 h 640"/>
                  <a:gd name="T100" fmla="*/ 307 w 1131"/>
                  <a:gd name="T101" fmla="*/ 595 h 640"/>
                  <a:gd name="T102" fmla="*/ 324 w 1131"/>
                  <a:gd name="T103" fmla="*/ 617 h 640"/>
                  <a:gd name="T104" fmla="*/ 396 w 1131"/>
                  <a:gd name="T105" fmla="*/ 620 h 640"/>
                  <a:gd name="T106" fmla="*/ 428 w 1131"/>
                  <a:gd name="T107" fmla="*/ 630 h 640"/>
                  <a:gd name="T108" fmla="*/ 451 w 1131"/>
                  <a:gd name="T109" fmla="*/ 599 h 640"/>
                  <a:gd name="T110" fmla="*/ 480 w 1131"/>
                  <a:gd name="T111" fmla="*/ 574 h 640"/>
                  <a:gd name="T112" fmla="*/ 514 w 1131"/>
                  <a:gd name="T113" fmla="*/ 538 h 640"/>
                  <a:gd name="T114" fmla="*/ 557 w 1131"/>
                  <a:gd name="T115" fmla="*/ 540 h 640"/>
                  <a:gd name="T116" fmla="*/ 629 w 1131"/>
                  <a:gd name="T117" fmla="*/ 568 h 640"/>
                  <a:gd name="T118" fmla="*/ 645 w 1131"/>
                  <a:gd name="T119" fmla="*/ 578 h 640"/>
                  <a:gd name="T120" fmla="*/ 729 w 1131"/>
                  <a:gd name="T121" fmla="*/ 581 h 640"/>
                  <a:gd name="T122" fmla="*/ 772 w 1131"/>
                  <a:gd name="T123" fmla="*/ 597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31" h="640">
                    <a:moveTo>
                      <a:pt x="814" y="628"/>
                    </a:moveTo>
                    <a:lnTo>
                      <a:pt x="814" y="624"/>
                    </a:lnTo>
                    <a:lnTo>
                      <a:pt x="816" y="620"/>
                    </a:lnTo>
                    <a:lnTo>
                      <a:pt x="818" y="617"/>
                    </a:lnTo>
                    <a:lnTo>
                      <a:pt x="828" y="593"/>
                    </a:lnTo>
                    <a:lnTo>
                      <a:pt x="832" y="585"/>
                    </a:lnTo>
                    <a:lnTo>
                      <a:pt x="838" y="581"/>
                    </a:lnTo>
                    <a:lnTo>
                      <a:pt x="840" y="578"/>
                    </a:lnTo>
                    <a:lnTo>
                      <a:pt x="842" y="574"/>
                    </a:lnTo>
                    <a:lnTo>
                      <a:pt x="842" y="572"/>
                    </a:lnTo>
                    <a:lnTo>
                      <a:pt x="852" y="564"/>
                    </a:lnTo>
                    <a:lnTo>
                      <a:pt x="859" y="562"/>
                    </a:lnTo>
                    <a:lnTo>
                      <a:pt x="867" y="566"/>
                    </a:lnTo>
                    <a:lnTo>
                      <a:pt x="887" y="576"/>
                    </a:lnTo>
                    <a:lnTo>
                      <a:pt x="889" y="574"/>
                    </a:lnTo>
                    <a:lnTo>
                      <a:pt x="893" y="572"/>
                    </a:lnTo>
                    <a:lnTo>
                      <a:pt x="895" y="570"/>
                    </a:lnTo>
                    <a:lnTo>
                      <a:pt x="898" y="570"/>
                    </a:lnTo>
                    <a:lnTo>
                      <a:pt x="902" y="570"/>
                    </a:lnTo>
                    <a:lnTo>
                      <a:pt x="906" y="576"/>
                    </a:lnTo>
                    <a:lnTo>
                      <a:pt x="912" y="576"/>
                    </a:lnTo>
                    <a:lnTo>
                      <a:pt x="945" y="564"/>
                    </a:lnTo>
                    <a:lnTo>
                      <a:pt x="947" y="562"/>
                    </a:lnTo>
                    <a:lnTo>
                      <a:pt x="953" y="552"/>
                    </a:lnTo>
                    <a:lnTo>
                      <a:pt x="957" y="548"/>
                    </a:lnTo>
                    <a:lnTo>
                      <a:pt x="961" y="548"/>
                    </a:lnTo>
                    <a:lnTo>
                      <a:pt x="965" y="548"/>
                    </a:lnTo>
                    <a:lnTo>
                      <a:pt x="967" y="548"/>
                    </a:lnTo>
                    <a:lnTo>
                      <a:pt x="971" y="546"/>
                    </a:lnTo>
                    <a:lnTo>
                      <a:pt x="973" y="542"/>
                    </a:lnTo>
                    <a:lnTo>
                      <a:pt x="973" y="535"/>
                    </a:lnTo>
                    <a:lnTo>
                      <a:pt x="975" y="531"/>
                    </a:lnTo>
                    <a:lnTo>
                      <a:pt x="977" y="527"/>
                    </a:lnTo>
                    <a:lnTo>
                      <a:pt x="981" y="525"/>
                    </a:lnTo>
                    <a:lnTo>
                      <a:pt x="984" y="523"/>
                    </a:lnTo>
                    <a:lnTo>
                      <a:pt x="992" y="525"/>
                    </a:lnTo>
                    <a:lnTo>
                      <a:pt x="998" y="521"/>
                    </a:lnTo>
                    <a:lnTo>
                      <a:pt x="1004" y="517"/>
                    </a:lnTo>
                    <a:lnTo>
                      <a:pt x="1008" y="511"/>
                    </a:lnTo>
                    <a:lnTo>
                      <a:pt x="1008" y="505"/>
                    </a:lnTo>
                    <a:lnTo>
                      <a:pt x="1008" y="494"/>
                    </a:lnTo>
                    <a:lnTo>
                      <a:pt x="1008" y="492"/>
                    </a:lnTo>
                    <a:lnTo>
                      <a:pt x="1008" y="486"/>
                    </a:lnTo>
                    <a:lnTo>
                      <a:pt x="1010" y="478"/>
                    </a:lnTo>
                    <a:lnTo>
                      <a:pt x="1014" y="470"/>
                    </a:lnTo>
                    <a:lnTo>
                      <a:pt x="1018" y="462"/>
                    </a:lnTo>
                    <a:lnTo>
                      <a:pt x="1024" y="458"/>
                    </a:lnTo>
                    <a:lnTo>
                      <a:pt x="1045" y="449"/>
                    </a:lnTo>
                    <a:lnTo>
                      <a:pt x="1051" y="445"/>
                    </a:lnTo>
                    <a:lnTo>
                      <a:pt x="1055" y="441"/>
                    </a:lnTo>
                    <a:lnTo>
                      <a:pt x="1055" y="429"/>
                    </a:lnTo>
                    <a:lnTo>
                      <a:pt x="1061" y="431"/>
                    </a:lnTo>
                    <a:lnTo>
                      <a:pt x="1065" y="427"/>
                    </a:lnTo>
                    <a:lnTo>
                      <a:pt x="1072" y="419"/>
                    </a:lnTo>
                    <a:lnTo>
                      <a:pt x="1076" y="415"/>
                    </a:lnTo>
                    <a:lnTo>
                      <a:pt x="1078" y="415"/>
                    </a:lnTo>
                    <a:lnTo>
                      <a:pt x="1078" y="413"/>
                    </a:lnTo>
                    <a:lnTo>
                      <a:pt x="1080" y="408"/>
                    </a:lnTo>
                    <a:lnTo>
                      <a:pt x="1080" y="406"/>
                    </a:lnTo>
                    <a:lnTo>
                      <a:pt x="1084" y="404"/>
                    </a:lnTo>
                    <a:lnTo>
                      <a:pt x="1092" y="404"/>
                    </a:lnTo>
                    <a:lnTo>
                      <a:pt x="1096" y="402"/>
                    </a:lnTo>
                    <a:lnTo>
                      <a:pt x="1098" y="402"/>
                    </a:lnTo>
                    <a:lnTo>
                      <a:pt x="1098" y="402"/>
                    </a:lnTo>
                    <a:lnTo>
                      <a:pt x="1104" y="406"/>
                    </a:lnTo>
                    <a:lnTo>
                      <a:pt x="1109" y="406"/>
                    </a:lnTo>
                    <a:lnTo>
                      <a:pt x="1113" y="406"/>
                    </a:lnTo>
                    <a:lnTo>
                      <a:pt x="1121" y="400"/>
                    </a:lnTo>
                    <a:lnTo>
                      <a:pt x="1123" y="398"/>
                    </a:lnTo>
                    <a:lnTo>
                      <a:pt x="1131" y="398"/>
                    </a:lnTo>
                    <a:lnTo>
                      <a:pt x="1131" y="398"/>
                    </a:lnTo>
                    <a:lnTo>
                      <a:pt x="1131" y="398"/>
                    </a:lnTo>
                    <a:lnTo>
                      <a:pt x="1131" y="394"/>
                    </a:lnTo>
                    <a:lnTo>
                      <a:pt x="1131" y="388"/>
                    </a:lnTo>
                    <a:lnTo>
                      <a:pt x="1129" y="378"/>
                    </a:lnTo>
                    <a:lnTo>
                      <a:pt x="1127" y="376"/>
                    </a:lnTo>
                    <a:lnTo>
                      <a:pt x="1125" y="371"/>
                    </a:lnTo>
                    <a:lnTo>
                      <a:pt x="1125" y="369"/>
                    </a:lnTo>
                    <a:lnTo>
                      <a:pt x="1123" y="365"/>
                    </a:lnTo>
                    <a:lnTo>
                      <a:pt x="1123" y="359"/>
                    </a:lnTo>
                    <a:lnTo>
                      <a:pt x="1123" y="359"/>
                    </a:lnTo>
                    <a:lnTo>
                      <a:pt x="1123" y="357"/>
                    </a:lnTo>
                    <a:lnTo>
                      <a:pt x="1121" y="357"/>
                    </a:lnTo>
                    <a:lnTo>
                      <a:pt x="1121" y="355"/>
                    </a:lnTo>
                    <a:lnTo>
                      <a:pt x="1117" y="357"/>
                    </a:lnTo>
                    <a:lnTo>
                      <a:pt x="1115" y="357"/>
                    </a:lnTo>
                    <a:lnTo>
                      <a:pt x="1113" y="357"/>
                    </a:lnTo>
                    <a:lnTo>
                      <a:pt x="1111" y="357"/>
                    </a:lnTo>
                    <a:lnTo>
                      <a:pt x="1108" y="353"/>
                    </a:lnTo>
                    <a:lnTo>
                      <a:pt x="1108" y="353"/>
                    </a:lnTo>
                    <a:lnTo>
                      <a:pt x="1106" y="351"/>
                    </a:lnTo>
                    <a:lnTo>
                      <a:pt x="1104" y="351"/>
                    </a:lnTo>
                    <a:lnTo>
                      <a:pt x="1102" y="349"/>
                    </a:lnTo>
                    <a:lnTo>
                      <a:pt x="1098" y="349"/>
                    </a:lnTo>
                    <a:lnTo>
                      <a:pt x="1096" y="347"/>
                    </a:lnTo>
                    <a:lnTo>
                      <a:pt x="1094" y="345"/>
                    </a:lnTo>
                    <a:lnTo>
                      <a:pt x="1092" y="339"/>
                    </a:lnTo>
                    <a:lnTo>
                      <a:pt x="1088" y="330"/>
                    </a:lnTo>
                    <a:lnTo>
                      <a:pt x="1086" y="322"/>
                    </a:lnTo>
                    <a:lnTo>
                      <a:pt x="1086" y="318"/>
                    </a:lnTo>
                    <a:lnTo>
                      <a:pt x="1086" y="316"/>
                    </a:lnTo>
                    <a:lnTo>
                      <a:pt x="1086" y="316"/>
                    </a:lnTo>
                    <a:lnTo>
                      <a:pt x="1086" y="316"/>
                    </a:lnTo>
                    <a:lnTo>
                      <a:pt x="1090" y="310"/>
                    </a:lnTo>
                    <a:lnTo>
                      <a:pt x="1086" y="308"/>
                    </a:lnTo>
                    <a:lnTo>
                      <a:pt x="1086" y="308"/>
                    </a:lnTo>
                    <a:lnTo>
                      <a:pt x="1084" y="304"/>
                    </a:lnTo>
                    <a:lnTo>
                      <a:pt x="1086" y="302"/>
                    </a:lnTo>
                    <a:lnTo>
                      <a:pt x="1086" y="300"/>
                    </a:lnTo>
                    <a:lnTo>
                      <a:pt x="1084" y="296"/>
                    </a:lnTo>
                    <a:lnTo>
                      <a:pt x="1084" y="296"/>
                    </a:lnTo>
                    <a:lnTo>
                      <a:pt x="1084" y="296"/>
                    </a:lnTo>
                    <a:lnTo>
                      <a:pt x="1082" y="294"/>
                    </a:lnTo>
                    <a:lnTo>
                      <a:pt x="1076" y="298"/>
                    </a:lnTo>
                    <a:lnTo>
                      <a:pt x="1076" y="298"/>
                    </a:lnTo>
                    <a:lnTo>
                      <a:pt x="1072" y="298"/>
                    </a:lnTo>
                    <a:lnTo>
                      <a:pt x="1065" y="294"/>
                    </a:lnTo>
                    <a:lnTo>
                      <a:pt x="1059" y="292"/>
                    </a:lnTo>
                    <a:lnTo>
                      <a:pt x="1053" y="290"/>
                    </a:lnTo>
                    <a:lnTo>
                      <a:pt x="1051" y="290"/>
                    </a:lnTo>
                    <a:lnTo>
                      <a:pt x="1045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5" y="292"/>
                    </a:lnTo>
                    <a:lnTo>
                      <a:pt x="1043" y="296"/>
                    </a:lnTo>
                    <a:lnTo>
                      <a:pt x="1039" y="296"/>
                    </a:lnTo>
                    <a:lnTo>
                      <a:pt x="1039" y="296"/>
                    </a:lnTo>
                    <a:lnTo>
                      <a:pt x="1039" y="296"/>
                    </a:lnTo>
                    <a:lnTo>
                      <a:pt x="1037" y="292"/>
                    </a:lnTo>
                    <a:lnTo>
                      <a:pt x="1035" y="292"/>
                    </a:lnTo>
                    <a:lnTo>
                      <a:pt x="1035" y="290"/>
                    </a:lnTo>
                    <a:lnTo>
                      <a:pt x="1035" y="287"/>
                    </a:lnTo>
                    <a:lnTo>
                      <a:pt x="1033" y="287"/>
                    </a:lnTo>
                    <a:lnTo>
                      <a:pt x="1031" y="285"/>
                    </a:lnTo>
                    <a:lnTo>
                      <a:pt x="1029" y="285"/>
                    </a:lnTo>
                    <a:lnTo>
                      <a:pt x="1027" y="285"/>
                    </a:lnTo>
                    <a:lnTo>
                      <a:pt x="1025" y="283"/>
                    </a:lnTo>
                    <a:lnTo>
                      <a:pt x="1022" y="281"/>
                    </a:lnTo>
                    <a:lnTo>
                      <a:pt x="1020" y="279"/>
                    </a:lnTo>
                    <a:lnTo>
                      <a:pt x="1018" y="277"/>
                    </a:lnTo>
                    <a:lnTo>
                      <a:pt x="1008" y="275"/>
                    </a:lnTo>
                    <a:lnTo>
                      <a:pt x="1008" y="275"/>
                    </a:lnTo>
                    <a:lnTo>
                      <a:pt x="1008" y="275"/>
                    </a:lnTo>
                    <a:lnTo>
                      <a:pt x="1006" y="273"/>
                    </a:lnTo>
                    <a:lnTo>
                      <a:pt x="1006" y="273"/>
                    </a:lnTo>
                    <a:lnTo>
                      <a:pt x="1006" y="273"/>
                    </a:lnTo>
                    <a:lnTo>
                      <a:pt x="1006" y="269"/>
                    </a:lnTo>
                    <a:lnTo>
                      <a:pt x="1006" y="267"/>
                    </a:lnTo>
                    <a:lnTo>
                      <a:pt x="1006" y="267"/>
                    </a:lnTo>
                    <a:lnTo>
                      <a:pt x="996" y="261"/>
                    </a:lnTo>
                    <a:lnTo>
                      <a:pt x="994" y="261"/>
                    </a:lnTo>
                    <a:lnTo>
                      <a:pt x="994" y="261"/>
                    </a:lnTo>
                    <a:lnTo>
                      <a:pt x="992" y="259"/>
                    </a:lnTo>
                    <a:lnTo>
                      <a:pt x="990" y="259"/>
                    </a:lnTo>
                    <a:lnTo>
                      <a:pt x="992" y="265"/>
                    </a:lnTo>
                    <a:lnTo>
                      <a:pt x="992" y="265"/>
                    </a:lnTo>
                    <a:lnTo>
                      <a:pt x="992" y="265"/>
                    </a:lnTo>
                    <a:lnTo>
                      <a:pt x="992" y="267"/>
                    </a:lnTo>
                    <a:lnTo>
                      <a:pt x="994" y="265"/>
                    </a:lnTo>
                    <a:lnTo>
                      <a:pt x="994" y="265"/>
                    </a:lnTo>
                    <a:lnTo>
                      <a:pt x="996" y="265"/>
                    </a:lnTo>
                    <a:lnTo>
                      <a:pt x="996" y="267"/>
                    </a:lnTo>
                    <a:lnTo>
                      <a:pt x="996" y="267"/>
                    </a:lnTo>
                    <a:lnTo>
                      <a:pt x="996" y="269"/>
                    </a:lnTo>
                    <a:lnTo>
                      <a:pt x="996" y="271"/>
                    </a:lnTo>
                    <a:lnTo>
                      <a:pt x="996" y="271"/>
                    </a:lnTo>
                    <a:lnTo>
                      <a:pt x="990" y="273"/>
                    </a:lnTo>
                    <a:lnTo>
                      <a:pt x="990" y="273"/>
                    </a:lnTo>
                    <a:lnTo>
                      <a:pt x="990" y="273"/>
                    </a:lnTo>
                    <a:lnTo>
                      <a:pt x="990" y="273"/>
                    </a:lnTo>
                    <a:lnTo>
                      <a:pt x="984" y="273"/>
                    </a:lnTo>
                    <a:lnTo>
                      <a:pt x="981" y="275"/>
                    </a:lnTo>
                    <a:lnTo>
                      <a:pt x="977" y="279"/>
                    </a:lnTo>
                    <a:lnTo>
                      <a:pt x="975" y="279"/>
                    </a:lnTo>
                    <a:lnTo>
                      <a:pt x="971" y="281"/>
                    </a:lnTo>
                    <a:lnTo>
                      <a:pt x="963" y="279"/>
                    </a:lnTo>
                    <a:lnTo>
                      <a:pt x="955" y="271"/>
                    </a:lnTo>
                    <a:lnTo>
                      <a:pt x="953" y="269"/>
                    </a:lnTo>
                    <a:lnTo>
                      <a:pt x="953" y="267"/>
                    </a:lnTo>
                    <a:lnTo>
                      <a:pt x="951" y="265"/>
                    </a:lnTo>
                    <a:lnTo>
                      <a:pt x="951" y="263"/>
                    </a:lnTo>
                    <a:lnTo>
                      <a:pt x="949" y="263"/>
                    </a:lnTo>
                    <a:lnTo>
                      <a:pt x="949" y="259"/>
                    </a:lnTo>
                    <a:lnTo>
                      <a:pt x="947" y="255"/>
                    </a:lnTo>
                    <a:lnTo>
                      <a:pt x="945" y="253"/>
                    </a:lnTo>
                    <a:lnTo>
                      <a:pt x="945" y="253"/>
                    </a:lnTo>
                    <a:lnTo>
                      <a:pt x="945" y="253"/>
                    </a:lnTo>
                    <a:lnTo>
                      <a:pt x="945" y="253"/>
                    </a:lnTo>
                    <a:lnTo>
                      <a:pt x="945" y="253"/>
                    </a:lnTo>
                    <a:lnTo>
                      <a:pt x="943" y="251"/>
                    </a:lnTo>
                    <a:lnTo>
                      <a:pt x="945" y="249"/>
                    </a:lnTo>
                    <a:lnTo>
                      <a:pt x="945" y="249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3" y="248"/>
                    </a:lnTo>
                    <a:lnTo>
                      <a:pt x="940" y="246"/>
                    </a:lnTo>
                    <a:lnTo>
                      <a:pt x="938" y="244"/>
                    </a:lnTo>
                    <a:lnTo>
                      <a:pt x="936" y="244"/>
                    </a:lnTo>
                    <a:lnTo>
                      <a:pt x="934" y="246"/>
                    </a:lnTo>
                    <a:lnTo>
                      <a:pt x="934" y="246"/>
                    </a:lnTo>
                    <a:lnTo>
                      <a:pt x="932" y="246"/>
                    </a:lnTo>
                    <a:lnTo>
                      <a:pt x="930" y="244"/>
                    </a:lnTo>
                    <a:lnTo>
                      <a:pt x="930" y="244"/>
                    </a:lnTo>
                    <a:lnTo>
                      <a:pt x="922" y="234"/>
                    </a:lnTo>
                    <a:lnTo>
                      <a:pt x="920" y="232"/>
                    </a:lnTo>
                    <a:lnTo>
                      <a:pt x="922" y="230"/>
                    </a:lnTo>
                    <a:lnTo>
                      <a:pt x="924" y="228"/>
                    </a:lnTo>
                    <a:lnTo>
                      <a:pt x="932" y="228"/>
                    </a:lnTo>
                    <a:lnTo>
                      <a:pt x="936" y="226"/>
                    </a:lnTo>
                    <a:lnTo>
                      <a:pt x="941" y="224"/>
                    </a:lnTo>
                    <a:lnTo>
                      <a:pt x="943" y="222"/>
                    </a:lnTo>
                    <a:lnTo>
                      <a:pt x="943" y="222"/>
                    </a:lnTo>
                    <a:lnTo>
                      <a:pt x="947" y="220"/>
                    </a:lnTo>
                    <a:lnTo>
                      <a:pt x="949" y="216"/>
                    </a:lnTo>
                    <a:lnTo>
                      <a:pt x="945" y="210"/>
                    </a:lnTo>
                    <a:lnTo>
                      <a:pt x="945" y="210"/>
                    </a:lnTo>
                    <a:lnTo>
                      <a:pt x="945" y="210"/>
                    </a:lnTo>
                    <a:lnTo>
                      <a:pt x="943" y="208"/>
                    </a:lnTo>
                    <a:lnTo>
                      <a:pt x="943" y="208"/>
                    </a:lnTo>
                    <a:lnTo>
                      <a:pt x="943" y="207"/>
                    </a:lnTo>
                    <a:lnTo>
                      <a:pt x="943" y="205"/>
                    </a:lnTo>
                    <a:lnTo>
                      <a:pt x="943" y="205"/>
                    </a:lnTo>
                    <a:lnTo>
                      <a:pt x="945" y="199"/>
                    </a:lnTo>
                    <a:lnTo>
                      <a:pt x="945" y="199"/>
                    </a:lnTo>
                    <a:lnTo>
                      <a:pt x="945" y="199"/>
                    </a:lnTo>
                    <a:lnTo>
                      <a:pt x="947" y="197"/>
                    </a:lnTo>
                    <a:lnTo>
                      <a:pt x="947" y="197"/>
                    </a:lnTo>
                    <a:lnTo>
                      <a:pt x="947" y="197"/>
                    </a:lnTo>
                    <a:lnTo>
                      <a:pt x="945" y="197"/>
                    </a:lnTo>
                    <a:lnTo>
                      <a:pt x="945" y="197"/>
                    </a:lnTo>
                    <a:lnTo>
                      <a:pt x="945" y="195"/>
                    </a:lnTo>
                    <a:lnTo>
                      <a:pt x="943" y="193"/>
                    </a:lnTo>
                    <a:lnTo>
                      <a:pt x="943" y="193"/>
                    </a:lnTo>
                    <a:lnTo>
                      <a:pt x="941" y="191"/>
                    </a:lnTo>
                    <a:lnTo>
                      <a:pt x="940" y="191"/>
                    </a:lnTo>
                    <a:lnTo>
                      <a:pt x="940" y="191"/>
                    </a:lnTo>
                    <a:lnTo>
                      <a:pt x="938" y="191"/>
                    </a:lnTo>
                    <a:lnTo>
                      <a:pt x="938" y="191"/>
                    </a:lnTo>
                    <a:lnTo>
                      <a:pt x="938" y="193"/>
                    </a:lnTo>
                    <a:lnTo>
                      <a:pt x="938" y="193"/>
                    </a:lnTo>
                    <a:lnTo>
                      <a:pt x="938" y="193"/>
                    </a:lnTo>
                    <a:lnTo>
                      <a:pt x="938" y="193"/>
                    </a:lnTo>
                    <a:lnTo>
                      <a:pt x="938" y="195"/>
                    </a:lnTo>
                    <a:lnTo>
                      <a:pt x="934" y="201"/>
                    </a:lnTo>
                    <a:lnTo>
                      <a:pt x="932" y="201"/>
                    </a:lnTo>
                    <a:lnTo>
                      <a:pt x="930" y="203"/>
                    </a:lnTo>
                    <a:lnTo>
                      <a:pt x="930" y="205"/>
                    </a:lnTo>
                    <a:lnTo>
                      <a:pt x="926" y="205"/>
                    </a:lnTo>
                    <a:lnTo>
                      <a:pt x="910" y="203"/>
                    </a:lnTo>
                    <a:lnTo>
                      <a:pt x="902" y="203"/>
                    </a:lnTo>
                    <a:lnTo>
                      <a:pt x="897" y="208"/>
                    </a:lnTo>
                    <a:lnTo>
                      <a:pt x="897" y="208"/>
                    </a:lnTo>
                    <a:lnTo>
                      <a:pt x="897" y="210"/>
                    </a:lnTo>
                    <a:lnTo>
                      <a:pt x="897" y="210"/>
                    </a:lnTo>
                    <a:lnTo>
                      <a:pt x="895" y="210"/>
                    </a:lnTo>
                    <a:lnTo>
                      <a:pt x="895" y="210"/>
                    </a:lnTo>
                    <a:lnTo>
                      <a:pt x="895" y="208"/>
                    </a:lnTo>
                    <a:lnTo>
                      <a:pt x="895" y="208"/>
                    </a:lnTo>
                    <a:lnTo>
                      <a:pt x="893" y="205"/>
                    </a:lnTo>
                    <a:lnTo>
                      <a:pt x="893" y="205"/>
                    </a:lnTo>
                    <a:lnTo>
                      <a:pt x="889" y="201"/>
                    </a:lnTo>
                    <a:lnTo>
                      <a:pt x="887" y="201"/>
                    </a:lnTo>
                    <a:lnTo>
                      <a:pt x="885" y="201"/>
                    </a:lnTo>
                    <a:lnTo>
                      <a:pt x="883" y="207"/>
                    </a:lnTo>
                    <a:lnTo>
                      <a:pt x="883" y="207"/>
                    </a:lnTo>
                    <a:lnTo>
                      <a:pt x="883" y="207"/>
                    </a:lnTo>
                    <a:lnTo>
                      <a:pt x="881" y="205"/>
                    </a:lnTo>
                    <a:lnTo>
                      <a:pt x="879" y="203"/>
                    </a:lnTo>
                    <a:lnTo>
                      <a:pt x="879" y="203"/>
                    </a:lnTo>
                    <a:lnTo>
                      <a:pt x="879" y="203"/>
                    </a:lnTo>
                    <a:lnTo>
                      <a:pt x="879" y="203"/>
                    </a:lnTo>
                    <a:lnTo>
                      <a:pt x="879" y="199"/>
                    </a:lnTo>
                    <a:lnTo>
                      <a:pt x="879" y="195"/>
                    </a:lnTo>
                    <a:lnTo>
                      <a:pt x="879" y="195"/>
                    </a:lnTo>
                    <a:lnTo>
                      <a:pt x="879" y="195"/>
                    </a:lnTo>
                    <a:lnTo>
                      <a:pt x="877" y="193"/>
                    </a:lnTo>
                    <a:lnTo>
                      <a:pt x="877" y="193"/>
                    </a:lnTo>
                    <a:lnTo>
                      <a:pt x="877" y="191"/>
                    </a:lnTo>
                    <a:lnTo>
                      <a:pt x="877" y="191"/>
                    </a:lnTo>
                    <a:lnTo>
                      <a:pt x="877" y="191"/>
                    </a:lnTo>
                    <a:lnTo>
                      <a:pt x="879" y="191"/>
                    </a:lnTo>
                    <a:lnTo>
                      <a:pt x="881" y="191"/>
                    </a:lnTo>
                    <a:lnTo>
                      <a:pt x="879" y="191"/>
                    </a:lnTo>
                    <a:lnTo>
                      <a:pt x="877" y="189"/>
                    </a:lnTo>
                    <a:lnTo>
                      <a:pt x="869" y="189"/>
                    </a:lnTo>
                    <a:lnTo>
                      <a:pt x="865" y="189"/>
                    </a:lnTo>
                    <a:lnTo>
                      <a:pt x="859" y="185"/>
                    </a:lnTo>
                    <a:lnTo>
                      <a:pt x="859" y="185"/>
                    </a:lnTo>
                    <a:lnTo>
                      <a:pt x="859" y="185"/>
                    </a:lnTo>
                    <a:lnTo>
                      <a:pt x="859" y="185"/>
                    </a:lnTo>
                    <a:lnTo>
                      <a:pt x="857" y="183"/>
                    </a:lnTo>
                    <a:lnTo>
                      <a:pt x="856" y="181"/>
                    </a:lnTo>
                    <a:lnTo>
                      <a:pt x="856" y="179"/>
                    </a:lnTo>
                    <a:lnTo>
                      <a:pt x="856" y="177"/>
                    </a:lnTo>
                    <a:lnTo>
                      <a:pt x="856" y="175"/>
                    </a:lnTo>
                    <a:lnTo>
                      <a:pt x="856" y="173"/>
                    </a:lnTo>
                    <a:lnTo>
                      <a:pt x="856" y="173"/>
                    </a:lnTo>
                    <a:lnTo>
                      <a:pt x="854" y="173"/>
                    </a:lnTo>
                    <a:lnTo>
                      <a:pt x="854" y="173"/>
                    </a:lnTo>
                    <a:lnTo>
                      <a:pt x="848" y="173"/>
                    </a:lnTo>
                    <a:lnTo>
                      <a:pt x="848" y="173"/>
                    </a:lnTo>
                    <a:lnTo>
                      <a:pt x="846" y="173"/>
                    </a:lnTo>
                    <a:lnTo>
                      <a:pt x="846" y="173"/>
                    </a:lnTo>
                    <a:lnTo>
                      <a:pt x="844" y="173"/>
                    </a:lnTo>
                    <a:lnTo>
                      <a:pt x="844" y="173"/>
                    </a:lnTo>
                    <a:lnTo>
                      <a:pt x="844" y="173"/>
                    </a:lnTo>
                    <a:lnTo>
                      <a:pt x="844" y="173"/>
                    </a:lnTo>
                    <a:lnTo>
                      <a:pt x="840" y="169"/>
                    </a:lnTo>
                    <a:lnTo>
                      <a:pt x="838" y="167"/>
                    </a:lnTo>
                    <a:lnTo>
                      <a:pt x="826" y="166"/>
                    </a:lnTo>
                    <a:lnTo>
                      <a:pt x="820" y="164"/>
                    </a:lnTo>
                    <a:lnTo>
                      <a:pt x="816" y="164"/>
                    </a:lnTo>
                    <a:lnTo>
                      <a:pt x="816" y="164"/>
                    </a:lnTo>
                    <a:lnTo>
                      <a:pt x="814" y="162"/>
                    </a:lnTo>
                    <a:lnTo>
                      <a:pt x="813" y="162"/>
                    </a:lnTo>
                    <a:lnTo>
                      <a:pt x="809" y="160"/>
                    </a:lnTo>
                    <a:lnTo>
                      <a:pt x="807" y="160"/>
                    </a:lnTo>
                    <a:lnTo>
                      <a:pt x="805" y="160"/>
                    </a:lnTo>
                    <a:lnTo>
                      <a:pt x="803" y="162"/>
                    </a:lnTo>
                    <a:lnTo>
                      <a:pt x="801" y="162"/>
                    </a:lnTo>
                    <a:lnTo>
                      <a:pt x="801" y="166"/>
                    </a:lnTo>
                    <a:lnTo>
                      <a:pt x="803" y="169"/>
                    </a:lnTo>
                    <a:lnTo>
                      <a:pt x="807" y="173"/>
                    </a:lnTo>
                    <a:lnTo>
                      <a:pt x="809" y="179"/>
                    </a:lnTo>
                    <a:lnTo>
                      <a:pt x="809" y="183"/>
                    </a:lnTo>
                    <a:lnTo>
                      <a:pt x="811" y="189"/>
                    </a:lnTo>
                    <a:lnTo>
                      <a:pt x="813" y="189"/>
                    </a:lnTo>
                    <a:lnTo>
                      <a:pt x="814" y="193"/>
                    </a:lnTo>
                    <a:lnTo>
                      <a:pt x="816" y="193"/>
                    </a:lnTo>
                    <a:lnTo>
                      <a:pt x="818" y="195"/>
                    </a:lnTo>
                    <a:lnTo>
                      <a:pt x="822" y="199"/>
                    </a:lnTo>
                    <a:lnTo>
                      <a:pt x="822" y="199"/>
                    </a:lnTo>
                    <a:lnTo>
                      <a:pt x="822" y="203"/>
                    </a:lnTo>
                    <a:lnTo>
                      <a:pt x="824" y="208"/>
                    </a:lnTo>
                    <a:lnTo>
                      <a:pt x="824" y="208"/>
                    </a:lnTo>
                    <a:lnTo>
                      <a:pt x="826" y="212"/>
                    </a:lnTo>
                    <a:lnTo>
                      <a:pt x="826" y="212"/>
                    </a:lnTo>
                    <a:lnTo>
                      <a:pt x="826" y="214"/>
                    </a:lnTo>
                    <a:lnTo>
                      <a:pt x="824" y="218"/>
                    </a:lnTo>
                    <a:lnTo>
                      <a:pt x="824" y="218"/>
                    </a:lnTo>
                    <a:lnTo>
                      <a:pt x="824" y="218"/>
                    </a:lnTo>
                    <a:lnTo>
                      <a:pt x="824" y="218"/>
                    </a:lnTo>
                    <a:lnTo>
                      <a:pt x="824" y="216"/>
                    </a:lnTo>
                    <a:lnTo>
                      <a:pt x="822" y="216"/>
                    </a:lnTo>
                    <a:lnTo>
                      <a:pt x="820" y="214"/>
                    </a:lnTo>
                    <a:lnTo>
                      <a:pt x="820" y="212"/>
                    </a:lnTo>
                    <a:lnTo>
                      <a:pt x="818" y="212"/>
                    </a:lnTo>
                    <a:lnTo>
                      <a:pt x="816" y="212"/>
                    </a:lnTo>
                    <a:lnTo>
                      <a:pt x="816" y="212"/>
                    </a:lnTo>
                    <a:lnTo>
                      <a:pt x="816" y="212"/>
                    </a:lnTo>
                    <a:lnTo>
                      <a:pt x="816" y="216"/>
                    </a:lnTo>
                    <a:lnTo>
                      <a:pt x="816" y="216"/>
                    </a:lnTo>
                    <a:lnTo>
                      <a:pt x="816" y="216"/>
                    </a:lnTo>
                    <a:lnTo>
                      <a:pt x="814" y="216"/>
                    </a:lnTo>
                    <a:lnTo>
                      <a:pt x="811" y="216"/>
                    </a:lnTo>
                    <a:lnTo>
                      <a:pt x="811" y="216"/>
                    </a:lnTo>
                    <a:lnTo>
                      <a:pt x="811" y="216"/>
                    </a:lnTo>
                    <a:lnTo>
                      <a:pt x="809" y="216"/>
                    </a:lnTo>
                    <a:lnTo>
                      <a:pt x="805" y="220"/>
                    </a:lnTo>
                    <a:lnTo>
                      <a:pt x="805" y="222"/>
                    </a:lnTo>
                    <a:lnTo>
                      <a:pt x="803" y="222"/>
                    </a:lnTo>
                    <a:lnTo>
                      <a:pt x="801" y="222"/>
                    </a:lnTo>
                    <a:lnTo>
                      <a:pt x="801" y="222"/>
                    </a:lnTo>
                    <a:lnTo>
                      <a:pt x="799" y="224"/>
                    </a:lnTo>
                    <a:lnTo>
                      <a:pt x="797" y="222"/>
                    </a:lnTo>
                    <a:lnTo>
                      <a:pt x="793" y="224"/>
                    </a:lnTo>
                    <a:lnTo>
                      <a:pt x="793" y="224"/>
                    </a:lnTo>
                    <a:lnTo>
                      <a:pt x="789" y="226"/>
                    </a:lnTo>
                    <a:lnTo>
                      <a:pt x="787" y="230"/>
                    </a:lnTo>
                    <a:lnTo>
                      <a:pt x="787" y="232"/>
                    </a:lnTo>
                    <a:lnTo>
                      <a:pt x="785" y="234"/>
                    </a:lnTo>
                    <a:lnTo>
                      <a:pt x="785" y="234"/>
                    </a:lnTo>
                    <a:lnTo>
                      <a:pt x="783" y="236"/>
                    </a:lnTo>
                    <a:lnTo>
                      <a:pt x="783" y="238"/>
                    </a:lnTo>
                    <a:lnTo>
                      <a:pt x="781" y="240"/>
                    </a:lnTo>
                    <a:lnTo>
                      <a:pt x="779" y="240"/>
                    </a:lnTo>
                    <a:lnTo>
                      <a:pt x="773" y="248"/>
                    </a:lnTo>
                    <a:lnTo>
                      <a:pt x="773" y="248"/>
                    </a:lnTo>
                    <a:lnTo>
                      <a:pt x="768" y="248"/>
                    </a:lnTo>
                    <a:lnTo>
                      <a:pt x="766" y="248"/>
                    </a:lnTo>
                    <a:lnTo>
                      <a:pt x="760" y="244"/>
                    </a:lnTo>
                    <a:lnTo>
                      <a:pt x="756" y="242"/>
                    </a:lnTo>
                    <a:lnTo>
                      <a:pt x="754" y="240"/>
                    </a:lnTo>
                    <a:lnTo>
                      <a:pt x="752" y="238"/>
                    </a:lnTo>
                    <a:lnTo>
                      <a:pt x="750" y="236"/>
                    </a:lnTo>
                    <a:lnTo>
                      <a:pt x="750" y="232"/>
                    </a:lnTo>
                    <a:lnTo>
                      <a:pt x="750" y="232"/>
                    </a:lnTo>
                    <a:lnTo>
                      <a:pt x="748" y="222"/>
                    </a:lnTo>
                    <a:lnTo>
                      <a:pt x="746" y="220"/>
                    </a:lnTo>
                    <a:lnTo>
                      <a:pt x="746" y="218"/>
                    </a:lnTo>
                    <a:lnTo>
                      <a:pt x="744" y="218"/>
                    </a:lnTo>
                    <a:lnTo>
                      <a:pt x="740" y="212"/>
                    </a:lnTo>
                    <a:lnTo>
                      <a:pt x="738" y="208"/>
                    </a:lnTo>
                    <a:lnTo>
                      <a:pt x="738" y="208"/>
                    </a:lnTo>
                    <a:lnTo>
                      <a:pt x="736" y="207"/>
                    </a:lnTo>
                    <a:lnTo>
                      <a:pt x="734" y="203"/>
                    </a:lnTo>
                    <a:lnTo>
                      <a:pt x="732" y="199"/>
                    </a:lnTo>
                    <a:lnTo>
                      <a:pt x="729" y="195"/>
                    </a:lnTo>
                    <a:lnTo>
                      <a:pt x="727" y="193"/>
                    </a:lnTo>
                    <a:lnTo>
                      <a:pt x="719" y="189"/>
                    </a:lnTo>
                    <a:lnTo>
                      <a:pt x="717" y="187"/>
                    </a:lnTo>
                    <a:lnTo>
                      <a:pt x="715" y="185"/>
                    </a:lnTo>
                    <a:lnTo>
                      <a:pt x="715" y="185"/>
                    </a:lnTo>
                    <a:lnTo>
                      <a:pt x="715" y="185"/>
                    </a:lnTo>
                    <a:lnTo>
                      <a:pt x="715" y="183"/>
                    </a:lnTo>
                    <a:lnTo>
                      <a:pt x="715" y="181"/>
                    </a:lnTo>
                    <a:lnTo>
                      <a:pt x="715" y="181"/>
                    </a:lnTo>
                    <a:lnTo>
                      <a:pt x="715" y="179"/>
                    </a:lnTo>
                    <a:lnTo>
                      <a:pt x="715" y="177"/>
                    </a:lnTo>
                    <a:lnTo>
                      <a:pt x="713" y="175"/>
                    </a:lnTo>
                    <a:lnTo>
                      <a:pt x="713" y="175"/>
                    </a:lnTo>
                    <a:lnTo>
                      <a:pt x="713" y="175"/>
                    </a:lnTo>
                    <a:lnTo>
                      <a:pt x="705" y="175"/>
                    </a:lnTo>
                    <a:lnTo>
                      <a:pt x="703" y="175"/>
                    </a:lnTo>
                    <a:lnTo>
                      <a:pt x="703" y="175"/>
                    </a:lnTo>
                    <a:lnTo>
                      <a:pt x="701" y="177"/>
                    </a:lnTo>
                    <a:lnTo>
                      <a:pt x="699" y="177"/>
                    </a:lnTo>
                    <a:lnTo>
                      <a:pt x="697" y="175"/>
                    </a:lnTo>
                    <a:lnTo>
                      <a:pt x="697" y="175"/>
                    </a:lnTo>
                    <a:lnTo>
                      <a:pt x="697" y="173"/>
                    </a:lnTo>
                    <a:lnTo>
                      <a:pt x="695" y="167"/>
                    </a:lnTo>
                    <a:lnTo>
                      <a:pt x="689" y="166"/>
                    </a:lnTo>
                    <a:lnTo>
                      <a:pt x="689" y="164"/>
                    </a:lnTo>
                    <a:lnTo>
                      <a:pt x="688" y="162"/>
                    </a:lnTo>
                    <a:lnTo>
                      <a:pt x="689" y="158"/>
                    </a:lnTo>
                    <a:lnTo>
                      <a:pt x="689" y="158"/>
                    </a:lnTo>
                    <a:lnTo>
                      <a:pt x="689" y="158"/>
                    </a:lnTo>
                    <a:lnTo>
                      <a:pt x="691" y="158"/>
                    </a:lnTo>
                    <a:lnTo>
                      <a:pt x="693" y="158"/>
                    </a:lnTo>
                    <a:lnTo>
                      <a:pt x="693" y="158"/>
                    </a:lnTo>
                    <a:lnTo>
                      <a:pt x="691" y="158"/>
                    </a:lnTo>
                    <a:lnTo>
                      <a:pt x="691" y="156"/>
                    </a:lnTo>
                    <a:lnTo>
                      <a:pt x="691" y="154"/>
                    </a:lnTo>
                    <a:lnTo>
                      <a:pt x="691" y="154"/>
                    </a:lnTo>
                    <a:lnTo>
                      <a:pt x="691" y="154"/>
                    </a:lnTo>
                    <a:lnTo>
                      <a:pt x="693" y="154"/>
                    </a:lnTo>
                    <a:lnTo>
                      <a:pt x="693" y="154"/>
                    </a:lnTo>
                    <a:lnTo>
                      <a:pt x="695" y="154"/>
                    </a:lnTo>
                    <a:lnTo>
                      <a:pt x="697" y="152"/>
                    </a:lnTo>
                    <a:lnTo>
                      <a:pt x="697" y="150"/>
                    </a:lnTo>
                    <a:lnTo>
                      <a:pt x="701" y="150"/>
                    </a:lnTo>
                    <a:lnTo>
                      <a:pt x="701" y="148"/>
                    </a:lnTo>
                    <a:lnTo>
                      <a:pt x="703" y="146"/>
                    </a:lnTo>
                    <a:lnTo>
                      <a:pt x="703" y="144"/>
                    </a:lnTo>
                    <a:lnTo>
                      <a:pt x="705" y="144"/>
                    </a:lnTo>
                    <a:lnTo>
                      <a:pt x="707" y="142"/>
                    </a:lnTo>
                    <a:lnTo>
                      <a:pt x="709" y="144"/>
                    </a:lnTo>
                    <a:lnTo>
                      <a:pt x="713" y="144"/>
                    </a:lnTo>
                    <a:lnTo>
                      <a:pt x="715" y="144"/>
                    </a:lnTo>
                    <a:lnTo>
                      <a:pt x="715" y="144"/>
                    </a:lnTo>
                    <a:lnTo>
                      <a:pt x="715" y="144"/>
                    </a:lnTo>
                    <a:lnTo>
                      <a:pt x="717" y="142"/>
                    </a:lnTo>
                    <a:lnTo>
                      <a:pt x="721" y="138"/>
                    </a:lnTo>
                    <a:lnTo>
                      <a:pt x="721" y="136"/>
                    </a:lnTo>
                    <a:lnTo>
                      <a:pt x="721" y="136"/>
                    </a:lnTo>
                    <a:lnTo>
                      <a:pt x="721" y="134"/>
                    </a:lnTo>
                    <a:lnTo>
                      <a:pt x="721" y="132"/>
                    </a:lnTo>
                    <a:lnTo>
                      <a:pt x="721" y="130"/>
                    </a:lnTo>
                    <a:lnTo>
                      <a:pt x="723" y="130"/>
                    </a:lnTo>
                    <a:lnTo>
                      <a:pt x="723" y="130"/>
                    </a:lnTo>
                    <a:lnTo>
                      <a:pt x="723" y="128"/>
                    </a:lnTo>
                    <a:lnTo>
                      <a:pt x="723" y="128"/>
                    </a:lnTo>
                    <a:lnTo>
                      <a:pt x="723" y="126"/>
                    </a:lnTo>
                    <a:lnTo>
                      <a:pt x="725" y="125"/>
                    </a:lnTo>
                    <a:lnTo>
                      <a:pt x="727" y="125"/>
                    </a:lnTo>
                    <a:lnTo>
                      <a:pt x="727" y="121"/>
                    </a:lnTo>
                    <a:lnTo>
                      <a:pt x="727" y="119"/>
                    </a:lnTo>
                    <a:lnTo>
                      <a:pt x="711" y="103"/>
                    </a:lnTo>
                    <a:lnTo>
                      <a:pt x="707" y="101"/>
                    </a:lnTo>
                    <a:lnTo>
                      <a:pt x="705" y="101"/>
                    </a:lnTo>
                    <a:lnTo>
                      <a:pt x="701" y="99"/>
                    </a:lnTo>
                    <a:lnTo>
                      <a:pt x="695" y="99"/>
                    </a:lnTo>
                    <a:lnTo>
                      <a:pt x="693" y="99"/>
                    </a:lnTo>
                    <a:lnTo>
                      <a:pt x="691" y="103"/>
                    </a:lnTo>
                    <a:lnTo>
                      <a:pt x="689" y="105"/>
                    </a:lnTo>
                    <a:lnTo>
                      <a:pt x="688" y="109"/>
                    </a:lnTo>
                    <a:lnTo>
                      <a:pt x="688" y="109"/>
                    </a:lnTo>
                    <a:lnTo>
                      <a:pt x="686" y="109"/>
                    </a:lnTo>
                    <a:lnTo>
                      <a:pt x="686" y="109"/>
                    </a:lnTo>
                    <a:lnTo>
                      <a:pt x="686" y="109"/>
                    </a:lnTo>
                    <a:lnTo>
                      <a:pt x="684" y="107"/>
                    </a:lnTo>
                    <a:lnTo>
                      <a:pt x="678" y="103"/>
                    </a:lnTo>
                    <a:lnTo>
                      <a:pt x="676" y="103"/>
                    </a:lnTo>
                    <a:lnTo>
                      <a:pt x="670" y="103"/>
                    </a:lnTo>
                    <a:lnTo>
                      <a:pt x="660" y="113"/>
                    </a:lnTo>
                    <a:lnTo>
                      <a:pt x="654" y="115"/>
                    </a:lnTo>
                    <a:lnTo>
                      <a:pt x="652" y="115"/>
                    </a:lnTo>
                    <a:lnTo>
                      <a:pt x="652" y="113"/>
                    </a:lnTo>
                    <a:lnTo>
                      <a:pt x="652" y="113"/>
                    </a:lnTo>
                    <a:lnTo>
                      <a:pt x="652" y="113"/>
                    </a:lnTo>
                    <a:lnTo>
                      <a:pt x="652" y="111"/>
                    </a:lnTo>
                    <a:lnTo>
                      <a:pt x="656" y="109"/>
                    </a:lnTo>
                    <a:lnTo>
                      <a:pt x="656" y="109"/>
                    </a:lnTo>
                    <a:lnTo>
                      <a:pt x="656" y="107"/>
                    </a:lnTo>
                    <a:lnTo>
                      <a:pt x="654" y="103"/>
                    </a:lnTo>
                    <a:lnTo>
                      <a:pt x="654" y="99"/>
                    </a:lnTo>
                    <a:lnTo>
                      <a:pt x="652" y="97"/>
                    </a:lnTo>
                    <a:lnTo>
                      <a:pt x="650" y="95"/>
                    </a:lnTo>
                    <a:lnTo>
                      <a:pt x="650" y="93"/>
                    </a:lnTo>
                    <a:lnTo>
                      <a:pt x="648" y="93"/>
                    </a:lnTo>
                    <a:lnTo>
                      <a:pt x="646" y="91"/>
                    </a:lnTo>
                    <a:lnTo>
                      <a:pt x="646" y="91"/>
                    </a:lnTo>
                    <a:lnTo>
                      <a:pt x="637" y="95"/>
                    </a:lnTo>
                    <a:lnTo>
                      <a:pt x="633" y="95"/>
                    </a:lnTo>
                    <a:lnTo>
                      <a:pt x="633" y="95"/>
                    </a:lnTo>
                    <a:lnTo>
                      <a:pt x="633" y="95"/>
                    </a:lnTo>
                    <a:lnTo>
                      <a:pt x="633" y="95"/>
                    </a:lnTo>
                    <a:lnTo>
                      <a:pt x="631" y="95"/>
                    </a:lnTo>
                    <a:lnTo>
                      <a:pt x="631" y="95"/>
                    </a:lnTo>
                    <a:lnTo>
                      <a:pt x="623" y="82"/>
                    </a:lnTo>
                    <a:lnTo>
                      <a:pt x="623" y="82"/>
                    </a:lnTo>
                    <a:lnTo>
                      <a:pt x="621" y="80"/>
                    </a:lnTo>
                    <a:lnTo>
                      <a:pt x="621" y="78"/>
                    </a:lnTo>
                    <a:lnTo>
                      <a:pt x="621" y="78"/>
                    </a:lnTo>
                    <a:lnTo>
                      <a:pt x="621" y="78"/>
                    </a:lnTo>
                    <a:lnTo>
                      <a:pt x="617" y="78"/>
                    </a:lnTo>
                    <a:lnTo>
                      <a:pt x="604" y="82"/>
                    </a:lnTo>
                    <a:lnTo>
                      <a:pt x="602" y="80"/>
                    </a:lnTo>
                    <a:lnTo>
                      <a:pt x="602" y="80"/>
                    </a:lnTo>
                    <a:lnTo>
                      <a:pt x="600" y="80"/>
                    </a:lnTo>
                    <a:lnTo>
                      <a:pt x="600" y="80"/>
                    </a:lnTo>
                    <a:lnTo>
                      <a:pt x="598" y="76"/>
                    </a:lnTo>
                    <a:lnTo>
                      <a:pt x="598" y="76"/>
                    </a:lnTo>
                    <a:lnTo>
                      <a:pt x="596" y="74"/>
                    </a:lnTo>
                    <a:lnTo>
                      <a:pt x="562" y="62"/>
                    </a:lnTo>
                    <a:lnTo>
                      <a:pt x="557" y="64"/>
                    </a:lnTo>
                    <a:lnTo>
                      <a:pt x="555" y="66"/>
                    </a:lnTo>
                    <a:lnTo>
                      <a:pt x="553" y="68"/>
                    </a:lnTo>
                    <a:lnTo>
                      <a:pt x="553" y="68"/>
                    </a:lnTo>
                    <a:lnTo>
                      <a:pt x="551" y="70"/>
                    </a:lnTo>
                    <a:lnTo>
                      <a:pt x="551" y="70"/>
                    </a:lnTo>
                    <a:lnTo>
                      <a:pt x="551" y="70"/>
                    </a:lnTo>
                    <a:lnTo>
                      <a:pt x="551" y="70"/>
                    </a:lnTo>
                    <a:lnTo>
                      <a:pt x="551" y="70"/>
                    </a:lnTo>
                    <a:lnTo>
                      <a:pt x="549" y="70"/>
                    </a:lnTo>
                    <a:lnTo>
                      <a:pt x="547" y="68"/>
                    </a:lnTo>
                    <a:lnTo>
                      <a:pt x="547" y="64"/>
                    </a:lnTo>
                    <a:lnTo>
                      <a:pt x="549" y="62"/>
                    </a:lnTo>
                    <a:lnTo>
                      <a:pt x="549" y="60"/>
                    </a:lnTo>
                    <a:lnTo>
                      <a:pt x="547" y="56"/>
                    </a:lnTo>
                    <a:lnTo>
                      <a:pt x="545" y="54"/>
                    </a:lnTo>
                    <a:lnTo>
                      <a:pt x="545" y="54"/>
                    </a:lnTo>
                    <a:lnTo>
                      <a:pt x="543" y="52"/>
                    </a:lnTo>
                    <a:lnTo>
                      <a:pt x="541" y="50"/>
                    </a:lnTo>
                    <a:lnTo>
                      <a:pt x="539" y="50"/>
                    </a:lnTo>
                    <a:lnTo>
                      <a:pt x="537" y="48"/>
                    </a:lnTo>
                    <a:lnTo>
                      <a:pt x="535" y="44"/>
                    </a:lnTo>
                    <a:lnTo>
                      <a:pt x="533" y="41"/>
                    </a:lnTo>
                    <a:lnTo>
                      <a:pt x="533" y="39"/>
                    </a:lnTo>
                    <a:lnTo>
                      <a:pt x="531" y="37"/>
                    </a:lnTo>
                    <a:lnTo>
                      <a:pt x="531" y="33"/>
                    </a:lnTo>
                    <a:lnTo>
                      <a:pt x="533" y="27"/>
                    </a:lnTo>
                    <a:lnTo>
                      <a:pt x="533" y="27"/>
                    </a:lnTo>
                    <a:lnTo>
                      <a:pt x="533" y="25"/>
                    </a:lnTo>
                    <a:lnTo>
                      <a:pt x="533" y="23"/>
                    </a:lnTo>
                    <a:lnTo>
                      <a:pt x="533" y="23"/>
                    </a:lnTo>
                    <a:lnTo>
                      <a:pt x="531" y="17"/>
                    </a:lnTo>
                    <a:lnTo>
                      <a:pt x="527" y="15"/>
                    </a:lnTo>
                    <a:lnTo>
                      <a:pt x="525" y="15"/>
                    </a:lnTo>
                    <a:lnTo>
                      <a:pt x="518" y="15"/>
                    </a:lnTo>
                    <a:lnTo>
                      <a:pt x="516" y="11"/>
                    </a:lnTo>
                    <a:lnTo>
                      <a:pt x="516" y="9"/>
                    </a:lnTo>
                    <a:lnTo>
                      <a:pt x="516" y="7"/>
                    </a:lnTo>
                    <a:lnTo>
                      <a:pt x="514" y="7"/>
                    </a:lnTo>
                    <a:lnTo>
                      <a:pt x="512" y="7"/>
                    </a:lnTo>
                    <a:lnTo>
                      <a:pt x="512" y="7"/>
                    </a:lnTo>
                    <a:lnTo>
                      <a:pt x="510" y="11"/>
                    </a:lnTo>
                    <a:lnTo>
                      <a:pt x="510" y="13"/>
                    </a:lnTo>
                    <a:lnTo>
                      <a:pt x="510" y="15"/>
                    </a:lnTo>
                    <a:lnTo>
                      <a:pt x="510" y="15"/>
                    </a:lnTo>
                    <a:lnTo>
                      <a:pt x="510" y="15"/>
                    </a:lnTo>
                    <a:lnTo>
                      <a:pt x="508" y="15"/>
                    </a:lnTo>
                    <a:lnTo>
                      <a:pt x="508" y="15"/>
                    </a:lnTo>
                    <a:lnTo>
                      <a:pt x="506" y="15"/>
                    </a:lnTo>
                    <a:lnTo>
                      <a:pt x="504" y="13"/>
                    </a:lnTo>
                    <a:lnTo>
                      <a:pt x="504" y="13"/>
                    </a:lnTo>
                    <a:lnTo>
                      <a:pt x="502" y="11"/>
                    </a:lnTo>
                    <a:lnTo>
                      <a:pt x="502" y="9"/>
                    </a:lnTo>
                    <a:lnTo>
                      <a:pt x="502" y="9"/>
                    </a:lnTo>
                    <a:lnTo>
                      <a:pt x="496" y="7"/>
                    </a:lnTo>
                    <a:lnTo>
                      <a:pt x="492" y="7"/>
                    </a:lnTo>
                    <a:lnTo>
                      <a:pt x="490" y="3"/>
                    </a:lnTo>
                    <a:lnTo>
                      <a:pt x="490" y="5"/>
                    </a:lnTo>
                    <a:lnTo>
                      <a:pt x="488" y="7"/>
                    </a:lnTo>
                    <a:lnTo>
                      <a:pt x="488" y="7"/>
                    </a:lnTo>
                    <a:lnTo>
                      <a:pt x="488" y="7"/>
                    </a:lnTo>
                    <a:lnTo>
                      <a:pt x="486" y="9"/>
                    </a:lnTo>
                    <a:lnTo>
                      <a:pt x="486" y="9"/>
                    </a:lnTo>
                    <a:lnTo>
                      <a:pt x="484" y="9"/>
                    </a:lnTo>
                    <a:lnTo>
                      <a:pt x="484" y="9"/>
                    </a:lnTo>
                    <a:lnTo>
                      <a:pt x="482" y="11"/>
                    </a:lnTo>
                    <a:lnTo>
                      <a:pt x="482" y="11"/>
                    </a:lnTo>
                    <a:lnTo>
                      <a:pt x="482" y="11"/>
                    </a:lnTo>
                    <a:lnTo>
                      <a:pt x="482" y="15"/>
                    </a:lnTo>
                    <a:lnTo>
                      <a:pt x="482" y="15"/>
                    </a:lnTo>
                    <a:lnTo>
                      <a:pt x="486" y="17"/>
                    </a:lnTo>
                    <a:lnTo>
                      <a:pt x="486" y="19"/>
                    </a:lnTo>
                    <a:lnTo>
                      <a:pt x="488" y="21"/>
                    </a:lnTo>
                    <a:lnTo>
                      <a:pt x="488" y="25"/>
                    </a:lnTo>
                    <a:lnTo>
                      <a:pt x="488" y="29"/>
                    </a:lnTo>
                    <a:lnTo>
                      <a:pt x="488" y="29"/>
                    </a:lnTo>
                    <a:lnTo>
                      <a:pt x="488" y="29"/>
                    </a:lnTo>
                    <a:lnTo>
                      <a:pt x="488" y="29"/>
                    </a:lnTo>
                    <a:lnTo>
                      <a:pt x="486" y="31"/>
                    </a:lnTo>
                    <a:lnTo>
                      <a:pt x="486" y="33"/>
                    </a:lnTo>
                    <a:lnTo>
                      <a:pt x="486" y="33"/>
                    </a:lnTo>
                    <a:lnTo>
                      <a:pt x="486" y="35"/>
                    </a:lnTo>
                    <a:lnTo>
                      <a:pt x="486" y="35"/>
                    </a:lnTo>
                    <a:lnTo>
                      <a:pt x="486" y="35"/>
                    </a:lnTo>
                    <a:lnTo>
                      <a:pt x="486" y="35"/>
                    </a:lnTo>
                    <a:lnTo>
                      <a:pt x="486" y="35"/>
                    </a:lnTo>
                    <a:lnTo>
                      <a:pt x="486" y="39"/>
                    </a:lnTo>
                    <a:lnTo>
                      <a:pt x="486" y="44"/>
                    </a:lnTo>
                    <a:lnTo>
                      <a:pt x="486" y="46"/>
                    </a:lnTo>
                    <a:lnTo>
                      <a:pt x="486" y="46"/>
                    </a:lnTo>
                    <a:lnTo>
                      <a:pt x="471" y="46"/>
                    </a:lnTo>
                    <a:lnTo>
                      <a:pt x="467" y="46"/>
                    </a:lnTo>
                    <a:lnTo>
                      <a:pt x="461" y="48"/>
                    </a:lnTo>
                    <a:lnTo>
                      <a:pt x="457" y="46"/>
                    </a:lnTo>
                    <a:lnTo>
                      <a:pt x="457" y="46"/>
                    </a:lnTo>
                    <a:lnTo>
                      <a:pt x="457" y="48"/>
                    </a:lnTo>
                    <a:lnTo>
                      <a:pt x="455" y="54"/>
                    </a:lnTo>
                    <a:lnTo>
                      <a:pt x="453" y="56"/>
                    </a:lnTo>
                    <a:lnTo>
                      <a:pt x="453" y="58"/>
                    </a:lnTo>
                    <a:lnTo>
                      <a:pt x="451" y="58"/>
                    </a:lnTo>
                    <a:lnTo>
                      <a:pt x="451" y="60"/>
                    </a:lnTo>
                    <a:lnTo>
                      <a:pt x="449" y="60"/>
                    </a:lnTo>
                    <a:lnTo>
                      <a:pt x="447" y="60"/>
                    </a:lnTo>
                    <a:lnTo>
                      <a:pt x="445" y="60"/>
                    </a:lnTo>
                    <a:lnTo>
                      <a:pt x="439" y="58"/>
                    </a:lnTo>
                    <a:lnTo>
                      <a:pt x="432" y="54"/>
                    </a:lnTo>
                    <a:lnTo>
                      <a:pt x="430" y="52"/>
                    </a:lnTo>
                    <a:lnTo>
                      <a:pt x="424" y="50"/>
                    </a:lnTo>
                    <a:lnTo>
                      <a:pt x="424" y="48"/>
                    </a:lnTo>
                    <a:lnTo>
                      <a:pt x="424" y="44"/>
                    </a:lnTo>
                    <a:lnTo>
                      <a:pt x="424" y="44"/>
                    </a:lnTo>
                    <a:lnTo>
                      <a:pt x="424" y="44"/>
                    </a:lnTo>
                    <a:lnTo>
                      <a:pt x="424" y="43"/>
                    </a:lnTo>
                    <a:lnTo>
                      <a:pt x="428" y="37"/>
                    </a:lnTo>
                    <a:lnTo>
                      <a:pt x="428" y="35"/>
                    </a:lnTo>
                    <a:lnTo>
                      <a:pt x="428" y="33"/>
                    </a:lnTo>
                    <a:lnTo>
                      <a:pt x="428" y="31"/>
                    </a:lnTo>
                    <a:lnTo>
                      <a:pt x="426" y="31"/>
                    </a:lnTo>
                    <a:lnTo>
                      <a:pt x="416" y="35"/>
                    </a:lnTo>
                    <a:lnTo>
                      <a:pt x="414" y="33"/>
                    </a:lnTo>
                    <a:lnTo>
                      <a:pt x="414" y="33"/>
                    </a:lnTo>
                    <a:lnTo>
                      <a:pt x="414" y="33"/>
                    </a:lnTo>
                    <a:lnTo>
                      <a:pt x="414" y="33"/>
                    </a:lnTo>
                    <a:lnTo>
                      <a:pt x="414" y="31"/>
                    </a:lnTo>
                    <a:lnTo>
                      <a:pt x="416" y="27"/>
                    </a:lnTo>
                    <a:lnTo>
                      <a:pt x="418" y="23"/>
                    </a:lnTo>
                    <a:lnTo>
                      <a:pt x="418" y="19"/>
                    </a:lnTo>
                    <a:lnTo>
                      <a:pt x="418" y="17"/>
                    </a:lnTo>
                    <a:lnTo>
                      <a:pt x="416" y="15"/>
                    </a:lnTo>
                    <a:lnTo>
                      <a:pt x="414" y="11"/>
                    </a:lnTo>
                    <a:lnTo>
                      <a:pt x="412" y="9"/>
                    </a:lnTo>
                    <a:lnTo>
                      <a:pt x="408" y="9"/>
                    </a:lnTo>
                    <a:lnTo>
                      <a:pt x="406" y="7"/>
                    </a:lnTo>
                    <a:lnTo>
                      <a:pt x="404" y="5"/>
                    </a:lnTo>
                    <a:lnTo>
                      <a:pt x="404" y="5"/>
                    </a:lnTo>
                    <a:lnTo>
                      <a:pt x="404" y="3"/>
                    </a:lnTo>
                    <a:lnTo>
                      <a:pt x="402" y="2"/>
                    </a:lnTo>
                    <a:lnTo>
                      <a:pt x="402" y="2"/>
                    </a:lnTo>
                    <a:lnTo>
                      <a:pt x="402" y="0"/>
                    </a:lnTo>
                    <a:lnTo>
                      <a:pt x="402" y="2"/>
                    </a:lnTo>
                    <a:lnTo>
                      <a:pt x="400" y="3"/>
                    </a:lnTo>
                    <a:lnTo>
                      <a:pt x="400" y="3"/>
                    </a:lnTo>
                    <a:lnTo>
                      <a:pt x="398" y="5"/>
                    </a:lnTo>
                    <a:lnTo>
                      <a:pt x="393" y="3"/>
                    </a:lnTo>
                    <a:lnTo>
                      <a:pt x="389" y="5"/>
                    </a:lnTo>
                    <a:lnTo>
                      <a:pt x="389" y="5"/>
                    </a:lnTo>
                    <a:lnTo>
                      <a:pt x="389" y="5"/>
                    </a:lnTo>
                    <a:lnTo>
                      <a:pt x="387" y="5"/>
                    </a:lnTo>
                    <a:lnTo>
                      <a:pt x="385" y="5"/>
                    </a:lnTo>
                    <a:lnTo>
                      <a:pt x="385" y="5"/>
                    </a:lnTo>
                    <a:lnTo>
                      <a:pt x="383" y="3"/>
                    </a:lnTo>
                    <a:lnTo>
                      <a:pt x="383" y="2"/>
                    </a:lnTo>
                    <a:lnTo>
                      <a:pt x="381" y="2"/>
                    </a:lnTo>
                    <a:lnTo>
                      <a:pt x="375" y="0"/>
                    </a:lnTo>
                    <a:lnTo>
                      <a:pt x="371" y="0"/>
                    </a:lnTo>
                    <a:lnTo>
                      <a:pt x="369" y="0"/>
                    </a:lnTo>
                    <a:lnTo>
                      <a:pt x="367" y="2"/>
                    </a:lnTo>
                    <a:lnTo>
                      <a:pt x="365" y="3"/>
                    </a:lnTo>
                    <a:lnTo>
                      <a:pt x="363" y="11"/>
                    </a:lnTo>
                    <a:lnTo>
                      <a:pt x="361" y="15"/>
                    </a:lnTo>
                    <a:lnTo>
                      <a:pt x="361" y="15"/>
                    </a:lnTo>
                    <a:lnTo>
                      <a:pt x="363" y="15"/>
                    </a:lnTo>
                    <a:lnTo>
                      <a:pt x="369" y="17"/>
                    </a:lnTo>
                    <a:lnTo>
                      <a:pt x="371" y="17"/>
                    </a:lnTo>
                    <a:lnTo>
                      <a:pt x="373" y="17"/>
                    </a:lnTo>
                    <a:lnTo>
                      <a:pt x="373" y="19"/>
                    </a:lnTo>
                    <a:lnTo>
                      <a:pt x="373" y="19"/>
                    </a:lnTo>
                    <a:lnTo>
                      <a:pt x="371" y="19"/>
                    </a:lnTo>
                    <a:lnTo>
                      <a:pt x="371" y="23"/>
                    </a:lnTo>
                    <a:lnTo>
                      <a:pt x="371" y="23"/>
                    </a:lnTo>
                    <a:lnTo>
                      <a:pt x="375" y="27"/>
                    </a:lnTo>
                    <a:lnTo>
                      <a:pt x="381" y="29"/>
                    </a:lnTo>
                    <a:lnTo>
                      <a:pt x="385" y="31"/>
                    </a:lnTo>
                    <a:lnTo>
                      <a:pt x="385" y="37"/>
                    </a:lnTo>
                    <a:lnTo>
                      <a:pt x="379" y="43"/>
                    </a:lnTo>
                    <a:lnTo>
                      <a:pt x="369" y="41"/>
                    </a:lnTo>
                    <a:lnTo>
                      <a:pt x="367" y="41"/>
                    </a:lnTo>
                    <a:lnTo>
                      <a:pt x="361" y="43"/>
                    </a:lnTo>
                    <a:lnTo>
                      <a:pt x="359" y="44"/>
                    </a:lnTo>
                    <a:lnTo>
                      <a:pt x="355" y="48"/>
                    </a:lnTo>
                    <a:lnTo>
                      <a:pt x="353" y="50"/>
                    </a:lnTo>
                    <a:lnTo>
                      <a:pt x="336" y="58"/>
                    </a:lnTo>
                    <a:lnTo>
                      <a:pt x="328" y="62"/>
                    </a:lnTo>
                    <a:lnTo>
                      <a:pt x="324" y="62"/>
                    </a:lnTo>
                    <a:lnTo>
                      <a:pt x="318" y="62"/>
                    </a:lnTo>
                    <a:lnTo>
                      <a:pt x="318" y="62"/>
                    </a:lnTo>
                    <a:lnTo>
                      <a:pt x="314" y="62"/>
                    </a:lnTo>
                    <a:lnTo>
                      <a:pt x="312" y="64"/>
                    </a:lnTo>
                    <a:lnTo>
                      <a:pt x="310" y="66"/>
                    </a:lnTo>
                    <a:lnTo>
                      <a:pt x="309" y="68"/>
                    </a:lnTo>
                    <a:lnTo>
                      <a:pt x="309" y="68"/>
                    </a:lnTo>
                    <a:lnTo>
                      <a:pt x="307" y="68"/>
                    </a:lnTo>
                    <a:lnTo>
                      <a:pt x="307" y="68"/>
                    </a:lnTo>
                    <a:lnTo>
                      <a:pt x="307" y="68"/>
                    </a:lnTo>
                    <a:lnTo>
                      <a:pt x="307" y="68"/>
                    </a:lnTo>
                    <a:lnTo>
                      <a:pt x="305" y="68"/>
                    </a:lnTo>
                    <a:lnTo>
                      <a:pt x="303" y="68"/>
                    </a:lnTo>
                    <a:lnTo>
                      <a:pt x="303" y="68"/>
                    </a:lnTo>
                    <a:lnTo>
                      <a:pt x="303" y="70"/>
                    </a:lnTo>
                    <a:lnTo>
                      <a:pt x="301" y="72"/>
                    </a:lnTo>
                    <a:lnTo>
                      <a:pt x="301" y="74"/>
                    </a:lnTo>
                    <a:lnTo>
                      <a:pt x="303" y="76"/>
                    </a:lnTo>
                    <a:lnTo>
                      <a:pt x="303" y="78"/>
                    </a:lnTo>
                    <a:lnTo>
                      <a:pt x="303" y="78"/>
                    </a:lnTo>
                    <a:lnTo>
                      <a:pt x="301" y="80"/>
                    </a:lnTo>
                    <a:lnTo>
                      <a:pt x="301" y="80"/>
                    </a:lnTo>
                    <a:lnTo>
                      <a:pt x="299" y="80"/>
                    </a:lnTo>
                    <a:lnTo>
                      <a:pt x="293" y="84"/>
                    </a:lnTo>
                    <a:lnTo>
                      <a:pt x="291" y="84"/>
                    </a:lnTo>
                    <a:lnTo>
                      <a:pt x="291" y="84"/>
                    </a:lnTo>
                    <a:lnTo>
                      <a:pt x="283" y="84"/>
                    </a:lnTo>
                    <a:lnTo>
                      <a:pt x="279" y="84"/>
                    </a:lnTo>
                    <a:lnTo>
                      <a:pt x="273" y="85"/>
                    </a:lnTo>
                    <a:lnTo>
                      <a:pt x="271" y="85"/>
                    </a:lnTo>
                    <a:lnTo>
                      <a:pt x="269" y="85"/>
                    </a:lnTo>
                    <a:lnTo>
                      <a:pt x="260" y="85"/>
                    </a:lnTo>
                    <a:lnTo>
                      <a:pt x="256" y="85"/>
                    </a:lnTo>
                    <a:lnTo>
                      <a:pt x="252" y="85"/>
                    </a:lnTo>
                    <a:lnTo>
                      <a:pt x="248" y="87"/>
                    </a:lnTo>
                    <a:lnTo>
                      <a:pt x="244" y="89"/>
                    </a:lnTo>
                    <a:lnTo>
                      <a:pt x="240" y="91"/>
                    </a:lnTo>
                    <a:lnTo>
                      <a:pt x="242" y="95"/>
                    </a:lnTo>
                    <a:lnTo>
                      <a:pt x="242" y="95"/>
                    </a:lnTo>
                    <a:lnTo>
                      <a:pt x="242" y="95"/>
                    </a:lnTo>
                    <a:lnTo>
                      <a:pt x="242" y="97"/>
                    </a:lnTo>
                    <a:lnTo>
                      <a:pt x="242" y="99"/>
                    </a:lnTo>
                    <a:lnTo>
                      <a:pt x="242" y="99"/>
                    </a:lnTo>
                    <a:lnTo>
                      <a:pt x="242" y="99"/>
                    </a:lnTo>
                    <a:lnTo>
                      <a:pt x="242" y="99"/>
                    </a:lnTo>
                    <a:lnTo>
                      <a:pt x="240" y="101"/>
                    </a:lnTo>
                    <a:lnTo>
                      <a:pt x="238" y="103"/>
                    </a:lnTo>
                    <a:lnTo>
                      <a:pt x="236" y="103"/>
                    </a:lnTo>
                    <a:lnTo>
                      <a:pt x="238" y="107"/>
                    </a:lnTo>
                    <a:lnTo>
                      <a:pt x="238" y="107"/>
                    </a:lnTo>
                    <a:lnTo>
                      <a:pt x="238" y="109"/>
                    </a:lnTo>
                    <a:lnTo>
                      <a:pt x="236" y="109"/>
                    </a:lnTo>
                    <a:lnTo>
                      <a:pt x="234" y="109"/>
                    </a:lnTo>
                    <a:lnTo>
                      <a:pt x="234" y="111"/>
                    </a:lnTo>
                    <a:lnTo>
                      <a:pt x="232" y="113"/>
                    </a:lnTo>
                    <a:lnTo>
                      <a:pt x="232" y="113"/>
                    </a:lnTo>
                    <a:lnTo>
                      <a:pt x="230" y="115"/>
                    </a:lnTo>
                    <a:lnTo>
                      <a:pt x="228" y="117"/>
                    </a:lnTo>
                    <a:lnTo>
                      <a:pt x="226" y="117"/>
                    </a:lnTo>
                    <a:lnTo>
                      <a:pt x="226" y="117"/>
                    </a:lnTo>
                    <a:lnTo>
                      <a:pt x="223" y="115"/>
                    </a:lnTo>
                    <a:lnTo>
                      <a:pt x="223" y="115"/>
                    </a:lnTo>
                    <a:lnTo>
                      <a:pt x="223" y="115"/>
                    </a:lnTo>
                    <a:lnTo>
                      <a:pt x="221" y="113"/>
                    </a:lnTo>
                    <a:lnTo>
                      <a:pt x="221" y="113"/>
                    </a:lnTo>
                    <a:lnTo>
                      <a:pt x="219" y="109"/>
                    </a:lnTo>
                    <a:lnTo>
                      <a:pt x="219" y="109"/>
                    </a:lnTo>
                    <a:lnTo>
                      <a:pt x="217" y="109"/>
                    </a:lnTo>
                    <a:lnTo>
                      <a:pt x="217" y="109"/>
                    </a:lnTo>
                    <a:lnTo>
                      <a:pt x="215" y="109"/>
                    </a:lnTo>
                    <a:lnTo>
                      <a:pt x="215" y="109"/>
                    </a:lnTo>
                    <a:lnTo>
                      <a:pt x="215" y="109"/>
                    </a:lnTo>
                    <a:lnTo>
                      <a:pt x="215" y="109"/>
                    </a:lnTo>
                    <a:lnTo>
                      <a:pt x="215" y="111"/>
                    </a:lnTo>
                    <a:lnTo>
                      <a:pt x="213" y="113"/>
                    </a:lnTo>
                    <a:lnTo>
                      <a:pt x="209" y="115"/>
                    </a:lnTo>
                    <a:lnTo>
                      <a:pt x="207" y="117"/>
                    </a:lnTo>
                    <a:lnTo>
                      <a:pt x="205" y="123"/>
                    </a:lnTo>
                    <a:lnTo>
                      <a:pt x="205" y="123"/>
                    </a:lnTo>
                    <a:lnTo>
                      <a:pt x="205" y="123"/>
                    </a:lnTo>
                    <a:lnTo>
                      <a:pt x="201" y="125"/>
                    </a:lnTo>
                    <a:lnTo>
                      <a:pt x="199" y="123"/>
                    </a:lnTo>
                    <a:lnTo>
                      <a:pt x="197" y="121"/>
                    </a:lnTo>
                    <a:lnTo>
                      <a:pt x="195" y="121"/>
                    </a:lnTo>
                    <a:lnTo>
                      <a:pt x="193" y="121"/>
                    </a:lnTo>
                    <a:lnTo>
                      <a:pt x="187" y="134"/>
                    </a:lnTo>
                    <a:lnTo>
                      <a:pt x="185" y="140"/>
                    </a:lnTo>
                    <a:lnTo>
                      <a:pt x="182" y="142"/>
                    </a:lnTo>
                    <a:lnTo>
                      <a:pt x="182" y="142"/>
                    </a:lnTo>
                    <a:lnTo>
                      <a:pt x="182" y="142"/>
                    </a:lnTo>
                    <a:lnTo>
                      <a:pt x="182" y="142"/>
                    </a:lnTo>
                    <a:lnTo>
                      <a:pt x="178" y="142"/>
                    </a:lnTo>
                    <a:lnTo>
                      <a:pt x="172" y="142"/>
                    </a:lnTo>
                    <a:lnTo>
                      <a:pt x="168" y="144"/>
                    </a:lnTo>
                    <a:lnTo>
                      <a:pt x="168" y="144"/>
                    </a:lnTo>
                    <a:lnTo>
                      <a:pt x="168" y="144"/>
                    </a:lnTo>
                    <a:lnTo>
                      <a:pt x="168" y="144"/>
                    </a:lnTo>
                    <a:lnTo>
                      <a:pt x="168" y="144"/>
                    </a:lnTo>
                    <a:lnTo>
                      <a:pt x="168" y="144"/>
                    </a:lnTo>
                    <a:lnTo>
                      <a:pt x="166" y="144"/>
                    </a:lnTo>
                    <a:lnTo>
                      <a:pt x="166" y="144"/>
                    </a:lnTo>
                    <a:lnTo>
                      <a:pt x="164" y="144"/>
                    </a:lnTo>
                    <a:lnTo>
                      <a:pt x="164" y="144"/>
                    </a:lnTo>
                    <a:lnTo>
                      <a:pt x="162" y="144"/>
                    </a:lnTo>
                    <a:lnTo>
                      <a:pt x="162" y="144"/>
                    </a:lnTo>
                    <a:lnTo>
                      <a:pt x="160" y="142"/>
                    </a:lnTo>
                    <a:lnTo>
                      <a:pt x="160" y="142"/>
                    </a:lnTo>
                    <a:lnTo>
                      <a:pt x="158" y="142"/>
                    </a:lnTo>
                    <a:lnTo>
                      <a:pt x="158" y="142"/>
                    </a:lnTo>
                    <a:lnTo>
                      <a:pt x="158" y="142"/>
                    </a:lnTo>
                    <a:lnTo>
                      <a:pt x="156" y="144"/>
                    </a:lnTo>
                    <a:lnTo>
                      <a:pt x="154" y="154"/>
                    </a:lnTo>
                    <a:lnTo>
                      <a:pt x="154" y="160"/>
                    </a:lnTo>
                    <a:lnTo>
                      <a:pt x="152" y="162"/>
                    </a:lnTo>
                    <a:lnTo>
                      <a:pt x="148" y="166"/>
                    </a:lnTo>
                    <a:lnTo>
                      <a:pt x="146" y="167"/>
                    </a:lnTo>
                    <a:lnTo>
                      <a:pt x="141" y="166"/>
                    </a:lnTo>
                    <a:lnTo>
                      <a:pt x="125" y="158"/>
                    </a:lnTo>
                    <a:lnTo>
                      <a:pt x="125" y="156"/>
                    </a:lnTo>
                    <a:lnTo>
                      <a:pt x="123" y="156"/>
                    </a:lnTo>
                    <a:lnTo>
                      <a:pt x="123" y="158"/>
                    </a:lnTo>
                    <a:lnTo>
                      <a:pt x="123" y="158"/>
                    </a:lnTo>
                    <a:lnTo>
                      <a:pt x="119" y="158"/>
                    </a:lnTo>
                    <a:lnTo>
                      <a:pt x="119" y="158"/>
                    </a:lnTo>
                    <a:lnTo>
                      <a:pt x="119" y="158"/>
                    </a:lnTo>
                    <a:lnTo>
                      <a:pt x="119" y="160"/>
                    </a:lnTo>
                    <a:lnTo>
                      <a:pt x="115" y="158"/>
                    </a:lnTo>
                    <a:lnTo>
                      <a:pt x="113" y="158"/>
                    </a:lnTo>
                    <a:lnTo>
                      <a:pt x="113" y="160"/>
                    </a:lnTo>
                    <a:lnTo>
                      <a:pt x="111" y="160"/>
                    </a:lnTo>
                    <a:lnTo>
                      <a:pt x="107" y="162"/>
                    </a:lnTo>
                    <a:lnTo>
                      <a:pt x="105" y="167"/>
                    </a:lnTo>
                    <a:lnTo>
                      <a:pt x="103" y="169"/>
                    </a:lnTo>
                    <a:lnTo>
                      <a:pt x="101" y="169"/>
                    </a:lnTo>
                    <a:lnTo>
                      <a:pt x="98" y="169"/>
                    </a:lnTo>
                    <a:lnTo>
                      <a:pt x="92" y="167"/>
                    </a:lnTo>
                    <a:lnTo>
                      <a:pt x="88" y="167"/>
                    </a:lnTo>
                    <a:lnTo>
                      <a:pt x="78" y="169"/>
                    </a:lnTo>
                    <a:lnTo>
                      <a:pt x="72" y="171"/>
                    </a:lnTo>
                    <a:lnTo>
                      <a:pt x="68" y="175"/>
                    </a:lnTo>
                    <a:lnTo>
                      <a:pt x="68" y="175"/>
                    </a:lnTo>
                    <a:lnTo>
                      <a:pt x="66" y="175"/>
                    </a:lnTo>
                    <a:lnTo>
                      <a:pt x="66" y="177"/>
                    </a:lnTo>
                    <a:lnTo>
                      <a:pt x="66" y="177"/>
                    </a:lnTo>
                    <a:lnTo>
                      <a:pt x="66" y="177"/>
                    </a:lnTo>
                    <a:lnTo>
                      <a:pt x="66" y="179"/>
                    </a:lnTo>
                    <a:lnTo>
                      <a:pt x="64" y="179"/>
                    </a:lnTo>
                    <a:lnTo>
                      <a:pt x="64" y="179"/>
                    </a:lnTo>
                    <a:lnTo>
                      <a:pt x="64" y="181"/>
                    </a:lnTo>
                    <a:lnTo>
                      <a:pt x="66" y="181"/>
                    </a:lnTo>
                    <a:lnTo>
                      <a:pt x="66" y="181"/>
                    </a:lnTo>
                    <a:lnTo>
                      <a:pt x="64" y="183"/>
                    </a:lnTo>
                    <a:lnTo>
                      <a:pt x="64" y="183"/>
                    </a:lnTo>
                    <a:lnTo>
                      <a:pt x="64" y="183"/>
                    </a:lnTo>
                    <a:lnTo>
                      <a:pt x="64" y="183"/>
                    </a:lnTo>
                    <a:lnTo>
                      <a:pt x="64" y="183"/>
                    </a:lnTo>
                    <a:lnTo>
                      <a:pt x="64" y="183"/>
                    </a:lnTo>
                    <a:lnTo>
                      <a:pt x="62" y="183"/>
                    </a:lnTo>
                    <a:lnTo>
                      <a:pt x="62" y="183"/>
                    </a:lnTo>
                    <a:lnTo>
                      <a:pt x="60" y="185"/>
                    </a:lnTo>
                    <a:lnTo>
                      <a:pt x="55" y="189"/>
                    </a:lnTo>
                    <a:lnTo>
                      <a:pt x="53" y="191"/>
                    </a:lnTo>
                    <a:lnTo>
                      <a:pt x="49" y="197"/>
                    </a:lnTo>
                    <a:lnTo>
                      <a:pt x="49" y="199"/>
                    </a:lnTo>
                    <a:lnTo>
                      <a:pt x="47" y="201"/>
                    </a:lnTo>
                    <a:lnTo>
                      <a:pt x="45" y="203"/>
                    </a:lnTo>
                    <a:lnTo>
                      <a:pt x="43" y="205"/>
                    </a:lnTo>
                    <a:lnTo>
                      <a:pt x="43" y="208"/>
                    </a:lnTo>
                    <a:lnTo>
                      <a:pt x="39" y="212"/>
                    </a:lnTo>
                    <a:lnTo>
                      <a:pt x="39" y="216"/>
                    </a:lnTo>
                    <a:lnTo>
                      <a:pt x="39" y="220"/>
                    </a:lnTo>
                    <a:lnTo>
                      <a:pt x="39" y="224"/>
                    </a:lnTo>
                    <a:lnTo>
                      <a:pt x="39" y="226"/>
                    </a:lnTo>
                    <a:lnTo>
                      <a:pt x="39" y="228"/>
                    </a:lnTo>
                    <a:lnTo>
                      <a:pt x="39" y="228"/>
                    </a:lnTo>
                    <a:lnTo>
                      <a:pt x="39" y="228"/>
                    </a:lnTo>
                    <a:lnTo>
                      <a:pt x="37" y="230"/>
                    </a:lnTo>
                    <a:lnTo>
                      <a:pt x="37" y="230"/>
                    </a:lnTo>
                    <a:lnTo>
                      <a:pt x="35" y="230"/>
                    </a:lnTo>
                    <a:lnTo>
                      <a:pt x="33" y="228"/>
                    </a:lnTo>
                    <a:lnTo>
                      <a:pt x="33" y="228"/>
                    </a:lnTo>
                    <a:lnTo>
                      <a:pt x="31" y="220"/>
                    </a:lnTo>
                    <a:lnTo>
                      <a:pt x="31" y="218"/>
                    </a:lnTo>
                    <a:lnTo>
                      <a:pt x="31" y="218"/>
                    </a:lnTo>
                    <a:lnTo>
                      <a:pt x="29" y="216"/>
                    </a:lnTo>
                    <a:lnTo>
                      <a:pt x="29" y="216"/>
                    </a:lnTo>
                    <a:lnTo>
                      <a:pt x="29" y="214"/>
                    </a:lnTo>
                    <a:lnTo>
                      <a:pt x="25" y="212"/>
                    </a:lnTo>
                    <a:lnTo>
                      <a:pt x="25" y="210"/>
                    </a:lnTo>
                    <a:lnTo>
                      <a:pt x="25" y="210"/>
                    </a:lnTo>
                    <a:lnTo>
                      <a:pt x="25" y="210"/>
                    </a:lnTo>
                    <a:lnTo>
                      <a:pt x="25" y="210"/>
                    </a:lnTo>
                    <a:lnTo>
                      <a:pt x="25" y="210"/>
                    </a:lnTo>
                    <a:lnTo>
                      <a:pt x="25" y="208"/>
                    </a:lnTo>
                    <a:lnTo>
                      <a:pt x="25" y="208"/>
                    </a:lnTo>
                    <a:lnTo>
                      <a:pt x="25" y="208"/>
                    </a:lnTo>
                    <a:lnTo>
                      <a:pt x="27" y="208"/>
                    </a:lnTo>
                    <a:lnTo>
                      <a:pt x="27" y="208"/>
                    </a:lnTo>
                    <a:lnTo>
                      <a:pt x="27" y="208"/>
                    </a:lnTo>
                    <a:lnTo>
                      <a:pt x="27" y="207"/>
                    </a:lnTo>
                    <a:lnTo>
                      <a:pt x="27" y="207"/>
                    </a:lnTo>
                    <a:lnTo>
                      <a:pt x="27" y="207"/>
                    </a:lnTo>
                    <a:lnTo>
                      <a:pt x="27" y="205"/>
                    </a:lnTo>
                    <a:lnTo>
                      <a:pt x="25" y="205"/>
                    </a:lnTo>
                    <a:lnTo>
                      <a:pt x="23" y="205"/>
                    </a:lnTo>
                    <a:lnTo>
                      <a:pt x="21" y="205"/>
                    </a:lnTo>
                    <a:lnTo>
                      <a:pt x="19" y="205"/>
                    </a:lnTo>
                    <a:lnTo>
                      <a:pt x="19" y="205"/>
                    </a:lnTo>
                    <a:lnTo>
                      <a:pt x="19" y="205"/>
                    </a:lnTo>
                    <a:lnTo>
                      <a:pt x="19" y="205"/>
                    </a:lnTo>
                    <a:lnTo>
                      <a:pt x="17" y="203"/>
                    </a:lnTo>
                    <a:lnTo>
                      <a:pt x="17" y="203"/>
                    </a:lnTo>
                    <a:lnTo>
                      <a:pt x="15" y="201"/>
                    </a:lnTo>
                    <a:lnTo>
                      <a:pt x="15" y="195"/>
                    </a:lnTo>
                    <a:lnTo>
                      <a:pt x="15" y="193"/>
                    </a:lnTo>
                    <a:lnTo>
                      <a:pt x="12" y="191"/>
                    </a:lnTo>
                    <a:lnTo>
                      <a:pt x="12" y="191"/>
                    </a:lnTo>
                    <a:lnTo>
                      <a:pt x="4" y="191"/>
                    </a:lnTo>
                    <a:lnTo>
                      <a:pt x="0" y="191"/>
                    </a:lnTo>
                    <a:lnTo>
                      <a:pt x="2" y="191"/>
                    </a:lnTo>
                    <a:lnTo>
                      <a:pt x="4" y="195"/>
                    </a:lnTo>
                    <a:lnTo>
                      <a:pt x="6" y="197"/>
                    </a:lnTo>
                    <a:lnTo>
                      <a:pt x="6" y="201"/>
                    </a:lnTo>
                    <a:lnTo>
                      <a:pt x="6" y="203"/>
                    </a:lnTo>
                    <a:lnTo>
                      <a:pt x="6" y="203"/>
                    </a:lnTo>
                    <a:lnTo>
                      <a:pt x="4" y="205"/>
                    </a:lnTo>
                    <a:lnTo>
                      <a:pt x="2" y="207"/>
                    </a:lnTo>
                    <a:lnTo>
                      <a:pt x="2" y="207"/>
                    </a:lnTo>
                    <a:lnTo>
                      <a:pt x="0" y="208"/>
                    </a:lnTo>
                    <a:lnTo>
                      <a:pt x="2" y="212"/>
                    </a:lnTo>
                    <a:lnTo>
                      <a:pt x="4" y="212"/>
                    </a:lnTo>
                    <a:lnTo>
                      <a:pt x="10" y="216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5" y="224"/>
                    </a:lnTo>
                    <a:lnTo>
                      <a:pt x="17" y="228"/>
                    </a:lnTo>
                    <a:lnTo>
                      <a:pt x="17" y="232"/>
                    </a:lnTo>
                    <a:lnTo>
                      <a:pt x="17" y="232"/>
                    </a:lnTo>
                    <a:lnTo>
                      <a:pt x="17" y="238"/>
                    </a:lnTo>
                    <a:lnTo>
                      <a:pt x="17" y="240"/>
                    </a:lnTo>
                    <a:lnTo>
                      <a:pt x="17" y="242"/>
                    </a:lnTo>
                    <a:lnTo>
                      <a:pt x="17" y="242"/>
                    </a:lnTo>
                    <a:lnTo>
                      <a:pt x="17" y="246"/>
                    </a:lnTo>
                    <a:lnTo>
                      <a:pt x="19" y="246"/>
                    </a:lnTo>
                    <a:lnTo>
                      <a:pt x="21" y="248"/>
                    </a:lnTo>
                    <a:lnTo>
                      <a:pt x="23" y="249"/>
                    </a:lnTo>
                    <a:lnTo>
                      <a:pt x="25" y="249"/>
                    </a:lnTo>
                    <a:lnTo>
                      <a:pt x="25" y="251"/>
                    </a:lnTo>
                    <a:lnTo>
                      <a:pt x="27" y="253"/>
                    </a:lnTo>
                    <a:lnTo>
                      <a:pt x="27" y="253"/>
                    </a:lnTo>
                    <a:lnTo>
                      <a:pt x="27" y="255"/>
                    </a:lnTo>
                    <a:lnTo>
                      <a:pt x="27" y="257"/>
                    </a:lnTo>
                    <a:lnTo>
                      <a:pt x="27" y="259"/>
                    </a:lnTo>
                    <a:lnTo>
                      <a:pt x="27" y="261"/>
                    </a:lnTo>
                    <a:lnTo>
                      <a:pt x="53" y="275"/>
                    </a:lnTo>
                    <a:lnTo>
                      <a:pt x="55" y="275"/>
                    </a:lnTo>
                    <a:lnTo>
                      <a:pt x="55" y="275"/>
                    </a:lnTo>
                    <a:lnTo>
                      <a:pt x="57" y="277"/>
                    </a:lnTo>
                    <a:lnTo>
                      <a:pt x="60" y="277"/>
                    </a:lnTo>
                    <a:lnTo>
                      <a:pt x="62" y="277"/>
                    </a:lnTo>
                    <a:lnTo>
                      <a:pt x="62" y="277"/>
                    </a:lnTo>
                    <a:lnTo>
                      <a:pt x="62" y="277"/>
                    </a:lnTo>
                    <a:lnTo>
                      <a:pt x="62" y="277"/>
                    </a:lnTo>
                    <a:lnTo>
                      <a:pt x="64" y="281"/>
                    </a:lnTo>
                    <a:lnTo>
                      <a:pt x="66" y="283"/>
                    </a:lnTo>
                    <a:lnTo>
                      <a:pt x="64" y="287"/>
                    </a:lnTo>
                    <a:lnTo>
                      <a:pt x="64" y="290"/>
                    </a:lnTo>
                    <a:lnTo>
                      <a:pt x="70" y="294"/>
                    </a:lnTo>
                    <a:lnTo>
                      <a:pt x="74" y="294"/>
                    </a:lnTo>
                    <a:lnTo>
                      <a:pt x="74" y="294"/>
                    </a:lnTo>
                    <a:lnTo>
                      <a:pt x="74" y="294"/>
                    </a:lnTo>
                    <a:lnTo>
                      <a:pt x="74" y="296"/>
                    </a:lnTo>
                    <a:lnTo>
                      <a:pt x="74" y="298"/>
                    </a:lnTo>
                    <a:lnTo>
                      <a:pt x="74" y="302"/>
                    </a:lnTo>
                    <a:lnTo>
                      <a:pt x="72" y="306"/>
                    </a:lnTo>
                    <a:lnTo>
                      <a:pt x="68" y="312"/>
                    </a:lnTo>
                    <a:lnTo>
                      <a:pt x="68" y="312"/>
                    </a:lnTo>
                    <a:lnTo>
                      <a:pt x="68" y="314"/>
                    </a:lnTo>
                    <a:lnTo>
                      <a:pt x="68" y="316"/>
                    </a:lnTo>
                    <a:lnTo>
                      <a:pt x="66" y="316"/>
                    </a:lnTo>
                    <a:lnTo>
                      <a:pt x="64" y="316"/>
                    </a:lnTo>
                    <a:lnTo>
                      <a:pt x="62" y="320"/>
                    </a:lnTo>
                    <a:lnTo>
                      <a:pt x="62" y="326"/>
                    </a:lnTo>
                    <a:lnTo>
                      <a:pt x="62" y="326"/>
                    </a:lnTo>
                    <a:lnTo>
                      <a:pt x="62" y="330"/>
                    </a:lnTo>
                    <a:lnTo>
                      <a:pt x="60" y="331"/>
                    </a:lnTo>
                    <a:lnTo>
                      <a:pt x="58" y="333"/>
                    </a:lnTo>
                    <a:lnTo>
                      <a:pt x="53" y="335"/>
                    </a:lnTo>
                    <a:lnTo>
                      <a:pt x="51" y="339"/>
                    </a:lnTo>
                    <a:lnTo>
                      <a:pt x="53" y="341"/>
                    </a:lnTo>
                    <a:lnTo>
                      <a:pt x="53" y="343"/>
                    </a:lnTo>
                    <a:lnTo>
                      <a:pt x="55" y="345"/>
                    </a:lnTo>
                    <a:lnTo>
                      <a:pt x="55" y="347"/>
                    </a:lnTo>
                    <a:lnTo>
                      <a:pt x="57" y="349"/>
                    </a:lnTo>
                    <a:lnTo>
                      <a:pt x="58" y="351"/>
                    </a:lnTo>
                    <a:lnTo>
                      <a:pt x="60" y="351"/>
                    </a:lnTo>
                    <a:lnTo>
                      <a:pt x="60" y="353"/>
                    </a:lnTo>
                    <a:lnTo>
                      <a:pt x="62" y="353"/>
                    </a:lnTo>
                    <a:lnTo>
                      <a:pt x="68" y="357"/>
                    </a:lnTo>
                    <a:lnTo>
                      <a:pt x="70" y="357"/>
                    </a:lnTo>
                    <a:lnTo>
                      <a:pt x="70" y="357"/>
                    </a:lnTo>
                    <a:lnTo>
                      <a:pt x="70" y="357"/>
                    </a:lnTo>
                    <a:lnTo>
                      <a:pt x="70" y="357"/>
                    </a:lnTo>
                    <a:lnTo>
                      <a:pt x="72" y="361"/>
                    </a:lnTo>
                    <a:lnTo>
                      <a:pt x="72" y="363"/>
                    </a:lnTo>
                    <a:lnTo>
                      <a:pt x="70" y="367"/>
                    </a:lnTo>
                    <a:lnTo>
                      <a:pt x="70" y="367"/>
                    </a:lnTo>
                    <a:lnTo>
                      <a:pt x="72" y="369"/>
                    </a:lnTo>
                    <a:lnTo>
                      <a:pt x="72" y="369"/>
                    </a:lnTo>
                    <a:lnTo>
                      <a:pt x="70" y="371"/>
                    </a:lnTo>
                    <a:lnTo>
                      <a:pt x="70" y="371"/>
                    </a:lnTo>
                    <a:lnTo>
                      <a:pt x="72" y="372"/>
                    </a:lnTo>
                    <a:lnTo>
                      <a:pt x="74" y="374"/>
                    </a:lnTo>
                    <a:lnTo>
                      <a:pt x="76" y="374"/>
                    </a:lnTo>
                    <a:lnTo>
                      <a:pt x="76" y="374"/>
                    </a:lnTo>
                    <a:lnTo>
                      <a:pt x="76" y="374"/>
                    </a:lnTo>
                    <a:lnTo>
                      <a:pt x="78" y="376"/>
                    </a:lnTo>
                    <a:lnTo>
                      <a:pt x="80" y="378"/>
                    </a:lnTo>
                    <a:lnTo>
                      <a:pt x="80" y="380"/>
                    </a:lnTo>
                    <a:lnTo>
                      <a:pt x="80" y="384"/>
                    </a:lnTo>
                    <a:lnTo>
                      <a:pt x="80" y="386"/>
                    </a:lnTo>
                    <a:lnTo>
                      <a:pt x="82" y="388"/>
                    </a:lnTo>
                    <a:lnTo>
                      <a:pt x="82" y="390"/>
                    </a:lnTo>
                    <a:lnTo>
                      <a:pt x="82" y="392"/>
                    </a:lnTo>
                    <a:lnTo>
                      <a:pt x="84" y="394"/>
                    </a:lnTo>
                    <a:lnTo>
                      <a:pt x="84" y="394"/>
                    </a:lnTo>
                    <a:lnTo>
                      <a:pt x="84" y="396"/>
                    </a:lnTo>
                    <a:lnTo>
                      <a:pt x="86" y="398"/>
                    </a:lnTo>
                    <a:lnTo>
                      <a:pt x="86" y="398"/>
                    </a:lnTo>
                    <a:lnTo>
                      <a:pt x="88" y="398"/>
                    </a:lnTo>
                    <a:lnTo>
                      <a:pt x="90" y="398"/>
                    </a:lnTo>
                    <a:lnTo>
                      <a:pt x="90" y="398"/>
                    </a:lnTo>
                    <a:lnTo>
                      <a:pt x="90" y="398"/>
                    </a:lnTo>
                    <a:lnTo>
                      <a:pt x="90" y="398"/>
                    </a:lnTo>
                    <a:lnTo>
                      <a:pt x="92" y="398"/>
                    </a:lnTo>
                    <a:lnTo>
                      <a:pt x="92" y="404"/>
                    </a:lnTo>
                    <a:lnTo>
                      <a:pt x="92" y="412"/>
                    </a:lnTo>
                    <a:lnTo>
                      <a:pt x="92" y="413"/>
                    </a:lnTo>
                    <a:lnTo>
                      <a:pt x="92" y="415"/>
                    </a:lnTo>
                    <a:lnTo>
                      <a:pt x="94" y="417"/>
                    </a:lnTo>
                    <a:lnTo>
                      <a:pt x="94" y="419"/>
                    </a:lnTo>
                    <a:lnTo>
                      <a:pt x="98" y="421"/>
                    </a:lnTo>
                    <a:lnTo>
                      <a:pt x="103" y="425"/>
                    </a:lnTo>
                    <a:lnTo>
                      <a:pt x="105" y="425"/>
                    </a:lnTo>
                    <a:lnTo>
                      <a:pt x="107" y="427"/>
                    </a:lnTo>
                    <a:lnTo>
                      <a:pt x="109" y="429"/>
                    </a:lnTo>
                    <a:lnTo>
                      <a:pt x="111" y="435"/>
                    </a:lnTo>
                    <a:lnTo>
                      <a:pt x="115" y="441"/>
                    </a:lnTo>
                    <a:lnTo>
                      <a:pt x="115" y="443"/>
                    </a:lnTo>
                    <a:lnTo>
                      <a:pt x="117" y="445"/>
                    </a:lnTo>
                    <a:lnTo>
                      <a:pt x="121" y="445"/>
                    </a:lnTo>
                    <a:lnTo>
                      <a:pt x="129" y="447"/>
                    </a:lnTo>
                    <a:lnTo>
                      <a:pt x="131" y="447"/>
                    </a:lnTo>
                    <a:lnTo>
                      <a:pt x="133" y="447"/>
                    </a:lnTo>
                    <a:lnTo>
                      <a:pt x="133" y="445"/>
                    </a:lnTo>
                    <a:lnTo>
                      <a:pt x="133" y="443"/>
                    </a:lnTo>
                    <a:lnTo>
                      <a:pt x="135" y="443"/>
                    </a:lnTo>
                    <a:lnTo>
                      <a:pt x="135" y="443"/>
                    </a:lnTo>
                    <a:lnTo>
                      <a:pt x="141" y="445"/>
                    </a:lnTo>
                    <a:lnTo>
                      <a:pt x="144" y="445"/>
                    </a:lnTo>
                    <a:lnTo>
                      <a:pt x="146" y="447"/>
                    </a:lnTo>
                    <a:lnTo>
                      <a:pt x="146" y="447"/>
                    </a:lnTo>
                    <a:lnTo>
                      <a:pt x="146" y="449"/>
                    </a:lnTo>
                    <a:lnTo>
                      <a:pt x="152" y="453"/>
                    </a:lnTo>
                    <a:lnTo>
                      <a:pt x="154" y="453"/>
                    </a:lnTo>
                    <a:lnTo>
                      <a:pt x="154" y="454"/>
                    </a:lnTo>
                    <a:lnTo>
                      <a:pt x="156" y="456"/>
                    </a:lnTo>
                    <a:lnTo>
                      <a:pt x="156" y="456"/>
                    </a:lnTo>
                    <a:lnTo>
                      <a:pt x="156" y="458"/>
                    </a:lnTo>
                    <a:lnTo>
                      <a:pt x="156" y="460"/>
                    </a:lnTo>
                    <a:lnTo>
                      <a:pt x="158" y="462"/>
                    </a:lnTo>
                    <a:lnTo>
                      <a:pt x="162" y="466"/>
                    </a:lnTo>
                    <a:lnTo>
                      <a:pt x="162" y="466"/>
                    </a:lnTo>
                    <a:lnTo>
                      <a:pt x="162" y="466"/>
                    </a:lnTo>
                    <a:lnTo>
                      <a:pt x="162" y="468"/>
                    </a:lnTo>
                    <a:lnTo>
                      <a:pt x="164" y="468"/>
                    </a:lnTo>
                    <a:lnTo>
                      <a:pt x="164" y="468"/>
                    </a:lnTo>
                    <a:lnTo>
                      <a:pt x="164" y="468"/>
                    </a:lnTo>
                    <a:lnTo>
                      <a:pt x="174" y="480"/>
                    </a:lnTo>
                    <a:lnTo>
                      <a:pt x="180" y="490"/>
                    </a:lnTo>
                    <a:lnTo>
                      <a:pt x="182" y="494"/>
                    </a:lnTo>
                    <a:lnTo>
                      <a:pt x="182" y="495"/>
                    </a:lnTo>
                    <a:lnTo>
                      <a:pt x="184" y="499"/>
                    </a:lnTo>
                    <a:lnTo>
                      <a:pt x="189" y="501"/>
                    </a:lnTo>
                    <a:lnTo>
                      <a:pt x="189" y="501"/>
                    </a:lnTo>
                    <a:lnTo>
                      <a:pt x="199" y="501"/>
                    </a:lnTo>
                    <a:lnTo>
                      <a:pt x="199" y="501"/>
                    </a:lnTo>
                    <a:lnTo>
                      <a:pt x="199" y="501"/>
                    </a:lnTo>
                    <a:lnTo>
                      <a:pt x="201" y="503"/>
                    </a:lnTo>
                    <a:lnTo>
                      <a:pt x="203" y="503"/>
                    </a:lnTo>
                    <a:lnTo>
                      <a:pt x="203" y="503"/>
                    </a:lnTo>
                    <a:lnTo>
                      <a:pt x="203" y="503"/>
                    </a:lnTo>
                    <a:lnTo>
                      <a:pt x="203" y="503"/>
                    </a:lnTo>
                    <a:lnTo>
                      <a:pt x="205" y="505"/>
                    </a:lnTo>
                    <a:lnTo>
                      <a:pt x="209" y="511"/>
                    </a:lnTo>
                    <a:lnTo>
                      <a:pt x="213" y="515"/>
                    </a:lnTo>
                    <a:lnTo>
                      <a:pt x="217" y="519"/>
                    </a:lnTo>
                    <a:lnTo>
                      <a:pt x="217" y="519"/>
                    </a:lnTo>
                    <a:lnTo>
                      <a:pt x="219" y="523"/>
                    </a:lnTo>
                    <a:lnTo>
                      <a:pt x="219" y="531"/>
                    </a:lnTo>
                    <a:lnTo>
                      <a:pt x="221" y="535"/>
                    </a:lnTo>
                    <a:lnTo>
                      <a:pt x="223" y="537"/>
                    </a:lnTo>
                    <a:lnTo>
                      <a:pt x="226" y="538"/>
                    </a:lnTo>
                    <a:lnTo>
                      <a:pt x="228" y="540"/>
                    </a:lnTo>
                    <a:lnTo>
                      <a:pt x="230" y="542"/>
                    </a:lnTo>
                    <a:lnTo>
                      <a:pt x="234" y="544"/>
                    </a:lnTo>
                    <a:lnTo>
                      <a:pt x="236" y="540"/>
                    </a:lnTo>
                    <a:lnTo>
                      <a:pt x="238" y="537"/>
                    </a:lnTo>
                    <a:lnTo>
                      <a:pt x="240" y="537"/>
                    </a:lnTo>
                    <a:lnTo>
                      <a:pt x="240" y="537"/>
                    </a:lnTo>
                    <a:lnTo>
                      <a:pt x="242" y="537"/>
                    </a:lnTo>
                    <a:lnTo>
                      <a:pt x="244" y="537"/>
                    </a:lnTo>
                    <a:lnTo>
                      <a:pt x="244" y="537"/>
                    </a:lnTo>
                    <a:lnTo>
                      <a:pt x="248" y="538"/>
                    </a:lnTo>
                    <a:lnTo>
                      <a:pt x="248" y="540"/>
                    </a:lnTo>
                    <a:lnTo>
                      <a:pt x="250" y="540"/>
                    </a:lnTo>
                    <a:lnTo>
                      <a:pt x="250" y="542"/>
                    </a:lnTo>
                    <a:lnTo>
                      <a:pt x="254" y="542"/>
                    </a:lnTo>
                    <a:lnTo>
                      <a:pt x="256" y="542"/>
                    </a:lnTo>
                    <a:lnTo>
                      <a:pt x="256" y="542"/>
                    </a:lnTo>
                    <a:lnTo>
                      <a:pt x="256" y="542"/>
                    </a:lnTo>
                    <a:lnTo>
                      <a:pt x="256" y="542"/>
                    </a:lnTo>
                    <a:lnTo>
                      <a:pt x="256" y="544"/>
                    </a:lnTo>
                    <a:lnTo>
                      <a:pt x="256" y="548"/>
                    </a:lnTo>
                    <a:lnTo>
                      <a:pt x="258" y="552"/>
                    </a:lnTo>
                    <a:lnTo>
                      <a:pt x="260" y="554"/>
                    </a:lnTo>
                    <a:lnTo>
                      <a:pt x="262" y="556"/>
                    </a:lnTo>
                    <a:lnTo>
                      <a:pt x="264" y="558"/>
                    </a:lnTo>
                    <a:lnTo>
                      <a:pt x="264" y="558"/>
                    </a:lnTo>
                    <a:lnTo>
                      <a:pt x="264" y="558"/>
                    </a:lnTo>
                    <a:lnTo>
                      <a:pt x="268" y="560"/>
                    </a:lnTo>
                    <a:lnTo>
                      <a:pt x="271" y="562"/>
                    </a:lnTo>
                    <a:lnTo>
                      <a:pt x="273" y="562"/>
                    </a:lnTo>
                    <a:lnTo>
                      <a:pt x="273" y="562"/>
                    </a:lnTo>
                    <a:lnTo>
                      <a:pt x="273" y="562"/>
                    </a:lnTo>
                    <a:lnTo>
                      <a:pt x="275" y="562"/>
                    </a:lnTo>
                    <a:lnTo>
                      <a:pt x="275" y="562"/>
                    </a:lnTo>
                    <a:lnTo>
                      <a:pt x="275" y="562"/>
                    </a:lnTo>
                    <a:lnTo>
                      <a:pt x="275" y="562"/>
                    </a:lnTo>
                    <a:lnTo>
                      <a:pt x="277" y="566"/>
                    </a:lnTo>
                    <a:lnTo>
                      <a:pt x="279" y="568"/>
                    </a:lnTo>
                    <a:lnTo>
                      <a:pt x="283" y="574"/>
                    </a:lnTo>
                    <a:lnTo>
                      <a:pt x="287" y="585"/>
                    </a:lnTo>
                    <a:lnTo>
                      <a:pt x="291" y="587"/>
                    </a:lnTo>
                    <a:lnTo>
                      <a:pt x="293" y="589"/>
                    </a:lnTo>
                    <a:lnTo>
                      <a:pt x="297" y="589"/>
                    </a:lnTo>
                    <a:lnTo>
                      <a:pt x="301" y="591"/>
                    </a:lnTo>
                    <a:lnTo>
                      <a:pt x="301" y="591"/>
                    </a:lnTo>
                    <a:lnTo>
                      <a:pt x="301" y="591"/>
                    </a:lnTo>
                    <a:lnTo>
                      <a:pt x="305" y="593"/>
                    </a:lnTo>
                    <a:lnTo>
                      <a:pt x="307" y="595"/>
                    </a:lnTo>
                    <a:lnTo>
                      <a:pt x="307" y="597"/>
                    </a:lnTo>
                    <a:lnTo>
                      <a:pt x="314" y="601"/>
                    </a:lnTo>
                    <a:lnTo>
                      <a:pt x="318" y="603"/>
                    </a:lnTo>
                    <a:lnTo>
                      <a:pt x="320" y="605"/>
                    </a:lnTo>
                    <a:lnTo>
                      <a:pt x="320" y="605"/>
                    </a:lnTo>
                    <a:lnTo>
                      <a:pt x="320" y="605"/>
                    </a:lnTo>
                    <a:lnTo>
                      <a:pt x="322" y="609"/>
                    </a:lnTo>
                    <a:lnTo>
                      <a:pt x="324" y="611"/>
                    </a:lnTo>
                    <a:lnTo>
                      <a:pt x="324" y="611"/>
                    </a:lnTo>
                    <a:lnTo>
                      <a:pt x="324" y="611"/>
                    </a:lnTo>
                    <a:lnTo>
                      <a:pt x="324" y="613"/>
                    </a:lnTo>
                    <a:lnTo>
                      <a:pt x="326" y="613"/>
                    </a:lnTo>
                    <a:lnTo>
                      <a:pt x="326" y="613"/>
                    </a:lnTo>
                    <a:lnTo>
                      <a:pt x="326" y="613"/>
                    </a:lnTo>
                    <a:lnTo>
                      <a:pt x="326" y="613"/>
                    </a:lnTo>
                    <a:lnTo>
                      <a:pt x="328" y="615"/>
                    </a:lnTo>
                    <a:lnTo>
                      <a:pt x="328" y="615"/>
                    </a:lnTo>
                    <a:lnTo>
                      <a:pt x="326" y="617"/>
                    </a:lnTo>
                    <a:lnTo>
                      <a:pt x="326" y="617"/>
                    </a:lnTo>
                    <a:lnTo>
                      <a:pt x="326" y="617"/>
                    </a:lnTo>
                    <a:lnTo>
                      <a:pt x="326" y="617"/>
                    </a:lnTo>
                    <a:lnTo>
                      <a:pt x="326" y="617"/>
                    </a:lnTo>
                    <a:lnTo>
                      <a:pt x="324" y="617"/>
                    </a:lnTo>
                    <a:lnTo>
                      <a:pt x="324" y="617"/>
                    </a:lnTo>
                    <a:lnTo>
                      <a:pt x="324" y="617"/>
                    </a:lnTo>
                    <a:lnTo>
                      <a:pt x="324" y="619"/>
                    </a:lnTo>
                    <a:lnTo>
                      <a:pt x="322" y="619"/>
                    </a:lnTo>
                    <a:lnTo>
                      <a:pt x="322" y="620"/>
                    </a:lnTo>
                    <a:lnTo>
                      <a:pt x="322" y="620"/>
                    </a:lnTo>
                    <a:lnTo>
                      <a:pt x="324" y="624"/>
                    </a:lnTo>
                    <a:lnTo>
                      <a:pt x="324" y="624"/>
                    </a:lnTo>
                    <a:lnTo>
                      <a:pt x="324" y="624"/>
                    </a:lnTo>
                    <a:lnTo>
                      <a:pt x="326" y="628"/>
                    </a:lnTo>
                    <a:lnTo>
                      <a:pt x="328" y="630"/>
                    </a:lnTo>
                    <a:lnTo>
                      <a:pt x="332" y="632"/>
                    </a:lnTo>
                    <a:lnTo>
                      <a:pt x="334" y="632"/>
                    </a:lnTo>
                    <a:lnTo>
                      <a:pt x="357" y="634"/>
                    </a:lnTo>
                    <a:lnTo>
                      <a:pt x="375" y="640"/>
                    </a:lnTo>
                    <a:lnTo>
                      <a:pt x="377" y="640"/>
                    </a:lnTo>
                    <a:lnTo>
                      <a:pt x="377" y="640"/>
                    </a:lnTo>
                    <a:lnTo>
                      <a:pt x="377" y="640"/>
                    </a:lnTo>
                    <a:lnTo>
                      <a:pt x="381" y="638"/>
                    </a:lnTo>
                    <a:lnTo>
                      <a:pt x="389" y="634"/>
                    </a:lnTo>
                    <a:lnTo>
                      <a:pt x="391" y="632"/>
                    </a:lnTo>
                    <a:lnTo>
                      <a:pt x="393" y="630"/>
                    </a:lnTo>
                    <a:lnTo>
                      <a:pt x="396" y="620"/>
                    </a:lnTo>
                    <a:lnTo>
                      <a:pt x="398" y="620"/>
                    </a:lnTo>
                    <a:lnTo>
                      <a:pt x="398" y="619"/>
                    </a:lnTo>
                    <a:lnTo>
                      <a:pt x="400" y="622"/>
                    </a:lnTo>
                    <a:lnTo>
                      <a:pt x="402" y="624"/>
                    </a:lnTo>
                    <a:lnTo>
                      <a:pt x="408" y="628"/>
                    </a:lnTo>
                    <a:lnTo>
                      <a:pt x="410" y="628"/>
                    </a:lnTo>
                    <a:lnTo>
                      <a:pt x="410" y="628"/>
                    </a:lnTo>
                    <a:lnTo>
                      <a:pt x="412" y="628"/>
                    </a:lnTo>
                    <a:lnTo>
                      <a:pt x="414" y="628"/>
                    </a:lnTo>
                    <a:lnTo>
                      <a:pt x="414" y="626"/>
                    </a:lnTo>
                    <a:lnTo>
                      <a:pt x="418" y="624"/>
                    </a:lnTo>
                    <a:lnTo>
                      <a:pt x="420" y="624"/>
                    </a:lnTo>
                    <a:lnTo>
                      <a:pt x="422" y="624"/>
                    </a:lnTo>
                    <a:lnTo>
                      <a:pt x="422" y="624"/>
                    </a:lnTo>
                    <a:lnTo>
                      <a:pt x="422" y="624"/>
                    </a:lnTo>
                    <a:lnTo>
                      <a:pt x="422" y="626"/>
                    </a:lnTo>
                    <a:lnTo>
                      <a:pt x="422" y="626"/>
                    </a:lnTo>
                    <a:lnTo>
                      <a:pt x="422" y="628"/>
                    </a:lnTo>
                    <a:lnTo>
                      <a:pt x="422" y="630"/>
                    </a:lnTo>
                    <a:lnTo>
                      <a:pt x="424" y="630"/>
                    </a:lnTo>
                    <a:lnTo>
                      <a:pt x="424" y="630"/>
                    </a:lnTo>
                    <a:lnTo>
                      <a:pt x="426" y="630"/>
                    </a:lnTo>
                    <a:lnTo>
                      <a:pt x="428" y="630"/>
                    </a:lnTo>
                    <a:lnTo>
                      <a:pt x="428" y="630"/>
                    </a:lnTo>
                    <a:lnTo>
                      <a:pt x="428" y="630"/>
                    </a:lnTo>
                    <a:lnTo>
                      <a:pt x="428" y="630"/>
                    </a:lnTo>
                    <a:lnTo>
                      <a:pt x="430" y="632"/>
                    </a:lnTo>
                    <a:lnTo>
                      <a:pt x="430" y="634"/>
                    </a:lnTo>
                    <a:lnTo>
                      <a:pt x="432" y="636"/>
                    </a:lnTo>
                    <a:lnTo>
                      <a:pt x="432" y="636"/>
                    </a:lnTo>
                    <a:lnTo>
                      <a:pt x="434" y="636"/>
                    </a:lnTo>
                    <a:lnTo>
                      <a:pt x="436" y="636"/>
                    </a:lnTo>
                    <a:lnTo>
                      <a:pt x="437" y="634"/>
                    </a:lnTo>
                    <a:lnTo>
                      <a:pt x="437" y="634"/>
                    </a:lnTo>
                    <a:lnTo>
                      <a:pt x="437" y="634"/>
                    </a:lnTo>
                    <a:lnTo>
                      <a:pt x="437" y="632"/>
                    </a:lnTo>
                    <a:lnTo>
                      <a:pt x="439" y="626"/>
                    </a:lnTo>
                    <a:lnTo>
                      <a:pt x="439" y="619"/>
                    </a:lnTo>
                    <a:lnTo>
                      <a:pt x="439" y="615"/>
                    </a:lnTo>
                    <a:lnTo>
                      <a:pt x="439" y="611"/>
                    </a:lnTo>
                    <a:lnTo>
                      <a:pt x="443" y="607"/>
                    </a:lnTo>
                    <a:lnTo>
                      <a:pt x="443" y="607"/>
                    </a:lnTo>
                    <a:lnTo>
                      <a:pt x="443" y="607"/>
                    </a:lnTo>
                    <a:lnTo>
                      <a:pt x="445" y="605"/>
                    </a:lnTo>
                    <a:lnTo>
                      <a:pt x="451" y="599"/>
                    </a:lnTo>
                    <a:lnTo>
                      <a:pt x="451" y="599"/>
                    </a:lnTo>
                    <a:lnTo>
                      <a:pt x="453" y="593"/>
                    </a:lnTo>
                    <a:lnTo>
                      <a:pt x="453" y="591"/>
                    </a:lnTo>
                    <a:lnTo>
                      <a:pt x="453" y="591"/>
                    </a:lnTo>
                    <a:lnTo>
                      <a:pt x="455" y="587"/>
                    </a:lnTo>
                    <a:lnTo>
                      <a:pt x="455" y="587"/>
                    </a:lnTo>
                    <a:lnTo>
                      <a:pt x="455" y="585"/>
                    </a:lnTo>
                    <a:lnTo>
                      <a:pt x="457" y="585"/>
                    </a:lnTo>
                    <a:lnTo>
                      <a:pt x="459" y="585"/>
                    </a:lnTo>
                    <a:lnTo>
                      <a:pt x="461" y="585"/>
                    </a:lnTo>
                    <a:lnTo>
                      <a:pt x="467" y="585"/>
                    </a:lnTo>
                    <a:lnTo>
                      <a:pt x="475" y="589"/>
                    </a:lnTo>
                    <a:lnTo>
                      <a:pt x="475" y="589"/>
                    </a:lnTo>
                    <a:lnTo>
                      <a:pt x="477" y="589"/>
                    </a:lnTo>
                    <a:lnTo>
                      <a:pt x="478" y="589"/>
                    </a:lnTo>
                    <a:lnTo>
                      <a:pt x="480" y="585"/>
                    </a:lnTo>
                    <a:lnTo>
                      <a:pt x="480" y="585"/>
                    </a:lnTo>
                    <a:lnTo>
                      <a:pt x="480" y="583"/>
                    </a:lnTo>
                    <a:lnTo>
                      <a:pt x="480" y="583"/>
                    </a:lnTo>
                    <a:lnTo>
                      <a:pt x="478" y="579"/>
                    </a:lnTo>
                    <a:lnTo>
                      <a:pt x="478" y="579"/>
                    </a:lnTo>
                    <a:lnTo>
                      <a:pt x="478" y="578"/>
                    </a:lnTo>
                    <a:lnTo>
                      <a:pt x="478" y="578"/>
                    </a:lnTo>
                    <a:lnTo>
                      <a:pt x="480" y="574"/>
                    </a:lnTo>
                    <a:lnTo>
                      <a:pt x="484" y="558"/>
                    </a:lnTo>
                    <a:lnTo>
                      <a:pt x="484" y="550"/>
                    </a:lnTo>
                    <a:lnTo>
                      <a:pt x="482" y="548"/>
                    </a:lnTo>
                    <a:lnTo>
                      <a:pt x="482" y="542"/>
                    </a:lnTo>
                    <a:lnTo>
                      <a:pt x="482" y="537"/>
                    </a:lnTo>
                    <a:lnTo>
                      <a:pt x="482" y="537"/>
                    </a:lnTo>
                    <a:lnTo>
                      <a:pt x="482" y="537"/>
                    </a:lnTo>
                    <a:lnTo>
                      <a:pt x="484" y="533"/>
                    </a:lnTo>
                    <a:lnTo>
                      <a:pt x="484" y="531"/>
                    </a:lnTo>
                    <a:lnTo>
                      <a:pt x="484" y="529"/>
                    </a:lnTo>
                    <a:lnTo>
                      <a:pt x="484" y="529"/>
                    </a:lnTo>
                    <a:lnTo>
                      <a:pt x="484" y="527"/>
                    </a:lnTo>
                    <a:lnTo>
                      <a:pt x="486" y="527"/>
                    </a:lnTo>
                    <a:lnTo>
                      <a:pt x="486" y="527"/>
                    </a:lnTo>
                    <a:lnTo>
                      <a:pt x="490" y="527"/>
                    </a:lnTo>
                    <a:lnTo>
                      <a:pt x="498" y="529"/>
                    </a:lnTo>
                    <a:lnTo>
                      <a:pt x="498" y="529"/>
                    </a:lnTo>
                    <a:lnTo>
                      <a:pt x="500" y="529"/>
                    </a:lnTo>
                    <a:lnTo>
                      <a:pt x="512" y="531"/>
                    </a:lnTo>
                    <a:lnTo>
                      <a:pt x="512" y="533"/>
                    </a:lnTo>
                    <a:lnTo>
                      <a:pt x="514" y="535"/>
                    </a:lnTo>
                    <a:lnTo>
                      <a:pt x="514" y="538"/>
                    </a:lnTo>
                    <a:lnTo>
                      <a:pt x="514" y="538"/>
                    </a:lnTo>
                    <a:lnTo>
                      <a:pt x="514" y="540"/>
                    </a:lnTo>
                    <a:lnTo>
                      <a:pt x="514" y="542"/>
                    </a:lnTo>
                    <a:lnTo>
                      <a:pt x="512" y="544"/>
                    </a:lnTo>
                    <a:lnTo>
                      <a:pt x="516" y="544"/>
                    </a:lnTo>
                    <a:lnTo>
                      <a:pt x="529" y="540"/>
                    </a:lnTo>
                    <a:lnTo>
                      <a:pt x="529" y="540"/>
                    </a:lnTo>
                    <a:lnTo>
                      <a:pt x="529" y="540"/>
                    </a:lnTo>
                    <a:lnTo>
                      <a:pt x="531" y="538"/>
                    </a:lnTo>
                    <a:lnTo>
                      <a:pt x="533" y="537"/>
                    </a:lnTo>
                    <a:lnTo>
                      <a:pt x="533" y="533"/>
                    </a:lnTo>
                    <a:lnTo>
                      <a:pt x="533" y="533"/>
                    </a:lnTo>
                    <a:lnTo>
                      <a:pt x="533" y="533"/>
                    </a:lnTo>
                    <a:lnTo>
                      <a:pt x="535" y="533"/>
                    </a:lnTo>
                    <a:lnTo>
                      <a:pt x="535" y="533"/>
                    </a:lnTo>
                    <a:lnTo>
                      <a:pt x="535" y="533"/>
                    </a:lnTo>
                    <a:lnTo>
                      <a:pt x="535" y="533"/>
                    </a:lnTo>
                    <a:lnTo>
                      <a:pt x="535" y="533"/>
                    </a:lnTo>
                    <a:lnTo>
                      <a:pt x="537" y="535"/>
                    </a:lnTo>
                    <a:lnTo>
                      <a:pt x="537" y="535"/>
                    </a:lnTo>
                    <a:lnTo>
                      <a:pt x="545" y="535"/>
                    </a:lnTo>
                    <a:lnTo>
                      <a:pt x="549" y="537"/>
                    </a:lnTo>
                    <a:lnTo>
                      <a:pt x="557" y="540"/>
                    </a:lnTo>
                    <a:lnTo>
                      <a:pt x="557" y="540"/>
                    </a:lnTo>
                    <a:lnTo>
                      <a:pt x="564" y="542"/>
                    </a:lnTo>
                    <a:lnTo>
                      <a:pt x="568" y="544"/>
                    </a:lnTo>
                    <a:lnTo>
                      <a:pt x="576" y="552"/>
                    </a:lnTo>
                    <a:lnTo>
                      <a:pt x="576" y="552"/>
                    </a:lnTo>
                    <a:lnTo>
                      <a:pt x="578" y="552"/>
                    </a:lnTo>
                    <a:lnTo>
                      <a:pt x="580" y="554"/>
                    </a:lnTo>
                    <a:lnTo>
                      <a:pt x="584" y="556"/>
                    </a:lnTo>
                    <a:lnTo>
                      <a:pt x="590" y="558"/>
                    </a:lnTo>
                    <a:lnTo>
                      <a:pt x="598" y="562"/>
                    </a:lnTo>
                    <a:lnTo>
                      <a:pt x="604" y="564"/>
                    </a:lnTo>
                    <a:lnTo>
                      <a:pt x="607" y="566"/>
                    </a:lnTo>
                    <a:lnTo>
                      <a:pt x="611" y="566"/>
                    </a:lnTo>
                    <a:lnTo>
                      <a:pt x="613" y="564"/>
                    </a:lnTo>
                    <a:lnTo>
                      <a:pt x="619" y="562"/>
                    </a:lnTo>
                    <a:lnTo>
                      <a:pt x="621" y="562"/>
                    </a:lnTo>
                    <a:lnTo>
                      <a:pt x="621" y="562"/>
                    </a:lnTo>
                    <a:lnTo>
                      <a:pt x="623" y="562"/>
                    </a:lnTo>
                    <a:lnTo>
                      <a:pt x="625" y="562"/>
                    </a:lnTo>
                    <a:lnTo>
                      <a:pt x="627" y="562"/>
                    </a:lnTo>
                    <a:lnTo>
                      <a:pt x="627" y="564"/>
                    </a:lnTo>
                    <a:lnTo>
                      <a:pt x="627" y="566"/>
                    </a:lnTo>
                    <a:lnTo>
                      <a:pt x="629" y="566"/>
                    </a:lnTo>
                    <a:lnTo>
                      <a:pt x="629" y="568"/>
                    </a:lnTo>
                    <a:lnTo>
                      <a:pt x="633" y="568"/>
                    </a:lnTo>
                    <a:lnTo>
                      <a:pt x="633" y="568"/>
                    </a:lnTo>
                    <a:lnTo>
                      <a:pt x="635" y="568"/>
                    </a:lnTo>
                    <a:lnTo>
                      <a:pt x="635" y="570"/>
                    </a:lnTo>
                    <a:lnTo>
                      <a:pt x="637" y="570"/>
                    </a:lnTo>
                    <a:lnTo>
                      <a:pt x="637" y="570"/>
                    </a:lnTo>
                    <a:lnTo>
                      <a:pt x="637" y="570"/>
                    </a:lnTo>
                    <a:lnTo>
                      <a:pt x="635" y="572"/>
                    </a:lnTo>
                    <a:lnTo>
                      <a:pt x="637" y="572"/>
                    </a:lnTo>
                    <a:lnTo>
                      <a:pt x="637" y="572"/>
                    </a:lnTo>
                    <a:lnTo>
                      <a:pt x="637" y="572"/>
                    </a:lnTo>
                    <a:lnTo>
                      <a:pt x="637" y="572"/>
                    </a:lnTo>
                    <a:lnTo>
                      <a:pt x="639" y="572"/>
                    </a:lnTo>
                    <a:lnTo>
                      <a:pt x="639" y="572"/>
                    </a:lnTo>
                    <a:lnTo>
                      <a:pt x="639" y="572"/>
                    </a:lnTo>
                    <a:lnTo>
                      <a:pt x="641" y="572"/>
                    </a:lnTo>
                    <a:lnTo>
                      <a:pt x="641" y="572"/>
                    </a:lnTo>
                    <a:lnTo>
                      <a:pt x="641" y="574"/>
                    </a:lnTo>
                    <a:lnTo>
                      <a:pt x="641" y="576"/>
                    </a:lnTo>
                    <a:lnTo>
                      <a:pt x="643" y="574"/>
                    </a:lnTo>
                    <a:lnTo>
                      <a:pt x="645" y="574"/>
                    </a:lnTo>
                    <a:lnTo>
                      <a:pt x="645" y="576"/>
                    </a:lnTo>
                    <a:lnTo>
                      <a:pt x="645" y="578"/>
                    </a:lnTo>
                    <a:lnTo>
                      <a:pt x="645" y="578"/>
                    </a:lnTo>
                    <a:lnTo>
                      <a:pt x="645" y="578"/>
                    </a:lnTo>
                    <a:lnTo>
                      <a:pt x="656" y="587"/>
                    </a:lnTo>
                    <a:lnTo>
                      <a:pt x="662" y="591"/>
                    </a:lnTo>
                    <a:lnTo>
                      <a:pt x="664" y="591"/>
                    </a:lnTo>
                    <a:lnTo>
                      <a:pt x="670" y="593"/>
                    </a:lnTo>
                    <a:lnTo>
                      <a:pt x="686" y="593"/>
                    </a:lnTo>
                    <a:lnTo>
                      <a:pt x="699" y="595"/>
                    </a:lnTo>
                    <a:lnTo>
                      <a:pt x="709" y="597"/>
                    </a:lnTo>
                    <a:lnTo>
                      <a:pt x="709" y="597"/>
                    </a:lnTo>
                    <a:lnTo>
                      <a:pt x="709" y="597"/>
                    </a:lnTo>
                    <a:lnTo>
                      <a:pt x="709" y="597"/>
                    </a:lnTo>
                    <a:lnTo>
                      <a:pt x="711" y="597"/>
                    </a:lnTo>
                    <a:lnTo>
                      <a:pt x="713" y="595"/>
                    </a:lnTo>
                    <a:lnTo>
                      <a:pt x="715" y="597"/>
                    </a:lnTo>
                    <a:lnTo>
                      <a:pt x="715" y="597"/>
                    </a:lnTo>
                    <a:lnTo>
                      <a:pt x="717" y="597"/>
                    </a:lnTo>
                    <a:lnTo>
                      <a:pt x="719" y="597"/>
                    </a:lnTo>
                    <a:lnTo>
                      <a:pt x="719" y="597"/>
                    </a:lnTo>
                    <a:lnTo>
                      <a:pt x="721" y="595"/>
                    </a:lnTo>
                    <a:lnTo>
                      <a:pt x="729" y="581"/>
                    </a:lnTo>
                    <a:lnTo>
                      <a:pt x="729" y="581"/>
                    </a:lnTo>
                    <a:lnTo>
                      <a:pt x="729" y="581"/>
                    </a:lnTo>
                    <a:lnTo>
                      <a:pt x="732" y="579"/>
                    </a:lnTo>
                    <a:lnTo>
                      <a:pt x="732" y="579"/>
                    </a:lnTo>
                    <a:lnTo>
                      <a:pt x="736" y="579"/>
                    </a:lnTo>
                    <a:lnTo>
                      <a:pt x="738" y="579"/>
                    </a:lnTo>
                    <a:lnTo>
                      <a:pt x="738" y="579"/>
                    </a:lnTo>
                    <a:lnTo>
                      <a:pt x="738" y="579"/>
                    </a:lnTo>
                    <a:lnTo>
                      <a:pt x="742" y="578"/>
                    </a:lnTo>
                    <a:lnTo>
                      <a:pt x="742" y="578"/>
                    </a:lnTo>
                    <a:lnTo>
                      <a:pt x="742" y="578"/>
                    </a:lnTo>
                    <a:lnTo>
                      <a:pt x="744" y="579"/>
                    </a:lnTo>
                    <a:lnTo>
                      <a:pt x="744" y="579"/>
                    </a:lnTo>
                    <a:lnTo>
                      <a:pt x="748" y="581"/>
                    </a:lnTo>
                    <a:lnTo>
                      <a:pt x="758" y="583"/>
                    </a:lnTo>
                    <a:lnTo>
                      <a:pt x="760" y="583"/>
                    </a:lnTo>
                    <a:lnTo>
                      <a:pt x="764" y="585"/>
                    </a:lnTo>
                    <a:lnTo>
                      <a:pt x="764" y="587"/>
                    </a:lnTo>
                    <a:lnTo>
                      <a:pt x="766" y="587"/>
                    </a:lnTo>
                    <a:lnTo>
                      <a:pt x="766" y="591"/>
                    </a:lnTo>
                    <a:lnTo>
                      <a:pt x="766" y="593"/>
                    </a:lnTo>
                    <a:lnTo>
                      <a:pt x="768" y="595"/>
                    </a:lnTo>
                    <a:lnTo>
                      <a:pt x="770" y="597"/>
                    </a:lnTo>
                    <a:lnTo>
                      <a:pt x="772" y="597"/>
                    </a:lnTo>
                    <a:lnTo>
                      <a:pt x="772" y="597"/>
                    </a:lnTo>
                    <a:lnTo>
                      <a:pt x="775" y="597"/>
                    </a:lnTo>
                    <a:lnTo>
                      <a:pt x="777" y="597"/>
                    </a:lnTo>
                    <a:lnTo>
                      <a:pt x="781" y="597"/>
                    </a:lnTo>
                    <a:lnTo>
                      <a:pt x="781" y="597"/>
                    </a:lnTo>
                    <a:lnTo>
                      <a:pt x="781" y="597"/>
                    </a:lnTo>
                    <a:lnTo>
                      <a:pt x="787" y="601"/>
                    </a:lnTo>
                    <a:lnTo>
                      <a:pt x="789" y="603"/>
                    </a:lnTo>
                    <a:lnTo>
                      <a:pt x="791" y="603"/>
                    </a:lnTo>
                    <a:lnTo>
                      <a:pt x="793" y="603"/>
                    </a:lnTo>
                    <a:lnTo>
                      <a:pt x="799" y="601"/>
                    </a:lnTo>
                    <a:lnTo>
                      <a:pt x="799" y="599"/>
                    </a:lnTo>
                    <a:lnTo>
                      <a:pt x="803" y="601"/>
                    </a:lnTo>
                    <a:lnTo>
                      <a:pt x="805" y="603"/>
                    </a:lnTo>
                    <a:lnTo>
                      <a:pt x="807" y="605"/>
                    </a:lnTo>
                    <a:lnTo>
                      <a:pt x="809" y="622"/>
                    </a:lnTo>
                    <a:lnTo>
                      <a:pt x="809" y="622"/>
                    </a:lnTo>
                    <a:lnTo>
                      <a:pt x="814" y="62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72" name="Freeform 772">
                <a:extLst>
                  <a:ext uri="{FF2B5EF4-FFF2-40B4-BE49-F238E27FC236}">
                    <a16:creationId xmlns:a16="http://schemas.microsoft.com/office/drawing/2014/main" id="{C1A0532F-CCCD-4CCA-B5A2-CA62C591E1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9" y="1329"/>
                <a:ext cx="977" cy="1345"/>
              </a:xfrm>
              <a:custGeom>
                <a:avLst/>
                <a:gdLst>
                  <a:gd name="T0" fmla="*/ 912 w 977"/>
                  <a:gd name="T1" fmla="*/ 21 h 1345"/>
                  <a:gd name="T2" fmla="*/ 826 w 977"/>
                  <a:gd name="T3" fmla="*/ 0 h 1345"/>
                  <a:gd name="T4" fmla="*/ 771 w 977"/>
                  <a:gd name="T5" fmla="*/ 48 h 1345"/>
                  <a:gd name="T6" fmla="*/ 687 w 977"/>
                  <a:gd name="T7" fmla="*/ 109 h 1345"/>
                  <a:gd name="T8" fmla="*/ 594 w 977"/>
                  <a:gd name="T9" fmla="*/ 140 h 1345"/>
                  <a:gd name="T10" fmla="*/ 564 w 977"/>
                  <a:gd name="T11" fmla="*/ 203 h 1345"/>
                  <a:gd name="T12" fmla="*/ 601 w 977"/>
                  <a:gd name="T13" fmla="*/ 253 h 1345"/>
                  <a:gd name="T14" fmla="*/ 574 w 977"/>
                  <a:gd name="T15" fmla="*/ 306 h 1345"/>
                  <a:gd name="T16" fmla="*/ 512 w 977"/>
                  <a:gd name="T17" fmla="*/ 320 h 1345"/>
                  <a:gd name="T18" fmla="*/ 449 w 977"/>
                  <a:gd name="T19" fmla="*/ 361 h 1345"/>
                  <a:gd name="T20" fmla="*/ 433 w 977"/>
                  <a:gd name="T21" fmla="*/ 398 h 1345"/>
                  <a:gd name="T22" fmla="*/ 431 w 977"/>
                  <a:gd name="T23" fmla="*/ 460 h 1345"/>
                  <a:gd name="T24" fmla="*/ 394 w 977"/>
                  <a:gd name="T25" fmla="*/ 537 h 1345"/>
                  <a:gd name="T26" fmla="*/ 430 w 977"/>
                  <a:gd name="T27" fmla="*/ 548 h 1345"/>
                  <a:gd name="T28" fmla="*/ 433 w 977"/>
                  <a:gd name="T29" fmla="*/ 583 h 1345"/>
                  <a:gd name="T30" fmla="*/ 394 w 977"/>
                  <a:gd name="T31" fmla="*/ 576 h 1345"/>
                  <a:gd name="T32" fmla="*/ 373 w 977"/>
                  <a:gd name="T33" fmla="*/ 556 h 1345"/>
                  <a:gd name="T34" fmla="*/ 281 w 977"/>
                  <a:gd name="T35" fmla="*/ 587 h 1345"/>
                  <a:gd name="T36" fmla="*/ 275 w 977"/>
                  <a:gd name="T37" fmla="*/ 617 h 1345"/>
                  <a:gd name="T38" fmla="*/ 246 w 977"/>
                  <a:gd name="T39" fmla="*/ 632 h 1345"/>
                  <a:gd name="T40" fmla="*/ 162 w 977"/>
                  <a:gd name="T41" fmla="*/ 640 h 1345"/>
                  <a:gd name="T42" fmla="*/ 101 w 977"/>
                  <a:gd name="T43" fmla="*/ 650 h 1345"/>
                  <a:gd name="T44" fmla="*/ 58 w 977"/>
                  <a:gd name="T45" fmla="*/ 675 h 1345"/>
                  <a:gd name="T46" fmla="*/ 95 w 977"/>
                  <a:gd name="T47" fmla="*/ 808 h 1345"/>
                  <a:gd name="T48" fmla="*/ 121 w 977"/>
                  <a:gd name="T49" fmla="*/ 867 h 1345"/>
                  <a:gd name="T50" fmla="*/ 115 w 977"/>
                  <a:gd name="T51" fmla="*/ 892 h 1345"/>
                  <a:gd name="T52" fmla="*/ 125 w 977"/>
                  <a:gd name="T53" fmla="*/ 923 h 1345"/>
                  <a:gd name="T54" fmla="*/ 123 w 977"/>
                  <a:gd name="T55" fmla="*/ 992 h 1345"/>
                  <a:gd name="T56" fmla="*/ 10 w 977"/>
                  <a:gd name="T57" fmla="*/ 1083 h 1345"/>
                  <a:gd name="T58" fmla="*/ 4 w 977"/>
                  <a:gd name="T59" fmla="*/ 1118 h 1345"/>
                  <a:gd name="T60" fmla="*/ 37 w 977"/>
                  <a:gd name="T61" fmla="*/ 1132 h 1345"/>
                  <a:gd name="T62" fmla="*/ 47 w 977"/>
                  <a:gd name="T63" fmla="*/ 1132 h 1345"/>
                  <a:gd name="T64" fmla="*/ 52 w 977"/>
                  <a:gd name="T65" fmla="*/ 1140 h 1345"/>
                  <a:gd name="T66" fmla="*/ 76 w 977"/>
                  <a:gd name="T67" fmla="*/ 1157 h 1345"/>
                  <a:gd name="T68" fmla="*/ 82 w 977"/>
                  <a:gd name="T69" fmla="*/ 1187 h 1345"/>
                  <a:gd name="T70" fmla="*/ 76 w 977"/>
                  <a:gd name="T71" fmla="*/ 1216 h 1345"/>
                  <a:gd name="T72" fmla="*/ 74 w 977"/>
                  <a:gd name="T73" fmla="*/ 1241 h 1345"/>
                  <a:gd name="T74" fmla="*/ 64 w 977"/>
                  <a:gd name="T75" fmla="*/ 1263 h 1345"/>
                  <a:gd name="T76" fmla="*/ 62 w 977"/>
                  <a:gd name="T77" fmla="*/ 1275 h 1345"/>
                  <a:gd name="T78" fmla="*/ 64 w 977"/>
                  <a:gd name="T79" fmla="*/ 1296 h 1345"/>
                  <a:gd name="T80" fmla="*/ 72 w 977"/>
                  <a:gd name="T81" fmla="*/ 1314 h 1345"/>
                  <a:gd name="T82" fmla="*/ 72 w 977"/>
                  <a:gd name="T83" fmla="*/ 1286 h 1345"/>
                  <a:gd name="T84" fmla="*/ 119 w 977"/>
                  <a:gd name="T85" fmla="*/ 1286 h 1345"/>
                  <a:gd name="T86" fmla="*/ 197 w 977"/>
                  <a:gd name="T87" fmla="*/ 1220 h 1345"/>
                  <a:gd name="T88" fmla="*/ 330 w 977"/>
                  <a:gd name="T89" fmla="*/ 1197 h 1345"/>
                  <a:gd name="T90" fmla="*/ 498 w 977"/>
                  <a:gd name="T91" fmla="*/ 1220 h 1345"/>
                  <a:gd name="T92" fmla="*/ 543 w 977"/>
                  <a:gd name="T93" fmla="*/ 1232 h 1345"/>
                  <a:gd name="T94" fmla="*/ 668 w 977"/>
                  <a:gd name="T95" fmla="*/ 1249 h 1345"/>
                  <a:gd name="T96" fmla="*/ 683 w 977"/>
                  <a:gd name="T97" fmla="*/ 1277 h 1345"/>
                  <a:gd name="T98" fmla="*/ 709 w 977"/>
                  <a:gd name="T99" fmla="*/ 1292 h 1345"/>
                  <a:gd name="T100" fmla="*/ 752 w 977"/>
                  <a:gd name="T101" fmla="*/ 1320 h 1345"/>
                  <a:gd name="T102" fmla="*/ 773 w 977"/>
                  <a:gd name="T103" fmla="*/ 1310 h 1345"/>
                  <a:gd name="T104" fmla="*/ 783 w 977"/>
                  <a:gd name="T105" fmla="*/ 1286 h 1345"/>
                  <a:gd name="T106" fmla="*/ 828 w 977"/>
                  <a:gd name="T107" fmla="*/ 1298 h 1345"/>
                  <a:gd name="T108" fmla="*/ 850 w 977"/>
                  <a:gd name="T109" fmla="*/ 1284 h 1345"/>
                  <a:gd name="T110" fmla="*/ 871 w 977"/>
                  <a:gd name="T111" fmla="*/ 1306 h 1345"/>
                  <a:gd name="T112" fmla="*/ 910 w 977"/>
                  <a:gd name="T113" fmla="*/ 1308 h 1345"/>
                  <a:gd name="T114" fmla="*/ 926 w 977"/>
                  <a:gd name="T115" fmla="*/ 1333 h 1345"/>
                  <a:gd name="T116" fmla="*/ 937 w 977"/>
                  <a:gd name="T117" fmla="*/ 1314 h 1345"/>
                  <a:gd name="T118" fmla="*/ 977 w 977"/>
                  <a:gd name="T119" fmla="*/ 41 h 1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77" h="1345">
                    <a:moveTo>
                      <a:pt x="963" y="48"/>
                    </a:moveTo>
                    <a:lnTo>
                      <a:pt x="951" y="54"/>
                    </a:lnTo>
                    <a:lnTo>
                      <a:pt x="947" y="58"/>
                    </a:lnTo>
                    <a:lnTo>
                      <a:pt x="947" y="64"/>
                    </a:lnTo>
                    <a:lnTo>
                      <a:pt x="943" y="66"/>
                    </a:lnTo>
                    <a:lnTo>
                      <a:pt x="930" y="62"/>
                    </a:lnTo>
                    <a:lnTo>
                      <a:pt x="926" y="58"/>
                    </a:lnTo>
                    <a:lnTo>
                      <a:pt x="924" y="52"/>
                    </a:lnTo>
                    <a:lnTo>
                      <a:pt x="924" y="45"/>
                    </a:lnTo>
                    <a:lnTo>
                      <a:pt x="922" y="39"/>
                    </a:lnTo>
                    <a:lnTo>
                      <a:pt x="920" y="35"/>
                    </a:lnTo>
                    <a:lnTo>
                      <a:pt x="914" y="27"/>
                    </a:lnTo>
                    <a:lnTo>
                      <a:pt x="912" y="21"/>
                    </a:lnTo>
                    <a:lnTo>
                      <a:pt x="910" y="19"/>
                    </a:lnTo>
                    <a:lnTo>
                      <a:pt x="908" y="19"/>
                    </a:lnTo>
                    <a:lnTo>
                      <a:pt x="898" y="17"/>
                    </a:lnTo>
                    <a:lnTo>
                      <a:pt x="873" y="19"/>
                    </a:lnTo>
                    <a:lnTo>
                      <a:pt x="869" y="23"/>
                    </a:lnTo>
                    <a:lnTo>
                      <a:pt x="863" y="31"/>
                    </a:lnTo>
                    <a:lnTo>
                      <a:pt x="859" y="33"/>
                    </a:lnTo>
                    <a:lnTo>
                      <a:pt x="857" y="33"/>
                    </a:lnTo>
                    <a:lnTo>
                      <a:pt x="853" y="29"/>
                    </a:lnTo>
                    <a:lnTo>
                      <a:pt x="848" y="21"/>
                    </a:lnTo>
                    <a:lnTo>
                      <a:pt x="836" y="9"/>
                    </a:lnTo>
                    <a:lnTo>
                      <a:pt x="834" y="4"/>
                    </a:lnTo>
                    <a:lnTo>
                      <a:pt x="826" y="0"/>
                    </a:lnTo>
                    <a:lnTo>
                      <a:pt x="820" y="2"/>
                    </a:lnTo>
                    <a:lnTo>
                      <a:pt x="816" y="4"/>
                    </a:lnTo>
                    <a:lnTo>
                      <a:pt x="812" y="7"/>
                    </a:lnTo>
                    <a:lnTo>
                      <a:pt x="805" y="11"/>
                    </a:lnTo>
                    <a:lnTo>
                      <a:pt x="799" y="13"/>
                    </a:lnTo>
                    <a:lnTo>
                      <a:pt x="797" y="13"/>
                    </a:lnTo>
                    <a:lnTo>
                      <a:pt x="793" y="17"/>
                    </a:lnTo>
                    <a:lnTo>
                      <a:pt x="791" y="19"/>
                    </a:lnTo>
                    <a:lnTo>
                      <a:pt x="791" y="23"/>
                    </a:lnTo>
                    <a:lnTo>
                      <a:pt x="789" y="27"/>
                    </a:lnTo>
                    <a:lnTo>
                      <a:pt x="777" y="37"/>
                    </a:lnTo>
                    <a:lnTo>
                      <a:pt x="771" y="41"/>
                    </a:lnTo>
                    <a:lnTo>
                      <a:pt x="771" y="48"/>
                    </a:lnTo>
                    <a:lnTo>
                      <a:pt x="766" y="58"/>
                    </a:lnTo>
                    <a:lnTo>
                      <a:pt x="748" y="70"/>
                    </a:lnTo>
                    <a:lnTo>
                      <a:pt x="744" y="82"/>
                    </a:lnTo>
                    <a:lnTo>
                      <a:pt x="742" y="97"/>
                    </a:lnTo>
                    <a:lnTo>
                      <a:pt x="742" y="103"/>
                    </a:lnTo>
                    <a:lnTo>
                      <a:pt x="740" y="107"/>
                    </a:lnTo>
                    <a:lnTo>
                      <a:pt x="734" y="109"/>
                    </a:lnTo>
                    <a:lnTo>
                      <a:pt x="715" y="107"/>
                    </a:lnTo>
                    <a:lnTo>
                      <a:pt x="709" y="105"/>
                    </a:lnTo>
                    <a:lnTo>
                      <a:pt x="703" y="101"/>
                    </a:lnTo>
                    <a:lnTo>
                      <a:pt x="699" y="97"/>
                    </a:lnTo>
                    <a:lnTo>
                      <a:pt x="695" y="101"/>
                    </a:lnTo>
                    <a:lnTo>
                      <a:pt x="687" y="109"/>
                    </a:lnTo>
                    <a:lnTo>
                      <a:pt x="685" y="109"/>
                    </a:lnTo>
                    <a:lnTo>
                      <a:pt x="680" y="107"/>
                    </a:lnTo>
                    <a:lnTo>
                      <a:pt x="670" y="99"/>
                    </a:lnTo>
                    <a:lnTo>
                      <a:pt x="666" y="95"/>
                    </a:lnTo>
                    <a:lnTo>
                      <a:pt x="660" y="95"/>
                    </a:lnTo>
                    <a:lnTo>
                      <a:pt x="637" y="97"/>
                    </a:lnTo>
                    <a:lnTo>
                      <a:pt x="637" y="97"/>
                    </a:lnTo>
                    <a:lnTo>
                      <a:pt x="633" y="101"/>
                    </a:lnTo>
                    <a:lnTo>
                      <a:pt x="625" y="113"/>
                    </a:lnTo>
                    <a:lnTo>
                      <a:pt x="615" y="130"/>
                    </a:lnTo>
                    <a:lnTo>
                      <a:pt x="611" y="134"/>
                    </a:lnTo>
                    <a:lnTo>
                      <a:pt x="598" y="140"/>
                    </a:lnTo>
                    <a:lnTo>
                      <a:pt x="594" y="140"/>
                    </a:lnTo>
                    <a:lnTo>
                      <a:pt x="586" y="138"/>
                    </a:lnTo>
                    <a:lnTo>
                      <a:pt x="580" y="136"/>
                    </a:lnTo>
                    <a:lnTo>
                      <a:pt x="576" y="138"/>
                    </a:lnTo>
                    <a:lnTo>
                      <a:pt x="572" y="146"/>
                    </a:lnTo>
                    <a:lnTo>
                      <a:pt x="574" y="152"/>
                    </a:lnTo>
                    <a:lnTo>
                      <a:pt x="576" y="160"/>
                    </a:lnTo>
                    <a:lnTo>
                      <a:pt x="574" y="168"/>
                    </a:lnTo>
                    <a:lnTo>
                      <a:pt x="572" y="175"/>
                    </a:lnTo>
                    <a:lnTo>
                      <a:pt x="570" y="179"/>
                    </a:lnTo>
                    <a:lnTo>
                      <a:pt x="566" y="185"/>
                    </a:lnTo>
                    <a:lnTo>
                      <a:pt x="562" y="189"/>
                    </a:lnTo>
                    <a:lnTo>
                      <a:pt x="562" y="197"/>
                    </a:lnTo>
                    <a:lnTo>
                      <a:pt x="564" y="203"/>
                    </a:lnTo>
                    <a:lnTo>
                      <a:pt x="564" y="207"/>
                    </a:lnTo>
                    <a:lnTo>
                      <a:pt x="558" y="212"/>
                    </a:lnTo>
                    <a:lnTo>
                      <a:pt x="556" y="216"/>
                    </a:lnTo>
                    <a:lnTo>
                      <a:pt x="555" y="226"/>
                    </a:lnTo>
                    <a:lnTo>
                      <a:pt x="555" y="230"/>
                    </a:lnTo>
                    <a:lnTo>
                      <a:pt x="549" y="238"/>
                    </a:lnTo>
                    <a:lnTo>
                      <a:pt x="549" y="242"/>
                    </a:lnTo>
                    <a:lnTo>
                      <a:pt x="549" y="246"/>
                    </a:lnTo>
                    <a:lnTo>
                      <a:pt x="551" y="248"/>
                    </a:lnTo>
                    <a:lnTo>
                      <a:pt x="560" y="252"/>
                    </a:lnTo>
                    <a:lnTo>
                      <a:pt x="564" y="252"/>
                    </a:lnTo>
                    <a:lnTo>
                      <a:pt x="574" y="248"/>
                    </a:lnTo>
                    <a:lnTo>
                      <a:pt x="601" y="253"/>
                    </a:lnTo>
                    <a:lnTo>
                      <a:pt x="605" y="255"/>
                    </a:lnTo>
                    <a:lnTo>
                      <a:pt x="607" y="261"/>
                    </a:lnTo>
                    <a:lnTo>
                      <a:pt x="605" y="265"/>
                    </a:lnTo>
                    <a:lnTo>
                      <a:pt x="601" y="269"/>
                    </a:lnTo>
                    <a:lnTo>
                      <a:pt x="598" y="271"/>
                    </a:lnTo>
                    <a:lnTo>
                      <a:pt x="592" y="271"/>
                    </a:lnTo>
                    <a:lnTo>
                      <a:pt x="588" y="273"/>
                    </a:lnTo>
                    <a:lnTo>
                      <a:pt x="584" y="279"/>
                    </a:lnTo>
                    <a:lnTo>
                      <a:pt x="580" y="283"/>
                    </a:lnTo>
                    <a:lnTo>
                      <a:pt x="580" y="285"/>
                    </a:lnTo>
                    <a:lnTo>
                      <a:pt x="578" y="293"/>
                    </a:lnTo>
                    <a:lnTo>
                      <a:pt x="576" y="302"/>
                    </a:lnTo>
                    <a:lnTo>
                      <a:pt x="574" y="306"/>
                    </a:lnTo>
                    <a:lnTo>
                      <a:pt x="570" y="306"/>
                    </a:lnTo>
                    <a:lnTo>
                      <a:pt x="553" y="298"/>
                    </a:lnTo>
                    <a:lnTo>
                      <a:pt x="551" y="298"/>
                    </a:lnTo>
                    <a:lnTo>
                      <a:pt x="549" y="300"/>
                    </a:lnTo>
                    <a:lnTo>
                      <a:pt x="549" y="302"/>
                    </a:lnTo>
                    <a:lnTo>
                      <a:pt x="547" y="302"/>
                    </a:lnTo>
                    <a:lnTo>
                      <a:pt x="545" y="304"/>
                    </a:lnTo>
                    <a:lnTo>
                      <a:pt x="543" y="304"/>
                    </a:lnTo>
                    <a:lnTo>
                      <a:pt x="525" y="298"/>
                    </a:lnTo>
                    <a:lnTo>
                      <a:pt x="517" y="300"/>
                    </a:lnTo>
                    <a:lnTo>
                      <a:pt x="512" y="308"/>
                    </a:lnTo>
                    <a:lnTo>
                      <a:pt x="512" y="312"/>
                    </a:lnTo>
                    <a:lnTo>
                      <a:pt x="512" y="320"/>
                    </a:lnTo>
                    <a:lnTo>
                      <a:pt x="512" y="322"/>
                    </a:lnTo>
                    <a:lnTo>
                      <a:pt x="512" y="326"/>
                    </a:lnTo>
                    <a:lnTo>
                      <a:pt x="506" y="339"/>
                    </a:lnTo>
                    <a:lnTo>
                      <a:pt x="502" y="343"/>
                    </a:lnTo>
                    <a:lnTo>
                      <a:pt x="500" y="347"/>
                    </a:lnTo>
                    <a:lnTo>
                      <a:pt x="496" y="349"/>
                    </a:lnTo>
                    <a:lnTo>
                      <a:pt x="490" y="353"/>
                    </a:lnTo>
                    <a:lnTo>
                      <a:pt x="471" y="357"/>
                    </a:lnTo>
                    <a:lnTo>
                      <a:pt x="467" y="357"/>
                    </a:lnTo>
                    <a:lnTo>
                      <a:pt x="461" y="357"/>
                    </a:lnTo>
                    <a:lnTo>
                      <a:pt x="459" y="357"/>
                    </a:lnTo>
                    <a:lnTo>
                      <a:pt x="451" y="359"/>
                    </a:lnTo>
                    <a:lnTo>
                      <a:pt x="449" y="361"/>
                    </a:lnTo>
                    <a:lnTo>
                      <a:pt x="449" y="363"/>
                    </a:lnTo>
                    <a:lnTo>
                      <a:pt x="449" y="365"/>
                    </a:lnTo>
                    <a:lnTo>
                      <a:pt x="447" y="369"/>
                    </a:lnTo>
                    <a:lnTo>
                      <a:pt x="445" y="373"/>
                    </a:lnTo>
                    <a:lnTo>
                      <a:pt x="441" y="375"/>
                    </a:lnTo>
                    <a:lnTo>
                      <a:pt x="437" y="378"/>
                    </a:lnTo>
                    <a:lnTo>
                      <a:pt x="435" y="384"/>
                    </a:lnTo>
                    <a:lnTo>
                      <a:pt x="435" y="386"/>
                    </a:lnTo>
                    <a:lnTo>
                      <a:pt x="437" y="392"/>
                    </a:lnTo>
                    <a:lnTo>
                      <a:pt x="437" y="396"/>
                    </a:lnTo>
                    <a:lnTo>
                      <a:pt x="437" y="398"/>
                    </a:lnTo>
                    <a:lnTo>
                      <a:pt x="435" y="398"/>
                    </a:lnTo>
                    <a:lnTo>
                      <a:pt x="433" y="398"/>
                    </a:lnTo>
                    <a:lnTo>
                      <a:pt x="433" y="400"/>
                    </a:lnTo>
                    <a:lnTo>
                      <a:pt x="430" y="402"/>
                    </a:lnTo>
                    <a:lnTo>
                      <a:pt x="428" y="406"/>
                    </a:lnTo>
                    <a:lnTo>
                      <a:pt x="428" y="410"/>
                    </a:lnTo>
                    <a:lnTo>
                      <a:pt x="428" y="423"/>
                    </a:lnTo>
                    <a:lnTo>
                      <a:pt x="428" y="427"/>
                    </a:lnTo>
                    <a:lnTo>
                      <a:pt x="426" y="429"/>
                    </a:lnTo>
                    <a:lnTo>
                      <a:pt x="426" y="433"/>
                    </a:lnTo>
                    <a:lnTo>
                      <a:pt x="426" y="435"/>
                    </a:lnTo>
                    <a:lnTo>
                      <a:pt x="424" y="439"/>
                    </a:lnTo>
                    <a:lnTo>
                      <a:pt x="426" y="445"/>
                    </a:lnTo>
                    <a:lnTo>
                      <a:pt x="430" y="455"/>
                    </a:lnTo>
                    <a:lnTo>
                      <a:pt x="431" y="460"/>
                    </a:lnTo>
                    <a:lnTo>
                      <a:pt x="430" y="466"/>
                    </a:lnTo>
                    <a:lnTo>
                      <a:pt x="428" y="470"/>
                    </a:lnTo>
                    <a:lnTo>
                      <a:pt x="424" y="474"/>
                    </a:lnTo>
                    <a:lnTo>
                      <a:pt x="414" y="480"/>
                    </a:lnTo>
                    <a:lnTo>
                      <a:pt x="412" y="484"/>
                    </a:lnTo>
                    <a:lnTo>
                      <a:pt x="410" y="490"/>
                    </a:lnTo>
                    <a:lnTo>
                      <a:pt x="410" y="496"/>
                    </a:lnTo>
                    <a:lnTo>
                      <a:pt x="410" y="503"/>
                    </a:lnTo>
                    <a:lnTo>
                      <a:pt x="408" y="507"/>
                    </a:lnTo>
                    <a:lnTo>
                      <a:pt x="406" y="515"/>
                    </a:lnTo>
                    <a:lnTo>
                      <a:pt x="398" y="523"/>
                    </a:lnTo>
                    <a:lnTo>
                      <a:pt x="394" y="529"/>
                    </a:lnTo>
                    <a:lnTo>
                      <a:pt x="394" y="537"/>
                    </a:lnTo>
                    <a:lnTo>
                      <a:pt x="396" y="540"/>
                    </a:lnTo>
                    <a:lnTo>
                      <a:pt x="400" y="542"/>
                    </a:lnTo>
                    <a:lnTo>
                      <a:pt x="408" y="542"/>
                    </a:lnTo>
                    <a:lnTo>
                      <a:pt x="418" y="537"/>
                    </a:lnTo>
                    <a:lnTo>
                      <a:pt x="420" y="535"/>
                    </a:lnTo>
                    <a:lnTo>
                      <a:pt x="422" y="537"/>
                    </a:lnTo>
                    <a:lnTo>
                      <a:pt x="424" y="539"/>
                    </a:lnTo>
                    <a:lnTo>
                      <a:pt x="424" y="542"/>
                    </a:lnTo>
                    <a:lnTo>
                      <a:pt x="426" y="546"/>
                    </a:lnTo>
                    <a:lnTo>
                      <a:pt x="426" y="548"/>
                    </a:lnTo>
                    <a:lnTo>
                      <a:pt x="428" y="548"/>
                    </a:lnTo>
                    <a:lnTo>
                      <a:pt x="430" y="548"/>
                    </a:lnTo>
                    <a:lnTo>
                      <a:pt x="430" y="548"/>
                    </a:lnTo>
                    <a:lnTo>
                      <a:pt x="431" y="550"/>
                    </a:lnTo>
                    <a:lnTo>
                      <a:pt x="433" y="552"/>
                    </a:lnTo>
                    <a:lnTo>
                      <a:pt x="433" y="554"/>
                    </a:lnTo>
                    <a:lnTo>
                      <a:pt x="435" y="558"/>
                    </a:lnTo>
                    <a:lnTo>
                      <a:pt x="435" y="558"/>
                    </a:lnTo>
                    <a:lnTo>
                      <a:pt x="437" y="558"/>
                    </a:lnTo>
                    <a:lnTo>
                      <a:pt x="437" y="560"/>
                    </a:lnTo>
                    <a:lnTo>
                      <a:pt x="437" y="562"/>
                    </a:lnTo>
                    <a:lnTo>
                      <a:pt x="437" y="562"/>
                    </a:lnTo>
                    <a:lnTo>
                      <a:pt x="435" y="566"/>
                    </a:lnTo>
                    <a:lnTo>
                      <a:pt x="435" y="566"/>
                    </a:lnTo>
                    <a:lnTo>
                      <a:pt x="435" y="580"/>
                    </a:lnTo>
                    <a:lnTo>
                      <a:pt x="433" y="583"/>
                    </a:lnTo>
                    <a:lnTo>
                      <a:pt x="430" y="587"/>
                    </a:lnTo>
                    <a:lnTo>
                      <a:pt x="428" y="587"/>
                    </a:lnTo>
                    <a:lnTo>
                      <a:pt x="422" y="585"/>
                    </a:lnTo>
                    <a:lnTo>
                      <a:pt x="420" y="587"/>
                    </a:lnTo>
                    <a:lnTo>
                      <a:pt x="418" y="591"/>
                    </a:lnTo>
                    <a:lnTo>
                      <a:pt x="416" y="591"/>
                    </a:lnTo>
                    <a:lnTo>
                      <a:pt x="412" y="591"/>
                    </a:lnTo>
                    <a:lnTo>
                      <a:pt x="396" y="589"/>
                    </a:lnTo>
                    <a:lnTo>
                      <a:pt x="392" y="587"/>
                    </a:lnTo>
                    <a:lnTo>
                      <a:pt x="388" y="583"/>
                    </a:lnTo>
                    <a:lnTo>
                      <a:pt x="387" y="578"/>
                    </a:lnTo>
                    <a:lnTo>
                      <a:pt x="388" y="576"/>
                    </a:lnTo>
                    <a:lnTo>
                      <a:pt x="394" y="576"/>
                    </a:lnTo>
                    <a:lnTo>
                      <a:pt x="394" y="574"/>
                    </a:lnTo>
                    <a:lnTo>
                      <a:pt x="394" y="570"/>
                    </a:lnTo>
                    <a:lnTo>
                      <a:pt x="390" y="568"/>
                    </a:lnTo>
                    <a:lnTo>
                      <a:pt x="390" y="566"/>
                    </a:lnTo>
                    <a:lnTo>
                      <a:pt x="394" y="564"/>
                    </a:lnTo>
                    <a:lnTo>
                      <a:pt x="398" y="564"/>
                    </a:lnTo>
                    <a:lnTo>
                      <a:pt x="398" y="562"/>
                    </a:lnTo>
                    <a:lnTo>
                      <a:pt x="387" y="546"/>
                    </a:lnTo>
                    <a:lnTo>
                      <a:pt x="387" y="544"/>
                    </a:lnTo>
                    <a:lnTo>
                      <a:pt x="385" y="544"/>
                    </a:lnTo>
                    <a:lnTo>
                      <a:pt x="383" y="542"/>
                    </a:lnTo>
                    <a:lnTo>
                      <a:pt x="379" y="544"/>
                    </a:lnTo>
                    <a:lnTo>
                      <a:pt x="373" y="556"/>
                    </a:lnTo>
                    <a:lnTo>
                      <a:pt x="367" y="558"/>
                    </a:lnTo>
                    <a:lnTo>
                      <a:pt x="353" y="558"/>
                    </a:lnTo>
                    <a:lnTo>
                      <a:pt x="344" y="554"/>
                    </a:lnTo>
                    <a:lnTo>
                      <a:pt x="340" y="556"/>
                    </a:lnTo>
                    <a:lnTo>
                      <a:pt x="338" y="560"/>
                    </a:lnTo>
                    <a:lnTo>
                      <a:pt x="336" y="572"/>
                    </a:lnTo>
                    <a:lnTo>
                      <a:pt x="332" y="578"/>
                    </a:lnTo>
                    <a:lnTo>
                      <a:pt x="326" y="585"/>
                    </a:lnTo>
                    <a:lnTo>
                      <a:pt x="318" y="591"/>
                    </a:lnTo>
                    <a:lnTo>
                      <a:pt x="310" y="591"/>
                    </a:lnTo>
                    <a:lnTo>
                      <a:pt x="297" y="587"/>
                    </a:lnTo>
                    <a:lnTo>
                      <a:pt x="289" y="585"/>
                    </a:lnTo>
                    <a:lnTo>
                      <a:pt x="281" y="587"/>
                    </a:lnTo>
                    <a:lnTo>
                      <a:pt x="281" y="587"/>
                    </a:lnTo>
                    <a:lnTo>
                      <a:pt x="277" y="589"/>
                    </a:lnTo>
                    <a:lnTo>
                      <a:pt x="275" y="591"/>
                    </a:lnTo>
                    <a:lnTo>
                      <a:pt x="275" y="593"/>
                    </a:lnTo>
                    <a:lnTo>
                      <a:pt x="275" y="595"/>
                    </a:lnTo>
                    <a:lnTo>
                      <a:pt x="275" y="597"/>
                    </a:lnTo>
                    <a:lnTo>
                      <a:pt x="273" y="599"/>
                    </a:lnTo>
                    <a:lnTo>
                      <a:pt x="271" y="601"/>
                    </a:lnTo>
                    <a:lnTo>
                      <a:pt x="269" y="601"/>
                    </a:lnTo>
                    <a:lnTo>
                      <a:pt x="269" y="601"/>
                    </a:lnTo>
                    <a:lnTo>
                      <a:pt x="271" y="607"/>
                    </a:lnTo>
                    <a:lnTo>
                      <a:pt x="273" y="613"/>
                    </a:lnTo>
                    <a:lnTo>
                      <a:pt x="275" y="617"/>
                    </a:lnTo>
                    <a:lnTo>
                      <a:pt x="275" y="622"/>
                    </a:lnTo>
                    <a:lnTo>
                      <a:pt x="275" y="630"/>
                    </a:lnTo>
                    <a:lnTo>
                      <a:pt x="275" y="630"/>
                    </a:lnTo>
                    <a:lnTo>
                      <a:pt x="273" y="636"/>
                    </a:lnTo>
                    <a:lnTo>
                      <a:pt x="271" y="636"/>
                    </a:lnTo>
                    <a:lnTo>
                      <a:pt x="260" y="638"/>
                    </a:lnTo>
                    <a:lnTo>
                      <a:pt x="258" y="638"/>
                    </a:lnTo>
                    <a:lnTo>
                      <a:pt x="254" y="636"/>
                    </a:lnTo>
                    <a:lnTo>
                      <a:pt x="252" y="630"/>
                    </a:lnTo>
                    <a:lnTo>
                      <a:pt x="252" y="630"/>
                    </a:lnTo>
                    <a:lnTo>
                      <a:pt x="252" y="630"/>
                    </a:lnTo>
                    <a:lnTo>
                      <a:pt x="250" y="630"/>
                    </a:lnTo>
                    <a:lnTo>
                      <a:pt x="246" y="632"/>
                    </a:lnTo>
                    <a:lnTo>
                      <a:pt x="236" y="636"/>
                    </a:lnTo>
                    <a:lnTo>
                      <a:pt x="226" y="640"/>
                    </a:lnTo>
                    <a:lnTo>
                      <a:pt x="209" y="658"/>
                    </a:lnTo>
                    <a:lnTo>
                      <a:pt x="203" y="660"/>
                    </a:lnTo>
                    <a:lnTo>
                      <a:pt x="195" y="660"/>
                    </a:lnTo>
                    <a:lnTo>
                      <a:pt x="191" y="660"/>
                    </a:lnTo>
                    <a:lnTo>
                      <a:pt x="185" y="660"/>
                    </a:lnTo>
                    <a:lnTo>
                      <a:pt x="181" y="658"/>
                    </a:lnTo>
                    <a:lnTo>
                      <a:pt x="179" y="656"/>
                    </a:lnTo>
                    <a:lnTo>
                      <a:pt x="178" y="648"/>
                    </a:lnTo>
                    <a:lnTo>
                      <a:pt x="172" y="642"/>
                    </a:lnTo>
                    <a:lnTo>
                      <a:pt x="168" y="640"/>
                    </a:lnTo>
                    <a:lnTo>
                      <a:pt x="162" y="640"/>
                    </a:lnTo>
                    <a:lnTo>
                      <a:pt x="152" y="646"/>
                    </a:lnTo>
                    <a:lnTo>
                      <a:pt x="146" y="648"/>
                    </a:lnTo>
                    <a:lnTo>
                      <a:pt x="136" y="648"/>
                    </a:lnTo>
                    <a:lnTo>
                      <a:pt x="133" y="648"/>
                    </a:lnTo>
                    <a:lnTo>
                      <a:pt x="129" y="644"/>
                    </a:lnTo>
                    <a:lnTo>
                      <a:pt x="125" y="644"/>
                    </a:lnTo>
                    <a:lnTo>
                      <a:pt x="123" y="644"/>
                    </a:lnTo>
                    <a:lnTo>
                      <a:pt x="109" y="652"/>
                    </a:lnTo>
                    <a:lnTo>
                      <a:pt x="109" y="652"/>
                    </a:lnTo>
                    <a:lnTo>
                      <a:pt x="107" y="652"/>
                    </a:lnTo>
                    <a:lnTo>
                      <a:pt x="105" y="650"/>
                    </a:lnTo>
                    <a:lnTo>
                      <a:pt x="103" y="648"/>
                    </a:lnTo>
                    <a:lnTo>
                      <a:pt x="101" y="650"/>
                    </a:lnTo>
                    <a:lnTo>
                      <a:pt x="97" y="652"/>
                    </a:lnTo>
                    <a:lnTo>
                      <a:pt x="88" y="654"/>
                    </a:lnTo>
                    <a:lnTo>
                      <a:pt x="80" y="658"/>
                    </a:lnTo>
                    <a:lnTo>
                      <a:pt x="76" y="658"/>
                    </a:lnTo>
                    <a:lnTo>
                      <a:pt x="74" y="656"/>
                    </a:lnTo>
                    <a:lnTo>
                      <a:pt x="58" y="648"/>
                    </a:lnTo>
                    <a:lnTo>
                      <a:pt x="52" y="646"/>
                    </a:lnTo>
                    <a:lnTo>
                      <a:pt x="52" y="654"/>
                    </a:lnTo>
                    <a:lnTo>
                      <a:pt x="54" y="662"/>
                    </a:lnTo>
                    <a:lnTo>
                      <a:pt x="54" y="662"/>
                    </a:lnTo>
                    <a:lnTo>
                      <a:pt x="56" y="667"/>
                    </a:lnTo>
                    <a:lnTo>
                      <a:pt x="56" y="667"/>
                    </a:lnTo>
                    <a:lnTo>
                      <a:pt x="58" y="675"/>
                    </a:lnTo>
                    <a:lnTo>
                      <a:pt x="60" y="681"/>
                    </a:lnTo>
                    <a:lnTo>
                      <a:pt x="60" y="689"/>
                    </a:lnTo>
                    <a:lnTo>
                      <a:pt x="62" y="695"/>
                    </a:lnTo>
                    <a:lnTo>
                      <a:pt x="62" y="695"/>
                    </a:lnTo>
                    <a:lnTo>
                      <a:pt x="66" y="701"/>
                    </a:lnTo>
                    <a:lnTo>
                      <a:pt x="66" y="701"/>
                    </a:lnTo>
                    <a:lnTo>
                      <a:pt x="66" y="701"/>
                    </a:lnTo>
                    <a:lnTo>
                      <a:pt x="66" y="718"/>
                    </a:lnTo>
                    <a:lnTo>
                      <a:pt x="70" y="738"/>
                    </a:lnTo>
                    <a:lnTo>
                      <a:pt x="84" y="783"/>
                    </a:lnTo>
                    <a:lnTo>
                      <a:pt x="92" y="798"/>
                    </a:lnTo>
                    <a:lnTo>
                      <a:pt x="94" y="802"/>
                    </a:lnTo>
                    <a:lnTo>
                      <a:pt x="95" y="808"/>
                    </a:lnTo>
                    <a:lnTo>
                      <a:pt x="99" y="822"/>
                    </a:lnTo>
                    <a:lnTo>
                      <a:pt x="103" y="833"/>
                    </a:lnTo>
                    <a:lnTo>
                      <a:pt x="105" y="841"/>
                    </a:lnTo>
                    <a:lnTo>
                      <a:pt x="109" y="845"/>
                    </a:lnTo>
                    <a:lnTo>
                      <a:pt x="109" y="847"/>
                    </a:lnTo>
                    <a:lnTo>
                      <a:pt x="109" y="849"/>
                    </a:lnTo>
                    <a:lnTo>
                      <a:pt x="111" y="851"/>
                    </a:lnTo>
                    <a:lnTo>
                      <a:pt x="111" y="853"/>
                    </a:lnTo>
                    <a:lnTo>
                      <a:pt x="113" y="859"/>
                    </a:lnTo>
                    <a:lnTo>
                      <a:pt x="115" y="861"/>
                    </a:lnTo>
                    <a:lnTo>
                      <a:pt x="117" y="861"/>
                    </a:lnTo>
                    <a:lnTo>
                      <a:pt x="119" y="863"/>
                    </a:lnTo>
                    <a:lnTo>
                      <a:pt x="121" y="867"/>
                    </a:lnTo>
                    <a:lnTo>
                      <a:pt x="121" y="867"/>
                    </a:lnTo>
                    <a:lnTo>
                      <a:pt x="121" y="867"/>
                    </a:lnTo>
                    <a:lnTo>
                      <a:pt x="121" y="870"/>
                    </a:lnTo>
                    <a:lnTo>
                      <a:pt x="121" y="874"/>
                    </a:lnTo>
                    <a:lnTo>
                      <a:pt x="121" y="874"/>
                    </a:lnTo>
                    <a:lnTo>
                      <a:pt x="119" y="878"/>
                    </a:lnTo>
                    <a:lnTo>
                      <a:pt x="117" y="880"/>
                    </a:lnTo>
                    <a:lnTo>
                      <a:pt x="117" y="880"/>
                    </a:lnTo>
                    <a:lnTo>
                      <a:pt x="117" y="882"/>
                    </a:lnTo>
                    <a:lnTo>
                      <a:pt x="115" y="884"/>
                    </a:lnTo>
                    <a:lnTo>
                      <a:pt x="115" y="888"/>
                    </a:lnTo>
                    <a:lnTo>
                      <a:pt x="115" y="890"/>
                    </a:lnTo>
                    <a:lnTo>
                      <a:pt x="115" y="892"/>
                    </a:lnTo>
                    <a:lnTo>
                      <a:pt x="117" y="894"/>
                    </a:lnTo>
                    <a:lnTo>
                      <a:pt x="121" y="900"/>
                    </a:lnTo>
                    <a:lnTo>
                      <a:pt x="121" y="902"/>
                    </a:lnTo>
                    <a:lnTo>
                      <a:pt x="123" y="902"/>
                    </a:lnTo>
                    <a:lnTo>
                      <a:pt x="123" y="906"/>
                    </a:lnTo>
                    <a:lnTo>
                      <a:pt x="125" y="908"/>
                    </a:lnTo>
                    <a:lnTo>
                      <a:pt x="125" y="908"/>
                    </a:lnTo>
                    <a:lnTo>
                      <a:pt x="123" y="911"/>
                    </a:lnTo>
                    <a:lnTo>
                      <a:pt x="123" y="913"/>
                    </a:lnTo>
                    <a:lnTo>
                      <a:pt x="125" y="917"/>
                    </a:lnTo>
                    <a:lnTo>
                      <a:pt x="125" y="921"/>
                    </a:lnTo>
                    <a:lnTo>
                      <a:pt x="125" y="921"/>
                    </a:lnTo>
                    <a:lnTo>
                      <a:pt x="125" y="923"/>
                    </a:lnTo>
                    <a:lnTo>
                      <a:pt x="125" y="923"/>
                    </a:lnTo>
                    <a:lnTo>
                      <a:pt x="125" y="925"/>
                    </a:lnTo>
                    <a:lnTo>
                      <a:pt x="123" y="927"/>
                    </a:lnTo>
                    <a:lnTo>
                      <a:pt x="123" y="929"/>
                    </a:lnTo>
                    <a:lnTo>
                      <a:pt x="123" y="931"/>
                    </a:lnTo>
                    <a:lnTo>
                      <a:pt x="123" y="933"/>
                    </a:lnTo>
                    <a:lnTo>
                      <a:pt x="123" y="935"/>
                    </a:lnTo>
                    <a:lnTo>
                      <a:pt x="123" y="935"/>
                    </a:lnTo>
                    <a:lnTo>
                      <a:pt x="123" y="937"/>
                    </a:lnTo>
                    <a:lnTo>
                      <a:pt x="125" y="939"/>
                    </a:lnTo>
                    <a:lnTo>
                      <a:pt x="125" y="972"/>
                    </a:lnTo>
                    <a:lnTo>
                      <a:pt x="127" y="980"/>
                    </a:lnTo>
                    <a:lnTo>
                      <a:pt x="123" y="992"/>
                    </a:lnTo>
                    <a:lnTo>
                      <a:pt x="121" y="995"/>
                    </a:lnTo>
                    <a:lnTo>
                      <a:pt x="117" y="999"/>
                    </a:lnTo>
                    <a:lnTo>
                      <a:pt x="105" y="1007"/>
                    </a:lnTo>
                    <a:lnTo>
                      <a:pt x="95" y="1015"/>
                    </a:lnTo>
                    <a:lnTo>
                      <a:pt x="66" y="1023"/>
                    </a:lnTo>
                    <a:lnTo>
                      <a:pt x="66" y="1025"/>
                    </a:lnTo>
                    <a:lnTo>
                      <a:pt x="52" y="1033"/>
                    </a:lnTo>
                    <a:lnTo>
                      <a:pt x="41" y="1040"/>
                    </a:lnTo>
                    <a:lnTo>
                      <a:pt x="37" y="1044"/>
                    </a:lnTo>
                    <a:lnTo>
                      <a:pt x="17" y="1075"/>
                    </a:lnTo>
                    <a:lnTo>
                      <a:pt x="17" y="1075"/>
                    </a:lnTo>
                    <a:lnTo>
                      <a:pt x="17" y="1075"/>
                    </a:lnTo>
                    <a:lnTo>
                      <a:pt x="10" y="1083"/>
                    </a:lnTo>
                    <a:lnTo>
                      <a:pt x="8" y="1087"/>
                    </a:lnTo>
                    <a:lnTo>
                      <a:pt x="8" y="1089"/>
                    </a:lnTo>
                    <a:lnTo>
                      <a:pt x="0" y="1105"/>
                    </a:lnTo>
                    <a:lnTo>
                      <a:pt x="0" y="1105"/>
                    </a:lnTo>
                    <a:lnTo>
                      <a:pt x="0" y="1105"/>
                    </a:lnTo>
                    <a:lnTo>
                      <a:pt x="0" y="1105"/>
                    </a:lnTo>
                    <a:lnTo>
                      <a:pt x="0" y="1105"/>
                    </a:lnTo>
                    <a:lnTo>
                      <a:pt x="0" y="1105"/>
                    </a:lnTo>
                    <a:lnTo>
                      <a:pt x="2" y="1105"/>
                    </a:lnTo>
                    <a:lnTo>
                      <a:pt x="2" y="1107"/>
                    </a:lnTo>
                    <a:lnTo>
                      <a:pt x="4" y="1109"/>
                    </a:lnTo>
                    <a:lnTo>
                      <a:pt x="4" y="1113"/>
                    </a:lnTo>
                    <a:lnTo>
                      <a:pt x="4" y="1118"/>
                    </a:lnTo>
                    <a:lnTo>
                      <a:pt x="8" y="1120"/>
                    </a:lnTo>
                    <a:lnTo>
                      <a:pt x="17" y="1122"/>
                    </a:lnTo>
                    <a:lnTo>
                      <a:pt x="19" y="1122"/>
                    </a:lnTo>
                    <a:lnTo>
                      <a:pt x="21" y="1122"/>
                    </a:lnTo>
                    <a:lnTo>
                      <a:pt x="21" y="1122"/>
                    </a:lnTo>
                    <a:lnTo>
                      <a:pt x="23" y="1124"/>
                    </a:lnTo>
                    <a:lnTo>
                      <a:pt x="23" y="1124"/>
                    </a:lnTo>
                    <a:lnTo>
                      <a:pt x="31" y="1126"/>
                    </a:lnTo>
                    <a:lnTo>
                      <a:pt x="35" y="1128"/>
                    </a:lnTo>
                    <a:lnTo>
                      <a:pt x="35" y="1128"/>
                    </a:lnTo>
                    <a:lnTo>
                      <a:pt x="37" y="1128"/>
                    </a:lnTo>
                    <a:lnTo>
                      <a:pt x="37" y="1130"/>
                    </a:lnTo>
                    <a:lnTo>
                      <a:pt x="37" y="1132"/>
                    </a:lnTo>
                    <a:lnTo>
                      <a:pt x="37" y="1132"/>
                    </a:lnTo>
                    <a:lnTo>
                      <a:pt x="37" y="1134"/>
                    </a:lnTo>
                    <a:lnTo>
                      <a:pt x="39" y="1132"/>
                    </a:lnTo>
                    <a:lnTo>
                      <a:pt x="39" y="1132"/>
                    </a:lnTo>
                    <a:lnTo>
                      <a:pt x="41" y="1132"/>
                    </a:lnTo>
                    <a:lnTo>
                      <a:pt x="41" y="1134"/>
                    </a:lnTo>
                    <a:lnTo>
                      <a:pt x="43" y="1134"/>
                    </a:lnTo>
                    <a:lnTo>
                      <a:pt x="43" y="1136"/>
                    </a:lnTo>
                    <a:lnTo>
                      <a:pt x="45" y="1136"/>
                    </a:lnTo>
                    <a:lnTo>
                      <a:pt x="47" y="1134"/>
                    </a:lnTo>
                    <a:lnTo>
                      <a:pt x="47" y="1132"/>
                    </a:lnTo>
                    <a:lnTo>
                      <a:pt x="47" y="1132"/>
                    </a:lnTo>
                    <a:lnTo>
                      <a:pt x="47" y="1132"/>
                    </a:lnTo>
                    <a:lnTo>
                      <a:pt x="47" y="1134"/>
                    </a:lnTo>
                    <a:lnTo>
                      <a:pt x="47" y="1134"/>
                    </a:lnTo>
                    <a:lnTo>
                      <a:pt x="49" y="1134"/>
                    </a:lnTo>
                    <a:lnTo>
                      <a:pt x="49" y="1136"/>
                    </a:lnTo>
                    <a:lnTo>
                      <a:pt x="51" y="1136"/>
                    </a:lnTo>
                    <a:lnTo>
                      <a:pt x="52" y="1134"/>
                    </a:lnTo>
                    <a:lnTo>
                      <a:pt x="52" y="1134"/>
                    </a:lnTo>
                    <a:lnTo>
                      <a:pt x="52" y="1134"/>
                    </a:lnTo>
                    <a:lnTo>
                      <a:pt x="52" y="1134"/>
                    </a:lnTo>
                    <a:lnTo>
                      <a:pt x="54" y="1136"/>
                    </a:lnTo>
                    <a:lnTo>
                      <a:pt x="52" y="1138"/>
                    </a:lnTo>
                    <a:lnTo>
                      <a:pt x="52" y="1140"/>
                    </a:lnTo>
                    <a:lnTo>
                      <a:pt x="52" y="1140"/>
                    </a:lnTo>
                    <a:lnTo>
                      <a:pt x="56" y="1150"/>
                    </a:lnTo>
                    <a:lnTo>
                      <a:pt x="58" y="1150"/>
                    </a:lnTo>
                    <a:lnTo>
                      <a:pt x="60" y="1150"/>
                    </a:lnTo>
                    <a:lnTo>
                      <a:pt x="62" y="1150"/>
                    </a:lnTo>
                    <a:lnTo>
                      <a:pt x="68" y="1150"/>
                    </a:lnTo>
                    <a:lnTo>
                      <a:pt x="70" y="1152"/>
                    </a:lnTo>
                    <a:lnTo>
                      <a:pt x="72" y="1152"/>
                    </a:lnTo>
                    <a:lnTo>
                      <a:pt x="72" y="1152"/>
                    </a:lnTo>
                    <a:lnTo>
                      <a:pt x="72" y="1152"/>
                    </a:lnTo>
                    <a:lnTo>
                      <a:pt x="72" y="1154"/>
                    </a:lnTo>
                    <a:lnTo>
                      <a:pt x="74" y="1156"/>
                    </a:lnTo>
                    <a:lnTo>
                      <a:pt x="74" y="1157"/>
                    </a:lnTo>
                    <a:lnTo>
                      <a:pt x="76" y="1157"/>
                    </a:lnTo>
                    <a:lnTo>
                      <a:pt x="76" y="1159"/>
                    </a:lnTo>
                    <a:lnTo>
                      <a:pt x="78" y="1159"/>
                    </a:lnTo>
                    <a:lnTo>
                      <a:pt x="78" y="1159"/>
                    </a:lnTo>
                    <a:lnTo>
                      <a:pt x="78" y="1163"/>
                    </a:lnTo>
                    <a:lnTo>
                      <a:pt x="80" y="1165"/>
                    </a:lnTo>
                    <a:lnTo>
                      <a:pt x="80" y="1167"/>
                    </a:lnTo>
                    <a:lnTo>
                      <a:pt x="80" y="1169"/>
                    </a:lnTo>
                    <a:lnTo>
                      <a:pt x="82" y="1179"/>
                    </a:lnTo>
                    <a:lnTo>
                      <a:pt x="84" y="1183"/>
                    </a:lnTo>
                    <a:lnTo>
                      <a:pt x="84" y="1185"/>
                    </a:lnTo>
                    <a:lnTo>
                      <a:pt x="84" y="1185"/>
                    </a:lnTo>
                    <a:lnTo>
                      <a:pt x="84" y="1185"/>
                    </a:lnTo>
                    <a:lnTo>
                      <a:pt x="82" y="1187"/>
                    </a:lnTo>
                    <a:lnTo>
                      <a:pt x="80" y="1191"/>
                    </a:lnTo>
                    <a:lnTo>
                      <a:pt x="80" y="1191"/>
                    </a:lnTo>
                    <a:lnTo>
                      <a:pt x="78" y="1195"/>
                    </a:lnTo>
                    <a:lnTo>
                      <a:pt x="76" y="1197"/>
                    </a:lnTo>
                    <a:lnTo>
                      <a:pt x="76" y="1202"/>
                    </a:lnTo>
                    <a:lnTo>
                      <a:pt x="76" y="1210"/>
                    </a:lnTo>
                    <a:lnTo>
                      <a:pt x="74" y="1214"/>
                    </a:lnTo>
                    <a:lnTo>
                      <a:pt x="74" y="1214"/>
                    </a:lnTo>
                    <a:lnTo>
                      <a:pt x="74" y="1214"/>
                    </a:lnTo>
                    <a:lnTo>
                      <a:pt x="76" y="1214"/>
                    </a:lnTo>
                    <a:lnTo>
                      <a:pt x="76" y="1214"/>
                    </a:lnTo>
                    <a:lnTo>
                      <a:pt x="76" y="1214"/>
                    </a:lnTo>
                    <a:lnTo>
                      <a:pt x="76" y="1216"/>
                    </a:lnTo>
                    <a:lnTo>
                      <a:pt x="76" y="1216"/>
                    </a:lnTo>
                    <a:lnTo>
                      <a:pt x="76" y="1216"/>
                    </a:lnTo>
                    <a:lnTo>
                      <a:pt x="76" y="1216"/>
                    </a:lnTo>
                    <a:lnTo>
                      <a:pt x="74" y="1218"/>
                    </a:lnTo>
                    <a:lnTo>
                      <a:pt x="72" y="1224"/>
                    </a:lnTo>
                    <a:lnTo>
                      <a:pt x="72" y="1224"/>
                    </a:lnTo>
                    <a:lnTo>
                      <a:pt x="70" y="1226"/>
                    </a:lnTo>
                    <a:lnTo>
                      <a:pt x="72" y="1230"/>
                    </a:lnTo>
                    <a:lnTo>
                      <a:pt x="74" y="1230"/>
                    </a:lnTo>
                    <a:lnTo>
                      <a:pt x="76" y="1232"/>
                    </a:lnTo>
                    <a:lnTo>
                      <a:pt x="76" y="1234"/>
                    </a:lnTo>
                    <a:lnTo>
                      <a:pt x="76" y="1236"/>
                    </a:lnTo>
                    <a:lnTo>
                      <a:pt x="74" y="1241"/>
                    </a:lnTo>
                    <a:lnTo>
                      <a:pt x="72" y="1243"/>
                    </a:lnTo>
                    <a:lnTo>
                      <a:pt x="72" y="1243"/>
                    </a:lnTo>
                    <a:lnTo>
                      <a:pt x="72" y="1243"/>
                    </a:lnTo>
                    <a:lnTo>
                      <a:pt x="72" y="1243"/>
                    </a:lnTo>
                    <a:lnTo>
                      <a:pt x="70" y="1243"/>
                    </a:lnTo>
                    <a:lnTo>
                      <a:pt x="68" y="1245"/>
                    </a:lnTo>
                    <a:lnTo>
                      <a:pt x="66" y="1249"/>
                    </a:lnTo>
                    <a:lnTo>
                      <a:pt x="64" y="1251"/>
                    </a:lnTo>
                    <a:lnTo>
                      <a:pt x="64" y="1253"/>
                    </a:lnTo>
                    <a:lnTo>
                      <a:pt x="64" y="1255"/>
                    </a:lnTo>
                    <a:lnTo>
                      <a:pt x="62" y="1261"/>
                    </a:lnTo>
                    <a:lnTo>
                      <a:pt x="64" y="1261"/>
                    </a:lnTo>
                    <a:lnTo>
                      <a:pt x="64" y="1263"/>
                    </a:lnTo>
                    <a:lnTo>
                      <a:pt x="64" y="1265"/>
                    </a:lnTo>
                    <a:lnTo>
                      <a:pt x="64" y="1265"/>
                    </a:lnTo>
                    <a:lnTo>
                      <a:pt x="64" y="1265"/>
                    </a:lnTo>
                    <a:lnTo>
                      <a:pt x="64" y="1265"/>
                    </a:lnTo>
                    <a:lnTo>
                      <a:pt x="64" y="1267"/>
                    </a:lnTo>
                    <a:lnTo>
                      <a:pt x="62" y="1267"/>
                    </a:lnTo>
                    <a:lnTo>
                      <a:pt x="64" y="1269"/>
                    </a:lnTo>
                    <a:lnTo>
                      <a:pt x="64" y="1269"/>
                    </a:lnTo>
                    <a:lnTo>
                      <a:pt x="64" y="1271"/>
                    </a:lnTo>
                    <a:lnTo>
                      <a:pt x="66" y="1271"/>
                    </a:lnTo>
                    <a:lnTo>
                      <a:pt x="64" y="1273"/>
                    </a:lnTo>
                    <a:lnTo>
                      <a:pt x="62" y="1275"/>
                    </a:lnTo>
                    <a:lnTo>
                      <a:pt x="62" y="1275"/>
                    </a:lnTo>
                    <a:lnTo>
                      <a:pt x="62" y="1275"/>
                    </a:lnTo>
                    <a:lnTo>
                      <a:pt x="62" y="1275"/>
                    </a:lnTo>
                    <a:lnTo>
                      <a:pt x="62" y="1275"/>
                    </a:lnTo>
                    <a:lnTo>
                      <a:pt x="60" y="1275"/>
                    </a:lnTo>
                    <a:lnTo>
                      <a:pt x="60" y="1277"/>
                    </a:lnTo>
                    <a:lnTo>
                      <a:pt x="62" y="1279"/>
                    </a:lnTo>
                    <a:lnTo>
                      <a:pt x="62" y="1279"/>
                    </a:lnTo>
                    <a:lnTo>
                      <a:pt x="62" y="1280"/>
                    </a:lnTo>
                    <a:lnTo>
                      <a:pt x="62" y="1282"/>
                    </a:lnTo>
                    <a:lnTo>
                      <a:pt x="62" y="1288"/>
                    </a:lnTo>
                    <a:lnTo>
                      <a:pt x="62" y="1288"/>
                    </a:lnTo>
                    <a:lnTo>
                      <a:pt x="62" y="1292"/>
                    </a:lnTo>
                    <a:lnTo>
                      <a:pt x="64" y="1296"/>
                    </a:lnTo>
                    <a:lnTo>
                      <a:pt x="64" y="1296"/>
                    </a:lnTo>
                    <a:lnTo>
                      <a:pt x="68" y="1302"/>
                    </a:lnTo>
                    <a:lnTo>
                      <a:pt x="68" y="1302"/>
                    </a:lnTo>
                    <a:lnTo>
                      <a:pt x="68" y="1302"/>
                    </a:lnTo>
                    <a:lnTo>
                      <a:pt x="66" y="1302"/>
                    </a:lnTo>
                    <a:lnTo>
                      <a:pt x="66" y="1302"/>
                    </a:lnTo>
                    <a:lnTo>
                      <a:pt x="66" y="1302"/>
                    </a:lnTo>
                    <a:lnTo>
                      <a:pt x="66" y="1302"/>
                    </a:lnTo>
                    <a:lnTo>
                      <a:pt x="68" y="1308"/>
                    </a:lnTo>
                    <a:lnTo>
                      <a:pt x="68" y="1308"/>
                    </a:lnTo>
                    <a:lnTo>
                      <a:pt x="70" y="1308"/>
                    </a:lnTo>
                    <a:lnTo>
                      <a:pt x="72" y="1310"/>
                    </a:lnTo>
                    <a:lnTo>
                      <a:pt x="72" y="1314"/>
                    </a:lnTo>
                    <a:lnTo>
                      <a:pt x="74" y="1314"/>
                    </a:lnTo>
                    <a:lnTo>
                      <a:pt x="74" y="1314"/>
                    </a:lnTo>
                    <a:lnTo>
                      <a:pt x="74" y="1314"/>
                    </a:lnTo>
                    <a:lnTo>
                      <a:pt x="76" y="1314"/>
                    </a:lnTo>
                    <a:lnTo>
                      <a:pt x="76" y="1310"/>
                    </a:lnTo>
                    <a:lnTo>
                      <a:pt x="76" y="1310"/>
                    </a:lnTo>
                    <a:lnTo>
                      <a:pt x="76" y="1306"/>
                    </a:lnTo>
                    <a:lnTo>
                      <a:pt x="74" y="1298"/>
                    </a:lnTo>
                    <a:lnTo>
                      <a:pt x="72" y="1294"/>
                    </a:lnTo>
                    <a:lnTo>
                      <a:pt x="70" y="1292"/>
                    </a:lnTo>
                    <a:lnTo>
                      <a:pt x="70" y="1290"/>
                    </a:lnTo>
                    <a:lnTo>
                      <a:pt x="70" y="1290"/>
                    </a:lnTo>
                    <a:lnTo>
                      <a:pt x="72" y="1286"/>
                    </a:lnTo>
                    <a:lnTo>
                      <a:pt x="74" y="1286"/>
                    </a:lnTo>
                    <a:lnTo>
                      <a:pt x="74" y="1284"/>
                    </a:lnTo>
                    <a:lnTo>
                      <a:pt x="76" y="1282"/>
                    </a:lnTo>
                    <a:lnTo>
                      <a:pt x="94" y="1279"/>
                    </a:lnTo>
                    <a:lnTo>
                      <a:pt x="95" y="1279"/>
                    </a:lnTo>
                    <a:lnTo>
                      <a:pt x="97" y="1279"/>
                    </a:lnTo>
                    <a:lnTo>
                      <a:pt x="107" y="1282"/>
                    </a:lnTo>
                    <a:lnTo>
                      <a:pt x="109" y="1282"/>
                    </a:lnTo>
                    <a:lnTo>
                      <a:pt x="113" y="1282"/>
                    </a:lnTo>
                    <a:lnTo>
                      <a:pt x="115" y="1284"/>
                    </a:lnTo>
                    <a:lnTo>
                      <a:pt x="119" y="1286"/>
                    </a:lnTo>
                    <a:lnTo>
                      <a:pt x="119" y="1286"/>
                    </a:lnTo>
                    <a:lnTo>
                      <a:pt x="119" y="1286"/>
                    </a:lnTo>
                    <a:lnTo>
                      <a:pt x="119" y="1286"/>
                    </a:lnTo>
                    <a:lnTo>
                      <a:pt x="125" y="1290"/>
                    </a:lnTo>
                    <a:lnTo>
                      <a:pt x="129" y="1296"/>
                    </a:lnTo>
                    <a:lnTo>
                      <a:pt x="129" y="1296"/>
                    </a:lnTo>
                    <a:lnTo>
                      <a:pt x="136" y="1294"/>
                    </a:lnTo>
                    <a:lnTo>
                      <a:pt x="160" y="1273"/>
                    </a:lnTo>
                    <a:lnTo>
                      <a:pt x="178" y="1261"/>
                    </a:lnTo>
                    <a:lnTo>
                      <a:pt x="179" y="1259"/>
                    </a:lnTo>
                    <a:lnTo>
                      <a:pt x="183" y="1253"/>
                    </a:lnTo>
                    <a:lnTo>
                      <a:pt x="189" y="1236"/>
                    </a:lnTo>
                    <a:lnTo>
                      <a:pt x="189" y="1234"/>
                    </a:lnTo>
                    <a:lnTo>
                      <a:pt x="191" y="1230"/>
                    </a:lnTo>
                    <a:lnTo>
                      <a:pt x="197" y="1220"/>
                    </a:lnTo>
                    <a:lnTo>
                      <a:pt x="199" y="1218"/>
                    </a:lnTo>
                    <a:lnTo>
                      <a:pt x="201" y="1216"/>
                    </a:lnTo>
                    <a:lnTo>
                      <a:pt x="205" y="1216"/>
                    </a:lnTo>
                    <a:lnTo>
                      <a:pt x="246" y="1212"/>
                    </a:lnTo>
                    <a:lnTo>
                      <a:pt x="246" y="1212"/>
                    </a:lnTo>
                    <a:lnTo>
                      <a:pt x="246" y="1212"/>
                    </a:lnTo>
                    <a:lnTo>
                      <a:pt x="256" y="1214"/>
                    </a:lnTo>
                    <a:lnTo>
                      <a:pt x="260" y="1214"/>
                    </a:lnTo>
                    <a:lnTo>
                      <a:pt x="306" y="1206"/>
                    </a:lnTo>
                    <a:lnTo>
                      <a:pt x="312" y="1204"/>
                    </a:lnTo>
                    <a:lnTo>
                      <a:pt x="322" y="1198"/>
                    </a:lnTo>
                    <a:lnTo>
                      <a:pt x="326" y="1198"/>
                    </a:lnTo>
                    <a:lnTo>
                      <a:pt x="330" y="1197"/>
                    </a:lnTo>
                    <a:lnTo>
                      <a:pt x="334" y="1197"/>
                    </a:lnTo>
                    <a:lnTo>
                      <a:pt x="338" y="1197"/>
                    </a:lnTo>
                    <a:lnTo>
                      <a:pt x="365" y="1204"/>
                    </a:lnTo>
                    <a:lnTo>
                      <a:pt x="388" y="1204"/>
                    </a:lnTo>
                    <a:lnTo>
                      <a:pt x="398" y="1204"/>
                    </a:lnTo>
                    <a:lnTo>
                      <a:pt x="420" y="1204"/>
                    </a:lnTo>
                    <a:lnTo>
                      <a:pt x="435" y="1202"/>
                    </a:lnTo>
                    <a:lnTo>
                      <a:pt x="435" y="1202"/>
                    </a:lnTo>
                    <a:lnTo>
                      <a:pt x="435" y="1202"/>
                    </a:lnTo>
                    <a:lnTo>
                      <a:pt x="471" y="1208"/>
                    </a:lnTo>
                    <a:lnTo>
                      <a:pt x="482" y="1208"/>
                    </a:lnTo>
                    <a:lnTo>
                      <a:pt x="486" y="1210"/>
                    </a:lnTo>
                    <a:lnTo>
                      <a:pt x="498" y="1220"/>
                    </a:lnTo>
                    <a:lnTo>
                      <a:pt x="502" y="1220"/>
                    </a:lnTo>
                    <a:lnTo>
                      <a:pt x="502" y="1222"/>
                    </a:lnTo>
                    <a:lnTo>
                      <a:pt x="541" y="1224"/>
                    </a:lnTo>
                    <a:lnTo>
                      <a:pt x="541" y="1224"/>
                    </a:lnTo>
                    <a:lnTo>
                      <a:pt x="543" y="1224"/>
                    </a:lnTo>
                    <a:lnTo>
                      <a:pt x="543" y="1224"/>
                    </a:lnTo>
                    <a:lnTo>
                      <a:pt x="543" y="1224"/>
                    </a:lnTo>
                    <a:lnTo>
                      <a:pt x="543" y="1224"/>
                    </a:lnTo>
                    <a:lnTo>
                      <a:pt x="543" y="1226"/>
                    </a:lnTo>
                    <a:lnTo>
                      <a:pt x="543" y="1228"/>
                    </a:lnTo>
                    <a:lnTo>
                      <a:pt x="543" y="1228"/>
                    </a:lnTo>
                    <a:lnTo>
                      <a:pt x="543" y="1230"/>
                    </a:lnTo>
                    <a:lnTo>
                      <a:pt x="543" y="1232"/>
                    </a:lnTo>
                    <a:lnTo>
                      <a:pt x="545" y="1234"/>
                    </a:lnTo>
                    <a:lnTo>
                      <a:pt x="545" y="1234"/>
                    </a:lnTo>
                    <a:lnTo>
                      <a:pt x="547" y="1236"/>
                    </a:lnTo>
                    <a:lnTo>
                      <a:pt x="549" y="1236"/>
                    </a:lnTo>
                    <a:lnTo>
                      <a:pt x="584" y="1238"/>
                    </a:lnTo>
                    <a:lnTo>
                      <a:pt x="617" y="1251"/>
                    </a:lnTo>
                    <a:lnTo>
                      <a:pt x="627" y="1253"/>
                    </a:lnTo>
                    <a:lnTo>
                      <a:pt x="631" y="1251"/>
                    </a:lnTo>
                    <a:lnTo>
                      <a:pt x="644" y="1247"/>
                    </a:lnTo>
                    <a:lnTo>
                      <a:pt x="656" y="1247"/>
                    </a:lnTo>
                    <a:lnTo>
                      <a:pt x="660" y="1247"/>
                    </a:lnTo>
                    <a:lnTo>
                      <a:pt x="666" y="1249"/>
                    </a:lnTo>
                    <a:lnTo>
                      <a:pt x="668" y="1249"/>
                    </a:lnTo>
                    <a:lnTo>
                      <a:pt x="670" y="1251"/>
                    </a:lnTo>
                    <a:lnTo>
                      <a:pt x="672" y="1255"/>
                    </a:lnTo>
                    <a:lnTo>
                      <a:pt x="672" y="1255"/>
                    </a:lnTo>
                    <a:lnTo>
                      <a:pt x="672" y="1261"/>
                    </a:lnTo>
                    <a:lnTo>
                      <a:pt x="672" y="1269"/>
                    </a:lnTo>
                    <a:lnTo>
                      <a:pt x="672" y="1269"/>
                    </a:lnTo>
                    <a:lnTo>
                      <a:pt x="672" y="1271"/>
                    </a:lnTo>
                    <a:lnTo>
                      <a:pt x="672" y="1275"/>
                    </a:lnTo>
                    <a:lnTo>
                      <a:pt x="676" y="1277"/>
                    </a:lnTo>
                    <a:lnTo>
                      <a:pt x="678" y="1277"/>
                    </a:lnTo>
                    <a:lnTo>
                      <a:pt x="680" y="1277"/>
                    </a:lnTo>
                    <a:lnTo>
                      <a:pt x="682" y="1277"/>
                    </a:lnTo>
                    <a:lnTo>
                      <a:pt x="683" y="1277"/>
                    </a:lnTo>
                    <a:lnTo>
                      <a:pt x="687" y="1277"/>
                    </a:lnTo>
                    <a:lnTo>
                      <a:pt x="687" y="1279"/>
                    </a:lnTo>
                    <a:lnTo>
                      <a:pt x="687" y="1282"/>
                    </a:lnTo>
                    <a:lnTo>
                      <a:pt x="683" y="1288"/>
                    </a:lnTo>
                    <a:lnTo>
                      <a:pt x="683" y="1292"/>
                    </a:lnTo>
                    <a:lnTo>
                      <a:pt x="685" y="1294"/>
                    </a:lnTo>
                    <a:lnTo>
                      <a:pt x="689" y="1294"/>
                    </a:lnTo>
                    <a:lnTo>
                      <a:pt x="693" y="1292"/>
                    </a:lnTo>
                    <a:lnTo>
                      <a:pt x="695" y="1292"/>
                    </a:lnTo>
                    <a:lnTo>
                      <a:pt x="699" y="1292"/>
                    </a:lnTo>
                    <a:lnTo>
                      <a:pt x="705" y="1294"/>
                    </a:lnTo>
                    <a:lnTo>
                      <a:pt x="709" y="1292"/>
                    </a:lnTo>
                    <a:lnTo>
                      <a:pt x="709" y="1292"/>
                    </a:lnTo>
                    <a:lnTo>
                      <a:pt x="713" y="1292"/>
                    </a:lnTo>
                    <a:lnTo>
                      <a:pt x="717" y="1286"/>
                    </a:lnTo>
                    <a:lnTo>
                      <a:pt x="721" y="1284"/>
                    </a:lnTo>
                    <a:lnTo>
                      <a:pt x="721" y="1284"/>
                    </a:lnTo>
                    <a:lnTo>
                      <a:pt x="726" y="1284"/>
                    </a:lnTo>
                    <a:lnTo>
                      <a:pt x="744" y="1292"/>
                    </a:lnTo>
                    <a:lnTo>
                      <a:pt x="750" y="1292"/>
                    </a:lnTo>
                    <a:lnTo>
                      <a:pt x="754" y="1292"/>
                    </a:lnTo>
                    <a:lnTo>
                      <a:pt x="756" y="1292"/>
                    </a:lnTo>
                    <a:lnTo>
                      <a:pt x="756" y="1294"/>
                    </a:lnTo>
                    <a:lnTo>
                      <a:pt x="760" y="1300"/>
                    </a:lnTo>
                    <a:lnTo>
                      <a:pt x="758" y="1306"/>
                    </a:lnTo>
                    <a:lnTo>
                      <a:pt x="752" y="1320"/>
                    </a:lnTo>
                    <a:lnTo>
                      <a:pt x="752" y="1320"/>
                    </a:lnTo>
                    <a:lnTo>
                      <a:pt x="752" y="1320"/>
                    </a:lnTo>
                    <a:lnTo>
                      <a:pt x="754" y="1321"/>
                    </a:lnTo>
                    <a:lnTo>
                      <a:pt x="756" y="1323"/>
                    </a:lnTo>
                    <a:lnTo>
                      <a:pt x="758" y="1325"/>
                    </a:lnTo>
                    <a:lnTo>
                      <a:pt x="758" y="1325"/>
                    </a:lnTo>
                    <a:lnTo>
                      <a:pt x="760" y="1327"/>
                    </a:lnTo>
                    <a:lnTo>
                      <a:pt x="764" y="1327"/>
                    </a:lnTo>
                    <a:lnTo>
                      <a:pt x="766" y="1325"/>
                    </a:lnTo>
                    <a:lnTo>
                      <a:pt x="773" y="1316"/>
                    </a:lnTo>
                    <a:lnTo>
                      <a:pt x="773" y="1314"/>
                    </a:lnTo>
                    <a:lnTo>
                      <a:pt x="773" y="1314"/>
                    </a:lnTo>
                    <a:lnTo>
                      <a:pt x="773" y="1310"/>
                    </a:lnTo>
                    <a:lnTo>
                      <a:pt x="773" y="1308"/>
                    </a:lnTo>
                    <a:lnTo>
                      <a:pt x="773" y="1306"/>
                    </a:lnTo>
                    <a:lnTo>
                      <a:pt x="773" y="1304"/>
                    </a:lnTo>
                    <a:lnTo>
                      <a:pt x="773" y="1302"/>
                    </a:lnTo>
                    <a:lnTo>
                      <a:pt x="773" y="1300"/>
                    </a:lnTo>
                    <a:lnTo>
                      <a:pt x="773" y="1298"/>
                    </a:lnTo>
                    <a:lnTo>
                      <a:pt x="775" y="1294"/>
                    </a:lnTo>
                    <a:lnTo>
                      <a:pt x="777" y="1290"/>
                    </a:lnTo>
                    <a:lnTo>
                      <a:pt x="777" y="1290"/>
                    </a:lnTo>
                    <a:lnTo>
                      <a:pt x="777" y="1290"/>
                    </a:lnTo>
                    <a:lnTo>
                      <a:pt x="779" y="1286"/>
                    </a:lnTo>
                    <a:lnTo>
                      <a:pt x="783" y="1286"/>
                    </a:lnTo>
                    <a:lnTo>
                      <a:pt x="783" y="1286"/>
                    </a:lnTo>
                    <a:lnTo>
                      <a:pt x="783" y="1286"/>
                    </a:lnTo>
                    <a:lnTo>
                      <a:pt x="783" y="1286"/>
                    </a:lnTo>
                    <a:lnTo>
                      <a:pt x="787" y="1288"/>
                    </a:lnTo>
                    <a:lnTo>
                      <a:pt x="797" y="1300"/>
                    </a:lnTo>
                    <a:lnTo>
                      <a:pt x="799" y="1300"/>
                    </a:lnTo>
                    <a:lnTo>
                      <a:pt x="801" y="1302"/>
                    </a:lnTo>
                    <a:lnTo>
                      <a:pt x="803" y="1302"/>
                    </a:lnTo>
                    <a:lnTo>
                      <a:pt x="803" y="1302"/>
                    </a:lnTo>
                    <a:lnTo>
                      <a:pt x="820" y="1302"/>
                    </a:lnTo>
                    <a:lnTo>
                      <a:pt x="820" y="1302"/>
                    </a:lnTo>
                    <a:lnTo>
                      <a:pt x="822" y="1300"/>
                    </a:lnTo>
                    <a:lnTo>
                      <a:pt x="824" y="1300"/>
                    </a:lnTo>
                    <a:lnTo>
                      <a:pt x="828" y="1298"/>
                    </a:lnTo>
                    <a:lnTo>
                      <a:pt x="828" y="1296"/>
                    </a:lnTo>
                    <a:lnTo>
                      <a:pt x="832" y="1286"/>
                    </a:lnTo>
                    <a:lnTo>
                      <a:pt x="834" y="1284"/>
                    </a:lnTo>
                    <a:lnTo>
                      <a:pt x="836" y="1282"/>
                    </a:lnTo>
                    <a:lnTo>
                      <a:pt x="838" y="1280"/>
                    </a:lnTo>
                    <a:lnTo>
                      <a:pt x="840" y="1279"/>
                    </a:lnTo>
                    <a:lnTo>
                      <a:pt x="844" y="1277"/>
                    </a:lnTo>
                    <a:lnTo>
                      <a:pt x="848" y="1277"/>
                    </a:lnTo>
                    <a:lnTo>
                      <a:pt x="848" y="1279"/>
                    </a:lnTo>
                    <a:lnTo>
                      <a:pt x="850" y="1280"/>
                    </a:lnTo>
                    <a:lnTo>
                      <a:pt x="850" y="1282"/>
                    </a:lnTo>
                    <a:lnTo>
                      <a:pt x="850" y="1284"/>
                    </a:lnTo>
                    <a:lnTo>
                      <a:pt x="850" y="1284"/>
                    </a:lnTo>
                    <a:lnTo>
                      <a:pt x="850" y="1286"/>
                    </a:lnTo>
                    <a:lnTo>
                      <a:pt x="851" y="1290"/>
                    </a:lnTo>
                    <a:lnTo>
                      <a:pt x="853" y="1292"/>
                    </a:lnTo>
                    <a:lnTo>
                      <a:pt x="857" y="1296"/>
                    </a:lnTo>
                    <a:lnTo>
                      <a:pt x="859" y="1298"/>
                    </a:lnTo>
                    <a:lnTo>
                      <a:pt x="859" y="1298"/>
                    </a:lnTo>
                    <a:lnTo>
                      <a:pt x="861" y="1300"/>
                    </a:lnTo>
                    <a:lnTo>
                      <a:pt x="861" y="1300"/>
                    </a:lnTo>
                    <a:lnTo>
                      <a:pt x="863" y="1308"/>
                    </a:lnTo>
                    <a:lnTo>
                      <a:pt x="863" y="1310"/>
                    </a:lnTo>
                    <a:lnTo>
                      <a:pt x="865" y="1312"/>
                    </a:lnTo>
                    <a:lnTo>
                      <a:pt x="869" y="1310"/>
                    </a:lnTo>
                    <a:lnTo>
                      <a:pt x="871" y="1306"/>
                    </a:lnTo>
                    <a:lnTo>
                      <a:pt x="873" y="1306"/>
                    </a:lnTo>
                    <a:lnTo>
                      <a:pt x="877" y="1302"/>
                    </a:lnTo>
                    <a:lnTo>
                      <a:pt x="881" y="1300"/>
                    </a:lnTo>
                    <a:lnTo>
                      <a:pt x="885" y="1298"/>
                    </a:lnTo>
                    <a:lnTo>
                      <a:pt x="885" y="1298"/>
                    </a:lnTo>
                    <a:lnTo>
                      <a:pt x="891" y="1298"/>
                    </a:lnTo>
                    <a:lnTo>
                      <a:pt x="891" y="1298"/>
                    </a:lnTo>
                    <a:lnTo>
                      <a:pt x="891" y="1298"/>
                    </a:lnTo>
                    <a:lnTo>
                      <a:pt x="904" y="1302"/>
                    </a:lnTo>
                    <a:lnTo>
                      <a:pt x="906" y="1302"/>
                    </a:lnTo>
                    <a:lnTo>
                      <a:pt x="908" y="1304"/>
                    </a:lnTo>
                    <a:lnTo>
                      <a:pt x="910" y="1306"/>
                    </a:lnTo>
                    <a:lnTo>
                      <a:pt x="910" y="1308"/>
                    </a:lnTo>
                    <a:lnTo>
                      <a:pt x="910" y="1310"/>
                    </a:lnTo>
                    <a:lnTo>
                      <a:pt x="910" y="1312"/>
                    </a:lnTo>
                    <a:lnTo>
                      <a:pt x="914" y="1327"/>
                    </a:lnTo>
                    <a:lnTo>
                      <a:pt x="914" y="1329"/>
                    </a:lnTo>
                    <a:lnTo>
                      <a:pt x="914" y="1331"/>
                    </a:lnTo>
                    <a:lnTo>
                      <a:pt x="916" y="1333"/>
                    </a:lnTo>
                    <a:lnTo>
                      <a:pt x="916" y="1333"/>
                    </a:lnTo>
                    <a:lnTo>
                      <a:pt x="920" y="1335"/>
                    </a:lnTo>
                    <a:lnTo>
                      <a:pt x="922" y="1335"/>
                    </a:lnTo>
                    <a:lnTo>
                      <a:pt x="922" y="1335"/>
                    </a:lnTo>
                    <a:lnTo>
                      <a:pt x="924" y="1333"/>
                    </a:lnTo>
                    <a:lnTo>
                      <a:pt x="926" y="1333"/>
                    </a:lnTo>
                    <a:lnTo>
                      <a:pt x="926" y="1333"/>
                    </a:lnTo>
                    <a:lnTo>
                      <a:pt x="926" y="1333"/>
                    </a:lnTo>
                    <a:lnTo>
                      <a:pt x="928" y="1337"/>
                    </a:lnTo>
                    <a:lnTo>
                      <a:pt x="928" y="1341"/>
                    </a:lnTo>
                    <a:lnTo>
                      <a:pt x="928" y="1341"/>
                    </a:lnTo>
                    <a:lnTo>
                      <a:pt x="928" y="1341"/>
                    </a:lnTo>
                    <a:lnTo>
                      <a:pt x="930" y="1345"/>
                    </a:lnTo>
                    <a:lnTo>
                      <a:pt x="934" y="1341"/>
                    </a:lnTo>
                    <a:lnTo>
                      <a:pt x="934" y="1339"/>
                    </a:lnTo>
                    <a:lnTo>
                      <a:pt x="934" y="1337"/>
                    </a:lnTo>
                    <a:lnTo>
                      <a:pt x="934" y="1327"/>
                    </a:lnTo>
                    <a:lnTo>
                      <a:pt x="934" y="1321"/>
                    </a:lnTo>
                    <a:lnTo>
                      <a:pt x="935" y="1318"/>
                    </a:lnTo>
                    <a:lnTo>
                      <a:pt x="937" y="1314"/>
                    </a:lnTo>
                    <a:lnTo>
                      <a:pt x="941" y="1310"/>
                    </a:lnTo>
                    <a:lnTo>
                      <a:pt x="947" y="1304"/>
                    </a:lnTo>
                    <a:lnTo>
                      <a:pt x="947" y="1304"/>
                    </a:lnTo>
                    <a:lnTo>
                      <a:pt x="949" y="1304"/>
                    </a:lnTo>
                    <a:lnTo>
                      <a:pt x="953" y="1302"/>
                    </a:lnTo>
                    <a:lnTo>
                      <a:pt x="957" y="1300"/>
                    </a:lnTo>
                    <a:lnTo>
                      <a:pt x="965" y="1300"/>
                    </a:lnTo>
                    <a:lnTo>
                      <a:pt x="969" y="1300"/>
                    </a:lnTo>
                    <a:lnTo>
                      <a:pt x="971" y="1300"/>
                    </a:lnTo>
                    <a:lnTo>
                      <a:pt x="973" y="1300"/>
                    </a:lnTo>
                    <a:lnTo>
                      <a:pt x="975" y="1296"/>
                    </a:lnTo>
                    <a:lnTo>
                      <a:pt x="977" y="1292"/>
                    </a:lnTo>
                    <a:lnTo>
                      <a:pt x="977" y="41"/>
                    </a:lnTo>
                    <a:lnTo>
                      <a:pt x="973" y="43"/>
                    </a:lnTo>
                    <a:lnTo>
                      <a:pt x="963" y="4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73" name="Freeform 773">
                <a:extLst>
                  <a:ext uri="{FF2B5EF4-FFF2-40B4-BE49-F238E27FC236}">
                    <a16:creationId xmlns:a16="http://schemas.microsoft.com/office/drawing/2014/main" id="{4AD2D3BF-D5F8-4DAF-A5B5-E89A7AF839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16"/>
                <a:ext cx="10" cy="47"/>
              </a:xfrm>
              <a:custGeom>
                <a:avLst/>
                <a:gdLst>
                  <a:gd name="T0" fmla="*/ 2 w 10"/>
                  <a:gd name="T1" fmla="*/ 47 h 47"/>
                  <a:gd name="T2" fmla="*/ 2 w 10"/>
                  <a:gd name="T3" fmla="*/ 47 h 47"/>
                  <a:gd name="T4" fmla="*/ 4 w 10"/>
                  <a:gd name="T5" fmla="*/ 47 h 47"/>
                  <a:gd name="T6" fmla="*/ 6 w 10"/>
                  <a:gd name="T7" fmla="*/ 47 h 47"/>
                  <a:gd name="T8" fmla="*/ 8 w 10"/>
                  <a:gd name="T9" fmla="*/ 45 h 47"/>
                  <a:gd name="T10" fmla="*/ 10 w 10"/>
                  <a:gd name="T11" fmla="*/ 45 h 47"/>
                  <a:gd name="T12" fmla="*/ 8 w 10"/>
                  <a:gd name="T13" fmla="*/ 43 h 47"/>
                  <a:gd name="T14" fmla="*/ 8 w 10"/>
                  <a:gd name="T15" fmla="*/ 41 h 47"/>
                  <a:gd name="T16" fmla="*/ 8 w 10"/>
                  <a:gd name="T17" fmla="*/ 41 h 47"/>
                  <a:gd name="T18" fmla="*/ 8 w 10"/>
                  <a:gd name="T19" fmla="*/ 41 h 47"/>
                  <a:gd name="T20" fmla="*/ 2 w 10"/>
                  <a:gd name="T21" fmla="*/ 29 h 47"/>
                  <a:gd name="T22" fmla="*/ 2 w 10"/>
                  <a:gd name="T23" fmla="*/ 27 h 47"/>
                  <a:gd name="T24" fmla="*/ 4 w 10"/>
                  <a:gd name="T25" fmla="*/ 23 h 47"/>
                  <a:gd name="T26" fmla="*/ 4 w 10"/>
                  <a:gd name="T27" fmla="*/ 23 h 47"/>
                  <a:gd name="T28" fmla="*/ 4 w 10"/>
                  <a:gd name="T29" fmla="*/ 18 h 47"/>
                  <a:gd name="T30" fmla="*/ 6 w 10"/>
                  <a:gd name="T31" fmla="*/ 16 h 47"/>
                  <a:gd name="T32" fmla="*/ 6 w 10"/>
                  <a:gd name="T33" fmla="*/ 14 h 47"/>
                  <a:gd name="T34" fmla="*/ 4 w 10"/>
                  <a:gd name="T35" fmla="*/ 12 h 47"/>
                  <a:gd name="T36" fmla="*/ 4 w 10"/>
                  <a:gd name="T37" fmla="*/ 12 h 47"/>
                  <a:gd name="T38" fmla="*/ 2 w 10"/>
                  <a:gd name="T39" fmla="*/ 10 h 47"/>
                  <a:gd name="T40" fmla="*/ 2 w 10"/>
                  <a:gd name="T41" fmla="*/ 10 h 47"/>
                  <a:gd name="T42" fmla="*/ 0 w 10"/>
                  <a:gd name="T43" fmla="*/ 8 h 47"/>
                  <a:gd name="T44" fmla="*/ 0 w 10"/>
                  <a:gd name="T45" fmla="*/ 8 h 47"/>
                  <a:gd name="T46" fmla="*/ 0 w 10"/>
                  <a:gd name="T47" fmla="*/ 4 h 47"/>
                  <a:gd name="T48" fmla="*/ 0 w 10"/>
                  <a:gd name="T49" fmla="*/ 2 h 47"/>
                  <a:gd name="T50" fmla="*/ 0 w 10"/>
                  <a:gd name="T51" fmla="*/ 2 h 47"/>
                  <a:gd name="T52" fmla="*/ 0 w 10"/>
                  <a:gd name="T53" fmla="*/ 2 h 47"/>
                  <a:gd name="T54" fmla="*/ 0 w 10"/>
                  <a:gd name="T55" fmla="*/ 2 h 47"/>
                  <a:gd name="T56" fmla="*/ 2 w 10"/>
                  <a:gd name="T57" fmla="*/ 0 h 47"/>
                  <a:gd name="T58" fmla="*/ 2 w 10"/>
                  <a:gd name="T59" fmla="*/ 0 h 47"/>
                  <a:gd name="T60" fmla="*/ 0 w 10"/>
                  <a:gd name="T61" fmla="*/ 0 h 47"/>
                  <a:gd name="T62" fmla="*/ 0 w 10"/>
                  <a:gd name="T63" fmla="*/ 47 h 47"/>
                  <a:gd name="T64" fmla="*/ 0 w 10"/>
                  <a:gd name="T65" fmla="*/ 47 h 47"/>
                  <a:gd name="T66" fmla="*/ 2 w 10"/>
                  <a:gd name="T67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" h="47">
                    <a:moveTo>
                      <a:pt x="2" y="47"/>
                    </a:moveTo>
                    <a:lnTo>
                      <a:pt x="2" y="47"/>
                    </a:lnTo>
                    <a:lnTo>
                      <a:pt x="4" y="47"/>
                    </a:lnTo>
                    <a:lnTo>
                      <a:pt x="6" y="47"/>
                    </a:lnTo>
                    <a:lnTo>
                      <a:pt x="8" y="45"/>
                    </a:lnTo>
                    <a:lnTo>
                      <a:pt x="10" y="45"/>
                    </a:lnTo>
                    <a:lnTo>
                      <a:pt x="8" y="43"/>
                    </a:lnTo>
                    <a:lnTo>
                      <a:pt x="8" y="41"/>
                    </a:lnTo>
                    <a:lnTo>
                      <a:pt x="8" y="41"/>
                    </a:lnTo>
                    <a:lnTo>
                      <a:pt x="8" y="41"/>
                    </a:lnTo>
                    <a:lnTo>
                      <a:pt x="2" y="29"/>
                    </a:lnTo>
                    <a:lnTo>
                      <a:pt x="2" y="27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18"/>
                    </a:lnTo>
                    <a:lnTo>
                      <a:pt x="6" y="16"/>
                    </a:lnTo>
                    <a:lnTo>
                      <a:pt x="6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47"/>
                    </a:lnTo>
                    <a:lnTo>
                      <a:pt x="0" y="47"/>
                    </a:lnTo>
                    <a:lnTo>
                      <a:pt x="2" y="4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74" name="Freeform 774">
                <a:extLst>
                  <a:ext uri="{FF2B5EF4-FFF2-40B4-BE49-F238E27FC236}">
                    <a16:creationId xmlns:a16="http://schemas.microsoft.com/office/drawing/2014/main" id="{B341169F-6A70-42C1-972D-4A5384F50B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2526"/>
                <a:ext cx="1151" cy="1097"/>
              </a:xfrm>
              <a:custGeom>
                <a:avLst/>
                <a:gdLst>
                  <a:gd name="T0" fmla="*/ 1108 w 1151"/>
                  <a:gd name="T1" fmla="*/ 124 h 1097"/>
                  <a:gd name="T2" fmla="*/ 1098 w 1151"/>
                  <a:gd name="T3" fmla="*/ 136 h 1097"/>
                  <a:gd name="T4" fmla="*/ 1082 w 1151"/>
                  <a:gd name="T5" fmla="*/ 107 h 1097"/>
                  <a:gd name="T6" fmla="*/ 1035 w 1151"/>
                  <a:gd name="T7" fmla="*/ 103 h 1097"/>
                  <a:gd name="T8" fmla="*/ 1018 w 1151"/>
                  <a:gd name="T9" fmla="*/ 80 h 1097"/>
                  <a:gd name="T10" fmla="*/ 994 w 1151"/>
                  <a:gd name="T11" fmla="*/ 105 h 1097"/>
                  <a:gd name="T12" fmla="*/ 947 w 1151"/>
                  <a:gd name="T13" fmla="*/ 107 h 1097"/>
                  <a:gd name="T14" fmla="*/ 926 w 1151"/>
                  <a:gd name="T15" fmla="*/ 123 h 1097"/>
                  <a:gd name="T16" fmla="*/ 887 w 1151"/>
                  <a:gd name="T17" fmla="*/ 95 h 1097"/>
                  <a:gd name="T18" fmla="*/ 856 w 1151"/>
                  <a:gd name="T19" fmla="*/ 80 h 1097"/>
                  <a:gd name="T20" fmla="*/ 840 w 1151"/>
                  <a:gd name="T21" fmla="*/ 52 h 1097"/>
                  <a:gd name="T22" fmla="*/ 717 w 1151"/>
                  <a:gd name="T23" fmla="*/ 31 h 1097"/>
                  <a:gd name="T24" fmla="*/ 594 w 1151"/>
                  <a:gd name="T25" fmla="*/ 7 h 1097"/>
                  <a:gd name="T26" fmla="*/ 375 w 1151"/>
                  <a:gd name="T27" fmla="*/ 19 h 1097"/>
                  <a:gd name="T28" fmla="*/ 293 w 1151"/>
                  <a:gd name="T29" fmla="*/ 89 h 1097"/>
                  <a:gd name="T30" fmla="*/ 246 w 1151"/>
                  <a:gd name="T31" fmla="*/ 97 h 1097"/>
                  <a:gd name="T32" fmla="*/ 254 w 1151"/>
                  <a:gd name="T33" fmla="*/ 130 h 1097"/>
                  <a:gd name="T34" fmla="*/ 260 w 1151"/>
                  <a:gd name="T35" fmla="*/ 175 h 1097"/>
                  <a:gd name="T36" fmla="*/ 301 w 1151"/>
                  <a:gd name="T37" fmla="*/ 253 h 1097"/>
                  <a:gd name="T38" fmla="*/ 312 w 1151"/>
                  <a:gd name="T39" fmla="*/ 296 h 1097"/>
                  <a:gd name="T40" fmla="*/ 330 w 1151"/>
                  <a:gd name="T41" fmla="*/ 351 h 1097"/>
                  <a:gd name="T42" fmla="*/ 271 w 1151"/>
                  <a:gd name="T43" fmla="*/ 415 h 1097"/>
                  <a:gd name="T44" fmla="*/ 170 w 1151"/>
                  <a:gd name="T45" fmla="*/ 519 h 1097"/>
                  <a:gd name="T46" fmla="*/ 105 w 1151"/>
                  <a:gd name="T47" fmla="*/ 601 h 1097"/>
                  <a:gd name="T48" fmla="*/ 101 w 1151"/>
                  <a:gd name="T49" fmla="*/ 706 h 1097"/>
                  <a:gd name="T50" fmla="*/ 121 w 1151"/>
                  <a:gd name="T51" fmla="*/ 751 h 1097"/>
                  <a:gd name="T52" fmla="*/ 103 w 1151"/>
                  <a:gd name="T53" fmla="*/ 761 h 1097"/>
                  <a:gd name="T54" fmla="*/ 64 w 1151"/>
                  <a:gd name="T55" fmla="*/ 773 h 1097"/>
                  <a:gd name="T56" fmla="*/ 45 w 1151"/>
                  <a:gd name="T57" fmla="*/ 804 h 1097"/>
                  <a:gd name="T58" fmla="*/ 39 w 1151"/>
                  <a:gd name="T59" fmla="*/ 829 h 1097"/>
                  <a:gd name="T60" fmla="*/ 27 w 1151"/>
                  <a:gd name="T61" fmla="*/ 857 h 1097"/>
                  <a:gd name="T62" fmla="*/ 2 w 1151"/>
                  <a:gd name="T63" fmla="*/ 900 h 1097"/>
                  <a:gd name="T64" fmla="*/ 27 w 1151"/>
                  <a:gd name="T65" fmla="*/ 935 h 1097"/>
                  <a:gd name="T66" fmla="*/ 51 w 1151"/>
                  <a:gd name="T67" fmla="*/ 966 h 1097"/>
                  <a:gd name="T68" fmla="*/ 100 w 1151"/>
                  <a:gd name="T69" fmla="*/ 995 h 1097"/>
                  <a:gd name="T70" fmla="*/ 125 w 1151"/>
                  <a:gd name="T71" fmla="*/ 1038 h 1097"/>
                  <a:gd name="T72" fmla="*/ 146 w 1151"/>
                  <a:gd name="T73" fmla="*/ 1028 h 1097"/>
                  <a:gd name="T74" fmla="*/ 185 w 1151"/>
                  <a:gd name="T75" fmla="*/ 1007 h 1097"/>
                  <a:gd name="T76" fmla="*/ 211 w 1151"/>
                  <a:gd name="T77" fmla="*/ 1027 h 1097"/>
                  <a:gd name="T78" fmla="*/ 240 w 1151"/>
                  <a:gd name="T79" fmla="*/ 1023 h 1097"/>
                  <a:gd name="T80" fmla="*/ 287 w 1151"/>
                  <a:gd name="T81" fmla="*/ 1038 h 1097"/>
                  <a:gd name="T82" fmla="*/ 338 w 1151"/>
                  <a:gd name="T83" fmla="*/ 1046 h 1097"/>
                  <a:gd name="T84" fmla="*/ 408 w 1151"/>
                  <a:gd name="T85" fmla="*/ 1040 h 1097"/>
                  <a:gd name="T86" fmla="*/ 455 w 1151"/>
                  <a:gd name="T87" fmla="*/ 1089 h 1097"/>
                  <a:gd name="T88" fmla="*/ 523 w 1151"/>
                  <a:gd name="T89" fmla="*/ 1050 h 1097"/>
                  <a:gd name="T90" fmla="*/ 664 w 1151"/>
                  <a:gd name="T91" fmla="*/ 1030 h 1097"/>
                  <a:gd name="T92" fmla="*/ 697 w 1151"/>
                  <a:gd name="T93" fmla="*/ 974 h 1097"/>
                  <a:gd name="T94" fmla="*/ 742 w 1151"/>
                  <a:gd name="T95" fmla="*/ 962 h 1097"/>
                  <a:gd name="T96" fmla="*/ 762 w 1151"/>
                  <a:gd name="T97" fmla="*/ 943 h 1097"/>
                  <a:gd name="T98" fmla="*/ 777 w 1151"/>
                  <a:gd name="T99" fmla="*/ 935 h 1097"/>
                  <a:gd name="T100" fmla="*/ 793 w 1151"/>
                  <a:gd name="T101" fmla="*/ 929 h 1097"/>
                  <a:gd name="T102" fmla="*/ 820 w 1151"/>
                  <a:gd name="T103" fmla="*/ 935 h 1097"/>
                  <a:gd name="T104" fmla="*/ 844 w 1151"/>
                  <a:gd name="T105" fmla="*/ 935 h 1097"/>
                  <a:gd name="T106" fmla="*/ 891 w 1151"/>
                  <a:gd name="T107" fmla="*/ 915 h 1097"/>
                  <a:gd name="T108" fmla="*/ 926 w 1151"/>
                  <a:gd name="T109" fmla="*/ 911 h 1097"/>
                  <a:gd name="T110" fmla="*/ 981 w 1151"/>
                  <a:gd name="T111" fmla="*/ 943 h 1097"/>
                  <a:gd name="T112" fmla="*/ 1012 w 1151"/>
                  <a:gd name="T113" fmla="*/ 960 h 1097"/>
                  <a:gd name="T114" fmla="*/ 1041 w 1151"/>
                  <a:gd name="T115" fmla="*/ 964 h 1097"/>
                  <a:gd name="T116" fmla="*/ 1035 w 1151"/>
                  <a:gd name="T117" fmla="*/ 991 h 1097"/>
                  <a:gd name="T118" fmla="*/ 1053 w 1151"/>
                  <a:gd name="T119" fmla="*/ 984 h 1097"/>
                  <a:gd name="T120" fmla="*/ 1067 w 1151"/>
                  <a:gd name="T121" fmla="*/ 997 h 1097"/>
                  <a:gd name="T122" fmla="*/ 1111 w 1151"/>
                  <a:gd name="T123" fmla="*/ 993 h 1097"/>
                  <a:gd name="T124" fmla="*/ 1123 w 1151"/>
                  <a:gd name="T125" fmla="*/ 1021 h 10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51" h="1097">
                    <a:moveTo>
                      <a:pt x="1147" y="103"/>
                    </a:moveTo>
                    <a:lnTo>
                      <a:pt x="1147" y="103"/>
                    </a:lnTo>
                    <a:lnTo>
                      <a:pt x="1147" y="103"/>
                    </a:lnTo>
                    <a:lnTo>
                      <a:pt x="1145" y="103"/>
                    </a:lnTo>
                    <a:lnTo>
                      <a:pt x="1143" y="103"/>
                    </a:lnTo>
                    <a:lnTo>
                      <a:pt x="1139" y="103"/>
                    </a:lnTo>
                    <a:lnTo>
                      <a:pt x="1131" y="103"/>
                    </a:lnTo>
                    <a:lnTo>
                      <a:pt x="1127" y="105"/>
                    </a:lnTo>
                    <a:lnTo>
                      <a:pt x="1123" y="107"/>
                    </a:lnTo>
                    <a:lnTo>
                      <a:pt x="1121" y="107"/>
                    </a:lnTo>
                    <a:lnTo>
                      <a:pt x="1121" y="107"/>
                    </a:lnTo>
                    <a:lnTo>
                      <a:pt x="1115" y="113"/>
                    </a:lnTo>
                    <a:lnTo>
                      <a:pt x="1111" y="117"/>
                    </a:lnTo>
                    <a:lnTo>
                      <a:pt x="1109" y="121"/>
                    </a:lnTo>
                    <a:lnTo>
                      <a:pt x="1108" y="124"/>
                    </a:lnTo>
                    <a:lnTo>
                      <a:pt x="1108" y="130"/>
                    </a:lnTo>
                    <a:lnTo>
                      <a:pt x="1108" y="140"/>
                    </a:lnTo>
                    <a:lnTo>
                      <a:pt x="1108" y="140"/>
                    </a:lnTo>
                    <a:lnTo>
                      <a:pt x="1108" y="140"/>
                    </a:lnTo>
                    <a:lnTo>
                      <a:pt x="1108" y="142"/>
                    </a:lnTo>
                    <a:lnTo>
                      <a:pt x="1108" y="144"/>
                    </a:lnTo>
                    <a:lnTo>
                      <a:pt x="1104" y="148"/>
                    </a:lnTo>
                    <a:lnTo>
                      <a:pt x="1104" y="148"/>
                    </a:lnTo>
                    <a:lnTo>
                      <a:pt x="1104" y="148"/>
                    </a:lnTo>
                    <a:lnTo>
                      <a:pt x="1102" y="144"/>
                    </a:lnTo>
                    <a:lnTo>
                      <a:pt x="1102" y="144"/>
                    </a:lnTo>
                    <a:lnTo>
                      <a:pt x="1102" y="144"/>
                    </a:lnTo>
                    <a:lnTo>
                      <a:pt x="1102" y="140"/>
                    </a:lnTo>
                    <a:lnTo>
                      <a:pt x="1100" y="136"/>
                    </a:lnTo>
                    <a:lnTo>
                      <a:pt x="1098" y="136"/>
                    </a:lnTo>
                    <a:lnTo>
                      <a:pt x="1096" y="138"/>
                    </a:lnTo>
                    <a:lnTo>
                      <a:pt x="1096" y="138"/>
                    </a:lnTo>
                    <a:lnTo>
                      <a:pt x="1096" y="138"/>
                    </a:lnTo>
                    <a:lnTo>
                      <a:pt x="1096" y="138"/>
                    </a:lnTo>
                    <a:lnTo>
                      <a:pt x="1094" y="138"/>
                    </a:lnTo>
                    <a:lnTo>
                      <a:pt x="1090" y="136"/>
                    </a:lnTo>
                    <a:lnTo>
                      <a:pt x="1090" y="136"/>
                    </a:lnTo>
                    <a:lnTo>
                      <a:pt x="1088" y="134"/>
                    </a:lnTo>
                    <a:lnTo>
                      <a:pt x="1088" y="132"/>
                    </a:lnTo>
                    <a:lnTo>
                      <a:pt x="1088" y="130"/>
                    </a:lnTo>
                    <a:lnTo>
                      <a:pt x="1084" y="115"/>
                    </a:lnTo>
                    <a:lnTo>
                      <a:pt x="1084" y="113"/>
                    </a:lnTo>
                    <a:lnTo>
                      <a:pt x="1084" y="111"/>
                    </a:lnTo>
                    <a:lnTo>
                      <a:pt x="1084" y="109"/>
                    </a:lnTo>
                    <a:lnTo>
                      <a:pt x="1082" y="107"/>
                    </a:lnTo>
                    <a:lnTo>
                      <a:pt x="1080" y="105"/>
                    </a:lnTo>
                    <a:lnTo>
                      <a:pt x="1078" y="105"/>
                    </a:lnTo>
                    <a:lnTo>
                      <a:pt x="1065" y="101"/>
                    </a:lnTo>
                    <a:lnTo>
                      <a:pt x="1059" y="101"/>
                    </a:lnTo>
                    <a:lnTo>
                      <a:pt x="1059" y="101"/>
                    </a:lnTo>
                    <a:lnTo>
                      <a:pt x="1055" y="103"/>
                    </a:lnTo>
                    <a:lnTo>
                      <a:pt x="1051" y="105"/>
                    </a:lnTo>
                    <a:lnTo>
                      <a:pt x="1047" y="109"/>
                    </a:lnTo>
                    <a:lnTo>
                      <a:pt x="1045" y="109"/>
                    </a:lnTo>
                    <a:lnTo>
                      <a:pt x="1043" y="113"/>
                    </a:lnTo>
                    <a:lnTo>
                      <a:pt x="1039" y="115"/>
                    </a:lnTo>
                    <a:lnTo>
                      <a:pt x="1037" y="113"/>
                    </a:lnTo>
                    <a:lnTo>
                      <a:pt x="1037" y="111"/>
                    </a:lnTo>
                    <a:lnTo>
                      <a:pt x="1035" y="103"/>
                    </a:lnTo>
                    <a:lnTo>
                      <a:pt x="1035" y="103"/>
                    </a:lnTo>
                    <a:lnTo>
                      <a:pt x="1033" y="101"/>
                    </a:lnTo>
                    <a:lnTo>
                      <a:pt x="1033" y="101"/>
                    </a:lnTo>
                    <a:lnTo>
                      <a:pt x="1031" y="99"/>
                    </a:lnTo>
                    <a:lnTo>
                      <a:pt x="1027" y="95"/>
                    </a:lnTo>
                    <a:lnTo>
                      <a:pt x="1027" y="95"/>
                    </a:lnTo>
                    <a:lnTo>
                      <a:pt x="1027" y="95"/>
                    </a:lnTo>
                    <a:lnTo>
                      <a:pt x="1025" y="93"/>
                    </a:lnTo>
                    <a:lnTo>
                      <a:pt x="1024" y="89"/>
                    </a:lnTo>
                    <a:lnTo>
                      <a:pt x="1024" y="87"/>
                    </a:lnTo>
                    <a:lnTo>
                      <a:pt x="1024" y="87"/>
                    </a:lnTo>
                    <a:lnTo>
                      <a:pt x="1024" y="85"/>
                    </a:lnTo>
                    <a:lnTo>
                      <a:pt x="1024" y="83"/>
                    </a:lnTo>
                    <a:lnTo>
                      <a:pt x="1022" y="82"/>
                    </a:lnTo>
                    <a:lnTo>
                      <a:pt x="1022" y="80"/>
                    </a:lnTo>
                    <a:lnTo>
                      <a:pt x="1018" y="80"/>
                    </a:lnTo>
                    <a:lnTo>
                      <a:pt x="1014" y="82"/>
                    </a:lnTo>
                    <a:lnTo>
                      <a:pt x="1012" y="83"/>
                    </a:lnTo>
                    <a:lnTo>
                      <a:pt x="1010" y="85"/>
                    </a:lnTo>
                    <a:lnTo>
                      <a:pt x="1008" y="87"/>
                    </a:lnTo>
                    <a:lnTo>
                      <a:pt x="1006" y="89"/>
                    </a:lnTo>
                    <a:lnTo>
                      <a:pt x="1002" y="99"/>
                    </a:lnTo>
                    <a:lnTo>
                      <a:pt x="1002" y="101"/>
                    </a:lnTo>
                    <a:lnTo>
                      <a:pt x="998" y="103"/>
                    </a:lnTo>
                    <a:lnTo>
                      <a:pt x="996" y="103"/>
                    </a:lnTo>
                    <a:lnTo>
                      <a:pt x="996" y="103"/>
                    </a:lnTo>
                    <a:lnTo>
                      <a:pt x="996" y="103"/>
                    </a:lnTo>
                    <a:lnTo>
                      <a:pt x="994" y="105"/>
                    </a:lnTo>
                    <a:lnTo>
                      <a:pt x="994" y="105"/>
                    </a:lnTo>
                    <a:lnTo>
                      <a:pt x="994" y="105"/>
                    </a:lnTo>
                    <a:lnTo>
                      <a:pt x="994" y="105"/>
                    </a:lnTo>
                    <a:lnTo>
                      <a:pt x="977" y="105"/>
                    </a:lnTo>
                    <a:lnTo>
                      <a:pt x="977" y="105"/>
                    </a:lnTo>
                    <a:lnTo>
                      <a:pt x="975" y="105"/>
                    </a:lnTo>
                    <a:lnTo>
                      <a:pt x="973" y="103"/>
                    </a:lnTo>
                    <a:lnTo>
                      <a:pt x="971" y="103"/>
                    </a:lnTo>
                    <a:lnTo>
                      <a:pt x="961" y="91"/>
                    </a:lnTo>
                    <a:lnTo>
                      <a:pt x="957" y="89"/>
                    </a:lnTo>
                    <a:lnTo>
                      <a:pt x="957" y="89"/>
                    </a:lnTo>
                    <a:lnTo>
                      <a:pt x="953" y="89"/>
                    </a:lnTo>
                    <a:lnTo>
                      <a:pt x="951" y="93"/>
                    </a:lnTo>
                    <a:lnTo>
                      <a:pt x="949" y="97"/>
                    </a:lnTo>
                    <a:lnTo>
                      <a:pt x="947" y="101"/>
                    </a:lnTo>
                    <a:lnTo>
                      <a:pt x="947" y="103"/>
                    </a:lnTo>
                    <a:lnTo>
                      <a:pt x="947" y="105"/>
                    </a:lnTo>
                    <a:lnTo>
                      <a:pt x="947" y="107"/>
                    </a:lnTo>
                    <a:lnTo>
                      <a:pt x="947" y="109"/>
                    </a:lnTo>
                    <a:lnTo>
                      <a:pt x="947" y="111"/>
                    </a:lnTo>
                    <a:lnTo>
                      <a:pt x="947" y="113"/>
                    </a:lnTo>
                    <a:lnTo>
                      <a:pt x="947" y="117"/>
                    </a:lnTo>
                    <a:lnTo>
                      <a:pt x="947" y="117"/>
                    </a:lnTo>
                    <a:lnTo>
                      <a:pt x="947" y="119"/>
                    </a:lnTo>
                    <a:lnTo>
                      <a:pt x="940" y="128"/>
                    </a:lnTo>
                    <a:lnTo>
                      <a:pt x="938" y="130"/>
                    </a:lnTo>
                    <a:lnTo>
                      <a:pt x="934" y="130"/>
                    </a:lnTo>
                    <a:lnTo>
                      <a:pt x="932" y="128"/>
                    </a:lnTo>
                    <a:lnTo>
                      <a:pt x="932" y="128"/>
                    </a:lnTo>
                    <a:lnTo>
                      <a:pt x="930" y="126"/>
                    </a:lnTo>
                    <a:lnTo>
                      <a:pt x="928" y="124"/>
                    </a:lnTo>
                    <a:lnTo>
                      <a:pt x="926" y="123"/>
                    </a:lnTo>
                    <a:lnTo>
                      <a:pt x="926" y="123"/>
                    </a:lnTo>
                    <a:lnTo>
                      <a:pt x="926" y="123"/>
                    </a:lnTo>
                    <a:lnTo>
                      <a:pt x="926" y="123"/>
                    </a:lnTo>
                    <a:lnTo>
                      <a:pt x="926" y="123"/>
                    </a:lnTo>
                    <a:lnTo>
                      <a:pt x="932" y="109"/>
                    </a:lnTo>
                    <a:lnTo>
                      <a:pt x="934" y="103"/>
                    </a:lnTo>
                    <a:lnTo>
                      <a:pt x="930" y="97"/>
                    </a:lnTo>
                    <a:lnTo>
                      <a:pt x="930" y="95"/>
                    </a:lnTo>
                    <a:lnTo>
                      <a:pt x="928" y="95"/>
                    </a:lnTo>
                    <a:lnTo>
                      <a:pt x="924" y="95"/>
                    </a:lnTo>
                    <a:lnTo>
                      <a:pt x="918" y="95"/>
                    </a:lnTo>
                    <a:lnTo>
                      <a:pt x="900" y="87"/>
                    </a:lnTo>
                    <a:lnTo>
                      <a:pt x="895" y="87"/>
                    </a:lnTo>
                    <a:lnTo>
                      <a:pt x="895" y="87"/>
                    </a:lnTo>
                    <a:lnTo>
                      <a:pt x="891" y="89"/>
                    </a:lnTo>
                    <a:lnTo>
                      <a:pt x="887" y="95"/>
                    </a:lnTo>
                    <a:lnTo>
                      <a:pt x="883" y="95"/>
                    </a:lnTo>
                    <a:lnTo>
                      <a:pt x="883" y="95"/>
                    </a:lnTo>
                    <a:lnTo>
                      <a:pt x="879" y="97"/>
                    </a:lnTo>
                    <a:lnTo>
                      <a:pt x="873" y="95"/>
                    </a:lnTo>
                    <a:lnTo>
                      <a:pt x="869" y="95"/>
                    </a:lnTo>
                    <a:lnTo>
                      <a:pt x="867" y="95"/>
                    </a:lnTo>
                    <a:lnTo>
                      <a:pt x="863" y="97"/>
                    </a:lnTo>
                    <a:lnTo>
                      <a:pt x="859" y="97"/>
                    </a:lnTo>
                    <a:lnTo>
                      <a:pt x="857" y="95"/>
                    </a:lnTo>
                    <a:lnTo>
                      <a:pt x="857" y="91"/>
                    </a:lnTo>
                    <a:lnTo>
                      <a:pt x="861" y="85"/>
                    </a:lnTo>
                    <a:lnTo>
                      <a:pt x="861" y="82"/>
                    </a:lnTo>
                    <a:lnTo>
                      <a:pt x="861" y="80"/>
                    </a:lnTo>
                    <a:lnTo>
                      <a:pt x="857" y="80"/>
                    </a:lnTo>
                    <a:lnTo>
                      <a:pt x="856" y="80"/>
                    </a:lnTo>
                    <a:lnTo>
                      <a:pt x="854" y="80"/>
                    </a:lnTo>
                    <a:lnTo>
                      <a:pt x="852" y="80"/>
                    </a:lnTo>
                    <a:lnTo>
                      <a:pt x="850" y="80"/>
                    </a:lnTo>
                    <a:lnTo>
                      <a:pt x="846" y="78"/>
                    </a:lnTo>
                    <a:lnTo>
                      <a:pt x="846" y="74"/>
                    </a:lnTo>
                    <a:lnTo>
                      <a:pt x="846" y="72"/>
                    </a:lnTo>
                    <a:lnTo>
                      <a:pt x="846" y="72"/>
                    </a:lnTo>
                    <a:lnTo>
                      <a:pt x="846" y="72"/>
                    </a:lnTo>
                    <a:lnTo>
                      <a:pt x="846" y="72"/>
                    </a:lnTo>
                    <a:lnTo>
                      <a:pt x="846" y="64"/>
                    </a:lnTo>
                    <a:lnTo>
                      <a:pt x="846" y="58"/>
                    </a:lnTo>
                    <a:lnTo>
                      <a:pt x="846" y="58"/>
                    </a:lnTo>
                    <a:lnTo>
                      <a:pt x="844" y="54"/>
                    </a:lnTo>
                    <a:lnTo>
                      <a:pt x="842" y="52"/>
                    </a:lnTo>
                    <a:lnTo>
                      <a:pt x="840" y="52"/>
                    </a:lnTo>
                    <a:lnTo>
                      <a:pt x="834" y="50"/>
                    </a:lnTo>
                    <a:lnTo>
                      <a:pt x="830" y="50"/>
                    </a:lnTo>
                    <a:lnTo>
                      <a:pt x="818" y="50"/>
                    </a:lnTo>
                    <a:lnTo>
                      <a:pt x="805" y="54"/>
                    </a:lnTo>
                    <a:lnTo>
                      <a:pt x="801" y="56"/>
                    </a:lnTo>
                    <a:lnTo>
                      <a:pt x="791" y="54"/>
                    </a:lnTo>
                    <a:lnTo>
                      <a:pt x="758" y="41"/>
                    </a:lnTo>
                    <a:lnTo>
                      <a:pt x="723" y="39"/>
                    </a:lnTo>
                    <a:lnTo>
                      <a:pt x="721" y="39"/>
                    </a:lnTo>
                    <a:lnTo>
                      <a:pt x="719" y="37"/>
                    </a:lnTo>
                    <a:lnTo>
                      <a:pt x="719" y="37"/>
                    </a:lnTo>
                    <a:lnTo>
                      <a:pt x="717" y="35"/>
                    </a:lnTo>
                    <a:lnTo>
                      <a:pt x="717" y="33"/>
                    </a:lnTo>
                    <a:lnTo>
                      <a:pt x="717" y="31"/>
                    </a:lnTo>
                    <a:lnTo>
                      <a:pt x="717" y="31"/>
                    </a:lnTo>
                    <a:lnTo>
                      <a:pt x="717" y="29"/>
                    </a:lnTo>
                    <a:lnTo>
                      <a:pt x="717" y="27"/>
                    </a:lnTo>
                    <a:lnTo>
                      <a:pt x="717" y="27"/>
                    </a:lnTo>
                    <a:lnTo>
                      <a:pt x="715" y="27"/>
                    </a:lnTo>
                    <a:lnTo>
                      <a:pt x="715" y="27"/>
                    </a:lnTo>
                    <a:lnTo>
                      <a:pt x="676" y="25"/>
                    </a:lnTo>
                    <a:lnTo>
                      <a:pt x="676" y="23"/>
                    </a:lnTo>
                    <a:lnTo>
                      <a:pt x="672" y="23"/>
                    </a:lnTo>
                    <a:lnTo>
                      <a:pt x="660" y="13"/>
                    </a:lnTo>
                    <a:lnTo>
                      <a:pt x="656" y="11"/>
                    </a:lnTo>
                    <a:lnTo>
                      <a:pt x="645" y="11"/>
                    </a:lnTo>
                    <a:lnTo>
                      <a:pt x="645" y="11"/>
                    </a:lnTo>
                    <a:lnTo>
                      <a:pt x="645" y="11"/>
                    </a:lnTo>
                    <a:lnTo>
                      <a:pt x="609" y="5"/>
                    </a:lnTo>
                    <a:lnTo>
                      <a:pt x="594" y="7"/>
                    </a:lnTo>
                    <a:lnTo>
                      <a:pt x="572" y="7"/>
                    </a:lnTo>
                    <a:lnTo>
                      <a:pt x="562" y="7"/>
                    </a:lnTo>
                    <a:lnTo>
                      <a:pt x="539" y="7"/>
                    </a:lnTo>
                    <a:lnTo>
                      <a:pt x="512" y="0"/>
                    </a:lnTo>
                    <a:lnTo>
                      <a:pt x="508" y="0"/>
                    </a:lnTo>
                    <a:lnTo>
                      <a:pt x="504" y="0"/>
                    </a:lnTo>
                    <a:lnTo>
                      <a:pt x="500" y="1"/>
                    </a:lnTo>
                    <a:lnTo>
                      <a:pt x="496" y="1"/>
                    </a:lnTo>
                    <a:lnTo>
                      <a:pt x="486" y="7"/>
                    </a:lnTo>
                    <a:lnTo>
                      <a:pt x="480" y="9"/>
                    </a:lnTo>
                    <a:lnTo>
                      <a:pt x="434" y="17"/>
                    </a:lnTo>
                    <a:lnTo>
                      <a:pt x="430" y="17"/>
                    </a:lnTo>
                    <a:lnTo>
                      <a:pt x="420" y="15"/>
                    </a:lnTo>
                    <a:lnTo>
                      <a:pt x="379" y="19"/>
                    </a:lnTo>
                    <a:lnTo>
                      <a:pt x="375" y="19"/>
                    </a:lnTo>
                    <a:lnTo>
                      <a:pt x="373" y="21"/>
                    </a:lnTo>
                    <a:lnTo>
                      <a:pt x="371" y="23"/>
                    </a:lnTo>
                    <a:lnTo>
                      <a:pt x="365" y="33"/>
                    </a:lnTo>
                    <a:lnTo>
                      <a:pt x="363" y="37"/>
                    </a:lnTo>
                    <a:lnTo>
                      <a:pt x="363" y="39"/>
                    </a:lnTo>
                    <a:lnTo>
                      <a:pt x="357" y="56"/>
                    </a:lnTo>
                    <a:lnTo>
                      <a:pt x="353" y="62"/>
                    </a:lnTo>
                    <a:lnTo>
                      <a:pt x="352" y="64"/>
                    </a:lnTo>
                    <a:lnTo>
                      <a:pt x="334" y="76"/>
                    </a:lnTo>
                    <a:lnTo>
                      <a:pt x="310" y="97"/>
                    </a:lnTo>
                    <a:lnTo>
                      <a:pt x="303" y="99"/>
                    </a:lnTo>
                    <a:lnTo>
                      <a:pt x="303" y="99"/>
                    </a:lnTo>
                    <a:lnTo>
                      <a:pt x="299" y="93"/>
                    </a:lnTo>
                    <a:lnTo>
                      <a:pt x="293" y="89"/>
                    </a:lnTo>
                    <a:lnTo>
                      <a:pt x="293" y="89"/>
                    </a:lnTo>
                    <a:lnTo>
                      <a:pt x="289" y="87"/>
                    </a:lnTo>
                    <a:lnTo>
                      <a:pt x="287" y="85"/>
                    </a:lnTo>
                    <a:lnTo>
                      <a:pt x="283" y="85"/>
                    </a:lnTo>
                    <a:lnTo>
                      <a:pt x="281" y="85"/>
                    </a:lnTo>
                    <a:lnTo>
                      <a:pt x="271" y="82"/>
                    </a:lnTo>
                    <a:lnTo>
                      <a:pt x="269" y="82"/>
                    </a:lnTo>
                    <a:lnTo>
                      <a:pt x="268" y="82"/>
                    </a:lnTo>
                    <a:lnTo>
                      <a:pt x="250" y="85"/>
                    </a:lnTo>
                    <a:lnTo>
                      <a:pt x="248" y="87"/>
                    </a:lnTo>
                    <a:lnTo>
                      <a:pt x="248" y="89"/>
                    </a:lnTo>
                    <a:lnTo>
                      <a:pt x="246" y="89"/>
                    </a:lnTo>
                    <a:lnTo>
                      <a:pt x="244" y="93"/>
                    </a:lnTo>
                    <a:lnTo>
                      <a:pt x="244" y="93"/>
                    </a:lnTo>
                    <a:lnTo>
                      <a:pt x="244" y="95"/>
                    </a:lnTo>
                    <a:lnTo>
                      <a:pt x="246" y="97"/>
                    </a:lnTo>
                    <a:lnTo>
                      <a:pt x="248" y="101"/>
                    </a:lnTo>
                    <a:lnTo>
                      <a:pt x="250" y="109"/>
                    </a:lnTo>
                    <a:lnTo>
                      <a:pt x="250" y="113"/>
                    </a:lnTo>
                    <a:lnTo>
                      <a:pt x="250" y="113"/>
                    </a:lnTo>
                    <a:lnTo>
                      <a:pt x="250" y="117"/>
                    </a:lnTo>
                    <a:lnTo>
                      <a:pt x="248" y="117"/>
                    </a:lnTo>
                    <a:lnTo>
                      <a:pt x="248" y="117"/>
                    </a:lnTo>
                    <a:lnTo>
                      <a:pt x="248" y="117"/>
                    </a:lnTo>
                    <a:lnTo>
                      <a:pt x="246" y="117"/>
                    </a:lnTo>
                    <a:lnTo>
                      <a:pt x="248" y="117"/>
                    </a:lnTo>
                    <a:lnTo>
                      <a:pt x="248" y="121"/>
                    </a:lnTo>
                    <a:lnTo>
                      <a:pt x="250" y="123"/>
                    </a:lnTo>
                    <a:lnTo>
                      <a:pt x="254" y="124"/>
                    </a:lnTo>
                    <a:lnTo>
                      <a:pt x="256" y="126"/>
                    </a:lnTo>
                    <a:lnTo>
                      <a:pt x="254" y="130"/>
                    </a:lnTo>
                    <a:lnTo>
                      <a:pt x="254" y="132"/>
                    </a:lnTo>
                    <a:lnTo>
                      <a:pt x="262" y="142"/>
                    </a:lnTo>
                    <a:lnTo>
                      <a:pt x="262" y="146"/>
                    </a:lnTo>
                    <a:lnTo>
                      <a:pt x="260" y="148"/>
                    </a:lnTo>
                    <a:lnTo>
                      <a:pt x="260" y="150"/>
                    </a:lnTo>
                    <a:lnTo>
                      <a:pt x="260" y="152"/>
                    </a:lnTo>
                    <a:lnTo>
                      <a:pt x="260" y="156"/>
                    </a:lnTo>
                    <a:lnTo>
                      <a:pt x="258" y="156"/>
                    </a:lnTo>
                    <a:lnTo>
                      <a:pt x="254" y="160"/>
                    </a:lnTo>
                    <a:lnTo>
                      <a:pt x="252" y="164"/>
                    </a:lnTo>
                    <a:lnTo>
                      <a:pt x="250" y="167"/>
                    </a:lnTo>
                    <a:lnTo>
                      <a:pt x="252" y="173"/>
                    </a:lnTo>
                    <a:lnTo>
                      <a:pt x="254" y="173"/>
                    </a:lnTo>
                    <a:lnTo>
                      <a:pt x="258" y="175"/>
                    </a:lnTo>
                    <a:lnTo>
                      <a:pt x="260" y="175"/>
                    </a:lnTo>
                    <a:lnTo>
                      <a:pt x="269" y="197"/>
                    </a:lnTo>
                    <a:lnTo>
                      <a:pt x="273" y="201"/>
                    </a:lnTo>
                    <a:lnTo>
                      <a:pt x="281" y="206"/>
                    </a:lnTo>
                    <a:lnTo>
                      <a:pt x="289" y="214"/>
                    </a:lnTo>
                    <a:lnTo>
                      <a:pt x="291" y="218"/>
                    </a:lnTo>
                    <a:lnTo>
                      <a:pt x="289" y="218"/>
                    </a:lnTo>
                    <a:lnTo>
                      <a:pt x="289" y="222"/>
                    </a:lnTo>
                    <a:lnTo>
                      <a:pt x="291" y="226"/>
                    </a:lnTo>
                    <a:lnTo>
                      <a:pt x="295" y="234"/>
                    </a:lnTo>
                    <a:lnTo>
                      <a:pt x="297" y="238"/>
                    </a:lnTo>
                    <a:lnTo>
                      <a:pt x="299" y="247"/>
                    </a:lnTo>
                    <a:lnTo>
                      <a:pt x="299" y="249"/>
                    </a:lnTo>
                    <a:lnTo>
                      <a:pt x="299" y="251"/>
                    </a:lnTo>
                    <a:lnTo>
                      <a:pt x="299" y="253"/>
                    </a:lnTo>
                    <a:lnTo>
                      <a:pt x="301" y="253"/>
                    </a:lnTo>
                    <a:lnTo>
                      <a:pt x="303" y="255"/>
                    </a:lnTo>
                    <a:lnTo>
                      <a:pt x="305" y="259"/>
                    </a:lnTo>
                    <a:lnTo>
                      <a:pt x="307" y="261"/>
                    </a:lnTo>
                    <a:lnTo>
                      <a:pt x="307" y="263"/>
                    </a:lnTo>
                    <a:lnTo>
                      <a:pt x="307" y="267"/>
                    </a:lnTo>
                    <a:lnTo>
                      <a:pt x="309" y="271"/>
                    </a:lnTo>
                    <a:lnTo>
                      <a:pt x="320" y="281"/>
                    </a:lnTo>
                    <a:lnTo>
                      <a:pt x="334" y="288"/>
                    </a:lnTo>
                    <a:lnTo>
                      <a:pt x="336" y="292"/>
                    </a:lnTo>
                    <a:lnTo>
                      <a:pt x="334" y="296"/>
                    </a:lnTo>
                    <a:lnTo>
                      <a:pt x="330" y="298"/>
                    </a:lnTo>
                    <a:lnTo>
                      <a:pt x="324" y="298"/>
                    </a:lnTo>
                    <a:lnTo>
                      <a:pt x="320" y="298"/>
                    </a:lnTo>
                    <a:lnTo>
                      <a:pt x="316" y="296"/>
                    </a:lnTo>
                    <a:lnTo>
                      <a:pt x="312" y="296"/>
                    </a:lnTo>
                    <a:lnTo>
                      <a:pt x="309" y="300"/>
                    </a:lnTo>
                    <a:lnTo>
                      <a:pt x="307" y="304"/>
                    </a:lnTo>
                    <a:lnTo>
                      <a:pt x="307" y="310"/>
                    </a:lnTo>
                    <a:lnTo>
                      <a:pt x="309" y="314"/>
                    </a:lnTo>
                    <a:lnTo>
                      <a:pt x="312" y="316"/>
                    </a:lnTo>
                    <a:lnTo>
                      <a:pt x="316" y="316"/>
                    </a:lnTo>
                    <a:lnTo>
                      <a:pt x="316" y="318"/>
                    </a:lnTo>
                    <a:lnTo>
                      <a:pt x="314" y="322"/>
                    </a:lnTo>
                    <a:lnTo>
                      <a:pt x="316" y="326"/>
                    </a:lnTo>
                    <a:lnTo>
                      <a:pt x="322" y="329"/>
                    </a:lnTo>
                    <a:lnTo>
                      <a:pt x="326" y="329"/>
                    </a:lnTo>
                    <a:lnTo>
                      <a:pt x="326" y="335"/>
                    </a:lnTo>
                    <a:lnTo>
                      <a:pt x="326" y="341"/>
                    </a:lnTo>
                    <a:lnTo>
                      <a:pt x="330" y="351"/>
                    </a:lnTo>
                    <a:lnTo>
                      <a:pt x="330" y="351"/>
                    </a:lnTo>
                    <a:lnTo>
                      <a:pt x="326" y="359"/>
                    </a:lnTo>
                    <a:lnTo>
                      <a:pt x="328" y="370"/>
                    </a:lnTo>
                    <a:lnTo>
                      <a:pt x="330" y="374"/>
                    </a:lnTo>
                    <a:lnTo>
                      <a:pt x="330" y="374"/>
                    </a:lnTo>
                    <a:lnTo>
                      <a:pt x="330" y="376"/>
                    </a:lnTo>
                    <a:lnTo>
                      <a:pt x="328" y="378"/>
                    </a:lnTo>
                    <a:lnTo>
                      <a:pt x="326" y="382"/>
                    </a:lnTo>
                    <a:lnTo>
                      <a:pt x="314" y="388"/>
                    </a:lnTo>
                    <a:lnTo>
                      <a:pt x="314" y="390"/>
                    </a:lnTo>
                    <a:lnTo>
                      <a:pt x="314" y="396"/>
                    </a:lnTo>
                    <a:lnTo>
                      <a:pt x="314" y="400"/>
                    </a:lnTo>
                    <a:lnTo>
                      <a:pt x="312" y="402"/>
                    </a:lnTo>
                    <a:lnTo>
                      <a:pt x="310" y="411"/>
                    </a:lnTo>
                    <a:lnTo>
                      <a:pt x="301" y="413"/>
                    </a:lnTo>
                    <a:lnTo>
                      <a:pt x="271" y="415"/>
                    </a:lnTo>
                    <a:lnTo>
                      <a:pt x="266" y="417"/>
                    </a:lnTo>
                    <a:lnTo>
                      <a:pt x="262" y="417"/>
                    </a:lnTo>
                    <a:lnTo>
                      <a:pt x="260" y="419"/>
                    </a:lnTo>
                    <a:lnTo>
                      <a:pt x="258" y="423"/>
                    </a:lnTo>
                    <a:lnTo>
                      <a:pt x="256" y="431"/>
                    </a:lnTo>
                    <a:lnTo>
                      <a:pt x="256" y="431"/>
                    </a:lnTo>
                    <a:lnTo>
                      <a:pt x="254" y="435"/>
                    </a:lnTo>
                    <a:lnTo>
                      <a:pt x="240" y="449"/>
                    </a:lnTo>
                    <a:lnTo>
                      <a:pt x="234" y="452"/>
                    </a:lnTo>
                    <a:lnTo>
                      <a:pt x="234" y="452"/>
                    </a:lnTo>
                    <a:lnTo>
                      <a:pt x="226" y="460"/>
                    </a:lnTo>
                    <a:lnTo>
                      <a:pt x="219" y="466"/>
                    </a:lnTo>
                    <a:lnTo>
                      <a:pt x="180" y="507"/>
                    </a:lnTo>
                    <a:lnTo>
                      <a:pt x="176" y="515"/>
                    </a:lnTo>
                    <a:lnTo>
                      <a:pt x="170" y="519"/>
                    </a:lnTo>
                    <a:lnTo>
                      <a:pt x="162" y="527"/>
                    </a:lnTo>
                    <a:lnTo>
                      <a:pt x="144" y="554"/>
                    </a:lnTo>
                    <a:lnTo>
                      <a:pt x="137" y="562"/>
                    </a:lnTo>
                    <a:lnTo>
                      <a:pt x="137" y="564"/>
                    </a:lnTo>
                    <a:lnTo>
                      <a:pt x="135" y="568"/>
                    </a:lnTo>
                    <a:lnTo>
                      <a:pt x="135" y="570"/>
                    </a:lnTo>
                    <a:lnTo>
                      <a:pt x="133" y="572"/>
                    </a:lnTo>
                    <a:lnTo>
                      <a:pt x="131" y="574"/>
                    </a:lnTo>
                    <a:lnTo>
                      <a:pt x="129" y="574"/>
                    </a:lnTo>
                    <a:lnTo>
                      <a:pt x="127" y="575"/>
                    </a:lnTo>
                    <a:lnTo>
                      <a:pt x="117" y="595"/>
                    </a:lnTo>
                    <a:lnTo>
                      <a:pt x="113" y="597"/>
                    </a:lnTo>
                    <a:lnTo>
                      <a:pt x="111" y="597"/>
                    </a:lnTo>
                    <a:lnTo>
                      <a:pt x="107" y="599"/>
                    </a:lnTo>
                    <a:lnTo>
                      <a:pt x="105" y="601"/>
                    </a:lnTo>
                    <a:lnTo>
                      <a:pt x="105" y="603"/>
                    </a:lnTo>
                    <a:lnTo>
                      <a:pt x="101" y="611"/>
                    </a:lnTo>
                    <a:lnTo>
                      <a:pt x="90" y="628"/>
                    </a:lnTo>
                    <a:lnTo>
                      <a:pt x="86" y="638"/>
                    </a:lnTo>
                    <a:lnTo>
                      <a:pt x="88" y="648"/>
                    </a:lnTo>
                    <a:lnTo>
                      <a:pt x="90" y="650"/>
                    </a:lnTo>
                    <a:lnTo>
                      <a:pt x="92" y="661"/>
                    </a:lnTo>
                    <a:lnTo>
                      <a:pt x="92" y="665"/>
                    </a:lnTo>
                    <a:lnTo>
                      <a:pt x="92" y="665"/>
                    </a:lnTo>
                    <a:lnTo>
                      <a:pt x="94" y="669"/>
                    </a:lnTo>
                    <a:lnTo>
                      <a:pt x="98" y="673"/>
                    </a:lnTo>
                    <a:lnTo>
                      <a:pt x="98" y="675"/>
                    </a:lnTo>
                    <a:lnTo>
                      <a:pt x="100" y="679"/>
                    </a:lnTo>
                    <a:lnTo>
                      <a:pt x="101" y="702"/>
                    </a:lnTo>
                    <a:lnTo>
                      <a:pt x="101" y="706"/>
                    </a:lnTo>
                    <a:lnTo>
                      <a:pt x="98" y="714"/>
                    </a:lnTo>
                    <a:lnTo>
                      <a:pt x="96" y="724"/>
                    </a:lnTo>
                    <a:lnTo>
                      <a:pt x="94" y="728"/>
                    </a:lnTo>
                    <a:lnTo>
                      <a:pt x="92" y="732"/>
                    </a:lnTo>
                    <a:lnTo>
                      <a:pt x="94" y="734"/>
                    </a:lnTo>
                    <a:lnTo>
                      <a:pt x="94" y="732"/>
                    </a:lnTo>
                    <a:lnTo>
                      <a:pt x="96" y="730"/>
                    </a:lnTo>
                    <a:lnTo>
                      <a:pt x="100" y="732"/>
                    </a:lnTo>
                    <a:lnTo>
                      <a:pt x="100" y="732"/>
                    </a:lnTo>
                    <a:lnTo>
                      <a:pt x="98" y="732"/>
                    </a:lnTo>
                    <a:lnTo>
                      <a:pt x="103" y="736"/>
                    </a:lnTo>
                    <a:lnTo>
                      <a:pt x="109" y="741"/>
                    </a:lnTo>
                    <a:lnTo>
                      <a:pt x="111" y="745"/>
                    </a:lnTo>
                    <a:lnTo>
                      <a:pt x="119" y="749"/>
                    </a:lnTo>
                    <a:lnTo>
                      <a:pt x="121" y="751"/>
                    </a:lnTo>
                    <a:lnTo>
                      <a:pt x="121" y="753"/>
                    </a:lnTo>
                    <a:lnTo>
                      <a:pt x="119" y="759"/>
                    </a:lnTo>
                    <a:lnTo>
                      <a:pt x="119" y="761"/>
                    </a:lnTo>
                    <a:lnTo>
                      <a:pt x="119" y="765"/>
                    </a:lnTo>
                    <a:lnTo>
                      <a:pt x="123" y="769"/>
                    </a:lnTo>
                    <a:lnTo>
                      <a:pt x="123" y="769"/>
                    </a:lnTo>
                    <a:lnTo>
                      <a:pt x="123" y="771"/>
                    </a:lnTo>
                    <a:lnTo>
                      <a:pt x="121" y="775"/>
                    </a:lnTo>
                    <a:lnTo>
                      <a:pt x="117" y="773"/>
                    </a:lnTo>
                    <a:lnTo>
                      <a:pt x="115" y="769"/>
                    </a:lnTo>
                    <a:lnTo>
                      <a:pt x="111" y="769"/>
                    </a:lnTo>
                    <a:lnTo>
                      <a:pt x="109" y="767"/>
                    </a:lnTo>
                    <a:lnTo>
                      <a:pt x="105" y="763"/>
                    </a:lnTo>
                    <a:lnTo>
                      <a:pt x="105" y="761"/>
                    </a:lnTo>
                    <a:lnTo>
                      <a:pt x="103" y="761"/>
                    </a:lnTo>
                    <a:lnTo>
                      <a:pt x="100" y="763"/>
                    </a:lnTo>
                    <a:lnTo>
                      <a:pt x="94" y="761"/>
                    </a:lnTo>
                    <a:lnTo>
                      <a:pt x="90" y="763"/>
                    </a:lnTo>
                    <a:lnTo>
                      <a:pt x="86" y="761"/>
                    </a:lnTo>
                    <a:lnTo>
                      <a:pt x="82" y="759"/>
                    </a:lnTo>
                    <a:lnTo>
                      <a:pt x="76" y="751"/>
                    </a:lnTo>
                    <a:lnTo>
                      <a:pt x="72" y="751"/>
                    </a:lnTo>
                    <a:lnTo>
                      <a:pt x="68" y="755"/>
                    </a:lnTo>
                    <a:lnTo>
                      <a:pt x="68" y="757"/>
                    </a:lnTo>
                    <a:lnTo>
                      <a:pt x="66" y="759"/>
                    </a:lnTo>
                    <a:lnTo>
                      <a:pt x="66" y="761"/>
                    </a:lnTo>
                    <a:lnTo>
                      <a:pt x="66" y="765"/>
                    </a:lnTo>
                    <a:lnTo>
                      <a:pt x="66" y="769"/>
                    </a:lnTo>
                    <a:lnTo>
                      <a:pt x="64" y="771"/>
                    </a:lnTo>
                    <a:lnTo>
                      <a:pt x="64" y="773"/>
                    </a:lnTo>
                    <a:lnTo>
                      <a:pt x="64" y="775"/>
                    </a:lnTo>
                    <a:lnTo>
                      <a:pt x="62" y="777"/>
                    </a:lnTo>
                    <a:lnTo>
                      <a:pt x="57" y="779"/>
                    </a:lnTo>
                    <a:lnTo>
                      <a:pt x="57" y="779"/>
                    </a:lnTo>
                    <a:lnTo>
                      <a:pt x="53" y="781"/>
                    </a:lnTo>
                    <a:lnTo>
                      <a:pt x="51" y="788"/>
                    </a:lnTo>
                    <a:lnTo>
                      <a:pt x="49" y="790"/>
                    </a:lnTo>
                    <a:lnTo>
                      <a:pt x="47" y="796"/>
                    </a:lnTo>
                    <a:lnTo>
                      <a:pt x="47" y="796"/>
                    </a:lnTo>
                    <a:lnTo>
                      <a:pt x="47" y="800"/>
                    </a:lnTo>
                    <a:lnTo>
                      <a:pt x="47" y="800"/>
                    </a:lnTo>
                    <a:lnTo>
                      <a:pt x="47" y="802"/>
                    </a:lnTo>
                    <a:lnTo>
                      <a:pt x="47" y="802"/>
                    </a:lnTo>
                    <a:lnTo>
                      <a:pt x="45" y="804"/>
                    </a:lnTo>
                    <a:lnTo>
                      <a:pt x="45" y="804"/>
                    </a:lnTo>
                    <a:lnTo>
                      <a:pt x="41" y="808"/>
                    </a:lnTo>
                    <a:lnTo>
                      <a:pt x="41" y="808"/>
                    </a:lnTo>
                    <a:lnTo>
                      <a:pt x="41" y="810"/>
                    </a:lnTo>
                    <a:lnTo>
                      <a:pt x="41" y="810"/>
                    </a:lnTo>
                    <a:lnTo>
                      <a:pt x="39" y="810"/>
                    </a:lnTo>
                    <a:lnTo>
                      <a:pt x="39" y="812"/>
                    </a:lnTo>
                    <a:lnTo>
                      <a:pt x="39" y="814"/>
                    </a:lnTo>
                    <a:lnTo>
                      <a:pt x="39" y="814"/>
                    </a:lnTo>
                    <a:lnTo>
                      <a:pt x="39" y="816"/>
                    </a:lnTo>
                    <a:lnTo>
                      <a:pt x="39" y="816"/>
                    </a:lnTo>
                    <a:lnTo>
                      <a:pt x="39" y="823"/>
                    </a:lnTo>
                    <a:lnTo>
                      <a:pt x="39" y="825"/>
                    </a:lnTo>
                    <a:lnTo>
                      <a:pt x="39" y="825"/>
                    </a:lnTo>
                    <a:lnTo>
                      <a:pt x="39" y="827"/>
                    </a:lnTo>
                    <a:lnTo>
                      <a:pt x="39" y="829"/>
                    </a:lnTo>
                    <a:lnTo>
                      <a:pt x="37" y="829"/>
                    </a:lnTo>
                    <a:lnTo>
                      <a:pt x="37" y="831"/>
                    </a:lnTo>
                    <a:lnTo>
                      <a:pt x="37" y="831"/>
                    </a:lnTo>
                    <a:lnTo>
                      <a:pt x="35" y="833"/>
                    </a:lnTo>
                    <a:lnTo>
                      <a:pt x="35" y="833"/>
                    </a:lnTo>
                    <a:lnTo>
                      <a:pt x="33" y="835"/>
                    </a:lnTo>
                    <a:lnTo>
                      <a:pt x="33" y="837"/>
                    </a:lnTo>
                    <a:lnTo>
                      <a:pt x="33" y="843"/>
                    </a:lnTo>
                    <a:lnTo>
                      <a:pt x="31" y="849"/>
                    </a:lnTo>
                    <a:lnTo>
                      <a:pt x="31" y="849"/>
                    </a:lnTo>
                    <a:lnTo>
                      <a:pt x="31" y="849"/>
                    </a:lnTo>
                    <a:lnTo>
                      <a:pt x="31" y="849"/>
                    </a:lnTo>
                    <a:lnTo>
                      <a:pt x="29" y="853"/>
                    </a:lnTo>
                    <a:lnTo>
                      <a:pt x="29" y="855"/>
                    </a:lnTo>
                    <a:lnTo>
                      <a:pt x="27" y="857"/>
                    </a:lnTo>
                    <a:lnTo>
                      <a:pt x="25" y="859"/>
                    </a:lnTo>
                    <a:lnTo>
                      <a:pt x="21" y="861"/>
                    </a:lnTo>
                    <a:lnTo>
                      <a:pt x="21" y="861"/>
                    </a:lnTo>
                    <a:lnTo>
                      <a:pt x="19" y="861"/>
                    </a:lnTo>
                    <a:lnTo>
                      <a:pt x="17" y="863"/>
                    </a:lnTo>
                    <a:lnTo>
                      <a:pt x="15" y="866"/>
                    </a:lnTo>
                    <a:lnTo>
                      <a:pt x="15" y="868"/>
                    </a:lnTo>
                    <a:lnTo>
                      <a:pt x="15" y="868"/>
                    </a:lnTo>
                    <a:lnTo>
                      <a:pt x="4" y="878"/>
                    </a:lnTo>
                    <a:lnTo>
                      <a:pt x="2" y="882"/>
                    </a:lnTo>
                    <a:lnTo>
                      <a:pt x="2" y="882"/>
                    </a:lnTo>
                    <a:lnTo>
                      <a:pt x="2" y="884"/>
                    </a:lnTo>
                    <a:lnTo>
                      <a:pt x="2" y="886"/>
                    </a:lnTo>
                    <a:lnTo>
                      <a:pt x="4" y="898"/>
                    </a:lnTo>
                    <a:lnTo>
                      <a:pt x="2" y="900"/>
                    </a:lnTo>
                    <a:lnTo>
                      <a:pt x="2" y="902"/>
                    </a:lnTo>
                    <a:lnTo>
                      <a:pt x="0" y="905"/>
                    </a:lnTo>
                    <a:lnTo>
                      <a:pt x="0" y="919"/>
                    </a:lnTo>
                    <a:lnTo>
                      <a:pt x="0" y="923"/>
                    </a:lnTo>
                    <a:lnTo>
                      <a:pt x="4" y="923"/>
                    </a:lnTo>
                    <a:lnTo>
                      <a:pt x="4" y="923"/>
                    </a:lnTo>
                    <a:lnTo>
                      <a:pt x="6" y="923"/>
                    </a:lnTo>
                    <a:lnTo>
                      <a:pt x="6" y="921"/>
                    </a:lnTo>
                    <a:lnTo>
                      <a:pt x="12" y="919"/>
                    </a:lnTo>
                    <a:lnTo>
                      <a:pt x="17" y="921"/>
                    </a:lnTo>
                    <a:lnTo>
                      <a:pt x="23" y="923"/>
                    </a:lnTo>
                    <a:lnTo>
                      <a:pt x="21" y="931"/>
                    </a:lnTo>
                    <a:lnTo>
                      <a:pt x="21" y="935"/>
                    </a:lnTo>
                    <a:lnTo>
                      <a:pt x="25" y="935"/>
                    </a:lnTo>
                    <a:lnTo>
                      <a:pt x="27" y="935"/>
                    </a:lnTo>
                    <a:lnTo>
                      <a:pt x="27" y="937"/>
                    </a:lnTo>
                    <a:lnTo>
                      <a:pt x="27" y="941"/>
                    </a:lnTo>
                    <a:lnTo>
                      <a:pt x="27" y="943"/>
                    </a:lnTo>
                    <a:lnTo>
                      <a:pt x="27" y="946"/>
                    </a:lnTo>
                    <a:lnTo>
                      <a:pt x="29" y="950"/>
                    </a:lnTo>
                    <a:lnTo>
                      <a:pt x="37" y="964"/>
                    </a:lnTo>
                    <a:lnTo>
                      <a:pt x="39" y="964"/>
                    </a:lnTo>
                    <a:lnTo>
                      <a:pt x="41" y="966"/>
                    </a:lnTo>
                    <a:lnTo>
                      <a:pt x="41" y="964"/>
                    </a:lnTo>
                    <a:lnTo>
                      <a:pt x="43" y="964"/>
                    </a:lnTo>
                    <a:lnTo>
                      <a:pt x="43" y="964"/>
                    </a:lnTo>
                    <a:lnTo>
                      <a:pt x="45" y="964"/>
                    </a:lnTo>
                    <a:lnTo>
                      <a:pt x="45" y="964"/>
                    </a:lnTo>
                    <a:lnTo>
                      <a:pt x="49" y="964"/>
                    </a:lnTo>
                    <a:lnTo>
                      <a:pt x="51" y="966"/>
                    </a:lnTo>
                    <a:lnTo>
                      <a:pt x="53" y="966"/>
                    </a:lnTo>
                    <a:lnTo>
                      <a:pt x="57" y="964"/>
                    </a:lnTo>
                    <a:lnTo>
                      <a:pt x="57" y="964"/>
                    </a:lnTo>
                    <a:lnTo>
                      <a:pt x="58" y="964"/>
                    </a:lnTo>
                    <a:lnTo>
                      <a:pt x="58" y="964"/>
                    </a:lnTo>
                    <a:lnTo>
                      <a:pt x="70" y="980"/>
                    </a:lnTo>
                    <a:lnTo>
                      <a:pt x="74" y="986"/>
                    </a:lnTo>
                    <a:lnTo>
                      <a:pt x="76" y="993"/>
                    </a:lnTo>
                    <a:lnTo>
                      <a:pt x="78" y="999"/>
                    </a:lnTo>
                    <a:lnTo>
                      <a:pt x="80" y="1001"/>
                    </a:lnTo>
                    <a:lnTo>
                      <a:pt x="80" y="1001"/>
                    </a:lnTo>
                    <a:lnTo>
                      <a:pt x="82" y="999"/>
                    </a:lnTo>
                    <a:lnTo>
                      <a:pt x="94" y="999"/>
                    </a:lnTo>
                    <a:lnTo>
                      <a:pt x="98" y="997"/>
                    </a:lnTo>
                    <a:lnTo>
                      <a:pt x="100" y="995"/>
                    </a:lnTo>
                    <a:lnTo>
                      <a:pt x="103" y="995"/>
                    </a:lnTo>
                    <a:lnTo>
                      <a:pt x="105" y="997"/>
                    </a:lnTo>
                    <a:lnTo>
                      <a:pt x="105" y="999"/>
                    </a:lnTo>
                    <a:lnTo>
                      <a:pt x="113" y="1001"/>
                    </a:lnTo>
                    <a:lnTo>
                      <a:pt x="117" y="1007"/>
                    </a:lnTo>
                    <a:lnTo>
                      <a:pt x="119" y="1009"/>
                    </a:lnTo>
                    <a:lnTo>
                      <a:pt x="121" y="1013"/>
                    </a:lnTo>
                    <a:lnTo>
                      <a:pt x="123" y="1017"/>
                    </a:lnTo>
                    <a:lnTo>
                      <a:pt x="121" y="1021"/>
                    </a:lnTo>
                    <a:lnTo>
                      <a:pt x="121" y="1023"/>
                    </a:lnTo>
                    <a:lnTo>
                      <a:pt x="121" y="1027"/>
                    </a:lnTo>
                    <a:lnTo>
                      <a:pt x="117" y="1030"/>
                    </a:lnTo>
                    <a:lnTo>
                      <a:pt x="119" y="1032"/>
                    </a:lnTo>
                    <a:lnTo>
                      <a:pt x="125" y="1038"/>
                    </a:lnTo>
                    <a:lnTo>
                      <a:pt x="125" y="1038"/>
                    </a:lnTo>
                    <a:lnTo>
                      <a:pt x="129" y="1036"/>
                    </a:lnTo>
                    <a:lnTo>
                      <a:pt x="129" y="1036"/>
                    </a:lnTo>
                    <a:lnTo>
                      <a:pt x="129" y="1036"/>
                    </a:lnTo>
                    <a:lnTo>
                      <a:pt x="131" y="1034"/>
                    </a:lnTo>
                    <a:lnTo>
                      <a:pt x="133" y="1030"/>
                    </a:lnTo>
                    <a:lnTo>
                      <a:pt x="131" y="1027"/>
                    </a:lnTo>
                    <a:lnTo>
                      <a:pt x="133" y="1023"/>
                    </a:lnTo>
                    <a:lnTo>
                      <a:pt x="135" y="1023"/>
                    </a:lnTo>
                    <a:lnTo>
                      <a:pt x="137" y="1025"/>
                    </a:lnTo>
                    <a:lnTo>
                      <a:pt x="139" y="1025"/>
                    </a:lnTo>
                    <a:lnTo>
                      <a:pt x="141" y="1027"/>
                    </a:lnTo>
                    <a:lnTo>
                      <a:pt x="141" y="1027"/>
                    </a:lnTo>
                    <a:lnTo>
                      <a:pt x="142" y="1027"/>
                    </a:lnTo>
                    <a:lnTo>
                      <a:pt x="144" y="1028"/>
                    </a:lnTo>
                    <a:lnTo>
                      <a:pt x="146" y="1028"/>
                    </a:lnTo>
                    <a:lnTo>
                      <a:pt x="146" y="1028"/>
                    </a:lnTo>
                    <a:lnTo>
                      <a:pt x="148" y="1028"/>
                    </a:lnTo>
                    <a:lnTo>
                      <a:pt x="152" y="1027"/>
                    </a:lnTo>
                    <a:lnTo>
                      <a:pt x="156" y="1023"/>
                    </a:lnTo>
                    <a:lnTo>
                      <a:pt x="158" y="1021"/>
                    </a:lnTo>
                    <a:lnTo>
                      <a:pt x="158" y="1019"/>
                    </a:lnTo>
                    <a:lnTo>
                      <a:pt x="160" y="1011"/>
                    </a:lnTo>
                    <a:lnTo>
                      <a:pt x="162" y="1007"/>
                    </a:lnTo>
                    <a:lnTo>
                      <a:pt x="166" y="1001"/>
                    </a:lnTo>
                    <a:lnTo>
                      <a:pt x="168" y="999"/>
                    </a:lnTo>
                    <a:lnTo>
                      <a:pt x="172" y="1001"/>
                    </a:lnTo>
                    <a:lnTo>
                      <a:pt x="172" y="1001"/>
                    </a:lnTo>
                    <a:lnTo>
                      <a:pt x="180" y="1003"/>
                    </a:lnTo>
                    <a:lnTo>
                      <a:pt x="184" y="1005"/>
                    </a:lnTo>
                    <a:lnTo>
                      <a:pt x="185" y="1007"/>
                    </a:lnTo>
                    <a:lnTo>
                      <a:pt x="187" y="1007"/>
                    </a:lnTo>
                    <a:lnTo>
                      <a:pt x="193" y="1015"/>
                    </a:lnTo>
                    <a:lnTo>
                      <a:pt x="197" y="1019"/>
                    </a:lnTo>
                    <a:lnTo>
                      <a:pt x="201" y="1023"/>
                    </a:lnTo>
                    <a:lnTo>
                      <a:pt x="205" y="1027"/>
                    </a:lnTo>
                    <a:lnTo>
                      <a:pt x="207" y="1027"/>
                    </a:lnTo>
                    <a:lnTo>
                      <a:pt x="207" y="1027"/>
                    </a:lnTo>
                    <a:lnTo>
                      <a:pt x="209" y="1027"/>
                    </a:lnTo>
                    <a:lnTo>
                      <a:pt x="209" y="1027"/>
                    </a:lnTo>
                    <a:lnTo>
                      <a:pt x="209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3" y="1027"/>
                    </a:lnTo>
                    <a:lnTo>
                      <a:pt x="223" y="1032"/>
                    </a:lnTo>
                    <a:lnTo>
                      <a:pt x="226" y="1030"/>
                    </a:lnTo>
                    <a:lnTo>
                      <a:pt x="226" y="1030"/>
                    </a:lnTo>
                    <a:lnTo>
                      <a:pt x="226" y="1030"/>
                    </a:lnTo>
                    <a:lnTo>
                      <a:pt x="228" y="1028"/>
                    </a:lnTo>
                    <a:lnTo>
                      <a:pt x="228" y="1028"/>
                    </a:lnTo>
                    <a:lnTo>
                      <a:pt x="228" y="1028"/>
                    </a:lnTo>
                    <a:lnTo>
                      <a:pt x="230" y="1027"/>
                    </a:lnTo>
                    <a:lnTo>
                      <a:pt x="230" y="1027"/>
                    </a:lnTo>
                    <a:lnTo>
                      <a:pt x="232" y="1025"/>
                    </a:lnTo>
                    <a:lnTo>
                      <a:pt x="234" y="1025"/>
                    </a:lnTo>
                    <a:lnTo>
                      <a:pt x="240" y="1023"/>
                    </a:lnTo>
                    <a:lnTo>
                      <a:pt x="242" y="1025"/>
                    </a:lnTo>
                    <a:lnTo>
                      <a:pt x="242" y="1025"/>
                    </a:lnTo>
                    <a:lnTo>
                      <a:pt x="244" y="1025"/>
                    </a:lnTo>
                    <a:lnTo>
                      <a:pt x="254" y="1025"/>
                    </a:lnTo>
                    <a:lnTo>
                      <a:pt x="260" y="1027"/>
                    </a:lnTo>
                    <a:lnTo>
                      <a:pt x="260" y="1028"/>
                    </a:lnTo>
                    <a:lnTo>
                      <a:pt x="264" y="1028"/>
                    </a:lnTo>
                    <a:lnTo>
                      <a:pt x="264" y="1028"/>
                    </a:lnTo>
                    <a:lnTo>
                      <a:pt x="266" y="1028"/>
                    </a:lnTo>
                    <a:lnTo>
                      <a:pt x="275" y="1028"/>
                    </a:lnTo>
                    <a:lnTo>
                      <a:pt x="279" y="1028"/>
                    </a:lnTo>
                    <a:lnTo>
                      <a:pt x="287" y="1036"/>
                    </a:lnTo>
                    <a:lnTo>
                      <a:pt x="287" y="1036"/>
                    </a:lnTo>
                    <a:lnTo>
                      <a:pt x="287" y="1036"/>
                    </a:lnTo>
                    <a:lnTo>
                      <a:pt x="287" y="1038"/>
                    </a:lnTo>
                    <a:lnTo>
                      <a:pt x="289" y="1040"/>
                    </a:lnTo>
                    <a:lnTo>
                      <a:pt x="293" y="1040"/>
                    </a:lnTo>
                    <a:lnTo>
                      <a:pt x="309" y="1034"/>
                    </a:lnTo>
                    <a:lnTo>
                      <a:pt x="312" y="1034"/>
                    </a:lnTo>
                    <a:lnTo>
                      <a:pt x="314" y="1034"/>
                    </a:lnTo>
                    <a:lnTo>
                      <a:pt x="316" y="1036"/>
                    </a:lnTo>
                    <a:lnTo>
                      <a:pt x="326" y="1038"/>
                    </a:lnTo>
                    <a:lnTo>
                      <a:pt x="328" y="1040"/>
                    </a:lnTo>
                    <a:lnTo>
                      <a:pt x="328" y="1040"/>
                    </a:lnTo>
                    <a:lnTo>
                      <a:pt x="334" y="1046"/>
                    </a:lnTo>
                    <a:lnTo>
                      <a:pt x="336" y="1046"/>
                    </a:lnTo>
                    <a:lnTo>
                      <a:pt x="338" y="1046"/>
                    </a:lnTo>
                    <a:lnTo>
                      <a:pt x="338" y="1046"/>
                    </a:lnTo>
                    <a:lnTo>
                      <a:pt x="338" y="1046"/>
                    </a:lnTo>
                    <a:lnTo>
                      <a:pt x="338" y="1046"/>
                    </a:lnTo>
                    <a:lnTo>
                      <a:pt x="348" y="1050"/>
                    </a:lnTo>
                    <a:lnTo>
                      <a:pt x="352" y="1050"/>
                    </a:lnTo>
                    <a:lnTo>
                      <a:pt x="353" y="1050"/>
                    </a:lnTo>
                    <a:lnTo>
                      <a:pt x="363" y="1044"/>
                    </a:lnTo>
                    <a:lnTo>
                      <a:pt x="371" y="1044"/>
                    </a:lnTo>
                    <a:lnTo>
                      <a:pt x="377" y="1038"/>
                    </a:lnTo>
                    <a:lnTo>
                      <a:pt x="377" y="1038"/>
                    </a:lnTo>
                    <a:lnTo>
                      <a:pt x="381" y="1036"/>
                    </a:lnTo>
                    <a:lnTo>
                      <a:pt x="383" y="1036"/>
                    </a:lnTo>
                    <a:lnTo>
                      <a:pt x="385" y="1036"/>
                    </a:lnTo>
                    <a:lnTo>
                      <a:pt x="389" y="1036"/>
                    </a:lnTo>
                    <a:lnTo>
                      <a:pt x="394" y="1038"/>
                    </a:lnTo>
                    <a:lnTo>
                      <a:pt x="404" y="1038"/>
                    </a:lnTo>
                    <a:lnTo>
                      <a:pt x="406" y="1040"/>
                    </a:lnTo>
                    <a:lnTo>
                      <a:pt x="408" y="1040"/>
                    </a:lnTo>
                    <a:lnTo>
                      <a:pt x="408" y="1040"/>
                    </a:lnTo>
                    <a:lnTo>
                      <a:pt x="414" y="1044"/>
                    </a:lnTo>
                    <a:lnTo>
                      <a:pt x="418" y="1048"/>
                    </a:lnTo>
                    <a:lnTo>
                      <a:pt x="420" y="1048"/>
                    </a:lnTo>
                    <a:lnTo>
                      <a:pt x="422" y="1050"/>
                    </a:lnTo>
                    <a:lnTo>
                      <a:pt x="422" y="1054"/>
                    </a:lnTo>
                    <a:lnTo>
                      <a:pt x="422" y="1058"/>
                    </a:lnTo>
                    <a:lnTo>
                      <a:pt x="424" y="1062"/>
                    </a:lnTo>
                    <a:lnTo>
                      <a:pt x="426" y="1064"/>
                    </a:lnTo>
                    <a:lnTo>
                      <a:pt x="432" y="1068"/>
                    </a:lnTo>
                    <a:lnTo>
                      <a:pt x="445" y="1073"/>
                    </a:lnTo>
                    <a:lnTo>
                      <a:pt x="445" y="1073"/>
                    </a:lnTo>
                    <a:lnTo>
                      <a:pt x="447" y="1075"/>
                    </a:lnTo>
                    <a:lnTo>
                      <a:pt x="449" y="1077"/>
                    </a:lnTo>
                    <a:lnTo>
                      <a:pt x="455" y="1089"/>
                    </a:lnTo>
                    <a:lnTo>
                      <a:pt x="459" y="1095"/>
                    </a:lnTo>
                    <a:lnTo>
                      <a:pt x="461" y="1095"/>
                    </a:lnTo>
                    <a:lnTo>
                      <a:pt x="463" y="1097"/>
                    </a:lnTo>
                    <a:lnTo>
                      <a:pt x="469" y="1095"/>
                    </a:lnTo>
                    <a:lnTo>
                      <a:pt x="471" y="1095"/>
                    </a:lnTo>
                    <a:lnTo>
                      <a:pt x="482" y="1093"/>
                    </a:lnTo>
                    <a:lnTo>
                      <a:pt x="494" y="1089"/>
                    </a:lnTo>
                    <a:lnTo>
                      <a:pt x="494" y="1089"/>
                    </a:lnTo>
                    <a:lnTo>
                      <a:pt x="494" y="1089"/>
                    </a:lnTo>
                    <a:lnTo>
                      <a:pt x="500" y="1083"/>
                    </a:lnTo>
                    <a:lnTo>
                      <a:pt x="500" y="1081"/>
                    </a:lnTo>
                    <a:lnTo>
                      <a:pt x="504" y="1077"/>
                    </a:lnTo>
                    <a:lnTo>
                      <a:pt x="518" y="1054"/>
                    </a:lnTo>
                    <a:lnTo>
                      <a:pt x="523" y="1050"/>
                    </a:lnTo>
                    <a:lnTo>
                      <a:pt x="523" y="1050"/>
                    </a:lnTo>
                    <a:lnTo>
                      <a:pt x="523" y="1050"/>
                    </a:lnTo>
                    <a:lnTo>
                      <a:pt x="537" y="1048"/>
                    </a:lnTo>
                    <a:lnTo>
                      <a:pt x="605" y="1040"/>
                    </a:lnTo>
                    <a:lnTo>
                      <a:pt x="617" y="1036"/>
                    </a:lnTo>
                    <a:lnTo>
                      <a:pt x="621" y="1036"/>
                    </a:lnTo>
                    <a:lnTo>
                      <a:pt x="625" y="1034"/>
                    </a:lnTo>
                    <a:lnTo>
                      <a:pt x="629" y="1034"/>
                    </a:lnTo>
                    <a:lnTo>
                      <a:pt x="631" y="1032"/>
                    </a:lnTo>
                    <a:lnTo>
                      <a:pt x="633" y="1032"/>
                    </a:lnTo>
                    <a:lnTo>
                      <a:pt x="633" y="1032"/>
                    </a:lnTo>
                    <a:lnTo>
                      <a:pt x="637" y="1032"/>
                    </a:lnTo>
                    <a:lnTo>
                      <a:pt x="643" y="1032"/>
                    </a:lnTo>
                    <a:lnTo>
                      <a:pt x="652" y="1030"/>
                    </a:lnTo>
                    <a:lnTo>
                      <a:pt x="658" y="1030"/>
                    </a:lnTo>
                    <a:lnTo>
                      <a:pt x="664" y="1030"/>
                    </a:lnTo>
                    <a:lnTo>
                      <a:pt x="668" y="1030"/>
                    </a:lnTo>
                    <a:lnTo>
                      <a:pt x="676" y="1027"/>
                    </a:lnTo>
                    <a:lnTo>
                      <a:pt x="678" y="1025"/>
                    </a:lnTo>
                    <a:lnTo>
                      <a:pt x="680" y="1021"/>
                    </a:lnTo>
                    <a:lnTo>
                      <a:pt x="682" y="1015"/>
                    </a:lnTo>
                    <a:lnTo>
                      <a:pt x="684" y="1013"/>
                    </a:lnTo>
                    <a:lnTo>
                      <a:pt x="684" y="1013"/>
                    </a:lnTo>
                    <a:lnTo>
                      <a:pt x="688" y="1009"/>
                    </a:lnTo>
                    <a:lnTo>
                      <a:pt x="689" y="1007"/>
                    </a:lnTo>
                    <a:lnTo>
                      <a:pt x="691" y="1003"/>
                    </a:lnTo>
                    <a:lnTo>
                      <a:pt x="693" y="1001"/>
                    </a:lnTo>
                    <a:lnTo>
                      <a:pt x="695" y="993"/>
                    </a:lnTo>
                    <a:lnTo>
                      <a:pt x="697" y="986"/>
                    </a:lnTo>
                    <a:lnTo>
                      <a:pt x="697" y="980"/>
                    </a:lnTo>
                    <a:lnTo>
                      <a:pt x="697" y="974"/>
                    </a:lnTo>
                    <a:lnTo>
                      <a:pt x="697" y="972"/>
                    </a:lnTo>
                    <a:lnTo>
                      <a:pt x="697" y="972"/>
                    </a:lnTo>
                    <a:lnTo>
                      <a:pt x="697" y="972"/>
                    </a:lnTo>
                    <a:lnTo>
                      <a:pt x="699" y="972"/>
                    </a:lnTo>
                    <a:lnTo>
                      <a:pt x="699" y="972"/>
                    </a:lnTo>
                    <a:lnTo>
                      <a:pt x="701" y="972"/>
                    </a:lnTo>
                    <a:lnTo>
                      <a:pt x="703" y="972"/>
                    </a:lnTo>
                    <a:lnTo>
                      <a:pt x="705" y="972"/>
                    </a:lnTo>
                    <a:lnTo>
                      <a:pt x="711" y="968"/>
                    </a:lnTo>
                    <a:lnTo>
                      <a:pt x="713" y="968"/>
                    </a:lnTo>
                    <a:lnTo>
                      <a:pt x="715" y="968"/>
                    </a:lnTo>
                    <a:lnTo>
                      <a:pt x="723" y="968"/>
                    </a:lnTo>
                    <a:lnTo>
                      <a:pt x="723" y="968"/>
                    </a:lnTo>
                    <a:lnTo>
                      <a:pt x="725" y="966"/>
                    </a:lnTo>
                    <a:lnTo>
                      <a:pt x="742" y="962"/>
                    </a:lnTo>
                    <a:lnTo>
                      <a:pt x="746" y="962"/>
                    </a:lnTo>
                    <a:lnTo>
                      <a:pt x="750" y="960"/>
                    </a:lnTo>
                    <a:lnTo>
                      <a:pt x="750" y="958"/>
                    </a:lnTo>
                    <a:lnTo>
                      <a:pt x="752" y="956"/>
                    </a:lnTo>
                    <a:lnTo>
                      <a:pt x="752" y="954"/>
                    </a:lnTo>
                    <a:lnTo>
                      <a:pt x="754" y="950"/>
                    </a:lnTo>
                    <a:lnTo>
                      <a:pt x="754" y="950"/>
                    </a:lnTo>
                    <a:lnTo>
                      <a:pt x="754" y="950"/>
                    </a:lnTo>
                    <a:lnTo>
                      <a:pt x="754" y="950"/>
                    </a:lnTo>
                    <a:lnTo>
                      <a:pt x="760" y="946"/>
                    </a:lnTo>
                    <a:lnTo>
                      <a:pt x="760" y="946"/>
                    </a:lnTo>
                    <a:lnTo>
                      <a:pt x="760" y="945"/>
                    </a:lnTo>
                    <a:lnTo>
                      <a:pt x="762" y="943"/>
                    </a:lnTo>
                    <a:lnTo>
                      <a:pt x="762" y="943"/>
                    </a:lnTo>
                    <a:lnTo>
                      <a:pt x="762" y="943"/>
                    </a:lnTo>
                    <a:lnTo>
                      <a:pt x="762" y="943"/>
                    </a:lnTo>
                    <a:lnTo>
                      <a:pt x="764" y="943"/>
                    </a:lnTo>
                    <a:lnTo>
                      <a:pt x="768" y="946"/>
                    </a:lnTo>
                    <a:lnTo>
                      <a:pt x="768" y="948"/>
                    </a:lnTo>
                    <a:lnTo>
                      <a:pt x="772" y="952"/>
                    </a:lnTo>
                    <a:lnTo>
                      <a:pt x="773" y="952"/>
                    </a:lnTo>
                    <a:lnTo>
                      <a:pt x="775" y="952"/>
                    </a:lnTo>
                    <a:lnTo>
                      <a:pt x="777" y="952"/>
                    </a:lnTo>
                    <a:lnTo>
                      <a:pt x="777" y="952"/>
                    </a:lnTo>
                    <a:lnTo>
                      <a:pt x="779" y="950"/>
                    </a:lnTo>
                    <a:lnTo>
                      <a:pt x="779" y="948"/>
                    </a:lnTo>
                    <a:lnTo>
                      <a:pt x="779" y="945"/>
                    </a:lnTo>
                    <a:lnTo>
                      <a:pt x="779" y="943"/>
                    </a:lnTo>
                    <a:lnTo>
                      <a:pt x="779" y="939"/>
                    </a:lnTo>
                    <a:lnTo>
                      <a:pt x="777" y="935"/>
                    </a:lnTo>
                    <a:lnTo>
                      <a:pt x="777" y="933"/>
                    </a:lnTo>
                    <a:lnTo>
                      <a:pt x="779" y="931"/>
                    </a:lnTo>
                    <a:lnTo>
                      <a:pt x="779" y="931"/>
                    </a:lnTo>
                    <a:lnTo>
                      <a:pt x="779" y="931"/>
                    </a:lnTo>
                    <a:lnTo>
                      <a:pt x="779" y="931"/>
                    </a:lnTo>
                    <a:lnTo>
                      <a:pt x="779" y="931"/>
                    </a:lnTo>
                    <a:lnTo>
                      <a:pt x="783" y="931"/>
                    </a:lnTo>
                    <a:lnTo>
                      <a:pt x="783" y="931"/>
                    </a:lnTo>
                    <a:lnTo>
                      <a:pt x="783" y="931"/>
                    </a:lnTo>
                    <a:lnTo>
                      <a:pt x="785" y="931"/>
                    </a:lnTo>
                    <a:lnTo>
                      <a:pt x="785" y="929"/>
                    </a:lnTo>
                    <a:lnTo>
                      <a:pt x="787" y="927"/>
                    </a:lnTo>
                    <a:lnTo>
                      <a:pt x="787" y="927"/>
                    </a:lnTo>
                    <a:lnTo>
                      <a:pt x="789" y="927"/>
                    </a:lnTo>
                    <a:lnTo>
                      <a:pt x="793" y="929"/>
                    </a:lnTo>
                    <a:lnTo>
                      <a:pt x="799" y="933"/>
                    </a:lnTo>
                    <a:lnTo>
                      <a:pt x="803" y="935"/>
                    </a:lnTo>
                    <a:lnTo>
                      <a:pt x="805" y="937"/>
                    </a:lnTo>
                    <a:lnTo>
                      <a:pt x="809" y="937"/>
                    </a:lnTo>
                    <a:lnTo>
                      <a:pt x="811" y="935"/>
                    </a:lnTo>
                    <a:lnTo>
                      <a:pt x="813" y="935"/>
                    </a:lnTo>
                    <a:lnTo>
                      <a:pt x="813" y="935"/>
                    </a:lnTo>
                    <a:lnTo>
                      <a:pt x="813" y="935"/>
                    </a:lnTo>
                    <a:lnTo>
                      <a:pt x="813" y="935"/>
                    </a:lnTo>
                    <a:lnTo>
                      <a:pt x="815" y="935"/>
                    </a:lnTo>
                    <a:lnTo>
                      <a:pt x="816" y="935"/>
                    </a:lnTo>
                    <a:lnTo>
                      <a:pt x="816" y="935"/>
                    </a:lnTo>
                    <a:lnTo>
                      <a:pt x="818" y="935"/>
                    </a:lnTo>
                    <a:lnTo>
                      <a:pt x="820" y="935"/>
                    </a:lnTo>
                    <a:lnTo>
                      <a:pt x="820" y="935"/>
                    </a:lnTo>
                    <a:lnTo>
                      <a:pt x="820" y="933"/>
                    </a:lnTo>
                    <a:lnTo>
                      <a:pt x="820" y="933"/>
                    </a:lnTo>
                    <a:lnTo>
                      <a:pt x="820" y="931"/>
                    </a:lnTo>
                    <a:lnTo>
                      <a:pt x="820" y="931"/>
                    </a:lnTo>
                    <a:lnTo>
                      <a:pt x="818" y="931"/>
                    </a:lnTo>
                    <a:lnTo>
                      <a:pt x="820" y="929"/>
                    </a:lnTo>
                    <a:lnTo>
                      <a:pt x="818" y="927"/>
                    </a:lnTo>
                    <a:lnTo>
                      <a:pt x="818" y="927"/>
                    </a:lnTo>
                    <a:lnTo>
                      <a:pt x="818" y="927"/>
                    </a:lnTo>
                    <a:lnTo>
                      <a:pt x="818" y="927"/>
                    </a:lnTo>
                    <a:lnTo>
                      <a:pt x="818" y="925"/>
                    </a:lnTo>
                    <a:lnTo>
                      <a:pt x="820" y="925"/>
                    </a:lnTo>
                    <a:lnTo>
                      <a:pt x="822" y="925"/>
                    </a:lnTo>
                    <a:lnTo>
                      <a:pt x="826" y="927"/>
                    </a:lnTo>
                    <a:lnTo>
                      <a:pt x="844" y="935"/>
                    </a:lnTo>
                    <a:lnTo>
                      <a:pt x="848" y="935"/>
                    </a:lnTo>
                    <a:lnTo>
                      <a:pt x="850" y="935"/>
                    </a:lnTo>
                    <a:lnTo>
                      <a:pt x="856" y="931"/>
                    </a:lnTo>
                    <a:lnTo>
                      <a:pt x="856" y="931"/>
                    </a:lnTo>
                    <a:lnTo>
                      <a:pt x="857" y="929"/>
                    </a:lnTo>
                    <a:lnTo>
                      <a:pt x="859" y="925"/>
                    </a:lnTo>
                    <a:lnTo>
                      <a:pt x="865" y="919"/>
                    </a:lnTo>
                    <a:lnTo>
                      <a:pt x="869" y="917"/>
                    </a:lnTo>
                    <a:lnTo>
                      <a:pt x="871" y="915"/>
                    </a:lnTo>
                    <a:lnTo>
                      <a:pt x="875" y="915"/>
                    </a:lnTo>
                    <a:lnTo>
                      <a:pt x="879" y="919"/>
                    </a:lnTo>
                    <a:lnTo>
                      <a:pt x="881" y="921"/>
                    </a:lnTo>
                    <a:lnTo>
                      <a:pt x="883" y="921"/>
                    </a:lnTo>
                    <a:lnTo>
                      <a:pt x="885" y="919"/>
                    </a:lnTo>
                    <a:lnTo>
                      <a:pt x="891" y="915"/>
                    </a:lnTo>
                    <a:lnTo>
                      <a:pt x="895" y="911"/>
                    </a:lnTo>
                    <a:lnTo>
                      <a:pt x="899" y="905"/>
                    </a:lnTo>
                    <a:lnTo>
                      <a:pt x="899" y="905"/>
                    </a:lnTo>
                    <a:lnTo>
                      <a:pt x="899" y="905"/>
                    </a:lnTo>
                    <a:lnTo>
                      <a:pt x="906" y="905"/>
                    </a:lnTo>
                    <a:lnTo>
                      <a:pt x="908" y="905"/>
                    </a:lnTo>
                    <a:lnTo>
                      <a:pt x="912" y="904"/>
                    </a:lnTo>
                    <a:lnTo>
                      <a:pt x="916" y="904"/>
                    </a:lnTo>
                    <a:lnTo>
                      <a:pt x="916" y="904"/>
                    </a:lnTo>
                    <a:lnTo>
                      <a:pt x="916" y="904"/>
                    </a:lnTo>
                    <a:lnTo>
                      <a:pt x="916" y="907"/>
                    </a:lnTo>
                    <a:lnTo>
                      <a:pt x="916" y="909"/>
                    </a:lnTo>
                    <a:lnTo>
                      <a:pt x="918" y="911"/>
                    </a:lnTo>
                    <a:lnTo>
                      <a:pt x="920" y="911"/>
                    </a:lnTo>
                    <a:lnTo>
                      <a:pt x="926" y="911"/>
                    </a:lnTo>
                    <a:lnTo>
                      <a:pt x="940" y="911"/>
                    </a:lnTo>
                    <a:lnTo>
                      <a:pt x="945" y="913"/>
                    </a:lnTo>
                    <a:lnTo>
                      <a:pt x="957" y="921"/>
                    </a:lnTo>
                    <a:lnTo>
                      <a:pt x="957" y="923"/>
                    </a:lnTo>
                    <a:lnTo>
                      <a:pt x="959" y="925"/>
                    </a:lnTo>
                    <a:lnTo>
                      <a:pt x="961" y="927"/>
                    </a:lnTo>
                    <a:lnTo>
                      <a:pt x="963" y="929"/>
                    </a:lnTo>
                    <a:lnTo>
                      <a:pt x="965" y="931"/>
                    </a:lnTo>
                    <a:lnTo>
                      <a:pt x="965" y="933"/>
                    </a:lnTo>
                    <a:lnTo>
                      <a:pt x="967" y="935"/>
                    </a:lnTo>
                    <a:lnTo>
                      <a:pt x="969" y="937"/>
                    </a:lnTo>
                    <a:lnTo>
                      <a:pt x="969" y="939"/>
                    </a:lnTo>
                    <a:lnTo>
                      <a:pt x="973" y="941"/>
                    </a:lnTo>
                    <a:lnTo>
                      <a:pt x="977" y="943"/>
                    </a:lnTo>
                    <a:lnTo>
                      <a:pt x="981" y="943"/>
                    </a:lnTo>
                    <a:lnTo>
                      <a:pt x="983" y="943"/>
                    </a:lnTo>
                    <a:lnTo>
                      <a:pt x="992" y="945"/>
                    </a:lnTo>
                    <a:lnTo>
                      <a:pt x="994" y="946"/>
                    </a:lnTo>
                    <a:lnTo>
                      <a:pt x="996" y="946"/>
                    </a:lnTo>
                    <a:lnTo>
                      <a:pt x="998" y="948"/>
                    </a:lnTo>
                    <a:lnTo>
                      <a:pt x="998" y="948"/>
                    </a:lnTo>
                    <a:lnTo>
                      <a:pt x="998" y="948"/>
                    </a:lnTo>
                    <a:lnTo>
                      <a:pt x="998" y="954"/>
                    </a:lnTo>
                    <a:lnTo>
                      <a:pt x="998" y="956"/>
                    </a:lnTo>
                    <a:lnTo>
                      <a:pt x="996" y="964"/>
                    </a:lnTo>
                    <a:lnTo>
                      <a:pt x="998" y="966"/>
                    </a:lnTo>
                    <a:lnTo>
                      <a:pt x="1002" y="966"/>
                    </a:lnTo>
                    <a:lnTo>
                      <a:pt x="1004" y="964"/>
                    </a:lnTo>
                    <a:lnTo>
                      <a:pt x="1010" y="960"/>
                    </a:lnTo>
                    <a:lnTo>
                      <a:pt x="1012" y="960"/>
                    </a:lnTo>
                    <a:lnTo>
                      <a:pt x="1012" y="960"/>
                    </a:lnTo>
                    <a:lnTo>
                      <a:pt x="1012" y="960"/>
                    </a:lnTo>
                    <a:lnTo>
                      <a:pt x="1014" y="964"/>
                    </a:lnTo>
                    <a:lnTo>
                      <a:pt x="1014" y="968"/>
                    </a:lnTo>
                    <a:lnTo>
                      <a:pt x="1016" y="972"/>
                    </a:lnTo>
                    <a:lnTo>
                      <a:pt x="1018" y="972"/>
                    </a:lnTo>
                    <a:lnTo>
                      <a:pt x="1018" y="972"/>
                    </a:lnTo>
                    <a:lnTo>
                      <a:pt x="1022" y="972"/>
                    </a:lnTo>
                    <a:lnTo>
                      <a:pt x="1024" y="972"/>
                    </a:lnTo>
                    <a:lnTo>
                      <a:pt x="1025" y="970"/>
                    </a:lnTo>
                    <a:lnTo>
                      <a:pt x="1029" y="968"/>
                    </a:lnTo>
                    <a:lnTo>
                      <a:pt x="1031" y="966"/>
                    </a:lnTo>
                    <a:lnTo>
                      <a:pt x="1035" y="964"/>
                    </a:lnTo>
                    <a:lnTo>
                      <a:pt x="1039" y="964"/>
                    </a:lnTo>
                    <a:lnTo>
                      <a:pt x="1041" y="964"/>
                    </a:lnTo>
                    <a:lnTo>
                      <a:pt x="1041" y="964"/>
                    </a:lnTo>
                    <a:lnTo>
                      <a:pt x="1041" y="964"/>
                    </a:lnTo>
                    <a:lnTo>
                      <a:pt x="1043" y="966"/>
                    </a:lnTo>
                    <a:lnTo>
                      <a:pt x="1043" y="966"/>
                    </a:lnTo>
                    <a:lnTo>
                      <a:pt x="1043" y="966"/>
                    </a:lnTo>
                    <a:lnTo>
                      <a:pt x="1043" y="966"/>
                    </a:lnTo>
                    <a:lnTo>
                      <a:pt x="1043" y="972"/>
                    </a:lnTo>
                    <a:lnTo>
                      <a:pt x="1043" y="978"/>
                    </a:lnTo>
                    <a:lnTo>
                      <a:pt x="1041" y="980"/>
                    </a:lnTo>
                    <a:lnTo>
                      <a:pt x="1039" y="980"/>
                    </a:lnTo>
                    <a:lnTo>
                      <a:pt x="1039" y="982"/>
                    </a:lnTo>
                    <a:lnTo>
                      <a:pt x="1035" y="984"/>
                    </a:lnTo>
                    <a:lnTo>
                      <a:pt x="1035" y="987"/>
                    </a:lnTo>
                    <a:lnTo>
                      <a:pt x="1035" y="987"/>
                    </a:lnTo>
                    <a:lnTo>
                      <a:pt x="1035" y="991"/>
                    </a:lnTo>
                    <a:lnTo>
                      <a:pt x="1035" y="991"/>
                    </a:lnTo>
                    <a:lnTo>
                      <a:pt x="1037" y="993"/>
                    </a:lnTo>
                    <a:lnTo>
                      <a:pt x="1041" y="991"/>
                    </a:lnTo>
                    <a:lnTo>
                      <a:pt x="1043" y="989"/>
                    </a:lnTo>
                    <a:lnTo>
                      <a:pt x="1043" y="989"/>
                    </a:lnTo>
                    <a:lnTo>
                      <a:pt x="1045" y="986"/>
                    </a:lnTo>
                    <a:lnTo>
                      <a:pt x="1045" y="984"/>
                    </a:lnTo>
                    <a:lnTo>
                      <a:pt x="1047" y="982"/>
                    </a:lnTo>
                    <a:lnTo>
                      <a:pt x="1051" y="982"/>
                    </a:lnTo>
                    <a:lnTo>
                      <a:pt x="1051" y="982"/>
                    </a:lnTo>
                    <a:lnTo>
                      <a:pt x="1051" y="982"/>
                    </a:lnTo>
                    <a:lnTo>
                      <a:pt x="1053" y="984"/>
                    </a:lnTo>
                    <a:lnTo>
                      <a:pt x="1053" y="984"/>
                    </a:lnTo>
                    <a:lnTo>
                      <a:pt x="1053" y="984"/>
                    </a:lnTo>
                    <a:lnTo>
                      <a:pt x="1053" y="984"/>
                    </a:lnTo>
                    <a:lnTo>
                      <a:pt x="1055" y="986"/>
                    </a:lnTo>
                    <a:lnTo>
                      <a:pt x="1055" y="987"/>
                    </a:lnTo>
                    <a:lnTo>
                      <a:pt x="1055" y="989"/>
                    </a:lnTo>
                    <a:lnTo>
                      <a:pt x="1055" y="991"/>
                    </a:lnTo>
                    <a:lnTo>
                      <a:pt x="1053" y="991"/>
                    </a:lnTo>
                    <a:lnTo>
                      <a:pt x="1053" y="993"/>
                    </a:lnTo>
                    <a:lnTo>
                      <a:pt x="1053" y="993"/>
                    </a:lnTo>
                    <a:lnTo>
                      <a:pt x="1057" y="1003"/>
                    </a:lnTo>
                    <a:lnTo>
                      <a:pt x="1059" y="1005"/>
                    </a:lnTo>
                    <a:lnTo>
                      <a:pt x="1063" y="1009"/>
                    </a:lnTo>
                    <a:lnTo>
                      <a:pt x="1065" y="1009"/>
                    </a:lnTo>
                    <a:lnTo>
                      <a:pt x="1065" y="1005"/>
                    </a:lnTo>
                    <a:lnTo>
                      <a:pt x="1065" y="1001"/>
                    </a:lnTo>
                    <a:lnTo>
                      <a:pt x="1065" y="999"/>
                    </a:lnTo>
                    <a:lnTo>
                      <a:pt x="1067" y="997"/>
                    </a:lnTo>
                    <a:lnTo>
                      <a:pt x="1067" y="997"/>
                    </a:lnTo>
                    <a:lnTo>
                      <a:pt x="1068" y="987"/>
                    </a:lnTo>
                    <a:lnTo>
                      <a:pt x="1068" y="987"/>
                    </a:lnTo>
                    <a:lnTo>
                      <a:pt x="1068" y="987"/>
                    </a:lnTo>
                    <a:lnTo>
                      <a:pt x="1070" y="987"/>
                    </a:lnTo>
                    <a:lnTo>
                      <a:pt x="1072" y="986"/>
                    </a:lnTo>
                    <a:lnTo>
                      <a:pt x="1072" y="986"/>
                    </a:lnTo>
                    <a:lnTo>
                      <a:pt x="1072" y="986"/>
                    </a:lnTo>
                    <a:lnTo>
                      <a:pt x="1072" y="986"/>
                    </a:lnTo>
                    <a:lnTo>
                      <a:pt x="1078" y="986"/>
                    </a:lnTo>
                    <a:lnTo>
                      <a:pt x="1092" y="991"/>
                    </a:lnTo>
                    <a:lnTo>
                      <a:pt x="1094" y="991"/>
                    </a:lnTo>
                    <a:lnTo>
                      <a:pt x="1106" y="993"/>
                    </a:lnTo>
                    <a:lnTo>
                      <a:pt x="1109" y="993"/>
                    </a:lnTo>
                    <a:lnTo>
                      <a:pt x="1111" y="993"/>
                    </a:lnTo>
                    <a:lnTo>
                      <a:pt x="1113" y="995"/>
                    </a:lnTo>
                    <a:lnTo>
                      <a:pt x="1115" y="997"/>
                    </a:lnTo>
                    <a:lnTo>
                      <a:pt x="1117" y="999"/>
                    </a:lnTo>
                    <a:lnTo>
                      <a:pt x="1117" y="999"/>
                    </a:lnTo>
                    <a:lnTo>
                      <a:pt x="1117" y="1001"/>
                    </a:lnTo>
                    <a:lnTo>
                      <a:pt x="1117" y="1001"/>
                    </a:lnTo>
                    <a:lnTo>
                      <a:pt x="1117" y="1003"/>
                    </a:lnTo>
                    <a:lnTo>
                      <a:pt x="1117" y="1003"/>
                    </a:lnTo>
                    <a:lnTo>
                      <a:pt x="1119" y="1009"/>
                    </a:lnTo>
                    <a:lnTo>
                      <a:pt x="1121" y="1011"/>
                    </a:lnTo>
                    <a:lnTo>
                      <a:pt x="1121" y="1011"/>
                    </a:lnTo>
                    <a:lnTo>
                      <a:pt x="1121" y="1017"/>
                    </a:lnTo>
                    <a:lnTo>
                      <a:pt x="1121" y="1019"/>
                    </a:lnTo>
                    <a:lnTo>
                      <a:pt x="1123" y="1021"/>
                    </a:lnTo>
                    <a:lnTo>
                      <a:pt x="1123" y="1021"/>
                    </a:lnTo>
                    <a:lnTo>
                      <a:pt x="1125" y="1023"/>
                    </a:lnTo>
                    <a:lnTo>
                      <a:pt x="1125" y="1025"/>
                    </a:lnTo>
                    <a:lnTo>
                      <a:pt x="1127" y="1025"/>
                    </a:lnTo>
                    <a:lnTo>
                      <a:pt x="1127" y="1027"/>
                    </a:lnTo>
                    <a:lnTo>
                      <a:pt x="1129" y="1030"/>
                    </a:lnTo>
                    <a:lnTo>
                      <a:pt x="1135" y="1036"/>
                    </a:lnTo>
                    <a:lnTo>
                      <a:pt x="1139" y="1038"/>
                    </a:lnTo>
                    <a:lnTo>
                      <a:pt x="1141" y="1040"/>
                    </a:lnTo>
                    <a:lnTo>
                      <a:pt x="1141" y="1040"/>
                    </a:lnTo>
                    <a:lnTo>
                      <a:pt x="1147" y="1042"/>
                    </a:lnTo>
                    <a:lnTo>
                      <a:pt x="1151" y="1042"/>
                    </a:lnTo>
                    <a:lnTo>
                      <a:pt x="1151" y="95"/>
                    </a:lnTo>
                    <a:lnTo>
                      <a:pt x="1149" y="99"/>
                    </a:lnTo>
                    <a:lnTo>
                      <a:pt x="1147" y="10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75" name="Freeform 775">
                <a:extLst>
                  <a:ext uri="{FF2B5EF4-FFF2-40B4-BE49-F238E27FC236}">
                    <a16:creationId xmlns:a16="http://schemas.microsoft.com/office/drawing/2014/main" id="{2ACC1000-4A6F-450D-BB6B-39EE04546C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" y="3387"/>
                <a:ext cx="6" cy="7"/>
              </a:xfrm>
              <a:custGeom>
                <a:avLst/>
                <a:gdLst>
                  <a:gd name="T0" fmla="*/ 2 w 6"/>
                  <a:gd name="T1" fmla="*/ 2 h 7"/>
                  <a:gd name="T2" fmla="*/ 0 w 6"/>
                  <a:gd name="T3" fmla="*/ 5 h 7"/>
                  <a:gd name="T4" fmla="*/ 0 w 6"/>
                  <a:gd name="T5" fmla="*/ 7 h 7"/>
                  <a:gd name="T6" fmla="*/ 0 w 6"/>
                  <a:gd name="T7" fmla="*/ 5 h 7"/>
                  <a:gd name="T8" fmla="*/ 2 w 6"/>
                  <a:gd name="T9" fmla="*/ 2 h 7"/>
                  <a:gd name="T10" fmla="*/ 4 w 6"/>
                  <a:gd name="T11" fmla="*/ 0 h 7"/>
                  <a:gd name="T12" fmla="*/ 6 w 6"/>
                  <a:gd name="T13" fmla="*/ 0 h 7"/>
                  <a:gd name="T14" fmla="*/ 4 w 6"/>
                  <a:gd name="T15" fmla="*/ 0 h 7"/>
                  <a:gd name="T16" fmla="*/ 2 w 6"/>
                  <a:gd name="T17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7">
                    <a:moveTo>
                      <a:pt x="2" y="2"/>
                    </a:moveTo>
                    <a:lnTo>
                      <a:pt x="0" y="5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76" name="Freeform 776">
                <a:extLst>
                  <a:ext uri="{FF2B5EF4-FFF2-40B4-BE49-F238E27FC236}">
                    <a16:creationId xmlns:a16="http://schemas.microsoft.com/office/drawing/2014/main" id="{CD95FC7E-24E1-48B9-8CFD-71A728DABE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3426"/>
                <a:ext cx="2" cy="19"/>
              </a:xfrm>
              <a:custGeom>
                <a:avLst/>
                <a:gdLst>
                  <a:gd name="T0" fmla="*/ 0 w 2"/>
                  <a:gd name="T1" fmla="*/ 5 h 19"/>
                  <a:gd name="T2" fmla="*/ 0 w 2"/>
                  <a:gd name="T3" fmla="*/ 19 h 19"/>
                  <a:gd name="T4" fmla="*/ 0 w 2"/>
                  <a:gd name="T5" fmla="*/ 5 h 19"/>
                  <a:gd name="T6" fmla="*/ 2 w 2"/>
                  <a:gd name="T7" fmla="*/ 2 h 19"/>
                  <a:gd name="T8" fmla="*/ 2 w 2"/>
                  <a:gd name="T9" fmla="*/ 0 h 19"/>
                  <a:gd name="T10" fmla="*/ 2 w 2"/>
                  <a:gd name="T11" fmla="*/ 2 h 19"/>
                  <a:gd name="T12" fmla="*/ 0 w 2"/>
                  <a:gd name="T13" fmla="*/ 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19">
                    <a:moveTo>
                      <a:pt x="0" y="5"/>
                    </a:moveTo>
                    <a:lnTo>
                      <a:pt x="0" y="19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77" name="Freeform 777">
                <a:extLst>
                  <a:ext uri="{FF2B5EF4-FFF2-40B4-BE49-F238E27FC236}">
                    <a16:creationId xmlns:a16="http://schemas.microsoft.com/office/drawing/2014/main" id="{1EDD05E6-7585-4A21-A039-6832E3EEB3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7" y="3408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0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78" name="Freeform 778">
                <a:extLst>
                  <a:ext uri="{FF2B5EF4-FFF2-40B4-BE49-F238E27FC236}">
                    <a16:creationId xmlns:a16="http://schemas.microsoft.com/office/drawing/2014/main" id="{B93C9FF9-92F6-43A2-B129-6629359A58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3340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0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79" name="Freeform 779">
                <a:extLst>
                  <a:ext uri="{FF2B5EF4-FFF2-40B4-BE49-F238E27FC236}">
                    <a16:creationId xmlns:a16="http://schemas.microsoft.com/office/drawing/2014/main" id="{485B3D74-329B-417E-9CF7-EBE41E2984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9" y="3295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2 h 4"/>
                  <a:gd name="T4" fmla="*/ 2 w 2"/>
                  <a:gd name="T5" fmla="*/ 0 h 4"/>
                  <a:gd name="T6" fmla="*/ 0 w 2"/>
                  <a:gd name="T7" fmla="*/ 2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80" name="Freeform 780">
                <a:extLst>
                  <a:ext uri="{FF2B5EF4-FFF2-40B4-BE49-F238E27FC236}">
                    <a16:creationId xmlns:a16="http://schemas.microsoft.com/office/drawing/2014/main" id="{7287507F-920C-4684-8E9A-6815E03A3A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" y="3322"/>
                <a:ext cx="0" cy="4"/>
              </a:xfrm>
              <a:custGeom>
                <a:avLst/>
                <a:gdLst>
                  <a:gd name="T0" fmla="*/ 0 h 4"/>
                  <a:gd name="T1" fmla="*/ 4 h 4"/>
                  <a:gd name="T2" fmla="*/ 4 h 4"/>
                  <a:gd name="T3" fmla="*/ 4 h 4"/>
                  <a:gd name="T4" fmla="*/ 0 h 4"/>
                  <a:gd name="T5" fmla="*/ 0 h 4"/>
                  <a:gd name="T6" fmla="*/ 0 h 4"/>
                  <a:gd name="T7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81" name="Freeform 781">
                <a:extLst>
                  <a:ext uri="{FF2B5EF4-FFF2-40B4-BE49-F238E27FC236}">
                    <a16:creationId xmlns:a16="http://schemas.microsoft.com/office/drawing/2014/main" id="{A70FCF87-F00E-457B-BAE6-35D1D2E99D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0" y="3328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2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82" name="Freeform 782">
                <a:extLst>
                  <a:ext uri="{FF2B5EF4-FFF2-40B4-BE49-F238E27FC236}">
                    <a16:creationId xmlns:a16="http://schemas.microsoft.com/office/drawing/2014/main" id="{561871C0-F543-418E-B072-9A29A07DB6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6" y="3305"/>
                <a:ext cx="6" cy="9"/>
              </a:xfrm>
              <a:custGeom>
                <a:avLst/>
                <a:gdLst>
                  <a:gd name="T0" fmla="*/ 0 w 6"/>
                  <a:gd name="T1" fmla="*/ 9 h 9"/>
                  <a:gd name="T2" fmla="*/ 2 w 6"/>
                  <a:gd name="T3" fmla="*/ 2 h 9"/>
                  <a:gd name="T4" fmla="*/ 6 w 6"/>
                  <a:gd name="T5" fmla="*/ 0 h 9"/>
                  <a:gd name="T6" fmla="*/ 2 w 6"/>
                  <a:gd name="T7" fmla="*/ 2 h 9"/>
                  <a:gd name="T8" fmla="*/ 0 w 6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9">
                    <a:moveTo>
                      <a:pt x="0" y="9"/>
                    </a:moveTo>
                    <a:lnTo>
                      <a:pt x="2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83" name="Freeform 783">
                <a:extLst>
                  <a:ext uri="{FF2B5EF4-FFF2-40B4-BE49-F238E27FC236}">
                    <a16:creationId xmlns:a16="http://schemas.microsoft.com/office/drawing/2014/main" id="{40BCF71F-683A-48EB-85BE-B0DA4F5FB9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1" y="3283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2 h 4"/>
                  <a:gd name="T4" fmla="*/ 2 w 2"/>
                  <a:gd name="T5" fmla="*/ 0 h 4"/>
                  <a:gd name="T6" fmla="*/ 0 w 2"/>
                  <a:gd name="T7" fmla="*/ 2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84" name="Freeform 784">
                <a:extLst>
                  <a:ext uri="{FF2B5EF4-FFF2-40B4-BE49-F238E27FC236}">
                    <a16:creationId xmlns:a16="http://schemas.microsoft.com/office/drawing/2014/main" id="{DBFBC110-79EC-4C46-903E-9EAB814C5E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6" y="3334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85" name="Freeform 785">
                <a:extLst>
                  <a:ext uri="{FF2B5EF4-FFF2-40B4-BE49-F238E27FC236}">
                    <a16:creationId xmlns:a16="http://schemas.microsoft.com/office/drawing/2014/main" id="{467F5190-BCD1-4BDC-BFC5-276645D3CB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2" y="335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86" name="Freeform 786">
                <a:extLst>
                  <a:ext uri="{FF2B5EF4-FFF2-40B4-BE49-F238E27FC236}">
                    <a16:creationId xmlns:a16="http://schemas.microsoft.com/office/drawing/2014/main" id="{60CEBBC7-7101-45E6-95FB-3675FB3B9A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4" y="3375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0 w 2"/>
                  <a:gd name="T3" fmla="*/ 4 h 6"/>
                  <a:gd name="T4" fmla="*/ 2 w 2"/>
                  <a:gd name="T5" fmla="*/ 0 h 6"/>
                  <a:gd name="T6" fmla="*/ 0 w 2"/>
                  <a:gd name="T7" fmla="*/ 4 h 6"/>
                  <a:gd name="T8" fmla="*/ 0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0" y="4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87" name="Freeform 787">
                <a:extLst>
                  <a:ext uri="{FF2B5EF4-FFF2-40B4-BE49-F238E27FC236}">
                    <a16:creationId xmlns:a16="http://schemas.microsoft.com/office/drawing/2014/main" id="{A53005AD-7A07-48BA-B43F-9654B038E4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3349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88" name="Freeform 788">
                <a:extLst>
                  <a:ext uri="{FF2B5EF4-FFF2-40B4-BE49-F238E27FC236}">
                    <a16:creationId xmlns:a16="http://schemas.microsoft.com/office/drawing/2014/main" id="{D00FB8F4-9A28-466C-885E-ADA4BF02A2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6" y="3359"/>
                <a:ext cx="4" cy="16"/>
              </a:xfrm>
              <a:custGeom>
                <a:avLst/>
                <a:gdLst>
                  <a:gd name="T0" fmla="*/ 2 w 4"/>
                  <a:gd name="T1" fmla="*/ 4 h 16"/>
                  <a:gd name="T2" fmla="*/ 2 w 4"/>
                  <a:gd name="T3" fmla="*/ 10 h 16"/>
                  <a:gd name="T4" fmla="*/ 0 w 4"/>
                  <a:gd name="T5" fmla="*/ 16 h 16"/>
                  <a:gd name="T6" fmla="*/ 0 w 4"/>
                  <a:gd name="T7" fmla="*/ 16 h 16"/>
                  <a:gd name="T8" fmla="*/ 2 w 4"/>
                  <a:gd name="T9" fmla="*/ 10 h 16"/>
                  <a:gd name="T10" fmla="*/ 2 w 4"/>
                  <a:gd name="T11" fmla="*/ 4 h 16"/>
                  <a:gd name="T12" fmla="*/ 2 w 4"/>
                  <a:gd name="T13" fmla="*/ 2 h 16"/>
                  <a:gd name="T14" fmla="*/ 4 w 4"/>
                  <a:gd name="T15" fmla="*/ 0 h 16"/>
                  <a:gd name="T16" fmla="*/ 2 w 4"/>
                  <a:gd name="T17" fmla="*/ 2 h 16"/>
                  <a:gd name="T18" fmla="*/ 2 w 4"/>
                  <a:gd name="T19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16">
                    <a:moveTo>
                      <a:pt x="2" y="4"/>
                    </a:move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0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89" name="Freeform 789">
                <a:extLst>
                  <a:ext uri="{FF2B5EF4-FFF2-40B4-BE49-F238E27FC236}">
                    <a16:creationId xmlns:a16="http://schemas.microsoft.com/office/drawing/2014/main" id="{EFBDD5A9-6F6E-4A7A-97E9-53397BFC9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0" y="3562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0 w 4"/>
                  <a:gd name="T3" fmla="*/ 2 h 2"/>
                  <a:gd name="T4" fmla="*/ 0 w 4"/>
                  <a:gd name="T5" fmla="*/ 2 h 2"/>
                  <a:gd name="T6" fmla="*/ 0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90" name="Freeform 790">
                <a:extLst>
                  <a:ext uri="{FF2B5EF4-FFF2-40B4-BE49-F238E27FC236}">
                    <a16:creationId xmlns:a16="http://schemas.microsoft.com/office/drawing/2014/main" id="{073D1189-A12A-4FCE-92D0-B82A8F178D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2" y="3498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91" name="Freeform 791">
                <a:extLst>
                  <a:ext uri="{FF2B5EF4-FFF2-40B4-BE49-F238E27FC236}">
                    <a16:creationId xmlns:a16="http://schemas.microsoft.com/office/drawing/2014/main" id="{0DEC1095-0960-482F-B7FB-506CF32C3B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3" y="3572"/>
                <a:ext cx="15" cy="4"/>
              </a:xfrm>
              <a:custGeom>
                <a:avLst/>
                <a:gdLst>
                  <a:gd name="T0" fmla="*/ 14 w 15"/>
                  <a:gd name="T1" fmla="*/ 4 h 4"/>
                  <a:gd name="T2" fmla="*/ 15 w 15"/>
                  <a:gd name="T3" fmla="*/ 4 h 4"/>
                  <a:gd name="T4" fmla="*/ 14 w 15"/>
                  <a:gd name="T5" fmla="*/ 4 h 4"/>
                  <a:gd name="T6" fmla="*/ 10 w 15"/>
                  <a:gd name="T7" fmla="*/ 4 h 4"/>
                  <a:gd name="T8" fmla="*/ 0 w 15"/>
                  <a:gd name="T9" fmla="*/ 0 h 4"/>
                  <a:gd name="T10" fmla="*/ 0 w 15"/>
                  <a:gd name="T11" fmla="*/ 0 h 4"/>
                  <a:gd name="T12" fmla="*/ 10 w 15"/>
                  <a:gd name="T13" fmla="*/ 4 h 4"/>
                  <a:gd name="T14" fmla="*/ 14 w 15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4">
                    <a:moveTo>
                      <a:pt x="14" y="4"/>
                    </a:moveTo>
                    <a:lnTo>
                      <a:pt x="15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0" y="4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92" name="Freeform 792">
                <a:extLst>
                  <a:ext uri="{FF2B5EF4-FFF2-40B4-BE49-F238E27FC236}">
                    <a16:creationId xmlns:a16="http://schemas.microsoft.com/office/drawing/2014/main" id="{B614049D-297E-40E7-9D8D-6A18D3BD05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2" y="3562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4 w 6"/>
                  <a:gd name="T3" fmla="*/ 0 h 2"/>
                  <a:gd name="T4" fmla="*/ 0 w 6"/>
                  <a:gd name="T5" fmla="*/ 2 h 2"/>
                  <a:gd name="T6" fmla="*/ 4 w 6"/>
                  <a:gd name="T7" fmla="*/ 0 h 2"/>
                  <a:gd name="T8" fmla="*/ 6 w 6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93" name="Freeform 793">
                <a:extLst>
                  <a:ext uri="{FF2B5EF4-FFF2-40B4-BE49-F238E27FC236}">
                    <a16:creationId xmlns:a16="http://schemas.microsoft.com/office/drawing/2014/main" id="{060831B7-0947-4E41-901F-BFCA7E833F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1" y="3572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94" name="Freeform 794">
                <a:extLst>
                  <a:ext uri="{FF2B5EF4-FFF2-40B4-BE49-F238E27FC236}">
                    <a16:creationId xmlns:a16="http://schemas.microsoft.com/office/drawing/2014/main" id="{5B236319-42BA-4280-842A-8473691BA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4" y="3562"/>
                <a:ext cx="19" cy="4"/>
              </a:xfrm>
              <a:custGeom>
                <a:avLst/>
                <a:gdLst>
                  <a:gd name="T0" fmla="*/ 15 w 19"/>
                  <a:gd name="T1" fmla="*/ 2 h 4"/>
                  <a:gd name="T2" fmla="*/ 17 w 19"/>
                  <a:gd name="T3" fmla="*/ 4 h 4"/>
                  <a:gd name="T4" fmla="*/ 19 w 19"/>
                  <a:gd name="T5" fmla="*/ 4 h 4"/>
                  <a:gd name="T6" fmla="*/ 17 w 19"/>
                  <a:gd name="T7" fmla="*/ 4 h 4"/>
                  <a:gd name="T8" fmla="*/ 15 w 19"/>
                  <a:gd name="T9" fmla="*/ 2 h 4"/>
                  <a:gd name="T10" fmla="*/ 5 w 19"/>
                  <a:gd name="T11" fmla="*/ 2 h 4"/>
                  <a:gd name="T12" fmla="*/ 0 w 19"/>
                  <a:gd name="T13" fmla="*/ 0 h 4"/>
                  <a:gd name="T14" fmla="*/ 5 w 19"/>
                  <a:gd name="T15" fmla="*/ 2 h 4"/>
                  <a:gd name="T16" fmla="*/ 15 w 19"/>
                  <a:gd name="T1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4">
                    <a:moveTo>
                      <a:pt x="15" y="2"/>
                    </a:moveTo>
                    <a:lnTo>
                      <a:pt x="17" y="4"/>
                    </a:lnTo>
                    <a:lnTo>
                      <a:pt x="19" y="4"/>
                    </a:lnTo>
                    <a:lnTo>
                      <a:pt x="17" y="4"/>
                    </a:lnTo>
                    <a:lnTo>
                      <a:pt x="15" y="2"/>
                    </a:lnTo>
                    <a:lnTo>
                      <a:pt x="5" y="2"/>
                    </a:lnTo>
                    <a:lnTo>
                      <a:pt x="0" y="0"/>
                    </a:lnTo>
                    <a:lnTo>
                      <a:pt x="5" y="2"/>
                    </a:lnTo>
                    <a:lnTo>
                      <a:pt x="15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95" name="Freeform 795">
                <a:extLst>
                  <a:ext uri="{FF2B5EF4-FFF2-40B4-BE49-F238E27FC236}">
                    <a16:creationId xmlns:a16="http://schemas.microsoft.com/office/drawing/2014/main" id="{5F01E44A-2C47-4CF7-ABF8-C27A21ACF4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2" y="3564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96" name="Freeform 796">
                <a:extLst>
                  <a:ext uri="{FF2B5EF4-FFF2-40B4-BE49-F238E27FC236}">
                    <a16:creationId xmlns:a16="http://schemas.microsoft.com/office/drawing/2014/main" id="{3C475E81-8EEB-4375-835B-EF58770D15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7" y="3560"/>
                <a:ext cx="16" cy="6"/>
              </a:xfrm>
              <a:custGeom>
                <a:avLst/>
                <a:gdLst>
                  <a:gd name="T0" fmla="*/ 4 w 16"/>
                  <a:gd name="T1" fmla="*/ 2 h 6"/>
                  <a:gd name="T2" fmla="*/ 14 w 16"/>
                  <a:gd name="T3" fmla="*/ 4 h 6"/>
                  <a:gd name="T4" fmla="*/ 16 w 16"/>
                  <a:gd name="T5" fmla="*/ 6 h 6"/>
                  <a:gd name="T6" fmla="*/ 14 w 16"/>
                  <a:gd name="T7" fmla="*/ 4 h 6"/>
                  <a:gd name="T8" fmla="*/ 4 w 16"/>
                  <a:gd name="T9" fmla="*/ 2 h 6"/>
                  <a:gd name="T10" fmla="*/ 2 w 16"/>
                  <a:gd name="T11" fmla="*/ 0 h 6"/>
                  <a:gd name="T12" fmla="*/ 0 w 16"/>
                  <a:gd name="T13" fmla="*/ 0 h 6"/>
                  <a:gd name="T14" fmla="*/ 2 w 16"/>
                  <a:gd name="T15" fmla="*/ 0 h 6"/>
                  <a:gd name="T16" fmla="*/ 4 w 16"/>
                  <a:gd name="T1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6">
                    <a:moveTo>
                      <a:pt x="4" y="2"/>
                    </a:moveTo>
                    <a:lnTo>
                      <a:pt x="14" y="4"/>
                    </a:lnTo>
                    <a:lnTo>
                      <a:pt x="16" y="6"/>
                    </a:lnTo>
                    <a:lnTo>
                      <a:pt x="1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97" name="Freeform 797">
                <a:extLst>
                  <a:ext uri="{FF2B5EF4-FFF2-40B4-BE49-F238E27FC236}">
                    <a16:creationId xmlns:a16="http://schemas.microsoft.com/office/drawing/2014/main" id="{44A51D6C-D936-44A2-AE70-14A5CB34FE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3553"/>
                <a:ext cx="18" cy="3"/>
              </a:xfrm>
              <a:custGeom>
                <a:avLst/>
                <a:gdLst>
                  <a:gd name="T0" fmla="*/ 10 w 18"/>
                  <a:gd name="T1" fmla="*/ 3 h 3"/>
                  <a:gd name="T2" fmla="*/ 18 w 18"/>
                  <a:gd name="T3" fmla="*/ 0 h 3"/>
                  <a:gd name="T4" fmla="*/ 18 w 18"/>
                  <a:gd name="T5" fmla="*/ 0 h 3"/>
                  <a:gd name="T6" fmla="*/ 10 w 18"/>
                  <a:gd name="T7" fmla="*/ 3 h 3"/>
                  <a:gd name="T8" fmla="*/ 6 w 18"/>
                  <a:gd name="T9" fmla="*/ 3 h 3"/>
                  <a:gd name="T10" fmla="*/ 0 w 18"/>
                  <a:gd name="T11" fmla="*/ 3 h 3"/>
                  <a:gd name="T12" fmla="*/ 6 w 18"/>
                  <a:gd name="T13" fmla="*/ 3 h 3"/>
                  <a:gd name="T14" fmla="*/ 10 w 18"/>
                  <a:gd name="T1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3">
                    <a:moveTo>
                      <a:pt x="10" y="3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10" y="3"/>
                    </a:lnTo>
                    <a:lnTo>
                      <a:pt x="6" y="3"/>
                    </a:lnTo>
                    <a:lnTo>
                      <a:pt x="0" y="3"/>
                    </a:lnTo>
                    <a:lnTo>
                      <a:pt x="6" y="3"/>
                    </a:lnTo>
                    <a:lnTo>
                      <a:pt x="10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98" name="Freeform 798">
                <a:extLst>
                  <a:ext uri="{FF2B5EF4-FFF2-40B4-BE49-F238E27FC236}">
                    <a16:creationId xmlns:a16="http://schemas.microsoft.com/office/drawing/2014/main" id="{E105DCCA-8421-4F08-8A3B-AB77AB1F15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8" y="3574"/>
                <a:ext cx="14" cy="2"/>
              </a:xfrm>
              <a:custGeom>
                <a:avLst/>
                <a:gdLst>
                  <a:gd name="T0" fmla="*/ 0 w 14"/>
                  <a:gd name="T1" fmla="*/ 2 h 2"/>
                  <a:gd name="T2" fmla="*/ 0 w 14"/>
                  <a:gd name="T3" fmla="*/ 2 h 2"/>
                  <a:gd name="T4" fmla="*/ 14 w 14"/>
                  <a:gd name="T5" fmla="*/ 0 h 2"/>
                  <a:gd name="T6" fmla="*/ 0 w 1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2">
                    <a:moveTo>
                      <a:pt x="0" y="2"/>
                    </a:moveTo>
                    <a:lnTo>
                      <a:pt x="0" y="2"/>
                    </a:lnTo>
                    <a:lnTo>
                      <a:pt x="1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099" name="Freeform 799">
                <a:extLst>
                  <a:ext uri="{FF2B5EF4-FFF2-40B4-BE49-F238E27FC236}">
                    <a16:creationId xmlns:a16="http://schemas.microsoft.com/office/drawing/2014/main" id="{D061E0A5-58B3-4D72-8571-131252A6FC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6" y="3560"/>
                <a:ext cx="8" cy="2"/>
              </a:xfrm>
              <a:custGeom>
                <a:avLst/>
                <a:gdLst>
                  <a:gd name="T0" fmla="*/ 8 w 8"/>
                  <a:gd name="T1" fmla="*/ 0 h 2"/>
                  <a:gd name="T2" fmla="*/ 4 w 8"/>
                  <a:gd name="T3" fmla="*/ 0 h 2"/>
                  <a:gd name="T4" fmla="*/ 0 w 8"/>
                  <a:gd name="T5" fmla="*/ 2 h 2"/>
                  <a:gd name="T6" fmla="*/ 4 w 8"/>
                  <a:gd name="T7" fmla="*/ 0 h 2"/>
                  <a:gd name="T8" fmla="*/ 8 w 8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00" name="Freeform 800">
                <a:extLst>
                  <a:ext uri="{FF2B5EF4-FFF2-40B4-BE49-F238E27FC236}">
                    <a16:creationId xmlns:a16="http://schemas.microsoft.com/office/drawing/2014/main" id="{8E3F0ECB-4C20-4810-9391-22C4E698E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8" y="3558"/>
                <a:ext cx="4" cy="0"/>
              </a:xfrm>
              <a:custGeom>
                <a:avLst/>
                <a:gdLst>
                  <a:gd name="T0" fmla="*/ 4 w 4"/>
                  <a:gd name="T1" fmla="*/ 0 w 4"/>
                  <a:gd name="T2" fmla="*/ 0 w 4"/>
                  <a:gd name="T3" fmla="*/ 0 w 4"/>
                  <a:gd name="T4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01" name="Freeform 801">
                <a:extLst>
                  <a:ext uri="{FF2B5EF4-FFF2-40B4-BE49-F238E27FC236}">
                    <a16:creationId xmlns:a16="http://schemas.microsoft.com/office/drawing/2014/main" id="{E6191539-D527-44FC-9FF5-E12174D0D8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5" y="3603"/>
                <a:ext cx="4" cy="6"/>
              </a:xfrm>
              <a:custGeom>
                <a:avLst/>
                <a:gdLst>
                  <a:gd name="T0" fmla="*/ 4 w 4"/>
                  <a:gd name="T1" fmla="*/ 0 h 6"/>
                  <a:gd name="T2" fmla="*/ 0 w 4"/>
                  <a:gd name="T3" fmla="*/ 4 h 6"/>
                  <a:gd name="T4" fmla="*/ 0 w 4"/>
                  <a:gd name="T5" fmla="*/ 6 h 6"/>
                  <a:gd name="T6" fmla="*/ 0 w 4"/>
                  <a:gd name="T7" fmla="*/ 4 h 6"/>
                  <a:gd name="T8" fmla="*/ 4 w 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4" y="0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02" name="Freeform 802">
                <a:extLst>
                  <a:ext uri="{FF2B5EF4-FFF2-40B4-BE49-F238E27FC236}">
                    <a16:creationId xmlns:a16="http://schemas.microsoft.com/office/drawing/2014/main" id="{0ACCD1E7-2B6B-4BC8-AD66-7F588579C3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5" y="3574"/>
                <a:ext cx="12" cy="20"/>
              </a:xfrm>
              <a:custGeom>
                <a:avLst/>
                <a:gdLst>
                  <a:gd name="T0" fmla="*/ 2 w 12"/>
                  <a:gd name="T1" fmla="*/ 6 h 20"/>
                  <a:gd name="T2" fmla="*/ 2 w 12"/>
                  <a:gd name="T3" fmla="*/ 10 h 20"/>
                  <a:gd name="T4" fmla="*/ 4 w 12"/>
                  <a:gd name="T5" fmla="*/ 14 h 20"/>
                  <a:gd name="T6" fmla="*/ 6 w 12"/>
                  <a:gd name="T7" fmla="*/ 16 h 20"/>
                  <a:gd name="T8" fmla="*/ 12 w 12"/>
                  <a:gd name="T9" fmla="*/ 20 h 20"/>
                  <a:gd name="T10" fmla="*/ 12 w 12"/>
                  <a:gd name="T11" fmla="*/ 20 h 20"/>
                  <a:gd name="T12" fmla="*/ 6 w 12"/>
                  <a:gd name="T13" fmla="*/ 16 h 20"/>
                  <a:gd name="T14" fmla="*/ 4 w 12"/>
                  <a:gd name="T15" fmla="*/ 14 h 20"/>
                  <a:gd name="T16" fmla="*/ 2 w 12"/>
                  <a:gd name="T17" fmla="*/ 10 h 20"/>
                  <a:gd name="T18" fmla="*/ 2 w 12"/>
                  <a:gd name="T19" fmla="*/ 6 h 20"/>
                  <a:gd name="T20" fmla="*/ 2 w 12"/>
                  <a:gd name="T21" fmla="*/ 2 h 20"/>
                  <a:gd name="T22" fmla="*/ 0 w 12"/>
                  <a:gd name="T23" fmla="*/ 0 h 20"/>
                  <a:gd name="T24" fmla="*/ 2 w 12"/>
                  <a:gd name="T25" fmla="*/ 2 h 20"/>
                  <a:gd name="T26" fmla="*/ 2 w 12"/>
                  <a:gd name="T27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20">
                    <a:moveTo>
                      <a:pt x="2" y="6"/>
                    </a:moveTo>
                    <a:lnTo>
                      <a:pt x="2" y="10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6" y="16"/>
                    </a:lnTo>
                    <a:lnTo>
                      <a:pt x="4" y="14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03" name="Freeform 803">
                <a:extLst>
                  <a:ext uri="{FF2B5EF4-FFF2-40B4-BE49-F238E27FC236}">
                    <a16:creationId xmlns:a16="http://schemas.microsoft.com/office/drawing/2014/main" id="{56E93186-9563-4710-B19D-1AB1597F4C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1" y="3554"/>
                <a:ext cx="21" cy="8"/>
              </a:xfrm>
              <a:custGeom>
                <a:avLst/>
                <a:gdLst>
                  <a:gd name="T0" fmla="*/ 13 w 21"/>
                  <a:gd name="T1" fmla="*/ 0 h 8"/>
                  <a:gd name="T2" fmla="*/ 21 w 21"/>
                  <a:gd name="T3" fmla="*/ 8 h 8"/>
                  <a:gd name="T4" fmla="*/ 21 w 21"/>
                  <a:gd name="T5" fmla="*/ 8 h 8"/>
                  <a:gd name="T6" fmla="*/ 13 w 21"/>
                  <a:gd name="T7" fmla="*/ 0 h 8"/>
                  <a:gd name="T8" fmla="*/ 9 w 21"/>
                  <a:gd name="T9" fmla="*/ 0 h 8"/>
                  <a:gd name="T10" fmla="*/ 0 w 21"/>
                  <a:gd name="T11" fmla="*/ 0 h 8"/>
                  <a:gd name="T12" fmla="*/ 9 w 21"/>
                  <a:gd name="T13" fmla="*/ 0 h 8"/>
                  <a:gd name="T14" fmla="*/ 13 w 21"/>
                  <a:gd name="T1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8">
                    <a:moveTo>
                      <a:pt x="13" y="0"/>
                    </a:moveTo>
                    <a:lnTo>
                      <a:pt x="21" y="8"/>
                    </a:lnTo>
                    <a:lnTo>
                      <a:pt x="21" y="8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04" name="Freeform 804">
                <a:extLst>
                  <a:ext uri="{FF2B5EF4-FFF2-40B4-BE49-F238E27FC236}">
                    <a16:creationId xmlns:a16="http://schemas.microsoft.com/office/drawing/2014/main" id="{9966B4CE-2BF6-41A5-A523-6637A3ABB5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" y="3599"/>
                <a:ext cx="10" cy="16"/>
              </a:xfrm>
              <a:custGeom>
                <a:avLst/>
                <a:gdLst>
                  <a:gd name="T0" fmla="*/ 4 w 10"/>
                  <a:gd name="T1" fmla="*/ 4 h 16"/>
                  <a:gd name="T2" fmla="*/ 10 w 10"/>
                  <a:gd name="T3" fmla="*/ 16 h 16"/>
                  <a:gd name="T4" fmla="*/ 4 w 10"/>
                  <a:gd name="T5" fmla="*/ 4 h 16"/>
                  <a:gd name="T6" fmla="*/ 2 w 10"/>
                  <a:gd name="T7" fmla="*/ 2 h 16"/>
                  <a:gd name="T8" fmla="*/ 0 w 10"/>
                  <a:gd name="T9" fmla="*/ 0 h 16"/>
                  <a:gd name="T10" fmla="*/ 2 w 10"/>
                  <a:gd name="T11" fmla="*/ 2 h 16"/>
                  <a:gd name="T12" fmla="*/ 4 w 10"/>
                  <a:gd name="T13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6">
                    <a:moveTo>
                      <a:pt x="4" y="4"/>
                    </a:moveTo>
                    <a:lnTo>
                      <a:pt x="10" y="16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05" name="Freeform 805">
                <a:extLst>
                  <a:ext uri="{FF2B5EF4-FFF2-40B4-BE49-F238E27FC236}">
                    <a16:creationId xmlns:a16="http://schemas.microsoft.com/office/drawing/2014/main" id="{B6080FD5-3DB2-4A3E-8608-4B4A82B20A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4" y="3560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06" name="Freeform 806">
                <a:extLst>
                  <a:ext uri="{FF2B5EF4-FFF2-40B4-BE49-F238E27FC236}">
                    <a16:creationId xmlns:a16="http://schemas.microsoft.com/office/drawing/2014/main" id="{FB62FB08-FAF9-4FD8-9F0A-FAB338B38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0" y="3615"/>
                <a:ext cx="6" cy="6"/>
              </a:xfrm>
              <a:custGeom>
                <a:avLst/>
                <a:gdLst>
                  <a:gd name="T0" fmla="*/ 6 w 6"/>
                  <a:gd name="T1" fmla="*/ 6 h 6"/>
                  <a:gd name="T2" fmla="*/ 4 w 6"/>
                  <a:gd name="T3" fmla="*/ 6 h 6"/>
                  <a:gd name="T4" fmla="*/ 0 w 6"/>
                  <a:gd name="T5" fmla="*/ 0 h 6"/>
                  <a:gd name="T6" fmla="*/ 4 w 6"/>
                  <a:gd name="T7" fmla="*/ 6 h 6"/>
                  <a:gd name="T8" fmla="*/ 6 w 6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4" y="6"/>
                    </a:lnTo>
                    <a:lnTo>
                      <a:pt x="0" y="0"/>
                    </a:lnTo>
                    <a:lnTo>
                      <a:pt x="4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1107" name="Freeform 807">
                <a:extLst>
                  <a:ext uri="{FF2B5EF4-FFF2-40B4-BE49-F238E27FC236}">
                    <a16:creationId xmlns:a16="http://schemas.microsoft.com/office/drawing/2014/main" id="{F7F13145-25F1-4A93-A495-9F5E67FC8E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8" y="3488"/>
                <a:ext cx="19" cy="6"/>
              </a:xfrm>
              <a:custGeom>
                <a:avLst/>
                <a:gdLst>
                  <a:gd name="T0" fmla="*/ 19 w 19"/>
                  <a:gd name="T1" fmla="*/ 0 h 6"/>
                  <a:gd name="T2" fmla="*/ 2 w 19"/>
                  <a:gd name="T3" fmla="*/ 4 h 6"/>
                  <a:gd name="T4" fmla="*/ 0 w 19"/>
                  <a:gd name="T5" fmla="*/ 6 h 6"/>
                  <a:gd name="T6" fmla="*/ 2 w 19"/>
                  <a:gd name="T7" fmla="*/ 4 h 6"/>
                  <a:gd name="T8" fmla="*/ 19 w 19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6">
                    <a:moveTo>
                      <a:pt x="19" y="0"/>
                    </a:moveTo>
                    <a:lnTo>
                      <a:pt x="2" y="4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</p:grpSp>
        <p:grpSp>
          <p:nvGrpSpPr>
            <p:cNvPr id="346" name="Group 1210">
              <a:extLst>
                <a:ext uri="{FF2B5EF4-FFF2-40B4-BE49-F238E27FC236}">
                  <a16:creationId xmlns:a16="http://schemas.microsoft.com/office/drawing/2014/main" id="{E8F632B9-3743-4E9B-B99A-E1CF4C07D1A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29" y="2689012"/>
              <a:ext cx="2887667" cy="3361796"/>
              <a:chOff x="2" y="1698"/>
              <a:chExt cx="1819" cy="2118"/>
            </a:xfrm>
            <a:grpFill/>
          </p:grpSpPr>
          <p:sp>
            <p:nvSpPr>
              <p:cNvPr id="708" name="Freeform 1010">
                <a:extLst>
                  <a:ext uri="{FF2B5EF4-FFF2-40B4-BE49-F238E27FC236}">
                    <a16:creationId xmlns:a16="http://schemas.microsoft.com/office/drawing/2014/main" id="{CB63CED7-C057-4848-8FEA-9213A1FC24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" y="1752"/>
                <a:ext cx="17" cy="28"/>
              </a:xfrm>
              <a:custGeom>
                <a:avLst/>
                <a:gdLst>
                  <a:gd name="T0" fmla="*/ 6 w 17"/>
                  <a:gd name="T1" fmla="*/ 6 h 28"/>
                  <a:gd name="T2" fmla="*/ 8 w 17"/>
                  <a:gd name="T3" fmla="*/ 4 h 28"/>
                  <a:gd name="T4" fmla="*/ 10 w 17"/>
                  <a:gd name="T5" fmla="*/ 2 h 28"/>
                  <a:gd name="T6" fmla="*/ 10 w 17"/>
                  <a:gd name="T7" fmla="*/ 2 h 28"/>
                  <a:gd name="T8" fmla="*/ 12 w 17"/>
                  <a:gd name="T9" fmla="*/ 2 h 28"/>
                  <a:gd name="T10" fmla="*/ 12 w 17"/>
                  <a:gd name="T11" fmla="*/ 2 h 28"/>
                  <a:gd name="T12" fmla="*/ 12 w 17"/>
                  <a:gd name="T13" fmla="*/ 0 h 28"/>
                  <a:gd name="T14" fmla="*/ 8 w 17"/>
                  <a:gd name="T15" fmla="*/ 2 h 28"/>
                  <a:gd name="T16" fmla="*/ 4 w 17"/>
                  <a:gd name="T17" fmla="*/ 6 h 28"/>
                  <a:gd name="T18" fmla="*/ 0 w 17"/>
                  <a:gd name="T19" fmla="*/ 14 h 28"/>
                  <a:gd name="T20" fmla="*/ 2 w 17"/>
                  <a:gd name="T21" fmla="*/ 20 h 28"/>
                  <a:gd name="T22" fmla="*/ 6 w 17"/>
                  <a:gd name="T23" fmla="*/ 26 h 28"/>
                  <a:gd name="T24" fmla="*/ 10 w 17"/>
                  <a:gd name="T25" fmla="*/ 28 h 28"/>
                  <a:gd name="T26" fmla="*/ 16 w 17"/>
                  <a:gd name="T27" fmla="*/ 26 h 28"/>
                  <a:gd name="T28" fmla="*/ 17 w 17"/>
                  <a:gd name="T29" fmla="*/ 24 h 28"/>
                  <a:gd name="T30" fmla="*/ 16 w 17"/>
                  <a:gd name="T31" fmla="*/ 22 h 28"/>
                  <a:gd name="T32" fmla="*/ 6 w 17"/>
                  <a:gd name="T33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" h="28">
                    <a:moveTo>
                      <a:pt x="6" y="6"/>
                    </a:moveTo>
                    <a:lnTo>
                      <a:pt x="8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4" y="6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6" y="26"/>
                    </a:lnTo>
                    <a:lnTo>
                      <a:pt x="17" y="24"/>
                    </a:lnTo>
                    <a:lnTo>
                      <a:pt x="16" y="22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09" name="Freeform 1011">
                <a:extLst>
                  <a:ext uri="{FF2B5EF4-FFF2-40B4-BE49-F238E27FC236}">
                    <a16:creationId xmlns:a16="http://schemas.microsoft.com/office/drawing/2014/main" id="{EAF39783-EB15-498C-A1A7-6EAB973AC7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" y="2032"/>
                <a:ext cx="13" cy="5"/>
              </a:xfrm>
              <a:custGeom>
                <a:avLst/>
                <a:gdLst>
                  <a:gd name="T0" fmla="*/ 2 w 13"/>
                  <a:gd name="T1" fmla="*/ 5 h 5"/>
                  <a:gd name="T2" fmla="*/ 4 w 13"/>
                  <a:gd name="T3" fmla="*/ 5 h 5"/>
                  <a:gd name="T4" fmla="*/ 5 w 13"/>
                  <a:gd name="T5" fmla="*/ 5 h 5"/>
                  <a:gd name="T6" fmla="*/ 5 w 13"/>
                  <a:gd name="T7" fmla="*/ 5 h 5"/>
                  <a:gd name="T8" fmla="*/ 7 w 13"/>
                  <a:gd name="T9" fmla="*/ 3 h 5"/>
                  <a:gd name="T10" fmla="*/ 9 w 13"/>
                  <a:gd name="T11" fmla="*/ 1 h 5"/>
                  <a:gd name="T12" fmla="*/ 13 w 13"/>
                  <a:gd name="T13" fmla="*/ 1 h 5"/>
                  <a:gd name="T14" fmla="*/ 9 w 13"/>
                  <a:gd name="T15" fmla="*/ 0 h 5"/>
                  <a:gd name="T16" fmla="*/ 5 w 13"/>
                  <a:gd name="T17" fmla="*/ 0 h 5"/>
                  <a:gd name="T18" fmla="*/ 2 w 13"/>
                  <a:gd name="T19" fmla="*/ 1 h 5"/>
                  <a:gd name="T20" fmla="*/ 0 w 13"/>
                  <a:gd name="T21" fmla="*/ 3 h 5"/>
                  <a:gd name="T22" fmla="*/ 0 w 13"/>
                  <a:gd name="T23" fmla="*/ 5 h 5"/>
                  <a:gd name="T24" fmla="*/ 2 w 13"/>
                  <a:gd name="T25" fmla="*/ 5 h 5"/>
                  <a:gd name="T26" fmla="*/ 2 w 13"/>
                  <a:gd name="T2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5">
                    <a:moveTo>
                      <a:pt x="2" y="5"/>
                    </a:moveTo>
                    <a:lnTo>
                      <a:pt x="4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9" y="1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10" name="Freeform 1012">
                <a:extLst>
                  <a:ext uri="{FF2B5EF4-FFF2-40B4-BE49-F238E27FC236}">
                    <a16:creationId xmlns:a16="http://schemas.microsoft.com/office/drawing/2014/main" id="{29254135-83AE-4558-BFE2-76C2E9DED4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" y="1741"/>
                <a:ext cx="34" cy="21"/>
              </a:xfrm>
              <a:custGeom>
                <a:avLst/>
                <a:gdLst>
                  <a:gd name="T0" fmla="*/ 26 w 34"/>
                  <a:gd name="T1" fmla="*/ 0 h 21"/>
                  <a:gd name="T2" fmla="*/ 16 w 34"/>
                  <a:gd name="T3" fmla="*/ 0 h 21"/>
                  <a:gd name="T4" fmla="*/ 10 w 34"/>
                  <a:gd name="T5" fmla="*/ 0 h 21"/>
                  <a:gd name="T6" fmla="*/ 6 w 34"/>
                  <a:gd name="T7" fmla="*/ 2 h 21"/>
                  <a:gd name="T8" fmla="*/ 2 w 34"/>
                  <a:gd name="T9" fmla="*/ 5 h 21"/>
                  <a:gd name="T10" fmla="*/ 0 w 34"/>
                  <a:gd name="T11" fmla="*/ 11 h 21"/>
                  <a:gd name="T12" fmla="*/ 10 w 34"/>
                  <a:gd name="T13" fmla="*/ 17 h 21"/>
                  <a:gd name="T14" fmla="*/ 14 w 34"/>
                  <a:gd name="T15" fmla="*/ 19 h 21"/>
                  <a:gd name="T16" fmla="*/ 20 w 34"/>
                  <a:gd name="T17" fmla="*/ 17 h 21"/>
                  <a:gd name="T18" fmla="*/ 20 w 34"/>
                  <a:gd name="T19" fmla="*/ 19 h 21"/>
                  <a:gd name="T20" fmla="*/ 24 w 34"/>
                  <a:gd name="T21" fmla="*/ 19 h 21"/>
                  <a:gd name="T22" fmla="*/ 26 w 34"/>
                  <a:gd name="T23" fmla="*/ 21 h 21"/>
                  <a:gd name="T24" fmla="*/ 28 w 34"/>
                  <a:gd name="T25" fmla="*/ 19 h 21"/>
                  <a:gd name="T26" fmla="*/ 30 w 34"/>
                  <a:gd name="T27" fmla="*/ 17 h 21"/>
                  <a:gd name="T28" fmla="*/ 32 w 34"/>
                  <a:gd name="T29" fmla="*/ 11 h 21"/>
                  <a:gd name="T30" fmla="*/ 34 w 34"/>
                  <a:gd name="T31" fmla="*/ 9 h 21"/>
                  <a:gd name="T32" fmla="*/ 34 w 34"/>
                  <a:gd name="T33" fmla="*/ 7 h 21"/>
                  <a:gd name="T34" fmla="*/ 30 w 34"/>
                  <a:gd name="T35" fmla="*/ 4 h 21"/>
                  <a:gd name="T36" fmla="*/ 26 w 34"/>
                  <a:gd name="T3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21">
                    <a:moveTo>
                      <a:pt x="2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5"/>
                    </a:lnTo>
                    <a:lnTo>
                      <a:pt x="0" y="11"/>
                    </a:lnTo>
                    <a:lnTo>
                      <a:pt x="10" y="17"/>
                    </a:lnTo>
                    <a:lnTo>
                      <a:pt x="14" y="19"/>
                    </a:lnTo>
                    <a:lnTo>
                      <a:pt x="20" y="17"/>
                    </a:lnTo>
                    <a:lnTo>
                      <a:pt x="20" y="19"/>
                    </a:lnTo>
                    <a:lnTo>
                      <a:pt x="24" y="19"/>
                    </a:lnTo>
                    <a:lnTo>
                      <a:pt x="26" y="21"/>
                    </a:lnTo>
                    <a:lnTo>
                      <a:pt x="28" y="19"/>
                    </a:lnTo>
                    <a:lnTo>
                      <a:pt x="30" y="17"/>
                    </a:lnTo>
                    <a:lnTo>
                      <a:pt x="32" y="11"/>
                    </a:lnTo>
                    <a:lnTo>
                      <a:pt x="34" y="9"/>
                    </a:lnTo>
                    <a:lnTo>
                      <a:pt x="34" y="7"/>
                    </a:lnTo>
                    <a:lnTo>
                      <a:pt x="30" y="4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11" name="Freeform 1013">
                <a:extLst>
                  <a:ext uri="{FF2B5EF4-FFF2-40B4-BE49-F238E27FC236}">
                    <a16:creationId xmlns:a16="http://schemas.microsoft.com/office/drawing/2014/main" id="{47D3AA59-C154-4567-96D5-2B1CE512D8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" y="1805"/>
                <a:ext cx="53" cy="35"/>
              </a:xfrm>
              <a:custGeom>
                <a:avLst/>
                <a:gdLst>
                  <a:gd name="T0" fmla="*/ 39 w 53"/>
                  <a:gd name="T1" fmla="*/ 12 h 35"/>
                  <a:gd name="T2" fmla="*/ 39 w 53"/>
                  <a:gd name="T3" fmla="*/ 10 h 35"/>
                  <a:gd name="T4" fmla="*/ 33 w 53"/>
                  <a:gd name="T5" fmla="*/ 6 h 35"/>
                  <a:gd name="T6" fmla="*/ 20 w 53"/>
                  <a:gd name="T7" fmla="*/ 0 h 35"/>
                  <a:gd name="T8" fmla="*/ 12 w 53"/>
                  <a:gd name="T9" fmla="*/ 0 h 35"/>
                  <a:gd name="T10" fmla="*/ 6 w 53"/>
                  <a:gd name="T11" fmla="*/ 8 h 35"/>
                  <a:gd name="T12" fmla="*/ 0 w 53"/>
                  <a:gd name="T13" fmla="*/ 20 h 35"/>
                  <a:gd name="T14" fmla="*/ 0 w 53"/>
                  <a:gd name="T15" fmla="*/ 23 h 35"/>
                  <a:gd name="T16" fmla="*/ 2 w 53"/>
                  <a:gd name="T17" fmla="*/ 22 h 35"/>
                  <a:gd name="T18" fmla="*/ 4 w 53"/>
                  <a:gd name="T19" fmla="*/ 22 h 35"/>
                  <a:gd name="T20" fmla="*/ 4 w 53"/>
                  <a:gd name="T21" fmla="*/ 23 h 35"/>
                  <a:gd name="T22" fmla="*/ 4 w 53"/>
                  <a:gd name="T23" fmla="*/ 25 h 35"/>
                  <a:gd name="T24" fmla="*/ 6 w 53"/>
                  <a:gd name="T25" fmla="*/ 25 h 35"/>
                  <a:gd name="T26" fmla="*/ 8 w 53"/>
                  <a:gd name="T27" fmla="*/ 23 h 35"/>
                  <a:gd name="T28" fmla="*/ 10 w 53"/>
                  <a:gd name="T29" fmla="*/ 22 h 35"/>
                  <a:gd name="T30" fmla="*/ 14 w 53"/>
                  <a:gd name="T31" fmla="*/ 23 h 35"/>
                  <a:gd name="T32" fmla="*/ 16 w 53"/>
                  <a:gd name="T33" fmla="*/ 23 h 35"/>
                  <a:gd name="T34" fmla="*/ 18 w 53"/>
                  <a:gd name="T35" fmla="*/ 25 h 35"/>
                  <a:gd name="T36" fmla="*/ 16 w 53"/>
                  <a:gd name="T37" fmla="*/ 31 h 35"/>
                  <a:gd name="T38" fmla="*/ 18 w 53"/>
                  <a:gd name="T39" fmla="*/ 33 h 35"/>
                  <a:gd name="T40" fmla="*/ 24 w 53"/>
                  <a:gd name="T41" fmla="*/ 35 h 35"/>
                  <a:gd name="T42" fmla="*/ 29 w 53"/>
                  <a:gd name="T43" fmla="*/ 33 h 35"/>
                  <a:gd name="T44" fmla="*/ 29 w 53"/>
                  <a:gd name="T45" fmla="*/ 33 h 35"/>
                  <a:gd name="T46" fmla="*/ 27 w 53"/>
                  <a:gd name="T47" fmla="*/ 33 h 35"/>
                  <a:gd name="T48" fmla="*/ 31 w 53"/>
                  <a:gd name="T49" fmla="*/ 31 h 35"/>
                  <a:gd name="T50" fmla="*/ 53 w 53"/>
                  <a:gd name="T51" fmla="*/ 35 h 35"/>
                  <a:gd name="T52" fmla="*/ 43 w 53"/>
                  <a:gd name="T53" fmla="*/ 16 h 35"/>
                  <a:gd name="T54" fmla="*/ 39 w 53"/>
                  <a:gd name="T55" fmla="*/ 1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3" h="35">
                    <a:moveTo>
                      <a:pt x="39" y="12"/>
                    </a:moveTo>
                    <a:lnTo>
                      <a:pt x="39" y="10"/>
                    </a:lnTo>
                    <a:lnTo>
                      <a:pt x="33" y="6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6" y="8"/>
                    </a:lnTo>
                    <a:lnTo>
                      <a:pt x="0" y="20"/>
                    </a:lnTo>
                    <a:lnTo>
                      <a:pt x="0" y="23"/>
                    </a:lnTo>
                    <a:lnTo>
                      <a:pt x="2" y="22"/>
                    </a:lnTo>
                    <a:lnTo>
                      <a:pt x="4" y="22"/>
                    </a:lnTo>
                    <a:lnTo>
                      <a:pt x="4" y="23"/>
                    </a:lnTo>
                    <a:lnTo>
                      <a:pt x="4" y="25"/>
                    </a:lnTo>
                    <a:lnTo>
                      <a:pt x="6" y="25"/>
                    </a:lnTo>
                    <a:lnTo>
                      <a:pt x="8" y="23"/>
                    </a:lnTo>
                    <a:lnTo>
                      <a:pt x="10" y="22"/>
                    </a:lnTo>
                    <a:lnTo>
                      <a:pt x="14" y="23"/>
                    </a:lnTo>
                    <a:lnTo>
                      <a:pt x="16" y="23"/>
                    </a:lnTo>
                    <a:lnTo>
                      <a:pt x="18" y="25"/>
                    </a:lnTo>
                    <a:lnTo>
                      <a:pt x="16" y="31"/>
                    </a:lnTo>
                    <a:lnTo>
                      <a:pt x="18" y="33"/>
                    </a:lnTo>
                    <a:lnTo>
                      <a:pt x="24" y="35"/>
                    </a:lnTo>
                    <a:lnTo>
                      <a:pt x="29" y="33"/>
                    </a:lnTo>
                    <a:lnTo>
                      <a:pt x="29" y="33"/>
                    </a:lnTo>
                    <a:lnTo>
                      <a:pt x="27" y="33"/>
                    </a:lnTo>
                    <a:lnTo>
                      <a:pt x="31" y="31"/>
                    </a:lnTo>
                    <a:lnTo>
                      <a:pt x="53" y="35"/>
                    </a:lnTo>
                    <a:lnTo>
                      <a:pt x="43" y="16"/>
                    </a:lnTo>
                    <a:lnTo>
                      <a:pt x="39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12" name="Freeform 1014">
                <a:extLst>
                  <a:ext uri="{FF2B5EF4-FFF2-40B4-BE49-F238E27FC236}">
                    <a16:creationId xmlns:a16="http://schemas.microsoft.com/office/drawing/2014/main" id="{2321D03A-3DA1-4567-BD51-4722E0EDE6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" y="1903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0 h 2"/>
                  <a:gd name="T4" fmla="*/ 0 w 4"/>
                  <a:gd name="T5" fmla="*/ 0 h 2"/>
                  <a:gd name="T6" fmla="*/ 2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13" name="Freeform 1015">
                <a:extLst>
                  <a:ext uri="{FF2B5EF4-FFF2-40B4-BE49-F238E27FC236}">
                    <a16:creationId xmlns:a16="http://schemas.microsoft.com/office/drawing/2014/main" id="{F348F90F-E338-4FBC-A5B1-80297FCE1A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7" y="1760"/>
                <a:ext cx="109" cy="133"/>
              </a:xfrm>
              <a:custGeom>
                <a:avLst/>
                <a:gdLst>
                  <a:gd name="T0" fmla="*/ 27 w 109"/>
                  <a:gd name="T1" fmla="*/ 41 h 133"/>
                  <a:gd name="T2" fmla="*/ 8 w 109"/>
                  <a:gd name="T3" fmla="*/ 41 h 133"/>
                  <a:gd name="T4" fmla="*/ 8 w 109"/>
                  <a:gd name="T5" fmla="*/ 45 h 133"/>
                  <a:gd name="T6" fmla="*/ 10 w 109"/>
                  <a:gd name="T7" fmla="*/ 51 h 133"/>
                  <a:gd name="T8" fmla="*/ 19 w 109"/>
                  <a:gd name="T9" fmla="*/ 49 h 133"/>
                  <a:gd name="T10" fmla="*/ 17 w 109"/>
                  <a:gd name="T11" fmla="*/ 55 h 133"/>
                  <a:gd name="T12" fmla="*/ 25 w 109"/>
                  <a:gd name="T13" fmla="*/ 61 h 133"/>
                  <a:gd name="T14" fmla="*/ 21 w 109"/>
                  <a:gd name="T15" fmla="*/ 65 h 133"/>
                  <a:gd name="T16" fmla="*/ 6 w 109"/>
                  <a:gd name="T17" fmla="*/ 76 h 133"/>
                  <a:gd name="T18" fmla="*/ 17 w 109"/>
                  <a:gd name="T19" fmla="*/ 78 h 133"/>
                  <a:gd name="T20" fmla="*/ 21 w 109"/>
                  <a:gd name="T21" fmla="*/ 86 h 133"/>
                  <a:gd name="T22" fmla="*/ 17 w 109"/>
                  <a:gd name="T23" fmla="*/ 92 h 133"/>
                  <a:gd name="T24" fmla="*/ 6 w 109"/>
                  <a:gd name="T25" fmla="*/ 90 h 133"/>
                  <a:gd name="T26" fmla="*/ 10 w 109"/>
                  <a:gd name="T27" fmla="*/ 111 h 133"/>
                  <a:gd name="T28" fmla="*/ 6 w 109"/>
                  <a:gd name="T29" fmla="*/ 115 h 133"/>
                  <a:gd name="T30" fmla="*/ 13 w 109"/>
                  <a:gd name="T31" fmla="*/ 117 h 133"/>
                  <a:gd name="T32" fmla="*/ 21 w 109"/>
                  <a:gd name="T33" fmla="*/ 121 h 133"/>
                  <a:gd name="T34" fmla="*/ 27 w 109"/>
                  <a:gd name="T35" fmla="*/ 123 h 133"/>
                  <a:gd name="T36" fmla="*/ 31 w 109"/>
                  <a:gd name="T37" fmla="*/ 121 h 133"/>
                  <a:gd name="T38" fmla="*/ 35 w 109"/>
                  <a:gd name="T39" fmla="*/ 121 h 133"/>
                  <a:gd name="T40" fmla="*/ 43 w 109"/>
                  <a:gd name="T41" fmla="*/ 131 h 133"/>
                  <a:gd name="T42" fmla="*/ 51 w 109"/>
                  <a:gd name="T43" fmla="*/ 121 h 133"/>
                  <a:gd name="T44" fmla="*/ 41 w 109"/>
                  <a:gd name="T45" fmla="*/ 123 h 133"/>
                  <a:gd name="T46" fmla="*/ 41 w 109"/>
                  <a:gd name="T47" fmla="*/ 119 h 133"/>
                  <a:gd name="T48" fmla="*/ 52 w 109"/>
                  <a:gd name="T49" fmla="*/ 109 h 133"/>
                  <a:gd name="T50" fmla="*/ 82 w 109"/>
                  <a:gd name="T51" fmla="*/ 98 h 133"/>
                  <a:gd name="T52" fmla="*/ 90 w 109"/>
                  <a:gd name="T53" fmla="*/ 98 h 133"/>
                  <a:gd name="T54" fmla="*/ 94 w 109"/>
                  <a:gd name="T55" fmla="*/ 100 h 133"/>
                  <a:gd name="T56" fmla="*/ 99 w 109"/>
                  <a:gd name="T57" fmla="*/ 104 h 133"/>
                  <a:gd name="T58" fmla="*/ 90 w 109"/>
                  <a:gd name="T59" fmla="*/ 113 h 133"/>
                  <a:gd name="T60" fmla="*/ 97 w 109"/>
                  <a:gd name="T61" fmla="*/ 111 h 133"/>
                  <a:gd name="T62" fmla="*/ 97 w 109"/>
                  <a:gd name="T63" fmla="*/ 117 h 133"/>
                  <a:gd name="T64" fmla="*/ 101 w 109"/>
                  <a:gd name="T65" fmla="*/ 117 h 133"/>
                  <a:gd name="T66" fmla="*/ 107 w 109"/>
                  <a:gd name="T67" fmla="*/ 100 h 133"/>
                  <a:gd name="T68" fmla="*/ 97 w 109"/>
                  <a:gd name="T69" fmla="*/ 86 h 133"/>
                  <a:gd name="T70" fmla="*/ 80 w 109"/>
                  <a:gd name="T71" fmla="*/ 76 h 133"/>
                  <a:gd name="T72" fmla="*/ 78 w 109"/>
                  <a:gd name="T73" fmla="*/ 59 h 133"/>
                  <a:gd name="T74" fmla="*/ 92 w 109"/>
                  <a:gd name="T75" fmla="*/ 35 h 133"/>
                  <a:gd name="T76" fmla="*/ 51 w 109"/>
                  <a:gd name="T77" fmla="*/ 29 h 133"/>
                  <a:gd name="T78" fmla="*/ 45 w 109"/>
                  <a:gd name="T79" fmla="*/ 16 h 133"/>
                  <a:gd name="T80" fmla="*/ 54 w 109"/>
                  <a:gd name="T81" fmla="*/ 4 h 133"/>
                  <a:gd name="T82" fmla="*/ 23 w 109"/>
                  <a:gd name="T83" fmla="*/ 8 h 133"/>
                  <a:gd name="T84" fmla="*/ 17 w 109"/>
                  <a:gd name="T85" fmla="*/ 16 h 133"/>
                  <a:gd name="T86" fmla="*/ 29 w 109"/>
                  <a:gd name="T87" fmla="*/ 14 h 133"/>
                  <a:gd name="T88" fmla="*/ 25 w 109"/>
                  <a:gd name="T89" fmla="*/ 22 h 133"/>
                  <a:gd name="T90" fmla="*/ 25 w 109"/>
                  <a:gd name="T91" fmla="*/ 37 h 133"/>
                  <a:gd name="T92" fmla="*/ 39 w 109"/>
                  <a:gd name="T93" fmla="*/ 26 h 133"/>
                  <a:gd name="T94" fmla="*/ 45 w 109"/>
                  <a:gd name="T95" fmla="*/ 26 h 133"/>
                  <a:gd name="T96" fmla="*/ 49 w 109"/>
                  <a:gd name="T97" fmla="*/ 31 h 133"/>
                  <a:gd name="T98" fmla="*/ 54 w 109"/>
                  <a:gd name="T99" fmla="*/ 37 h 133"/>
                  <a:gd name="T100" fmla="*/ 64 w 109"/>
                  <a:gd name="T101" fmla="*/ 35 h 133"/>
                  <a:gd name="T102" fmla="*/ 66 w 109"/>
                  <a:gd name="T103" fmla="*/ 37 h 133"/>
                  <a:gd name="T104" fmla="*/ 64 w 109"/>
                  <a:gd name="T105" fmla="*/ 39 h 133"/>
                  <a:gd name="T106" fmla="*/ 68 w 109"/>
                  <a:gd name="T107" fmla="*/ 49 h 133"/>
                  <a:gd name="T108" fmla="*/ 64 w 109"/>
                  <a:gd name="T109" fmla="*/ 59 h 133"/>
                  <a:gd name="T110" fmla="*/ 51 w 109"/>
                  <a:gd name="T111" fmla="*/ 47 h 133"/>
                  <a:gd name="T112" fmla="*/ 41 w 109"/>
                  <a:gd name="T113" fmla="*/ 37 h 133"/>
                  <a:gd name="T114" fmla="*/ 45 w 109"/>
                  <a:gd name="T115" fmla="*/ 43 h 133"/>
                  <a:gd name="T116" fmla="*/ 39 w 109"/>
                  <a:gd name="T117" fmla="*/ 47 h 133"/>
                  <a:gd name="T118" fmla="*/ 39 w 109"/>
                  <a:gd name="T119" fmla="*/ 41 h 133"/>
                  <a:gd name="T120" fmla="*/ 41 w 109"/>
                  <a:gd name="T121" fmla="*/ 35 h 133"/>
                  <a:gd name="T122" fmla="*/ 33 w 109"/>
                  <a:gd name="T123" fmla="*/ 37 h 133"/>
                  <a:gd name="T124" fmla="*/ 31 w 109"/>
                  <a:gd name="T125" fmla="*/ 49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9" h="133">
                    <a:moveTo>
                      <a:pt x="31" y="49"/>
                    </a:moveTo>
                    <a:lnTo>
                      <a:pt x="29" y="47"/>
                    </a:lnTo>
                    <a:lnTo>
                      <a:pt x="29" y="43"/>
                    </a:lnTo>
                    <a:lnTo>
                      <a:pt x="27" y="41"/>
                    </a:lnTo>
                    <a:lnTo>
                      <a:pt x="25" y="41"/>
                    </a:lnTo>
                    <a:lnTo>
                      <a:pt x="23" y="39"/>
                    </a:lnTo>
                    <a:lnTo>
                      <a:pt x="21" y="39"/>
                    </a:lnTo>
                    <a:lnTo>
                      <a:pt x="8" y="41"/>
                    </a:lnTo>
                    <a:lnTo>
                      <a:pt x="4" y="43"/>
                    </a:lnTo>
                    <a:lnTo>
                      <a:pt x="6" y="43"/>
                    </a:lnTo>
                    <a:lnTo>
                      <a:pt x="8" y="43"/>
                    </a:lnTo>
                    <a:lnTo>
                      <a:pt x="8" y="45"/>
                    </a:lnTo>
                    <a:lnTo>
                      <a:pt x="8" y="47"/>
                    </a:lnTo>
                    <a:lnTo>
                      <a:pt x="8" y="49"/>
                    </a:lnTo>
                    <a:lnTo>
                      <a:pt x="10" y="49"/>
                    </a:lnTo>
                    <a:lnTo>
                      <a:pt x="10" y="51"/>
                    </a:lnTo>
                    <a:lnTo>
                      <a:pt x="10" y="51"/>
                    </a:lnTo>
                    <a:lnTo>
                      <a:pt x="11" y="53"/>
                    </a:lnTo>
                    <a:lnTo>
                      <a:pt x="13" y="51"/>
                    </a:lnTo>
                    <a:lnTo>
                      <a:pt x="19" y="49"/>
                    </a:lnTo>
                    <a:lnTo>
                      <a:pt x="19" y="53"/>
                    </a:lnTo>
                    <a:lnTo>
                      <a:pt x="19" y="53"/>
                    </a:lnTo>
                    <a:lnTo>
                      <a:pt x="19" y="53"/>
                    </a:lnTo>
                    <a:lnTo>
                      <a:pt x="17" y="55"/>
                    </a:lnTo>
                    <a:lnTo>
                      <a:pt x="19" y="57"/>
                    </a:lnTo>
                    <a:lnTo>
                      <a:pt x="21" y="59"/>
                    </a:lnTo>
                    <a:lnTo>
                      <a:pt x="25" y="61"/>
                    </a:lnTo>
                    <a:lnTo>
                      <a:pt x="25" y="61"/>
                    </a:lnTo>
                    <a:lnTo>
                      <a:pt x="23" y="61"/>
                    </a:lnTo>
                    <a:lnTo>
                      <a:pt x="23" y="63"/>
                    </a:lnTo>
                    <a:lnTo>
                      <a:pt x="23" y="65"/>
                    </a:lnTo>
                    <a:lnTo>
                      <a:pt x="21" y="65"/>
                    </a:lnTo>
                    <a:lnTo>
                      <a:pt x="15" y="67"/>
                    </a:lnTo>
                    <a:lnTo>
                      <a:pt x="11" y="68"/>
                    </a:lnTo>
                    <a:lnTo>
                      <a:pt x="10" y="70"/>
                    </a:lnTo>
                    <a:lnTo>
                      <a:pt x="6" y="76"/>
                    </a:lnTo>
                    <a:lnTo>
                      <a:pt x="13" y="74"/>
                    </a:lnTo>
                    <a:lnTo>
                      <a:pt x="15" y="74"/>
                    </a:lnTo>
                    <a:lnTo>
                      <a:pt x="17" y="76"/>
                    </a:lnTo>
                    <a:lnTo>
                      <a:pt x="17" y="78"/>
                    </a:lnTo>
                    <a:lnTo>
                      <a:pt x="21" y="78"/>
                    </a:lnTo>
                    <a:lnTo>
                      <a:pt x="21" y="80"/>
                    </a:lnTo>
                    <a:lnTo>
                      <a:pt x="19" y="82"/>
                    </a:lnTo>
                    <a:lnTo>
                      <a:pt x="21" y="86"/>
                    </a:lnTo>
                    <a:lnTo>
                      <a:pt x="23" y="88"/>
                    </a:lnTo>
                    <a:lnTo>
                      <a:pt x="25" y="88"/>
                    </a:lnTo>
                    <a:lnTo>
                      <a:pt x="19" y="90"/>
                    </a:lnTo>
                    <a:lnTo>
                      <a:pt x="17" y="92"/>
                    </a:lnTo>
                    <a:lnTo>
                      <a:pt x="15" y="90"/>
                    </a:lnTo>
                    <a:lnTo>
                      <a:pt x="15" y="92"/>
                    </a:lnTo>
                    <a:lnTo>
                      <a:pt x="10" y="88"/>
                    </a:lnTo>
                    <a:lnTo>
                      <a:pt x="6" y="90"/>
                    </a:lnTo>
                    <a:lnTo>
                      <a:pt x="2" y="94"/>
                    </a:lnTo>
                    <a:lnTo>
                      <a:pt x="0" y="102"/>
                    </a:lnTo>
                    <a:lnTo>
                      <a:pt x="10" y="109"/>
                    </a:lnTo>
                    <a:lnTo>
                      <a:pt x="10" y="111"/>
                    </a:lnTo>
                    <a:lnTo>
                      <a:pt x="8" y="109"/>
                    </a:lnTo>
                    <a:lnTo>
                      <a:pt x="6" y="111"/>
                    </a:lnTo>
                    <a:lnTo>
                      <a:pt x="4" y="113"/>
                    </a:lnTo>
                    <a:lnTo>
                      <a:pt x="6" y="115"/>
                    </a:lnTo>
                    <a:lnTo>
                      <a:pt x="8" y="115"/>
                    </a:lnTo>
                    <a:lnTo>
                      <a:pt x="11" y="111"/>
                    </a:lnTo>
                    <a:lnTo>
                      <a:pt x="15" y="113"/>
                    </a:lnTo>
                    <a:lnTo>
                      <a:pt x="13" y="117"/>
                    </a:lnTo>
                    <a:lnTo>
                      <a:pt x="15" y="119"/>
                    </a:lnTo>
                    <a:lnTo>
                      <a:pt x="19" y="121"/>
                    </a:lnTo>
                    <a:lnTo>
                      <a:pt x="21" y="121"/>
                    </a:lnTo>
                    <a:lnTo>
                      <a:pt x="21" y="121"/>
                    </a:lnTo>
                    <a:lnTo>
                      <a:pt x="23" y="123"/>
                    </a:lnTo>
                    <a:lnTo>
                      <a:pt x="25" y="125"/>
                    </a:lnTo>
                    <a:lnTo>
                      <a:pt x="27" y="123"/>
                    </a:lnTo>
                    <a:lnTo>
                      <a:pt x="27" y="123"/>
                    </a:lnTo>
                    <a:lnTo>
                      <a:pt x="29" y="121"/>
                    </a:lnTo>
                    <a:lnTo>
                      <a:pt x="33" y="123"/>
                    </a:lnTo>
                    <a:lnTo>
                      <a:pt x="33" y="121"/>
                    </a:lnTo>
                    <a:lnTo>
                      <a:pt x="31" y="121"/>
                    </a:lnTo>
                    <a:lnTo>
                      <a:pt x="33" y="119"/>
                    </a:lnTo>
                    <a:lnTo>
                      <a:pt x="33" y="117"/>
                    </a:lnTo>
                    <a:lnTo>
                      <a:pt x="37" y="117"/>
                    </a:lnTo>
                    <a:lnTo>
                      <a:pt x="35" y="121"/>
                    </a:lnTo>
                    <a:lnTo>
                      <a:pt x="33" y="125"/>
                    </a:lnTo>
                    <a:lnTo>
                      <a:pt x="33" y="125"/>
                    </a:lnTo>
                    <a:lnTo>
                      <a:pt x="39" y="129"/>
                    </a:lnTo>
                    <a:lnTo>
                      <a:pt x="43" y="131"/>
                    </a:lnTo>
                    <a:lnTo>
                      <a:pt x="49" y="133"/>
                    </a:lnTo>
                    <a:lnTo>
                      <a:pt x="51" y="131"/>
                    </a:lnTo>
                    <a:lnTo>
                      <a:pt x="51" y="129"/>
                    </a:lnTo>
                    <a:lnTo>
                      <a:pt x="51" y="121"/>
                    </a:lnTo>
                    <a:lnTo>
                      <a:pt x="49" y="121"/>
                    </a:lnTo>
                    <a:lnTo>
                      <a:pt x="41" y="123"/>
                    </a:lnTo>
                    <a:lnTo>
                      <a:pt x="41" y="123"/>
                    </a:lnTo>
                    <a:lnTo>
                      <a:pt x="41" y="123"/>
                    </a:lnTo>
                    <a:lnTo>
                      <a:pt x="43" y="123"/>
                    </a:lnTo>
                    <a:lnTo>
                      <a:pt x="43" y="125"/>
                    </a:lnTo>
                    <a:lnTo>
                      <a:pt x="39" y="127"/>
                    </a:lnTo>
                    <a:lnTo>
                      <a:pt x="41" y="119"/>
                    </a:lnTo>
                    <a:lnTo>
                      <a:pt x="45" y="117"/>
                    </a:lnTo>
                    <a:lnTo>
                      <a:pt x="49" y="115"/>
                    </a:lnTo>
                    <a:lnTo>
                      <a:pt x="51" y="111"/>
                    </a:lnTo>
                    <a:lnTo>
                      <a:pt x="52" y="109"/>
                    </a:lnTo>
                    <a:lnTo>
                      <a:pt x="60" y="102"/>
                    </a:lnTo>
                    <a:lnTo>
                      <a:pt x="64" y="100"/>
                    </a:lnTo>
                    <a:lnTo>
                      <a:pt x="80" y="98"/>
                    </a:lnTo>
                    <a:lnTo>
                      <a:pt x="82" y="98"/>
                    </a:lnTo>
                    <a:lnTo>
                      <a:pt x="84" y="100"/>
                    </a:lnTo>
                    <a:lnTo>
                      <a:pt x="86" y="102"/>
                    </a:lnTo>
                    <a:lnTo>
                      <a:pt x="88" y="98"/>
                    </a:lnTo>
                    <a:lnTo>
                      <a:pt x="90" y="98"/>
                    </a:lnTo>
                    <a:lnTo>
                      <a:pt x="92" y="96"/>
                    </a:lnTo>
                    <a:lnTo>
                      <a:pt x="95" y="98"/>
                    </a:lnTo>
                    <a:lnTo>
                      <a:pt x="95" y="100"/>
                    </a:lnTo>
                    <a:lnTo>
                      <a:pt x="94" y="100"/>
                    </a:lnTo>
                    <a:lnTo>
                      <a:pt x="84" y="108"/>
                    </a:lnTo>
                    <a:lnTo>
                      <a:pt x="88" y="106"/>
                    </a:lnTo>
                    <a:lnTo>
                      <a:pt x="92" y="104"/>
                    </a:lnTo>
                    <a:lnTo>
                      <a:pt x="99" y="104"/>
                    </a:lnTo>
                    <a:lnTo>
                      <a:pt x="97" y="106"/>
                    </a:lnTo>
                    <a:lnTo>
                      <a:pt x="95" y="108"/>
                    </a:lnTo>
                    <a:lnTo>
                      <a:pt x="90" y="111"/>
                    </a:lnTo>
                    <a:lnTo>
                      <a:pt x="90" y="113"/>
                    </a:lnTo>
                    <a:lnTo>
                      <a:pt x="92" y="113"/>
                    </a:lnTo>
                    <a:lnTo>
                      <a:pt x="94" y="113"/>
                    </a:lnTo>
                    <a:lnTo>
                      <a:pt x="97" y="113"/>
                    </a:lnTo>
                    <a:lnTo>
                      <a:pt x="97" y="111"/>
                    </a:lnTo>
                    <a:lnTo>
                      <a:pt x="99" y="111"/>
                    </a:lnTo>
                    <a:lnTo>
                      <a:pt x="99" y="113"/>
                    </a:lnTo>
                    <a:lnTo>
                      <a:pt x="99" y="115"/>
                    </a:lnTo>
                    <a:lnTo>
                      <a:pt x="97" y="117"/>
                    </a:lnTo>
                    <a:lnTo>
                      <a:pt x="95" y="117"/>
                    </a:lnTo>
                    <a:lnTo>
                      <a:pt x="99" y="117"/>
                    </a:lnTo>
                    <a:lnTo>
                      <a:pt x="101" y="117"/>
                    </a:lnTo>
                    <a:lnTo>
                      <a:pt x="101" y="117"/>
                    </a:lnTo>
                    <a:lnTo>
                      <a:pt x="101" y="111"/>
                    </a:lnTo>
                    <a:lnTo>
                      <a:pt x="103" y="108"/>
                    </a:lnTo>
                    <a:lnTo>
                      <a:pt x="103" y="104"/>
                    </a:lnTo>
                    <a:lnTo>
                      <a:pt x="107" y="100"/>
                    </a:lnTo>
                    <a:lnTo>
                      <a:pt x="109" y="100"/>
                    </a:lnTo>
                    <a:lnTo>
                      <a:pt x="105" y="98"/>
                    </a:lnTo>
                    <a:lnTo>
                      <a:pt x="101" y="94"/>
                    </a:lnTo>
                    <a:lnTo>
                      <a:pt x="97" y="86"/>
                    </a:lnTo>
                    <a:lnTo>
                      <a:pt x="94" y="82"/>
                    </a:lnTo>
                    <a:lnTo>
                      <a:pt x="86" y="80"/>
                    </a:lnTo>
                    <a:lnTo>
                      <a:pt x="82" y="80"/>
                    </a:lnTo>
                    <a:lnTo>
                      <a:pt x="80" y="76"/>
                    </a:lnTo>
                    <a:lnTo>
                      <a:pt x="78" y="72"/>
                    </a:lnTo>
                    <a:lnTo>
                      <a:pt x="78" y="68"/>
                    </a:lnTo>
                    <a:lnTo>
                      <a:pt x="76" y="63"/>
                    </a:lnTo>
                    <a:lnTo>
                      <a:pt x="78" y="59"/>
                    </a:lnTo>
                    <a:lnTo>
                      <a:pt x="82" y="55"/>
                    </a:lnTo>
                    <a:lnTo>
                      <a:pt x="90" y="49"/>
                    </a:lnTo>
                    <a:lnTo>
                      <a:pt x="94" y="43"/>
                    </a:lnTo>
                    <a:lnTo>
                      <a:pt x="92" y="35"/>
                    </a:lnTo>
                    <a:lnTo>
                      <a:pt x="88" y="29"/>
                    </a:lnTo>
                    <a:lnTo>
                      <a:pt x="80" y="27"/>
                    </a:lnTo>
                    <a:lnTo>
                      <a:pt x="58" y="33"/>
                    </a:lnTo>
                    <a:lnTo>
                      <a:pt x="51" y="29"/>
                    </a:lnTo>
                    <a:lnTo>
                      <a:pt x="49" y="27"/>
                    </a:lnTo>
                    <a:lnTo>
                      <a:pt x="47" y="24"/>
                    </a:lnTo>
                    <a:lnTo>
                      <a:pt x="45" y="20"/>
                    </a:lnTo>
                    <a:lnTo>
                      <a:pt x="45" y="16"/>
                    </a:lnTo>
                    <a:lnTo>
                      <a:pt x="45" y="12"/>
                    </a:lnTo>
                    <a:lnTo>
                      <a:pt x="49" y="8"/>
                    </a:lnTo>
                    <a:lnTo>
                      <a:pt x="52" y="6"/>
                    </a:lnTo>
                    <a:lnTo>
                      <a:pt x="54" y="4"/>
                    </a:lnTo>
                    <a:lnTo>
                      <a:pt x="54" y="2"/>
                    </a:lnTo>
                    <a:lnTo>
                      <a:pt x="51" y="0"/>
                    </a:lnTo>
                    <a:lnTo>
                      <a:pt x="45" y="0"/>
                    </a:lnTo>
                    <a:lnTo>
                      <a:pt x="23" y="8"/>
                    </a:lnTo>
                    <a:lnTo>
                      <a:pt x="21" y="8"/>
                    </a:lnTo>
                    <a:lnTo>
                      <a:pt x="19" y="10"/>
                    </a:lnTo>
                    <a:lnTo>
                      <a:pt x="17" y="12"/>
                    </a:lnTo>
                    <a:lnTo>
                      <a:pt x="17" y="16"/>
                    </a:lnTo>
                    <a:lnTo>
                      <a:pt x="19" y="16"/>
                    </a:lnTo>
                    <a:lnTo>
                      <a:pt x="21" y="14"/>
                    </a:lnTo>
                    <a:lnTo>
                      <a:pt x="29" y="12"/>
                    </a:lnTo>
                    <a:lnTo>
                      <a:pt x="29" y="14"/>
                    </a:lnTo>
                    <a:lnTo>
                      <a:pt x="29" y="16"/>
                    </a:lnTo>
                    <a:lnTo>
                      <a:pt x="29" y="20"/>
                    </a:lnTo>
                    <a:lnTo>
                      <a:pt x="27" y="20"/>
                    </a:lnTo>
                    <a:lnTo>
                      <a:pt x="25" y="22"/>
                    </a:lnTo>
                    <a:lnTo>
                      <a:pt x="23" y="27"/>
                    </a:lnTo>
                    <a:lnTo>
                      <a:pt x="21" y="33"/>
                    </a:lnTo>
                    <a:lnTo>
                      <a:pt x="23" y="35"/>
                    </a:lnTo>
                    <a:lnTo>
                      <a:pt x="25" y="37"/>
                    </a:lnTo>
                    <a:lnTo>
                      <a:pt x="29" y="35"/>
                    </a:lnTo>
                    <a:lnTo>
                      <a:pt x="31" y="31"/>
                    </a:lnTo>
                    <a:lnTo>
                      <a:pt x="35" y="29"/>
                    </a:lnTo>
                    <a:lnTo>
                      <a:pt x="39" y="26"/>
                    </a:lnTo>
                    <a:lnTo>
                      <a:pt x="39" y="24"/>
                    </a:lnTo>
                    <a:lnTo>
                      <a:pt x="43" y="22"/>
                    </a:lnTo>
                    <a:lnTo>
                      <a:pt x="43" y="24"/>
                    </a:lnTo>
                    <a:lnTo>
                      <a:pt x="45" y="26"/>
                    </a:lnTo>
                    <a:lnTo>
                      <a:pt x="45" y="27"/>
                    </a:lnTo>
                    <a:lnTo>
                      <a:pt x="47" y="29"/>
                    </a:lnTo>
                    <a:lnTo>
                      <a:pt x="47" y="31"/>
                    </a:lnTo>
                    <a:lnTo>
                      <a:pt x="49" y="31"/>
                    </a:lnTo>
                    <a:lnTo>
                      <a:pt x="51" y="33"/>
                    </a:lnTo>
                    <a:lnTo>
                      <a:pt x="52" y="35"/>
                    </a:lnTo>
                    <a:lnTo>
                      <a:pt x="52" y="37"/>
                    </a:lnTo>
                    <a:lnTo>
                      <a:pt x="54" y="37"/>
                    </a:lnTo>
                    <a:lnTo>
                      <a:pt x="60" y="39"/>
                    </a:lnTo>
                    <a:lnTo>
                      <a:pt x="62" y="37"/>
                    </a:lnTo>
                    <a:lnTo>
                      <a:pt x="62" y="37"/>
                    </a:lnTo>
                    <a:lnTo>
                      <a:pt x="64" y="35"/>
                    </a:lnTo>
                    <a:lnTo>
                      <a:pt x="66" y="35"/>
                    </a:lnTo>
                    <a:lnTo>
                      <a:pt x="68" y="33"/>
                    </a:lnTo>
                    <a:lnTo>
                      <a:pt x="68" y="35"/>
                    </a:lnTo>
                    <a:lnTo>
                      <a:pt x="66" y="37"/>
                    </a:lnTo>
                    <a:lnTo>
                      <a:pt x="66" y="37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4" y="39"/>
                    </a:lnTo>
                    <a:lnTo>
                      <a:pt x="64" y="41"/>
                    </a:lnTo>
                    <a:lnTo>
                      <a:pt x="66" y="43"/>
                    </a:lnTo>
                    <a:lnTo>
                      <a:pt x="68" y="47"/>
                    </a:lnTo>
                    <a:lnTo>
                      <a:pt x="68" y="49"/>
                    </a:lnTo>
                    <a:lnTo>
                      <a:pt x="66" y="51"/>
                    </a:lnTo>
                    <a:lnTo>
                      <a:pt x="66" y="53"/>
                    </a:lnTo>
                    <a:lnTo>
                      <a:pt x="64" y="57"/>
                    </a:lnTo>
                    <a:lnTo>
                      <a:pt x="64" y="59"/>
                    </a:lnTo>
                    <a:lnTo>
                      <a:pt x="56" y="59"/>
                    </a:lnTo>
                    <a:lnTo>
                      <a:pt x="52" y="57"/>
                    </a:lnTo>
                    <a:lnTo>
                      <a:pt x="49" y="51"/>
                    </a:lnTo>
                    <a:lnTo>
                      <a:pt x="51" y="47"/>
                    </a:lnTo>
                    <a:lnTo>
                      <a:pt x="49" y="43"/>
                    </a:lnTo>
                    <a:lnTo>
                      <a:pt x="45" y="39"/>
                    </a:lnTo>
                    <a:lnTo>
                      <a:pt x="43" y="35"/>
                    </a:lnTo>
                    <a:lnTo>
                      <a:pt x="41" y="37"/>
                    </a:lnTo>
                    <a:lnTo>
                      <a:pt x="41" y="39"/>
                    </a:lnTo>
                    <a:lnTo>
                      <a:pt x="43" y="41"/>
                    </a:lnTo>
                    <a:lnTo>
                      <a:pt x="45" y="41"/>
                    </a:lnTo>
                    <a:lnTo>
                      <a:pt x="45" y="43"/>
                    </a:lnTo>
                    <a:lnTo>
                      <a:pt x="45" y="45"/>
                    </a:lnTo>
                    <a:lnTo>
                      <a:pt x="43" y="47"/>
                    </a:lnTo>
                    <a:lnTo>
                      <a:pt x="41" y="47"/>
                    </a:lnTo>
                    <a:lnTo>
                      <a:pt x="39" y="47"/>
                    </a:lnTo>
                    <a:lnTo>
                      <a:pt x="41" y="43"/>
                    </a:lnTo>
                    <a:lnTo>
                      <a:pt x="41" y="43"/>
                    </a:lnTo>
                    <a:lnTo>
                      <a:pt x="41" y="41"/>
                    </a:lnTo>
                    <a:lnTo>
                      <a:pt x="39" y="41"/>
                    </a:lnTo>
                    <a:lnTo>
                      <a:pt x="39" y="39"/>
                    </a:lnTo>
                    <a:lnTo>
                      <a:pt x="37" y="39"/>
                    </a:lnTo>
                    <a:lnTo>
                      <a:pt x="39" y="39"/>
                    </a:lnTo>
                    <a:lnTo>
                      <a:pt x="41" y="35"/>
                    </a:lnTo>
                    <a:lnTo>
                      <a:pt x="43" y="29"/>
                    </a:lnTo>
                    <a:lnTo>
                      <a:pt x="39" y="31"/>
                    </a:lnTo>
                    <a:lnTo>
                      <a:pt x="37" y="33"/>
                    </a:lnTo>
                    <a:lnTo>
                      <a:pt x="33" y="37"/>
                    </a:lnTo>
                    <a:lnTo>
                      <a:pt x="31" y="39"/>
                    </a:lnTo>
                    <a:lnTo>
                      <a:pt x="31" y="45"/>
                    </a:lnTo>
                    <a:lnTo>
                      <a:pt x="31" y="47"/>
                    </a:lnTo>
                    <a:lnTo>
                      <a:pt x="31" y="4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14" name="Freeform 1016">
                <a:extLst>
                  <a:ext uri="{FF2B5EF4-FFF2-40B4-BE49-F238E27FC236}">
                    <a16:creationId xmlns:a16="http://schemas.microsoft.com/office/drawing/2014/main" id="{C73E3185-DE35-4C14-ABFF-B613BBC99B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2" y="1907"/>
                <a:ext cx="78" cy="95"/>
              </a:xfrm>
              <a:custGeom>
                <a:avLst/>
                <a:gdLst>
                  <a:gd name="T0" fmla="*/ 74 w 78"/>
                  <a:gd name="T1" fmla="*/ 76 h 95"/>
                  <a:gd name="T2" fmla="*/ 78 w 78"/>
                  <a:gd name="T3" fmla="*/ 68 h 95"/>
                  <a:gd name="T4" fmla="*/ 74 w 78"/>
                  <a:gd name="T5" fmla="*/ 66 h 95"/>
                  <a:gd name="T6" fmla="*/ 39 w 78"/>
                  <a:gd name="T7" fmla="*/ 31 h 95"/>
                  <a:gd name="T8" fmla="*/ 24 w 78"/>
                  <a:gd name="T9" fmla="*/ 21 h 95"/>
                  <a:gd name="T10" fmla="*/ 16 w 78"/>
                  <a:gd name="T11" fmla="*/ 13 h 95"/>
                  <a:gd name="T12" fmla="*/ 12 w 78"/>
                  <a:gd name="T13" fmla="*/ 2 h 95"/>
                  <a:gd name="T14" fmla="*/ 6 w 78"/>
                  <a:gd name="T15" fmla="*/ 2 h 95"/>
                  <a:gd name="T16" fmla="*/ 0 w 78"/>
                  <a:gd name="T17" fmla="*/ 7 h 95"/>
                  <a:gd name="T18" fmla="*/ 10 w 78"/>
                  <a:gd name="T19" fmla="*/ 17 h 95"/>
                  <a:gd name="T20" fmla="*/ 10 w 78"/>
                  <a:gd name="T21" fmla="*/ 29 h 95"/>
                  <a:gd name="T22" fmla="*/ 4 w 78"/>
                  <a:gd name="T23" fmla="*/ 44 h 95"/>
                  <a:gd name="T24" fmla="*/ 10 w 78"/>
                  <a:gd name="T25" fmla="*/ 43 h 95"/>
                  <a:gd name="T26" fmla="*/ 18 w 78"/>
                  <a:gd name="T27" fmla="*/ 37 h 95"/>
                  <a:gd name="T28" fmla="*/ 22 w 78"/>
                  <a:gd name="T29" fmla="*/ 37 h 95"/>
                  <a:gd name="T30" fmla="*/ 22 w 78"/>
                  <a:gd name="T31" fmla="*/ 43 h 95"/>
                  <a:gd name="T32" fmla="*/ 18 w 78"/>
                  <a:gd name="T33" fmla="*/ 46 h 95"/>
                  <a:gd name="T34" fmla="*/ 24 w 78"/>
                  <a:gd name="T35" fmla="*/ 48 h 95"/>
                  <a:gd name="T36" fmla="*/ 26 w 78"/>
                  <a:gd name="T37" fmla="*/ 44 h 95"/>
                  <a:gd name="T38" fmla="*/ 30 w 78"/>
                  <a:gd name="T39" fmla="*/ 41 h 95"/>
                  <a:gd name="T40" fmla="*/ 30 w 78"/>
                  <a:gd name="T41" fmla="*/ 39 h 95"/>
                  <a:gd name="T42" fmla="*/ 30 w 78"/>
                  <a:gd name="T43" fmla="*/ 33 h 95"/>
                  <a:gd name="T44" fmla="*/ 37 w 78"/>
                  <a:gd name="T45" fmla="*/ 33 h 95"/>
                  <a:gd name="T46" fmla="*/ 41 w 78"/>
                  <a:gd name="T47" fmla="*/ 37 h 95"/>
                  <a:gd name="T48" fmla="*/ 45 w 78"/>
                  <a:gd name="T49" fmla="*/ 46 h 95"/>
                  <a:gd name="T50" fmla="*/ 51 w 78"/>
                  <a:gd name="T51" fmla="*/ 48 h 95"/>
                  <a:gd name="T52" fmla="*/ 49 w 78"/>
                  <a:gd name="T53" fmla="*/ 64 h 95"/>
                  <a:gd name="T54" fmla="*/ 45 w 78"/>
                  <a:gd name="T55" fmla="*/ 66 h 95"/>
                  <a:gd name="T56" fmla="*/ 45 w 78"/>
                  <a:gd name="T57" fmla="*/ 62 h 95"/>
                  <a:gd name="T58" fmla="*/ 47 w 78"/>
                  <a:gd name="T59" fmla="*/ 62 h 95"/>
                  <a:gd name="T60" fmla="*/ 37 w 78"/>
                  <a:gd name="T61" fmla="*/ 62 h 95"/>
                  <a:gd name="T62" fmla="*/ 35 w 78"/>
                  <a:gd name="T63" fmla="*/ 62 h 95"/>
                  <a:gd name="T64" fmla="*/ 37 w 78"/>
                  <a:gd name="T65" fmla="*/ 56 h 95"/>
                  <a:gd name="T66" fmla="*/ 35 w 78"/>
                  <a:gd name="T67" fmla="*/ 52 h 95"/>
                  <a:gd name="T68" fmla="*/ 26 w 78"/>
                  <a:gd name="T69" fmla="*/ 58 h 95"/>
                  <a:gd name="T70" fmla="*/ 31 w 78"/>
                  <a:gd name="T71" fmla="*/ 80 h 95"/>
                  <a:gd name="T72" fmla="*/ 24 w 78"/>
                  <a:gd name="T73" fmla="*/ 84 h 95"/>
                  <a:gd name="T74" fmla="*/ 14 w 78"/>
                  <a:gd name="T75" fmla="*/ 87 h 95"/>
                  <a:gd name="T76" fmla="*/ 16 w 78"/>
                  <a:gd name="T77" fmla="*/ 93 h 95"/>
                  <a:gd name="T78" fmla="*/ 31 w 78"/>
                  <a:gd name="T79" fmla="*/ 95 h 95"/>
                  <a:gd name="T80" fmla="*/ 47 w 78"/>
                  <a:gd name="T81" fmla="*/ 89 h 95"/>
                  <a:gd name="T82" fmla="*/ 53 w 78"/>
                  <a:gd name="T83" fmla="*/ 87 h 95"/>
                  <a:gd name="T84" fmla="*/ 76 w 78"/>
                  <a:gd name="T85" fmla="*/ 85 h 95"/>
                  <a:gd name="T86" fmla="*/ 73 w 78"/>
                  <a:gd name="T87" fmla="*/ 78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8" h="95">
                    <a:moveTo>
                      <a:pt x="73" y="78"/>
                    </a:moveTo>
                    <a:lnTo>
                      <a:pt x="74" y="76"/>
                    </a:lnTo>
                    <a:lnTo>
                      <a:pt x="74" y="76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74" y="66"/>
                    </a:lnTo>
                    <a:lnTo>
                      <a:pt x="45" y="33"/>
                    </a:lnTo>
                    <a:lnTo>
                      <a:pt x="39" y="31"/>
                    </a:lnTo>
                    <a:lnTo>
                      <a:pt x="33" y="27"/>
                    </a:lnTo>
                    <a:lnTo>
                      <a:pt x="24" y="21"/>
                    </a:lnTo>
                    <a:lnTo>
                      <a:pt x="18" y="17"/>
                    </a:lnTo>
                    <a:lnTo>
                      <a:pt x="16" y="13"/>
                    </a:lnTo>
                    <a:lnTo>
                      <a:pt x="14" y="3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4" y="9"/>
                    </a:lnTo>
                    <a:lnTo>
                      <a:pt x="10" y="17"/>
                    </a:lnTo>
                    <a:lnTo>
                      <a:pt x="12" y="21"/>
                    </a:lnTo>
                    <a:lnTo>
                      <a:pt x="10" y="29"/>
                    </a:lnTo>
                    <a:lnTo>
                      <a:pt x="6" y="39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10" y="43"/>
                    </a:lnTo>
                    <a:lnTo>
                      <a:pt x="12" y="41"/>
                    </a:lnTo>
                    <a:lnTo>
                      <a:pt x="18" y="37"/>
                    </a:lnTo>
                    <a:lnTo>
                      <a:pt x="20" y="37"/>
                    </a:lnTo>
                    <a:lnTo>
                      <a:pt x="22" y="37"/>
                    </a:lnTo>
                    <a:lnTo>
                      <a:pt x="22" y="41"/>
                    </a:lnTo>
                    <a:lnTo>
                      <a:pt x="22" y="43"/>
                    </a:lnTo>
                    <a:lnTo>
                      <a:pt x="20" y="44"/>
                    </a:lnTo>
                    <a:lnTo>
                      <a:pt x="18" y="46"/>
                    </a:lnTo>
                    <a:lnTo>
                      <a:pt x="18" y="50"/>
                    </a:lnTo>
                    <a:lnTo>
                      <a:pt x="24" y="48"/>
                    </a:lnTo>
                    <a:lnTo>
                      <a:pt x="26" y="46"/>
                    </a:lnTo>
                    <a:lnTo>
                      <a:pt x="26" y="44"/>
                    </a:lnTo>
                    <a:lnTo>
                      <a:pt x="28" y="43"/>
                    </a:lnTo>
                    <a:lnTo>
                      <a:pt x="30" y="41"/>
                    </a:lnTo>
                    <a:lnTo>
                      <a:pt x="30" y="41"/>
                    </a:lnTo>
                    <a:lnTo>
                      <a:pt x="30" y="39"/>
                    </a:lnTo>
                    <a:lnTo>
                      <a:pt x="28" y="35"/>
                    </a:lnTo>
                    <a:lnTo>
                      <a:pt x="30" y="33"/>
                    </a:lnTo>
                    <a:lnTo>
                      <a:pt x="33" y="31"/>
                    </a:lnTo>
                    <a:lnTo>
                      <a:pt x="37" y="33"/>
                    </a:lnTo>
                    <a:lnTo>
                      <a:pt x="39" y="35"/>
                    </a:lnTo>
                    <a:lnTo>
                      <a:pt x="41" y="37"/>
                    </a:lnTo>
                    <a:lnTo>
                      <a:pt x="43" y="41"/>
                    </a:lnTo>
                    <a:lnTo>
                      <a:pt x="45" y="46"/>
                    </a:lnTo>
                    <a:lnTo>
                      <a:pt x="49" y="44"/>
                    </a:lnTo>
                    <a:lnTo>
                      <a:pt x="51" y="48"/>
                    </a:lnTo>
                    <a:lnTo>
                      <a:pt x="51" y="56"/>
                    </a:lnTo>
                    <a:lnTo>
                      <a:pt x="49" y="64"/>
                    </a:lnTo>
                    <a:lnTo>
                      <a:pt x="51" y="68"/>
                    </a:lnTo>
                    <a:lnTo>
                      <a:pt x="45" y="66"/>
                    </a:lnTo>
                    <a:lnTo>
                      <a:pt x="45" y="64"/>
                    </a:lnTo>
                    <a:lnTo>
                      <a:pt x="45" y="62"/>
                    </a:lnTo>
                    <a:lnTo>
                      <a:pt x="47" y="62"/>
                    </a:lnTo>
                    <a:lnTo>
                      <a:pt x="47" y="62"/>
                    </a:lnTo>
                    <a:lnTo>
                      <a:pt x="41" y="62"/>
                    </a:lnTo>
                    <a:lnTo>
                      <a:pt x="37" y="62"/>
                    </a:lnTo>
                    <a:lnTo>
                      <a:pt x="35" y="68"/>
                    </a:lnTo>
                    <a:lnTo>
                      <a:pt x="35" y="62"/>
                    </a:lnTo>
                    <a:lnTo>
                      <a:pt x="37" y="56"/>
                    </a:lnTo>
                    <a:lnTo>
                      <a:pt x="37" y="56"/>
                    </a:lnTo>
                    <a:lnTo>
                      <a:pt x="37" y="54"/>
                    </a:lnTo>
                    <a:lnTo>
                      <a:pt x="35" y="52"/>
                    </a:lnTo>
                    <a:lnTo>
                      <a:pt x="26" y="52"/>
                    </a:lnTo>
                    <a:lnTo>
                      <a:pt x="26" y="58"/>
                    </a:lnTo>
                    <a:lnTo>
                      <a:pt x="31" y="70"/>
                    </a:lnTo>
                    <a:lnTo>
                      <a:pt x="31" y="80"/>
                    </a:lnTo>
                    <a:lnTo>
                      <a:pt x="30" y="82"/>
                    </a:lnTo>
                    <a:lnTo>
                      <a:pt x="24" y="84"/>
                    </a:lnTo>
                    <a:lnTo>
                      <a:pt x="18" y="85"/>
                    </a:lnTo>
                    <a:lnTo>
                      <a:pt x="14" y="87"/>
                    </a:lnTo>
                    <a:lnTo>
                      <a:pt x="12" y="89"/>
                    </a:lnTo>
                    <a:lnTo>
                      <a:pt x="16" y="93"/>
                    </a:lnTo>
                    <a:lnTo>
                      <a:pt x="22" y="95"/>
                    </a:lnTo>
                    <a:lnTo>
                      <a:pt x="31" y="95"/>
                    </a:lnTo>
                    <a:lnTo>
                      <a:pt x="41" y="91"/>
                    </a:lnTo>
                    <a:lnTo>
                      <a:pt x="47" y="89"/>
                    </a:lnTo>
                    <a:lnTo>
                      <a:pt x="51" y="85"/>
                    </a:lnTo>
                    <a:lnTo>
                      <a:pt x="53" y="87"/>
                    </a:lnTo>
                    <a:lnTo>
                      <a:pt x="57" y="87"/>
                    </a:lnTo>
                    <a:lnTo>
                      <a:pt x="76" y="85"/>
                    </a:lnTo>
                    <a:lnTo>
                      <a:pt x="74" y="80"/>
                    </a:lnTo>
                    <a:lnTo>
                      <a:pt x="73" y="7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15" name="Freeform 1017">
                <a:extLst>
                  <a:ext uri="{FF2B5EF4-FFF2-40B4-BE49-F238E27FC236}">
                    <a16:creationId xmlns:a16="http://schemas.microsoft.com/office/drawing/2014/main" id="{C0871E85-9F88-4FE1-B802-32939E5A88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1" y="1926"/>
                <a:ext cx="14" cy="16"/>
              </a:xfrm>
              <a:custGeom>
                <a:avLst/>
                <a:gdLst>
                  <a:gd name="T0" fmla="*/ 0 w 14"/>
                  <a:gd name="T1" fmla="*/ 8 h 16"/>
                  <a:gd name="T2" fmla="*/ 0 w 14"/>
                  <a:gd name="T3" fmla="*/ 10 h 16"/>
                  <a:gd name="T4" fmla="*/ 0 w 14"/>
                  <a:gd name="T5" fmla="*/ 10 h 16"/>
                  <a:gd name="T6" fmla="*/ 0 w 14"/>
                  <a:gd name="T7" fmla="*/ 16 h 16"/>
                  <a:gd name="T8" fmla="*/ 2 w 14"/>
                  <a:gd name="T9" fmla="*/ 16 h 16"/>
                  <a:gd name="T10" fmla="*/ 4 w 14"/>
                  <a:gd name="T11" fmla="*/ 10 h 16"/>
                  <a:gd name="T12" fmla="*/ 12 w 14"/>
                  <a:gd name="T13" fmla="*/ 4 h 16"/>
                  <a:gd name="T14" fmla="*/ 14 w 14"/>
                  <a:gd name="T15" fmla="*/ 0 h 16"/>
                  <a:gd name="T16" fmla="*/ 12 w 14"/>
                  <a:gd name="T17" fmla="*/ 2 h 16"/>
                  <a:gd name="T18" fmla="*/ 0 w 14"/>
                  <a:gd name="T1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16">
                    <a:moveTo>
                      <a:pt x="0" y="8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4" y="10"/>
                    </a:lnTo>
                    <a:lnTo>
                      <a:pt x="12" y="4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16" name="Freeform 1018">
                <a:extLst>
                  <a:ext uri="{FF2B5EF4-FFF2-40B4-BE49-F238E27FC236}">
                    <a16:creationId xmlns:a16="http://schemas.microsoft.com/office/drawing/2014/main" id="{F715E788-71A6-49EF-9151-718992388B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7" y="1784"/>
                <a:ext cx="16" cy="41"/>
              </a:xfrm>
              <a:custGeom>
                <a:avLst/>
                <a:gdLst>
                  <a:gd name="T0" fmla="*/ 2 w 16"/>
                  <a:gd name="T1" fmla="*/ 33 h 41"/>
                  <a:gd name="T2" fmla="*/ 2 w 16"/>
                  <a:gd name="T3" fmla="*/ 31 h 41"/>
                  <a:gd name="T4" fmla="*/ 2 w 16"/>
                  <a:gd name="T5" fmla="*/ 27 h 41"/>
                  <a:gd name="T6" fmla="*/ 4 w 16"/>
                  <a:gd name="T7" fmla="*/ 25 h 41"/>
                  <a:gd name="T8" fmla="*/ 6 w 16"/>
                  <a:gd name="T9" fmla="*/ 23 h 41"/>
                  <a:gd name="T10" fmla="*/ 8 w 16"/>
                  <a:gd name="T11" fmla="*/ 21 h 41"/>
                  <a:gd name="T12" fmla="*/ 10 w 16"/>
                  <a:gd name="T13" fmla="*/ 15 h 41"/>
                  <a:gd name="T14" fmla="*/ 10 w 16"/>
                  <a:gd name="T15" fmla="*/ 11 h 41"/>
                  <a:gd name="T16" fmla="*/ 10 w 16"/>
                  <a:gd name="T17" fmla="*/ 5 h 41"/>
                  <a:gd name="T18" fmla="*/ 14 w 16"/>
                  <a:gd name="T19" fmla="*/ 2 h 41"/>
                  <a:gd name="T20" fmla="*/ 14 w 16"/>
                  <a:gd name="T21" fmla="*/ 7 h 41"/>
                  <a:gd name="T22" fmla="*/ 16 w 16"/>
                  <a:gd name="T23" fmla="*/ 7 h 41"/>
                  <a:gd name="T24" fmla="*/ 16 w 16"/>
                  <a:gd name="T25" fmla="*/ 3 h 41"/>
                  <a:gd name="T26" fmla="*/ 16 w 16"/>
                  <a:gd name="T27" fmla="*/ 3 h 41"/>
                  <a:gd name="T28" fmla="*/ 16 w 16"/>
                  <a:gd name="T29" fmla="*/ 5 h 41"/>
                  <a:gd name="T30" fmla="*/ 16 w 16"/>
                  <a:gd name="T31" fmla="*/ 2 h 41"/>
                  <a:gd name="T32" fmla="*/ 16 w 16"/>
                  <a:gd name="T33" fmla="*/ 0 h 41"/>
                  <a:gd name="T34" fmla="*/ 14 w 16"/>
                  <a:gd name="T35" fmla="*/ 0 h 41"/>
                  <a:gd name="T36" fmla="*/ 12 w 16"/>
                  <a:gd name="T37" fmla="*/ 0 h 41"/>
                  <a:gd name="T38" fmla="*/ 8 w 16"/>
                  <a:gd name="T39" fmla="*/ 2 h 41"/>
                  <a:gd name="T40" fmla="*/ 8 w 16"/>
                  <a:gd name="T41" fmla="*/ 3 h 41"/>
                  <a:gd name="T42" fmla="*/ 6 w 16"/>
                  <a:gd name="T43" fmla="*/ 9 h 41"/>
                  <a:gd name="T44" fmla="*/ 2 w 16"/>
                  <a:gd name="T45" fmla="*/ 29 h 41"/>
                  <a:gd name="T46" fmla="*/ 0 w 16"/>
                  <a:gd name="T47" fmla="*/ 37 h 41"/>
                  <a:gd name="T48" fmla="*/ 0 w 16"/>
                  <a:gd name="T49" fmla="*/ 41 h 41"/>
                  <a:gd name="T50" fmla="*/ 2 w 16"/>
                  <a:gd name="T51" fmla="*/ 41 h 41"/>
                  <a:gd name="T52" fmla="*/ 2 w 16"/>
                  <a:gd name="T53" fmla="*/ 33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6" h="41">
                    <a:moveTo>
                      <a:pt x="2" y="33"/>
                    </a:moveTo>
                    <a:lnTo>
                      <a:pt x="2" y="31"/>
                    </a:lnTo>
                    <a:lnTo>
                      <a:pt x="2" y="27"/>
                    </a:lnTo>
                    <a:lnTo>
                      <a:pt x="4" y="25"/>
                    </a:lnTo>
                    <a:lnTo>
                      <a:pt x="6" y="23"/>
                    </a:lnTo>
                    <a:lnTo>
                      <a:pt x="8" y="21"/>
                    </a:lnTo>
                    <a:lnTo>
                      <a:pt x="10" y="15"/>
                    </a:lnTo>
                    <a:lnTo>
                      <a:pt x="10" y="11"/>
                    </a:lnTo>
                    <a:lnTo>
                      <a:pt x="10" y="5"/>
                    </a:lnTo>
                    <a:lnTo>
                      <a:pt x="14" y="2"/>
                    </a:lnTo>
                    <a:lnTo>
                      <a:pt x="14" y="7"/>
                    </a:lnTo>
                    <a:lnTo>
                      <a:pt x="16" y="7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16" y="5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8" y="3"/>
                    </a:lnTo>
                    <a:lnTo>
                      <a:pt x="6" y="9"/>
                    </a:lnTo>
                    <a:lnTo>
                      <a:pt x="2" y="29"/>
                    </a:lnTo>
                    <a:lnTo>
                      <a:pt x="0" y="37"/>
                    </a:lnTo>
                    <a:lnTo>
                      <a:pt x="0" y="41"/>
                    </a:lnTo>
                    <a:lnTo>
                      <a:pt x="2" y="41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17" name="Freeform 1019">
                <a:extLst>
                  <a:ext uri="{FF2B5EF4-FFF2-40B4-BE49-F238E27FC236}">
                    <a16:creationId xmlns:a16="http://schemas.microsoft.com/office/drawing/2014/main" id="{106DA8E9-F705-40FA-BEEB-C13218E069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6" y="1950"/>
                <a:ext cx="19" cy="19"/>
              </a:xfrm>
              <a:custGeom>
                <a:avLst/>
                <a:gdLst>
                  <a:gd name="T0" fmla="*/ 7 w 19"/>
                  <a:gd name="T1" fmla="*/ 1 h 19"/>
                  <a:gd name="T2" fmla="*/ 2 w 19"/>
                  <a:gd name="T3" fmla="*/ 5 h 19"/>
                  <a:gd name="T4" fmla="*/ 0 w 19"/>
                  <a:gd name="T5" fmla="*/ 13 h 19"/>
                  <a:gd name="T6" fmla="*/ 2 w 19"/>
                  <a:gd name="T7" fmla="*/ 15 h 19"/>
                  <a:gd name="T8" fmla="*/ 6 w 19"/>
                  <a:gd name="T9" fmla="*/ 17 h 19"/>
                  <a:gd name="T10" fmla="*/ 7 w 19"/>
                  <a:gd name="T11" fmla="*/ 17 h 19"/>
                  <a:gd name="T12" fmla="*/ 9 w 19"/>
                  <a:gd name="T13" fmla="*/ 15 h 19"/>
                  <a:gd name="T14" fmla="*/ 9 w 19"/>
                  <a:gd name="T15" fmla="*/ 11 h 19"/>
                  <a:gd name="T16" fmla="*/ 9 w 19"/>
                  <a:gd name="T17" fmla="*/ 7 h 19"/>
                  <a:gd name="T18" fmla="*/ 11 w 19"/>
                  <a:gd name="T19" fmla="*/ 7 h 19"/>
                  <a:gd name="T20" fmla="*/ 11 w 19"/>
                  <a:gd name="T21" fmla="*/ 11 h 19"/>
                  <a:gd name="T22" fmla="*/ 11 w 19"/>
                  <a:gd name="T23" fmla="*/ 17 h 19"/>
                  <a:gd name="T24" fmla="*/ 11 w 19"/>
                  <a:gd name="T25" fmla="*/ 19 h 19"/>
                  <a:gd name="T26" fmla="*/ 13 w 19"/>
                  <a:gd name="T27" fmla="*/ 19 h 19"/>
                  <a:gd name="T28" fmla="*/ 15 w 19"/>
                  <a:gd name="T29" fmla="*/ 15 h 19"/>
                  <a:gd name="T30" fmla="*/ 19 w 19"/>
                  <a:gd name="T31" fmla="*/ 1 h 19"/>
                  <a:gd name="T32" fmla="*/ 15 w 19"/>
                  <a:gd name="T33" fmla="*/ 0 h 19"/>
                  <a:gd name="T34" fmla="*/ 7 w 19"/>
                  <a:gd name="T35" fmla="*/ 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" h="19">
                    <a:moveTo>
                      <a:pt x="7" y="1"/>
                    </a:moveTo>
                    <a:lnTo>
                      <a:pt x="2" y="5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6" y="17"/>
                    </a:lnTo>
                    <a:lnTo>
                      <a:pt x="7" y="17"/>
                    </a:lnTo>
                    <a:lnTo>
                      <a:pt x="9" y="15"/>
                    </a:lnTo>
                    <a:lnTo>
                      <a:pt x="9" y="11"/>
                    </a:lnTo>
                    <a:lnTo>
                      <a:pt x="9" y="7"/>
                    </a:lnTo>
                    <a:lnTo>
                      <a:pt x="11" y="7"/>
                    </a:lnTo>
                    <a:lnTo>
                      <a:pt x="11" y="11"/>
                    </a:lnTo>
                    <a:lnTo>
                      <a:pt x="11" y="17"/>
                    </a:lnTo>
                    <a:lnTo>
                      <a:pt x="11" y="19"/>
                    </a:lnTo>
                    <a:lnTo>
                      <a:pt x="13" y="19"/>
                    </a:lnTo>
                    <a:lnTo>
                      <a:pt x="15" y="15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7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18" name="Freeform 1020">
                <a:extLst>
                  <a:ext uri="{FF2B5EF4-FFF2-40B4-BE49-F238E27FC236}">
                    <a16:creationId xmlns:a16="http://schemas.microsoft.com/office/drawing/2014/main" id="{2F9BD389-1954-45F0-B5E6-D1F3F7BE17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" y="1698"/>
                <a:ext cx="1455" cy="2032"/>
              </a:xfrm>
              <a:custGeom>
                <a:avLst/>
                <a:gdLst>
                  <a:gd name="T0" fmla="*/ 10 w 1455"/>
                  <a:gd name="T1" fmla="*/ 1392 h 2032"/>
                  <a:gd name="T2" fmla="*/ 13 w 1455"/>
                  <a:gd name="T3" fmla="*/ 1433 h 2032"/>
                  <a:gd name="T4" fmla="*/ 33 w 1455"/>
                  <a:gd name="T5" fmla="*/ 1497 h 2032"/>
                  <a:gd name="T6" fmla="*/ 94 w 1455"/>
                  <a:gd name="T7" fmla="*/ 1548 h 2032"/>
                  <a:gd name="T8" fmla="*/ 191 w 1455"/>
                  <a:gd name="T9" fmla="*/ 1567 h 2032"/>
                  <a:gd name="T10" fmla="*/ 285 w 1455"/>
                  <a:gd name="T11" fmla="*/ 1661 h 2032"/>
                  <a:gd name="T12" fmla="*/ 228 w 1455"/>
                  <a:gd name="T13" fmla="*/ 1790 h 2032"/>
                  <a:gd name="T14" fmla="*/ 201 w 1455"/>
                  <a:gd name="T15" fmla="*/ 1935 h 2032"/>
                  <a:gd name="T16" fmla="*/ 308 w 1455"/>
                  <a:gd name="T17" fmla="*/ 1950 h 2032"/>
                  <a:gd name="T18" fmla="*/ 383 w 1455"/>
                  <a:gd name="T19" fmla="*/ 1938 h 2032"/>
                  <a:gd name="T20" fmla="*/ 390 w 1455"/>
                  <a:gd name="T21" fmla="*/ 1905 h 2032"/>
                  <a:gd name="T22" fmla="*/ 476 w 1455"/>
                  <a:gd name="T23" fmla="*/ 1923 h 2032"/>
                  <a:gd name="T24" fmla="*/ 584 w 1455"/>
                  <a:gd name="T25" fmla="*/ 1960 h 2032"/>
                  <a:gd name="T26" fmla="*/ 646 w 1455"/>
                  <a:gd name="T27" fmla="*/ 2007 h 2032"/>
                  <a:gd name="T28" fmla="*/ 691 w 1455"/>
                  <a:gd name="T29" fmla="*/ 1956 h 2032"/>
                  <a:gd name="T30" fmla="*/ 797 w 1455"/>
                  <a:gd name="T31" fmla="*/ 2003 h 2032"/>
                  <a:gd name="T32" fmla="*/ 978 w 1455"/>
                  <a:gd name="T33" fmla="*/ 1950 h 2032"/>
                  <a:gd name="T34" fmla="*/ 1045 w 1455"/>
                  <a:gd name="T35" fmla="*/ 1942 h 2032"/>
                  <a:gd name="T36" fmla="*/ 1123 w 1455"/>
                  <a:gd name="T37" fmla="*/ 1962 h 2032"/>
                  <a:gd name="T38" fmla="*/ 1076 w 1455"/>
                  <a:gd name="T39" fmla="*/ 1837 h 2032"/>
                  <a:gd name="T40" fmla="*/ 1191 w 1455"/>
                  <a:gd name="T41" fmla="*/ 1714 h 2032"/>
                  <a:gd name="T42" fmla="*/ 1236 w 1455"/>
                  <a:gd name="T43" fmla="*/ 1634 h 2032"/>
                  <a:gd name="T44" fmla="*/ 1168 w 1455"/>
                  <a:gd name="T45" fmla="*/ 1577 h 2032"/>
                  <a:gd name="T46" fmla="*/ 1094 w 1455"/>
                  <a:gd name="T47" fmla="*/ 1519 h 2032"/>
                  <a:gd name="T48" fmla="*/ 1035 w 1455"/>
                  <a:gd name="T49" fmla="*/ 1444 h 2032"/>
                  <a:gd name="T50" fmla="*/ 1031 w 1455"/>
                  <a:gd name="T51" fmla="*/ 1384 h 2032"/>
                  <a:gd name="T52" fmla="*/ 980 w 1455"/>
                  <a:gd name="T53" fmla="*/ 1304 h 2032"/>
                  <a:gd name="T54" fmla="*/ 990 w 1455"/>
                  <a:gd name="T55" fmla="*/ 1277 h 2032"/>
                  <a:gd name="T56" fmla="*/ 1008 w 1455"/>
                  <a:gd name="T57" fmla="*/ 1275 h 2032"/>
                  <a:gd name="T58" fmla="*/ 1076 w 1455"/>
                  <a:gd name="T59" fmla="*/ 1232 h 2032"/>
                  <a:gd name="T60" fmla="*/ 1145 w 1455"/>
                  <a:gd name="T61" fmla="*/ 1214 h 2032"/>
                  <a:gd name="T62" fmla="*/ 1199 w 1455"/>
                  <a:gd name="T63" fmla="*/ 1177 h 2032"/>
                  <a:gd name="T64" fmla="*/ 1270 w 1455"/>
                  <a:gd name="T65" fmla="*/ 1140 h 2032"/>
                  <a:gd name="T66" fmla="*/ 1328 w 1455"/>
                  <a:gd name="T67" fmla="*/ 1075 h 2032"/>
                  <a:gd name="T68" fmla="*/ 1379 w 1455"/>
                  <a:gd name="T69" fmla="*/ 1107 h 2032"/>
                  <a:gd name="T70" fmla="*/ 1455 w 1455"/>
                  <a:gd name="T71" fmla="*/ 1019 h 2032"/>
                  <a:gd name="T72" fmla="*/ 1395 w 1455"/>
                  <a:gd name="T73" fmla="*/ 847 h 2032"/>
                  <a:gd name="T74" fmla="*/ 1377 w 1455"/>
                  <a:gd name="T75" fmla="*/ 640 h 2032"/>
                  <a:gd name="T76" fmla="*/ 1356 w 1455"/>
                  <a:gd name="T77" fmla="*/ 466 h 2032"/>
                  <a:gd name="T78" fmla="*/ 1281 w 1455"/>
                  <a:gd name="T79" fmla="*/ 324 h 2032"/>
                  <a:gd name="T80" fmla="*/ 1252 w 1455"/>
                  <a:gd name="T81" fmla="*/ 230 h 2032"/>
                  <a:gd name="T82" fmla="*/ 1147 w 1455"/>
                  <a:gd name="T83" fmla="*/ 183 h 2032"/>
                  <a:gd name="T84" fmla="*/ 1076 w 1455"/>
                  <a:gd name="T85" fmla="*/ 152 h 2032"/>
                  <a:gd name="T86" fmla="*/ 1021 w 1455"/>
                  <a:gd name="T87" fmla="*/ 177 h 2032"/>
                  <a:gd name="T88" fmla="*/ 1047 w 1455"/>
                  <a:gd name="T89" fmla="*/ 144 h 2032"/>
                  <a:gd name="T90" fmla="*/ 975 w 1455"/>
                  <a:gd name="T91" fmla="*/ 201 h 2032"/>
                  <a:gd name="T92" fmla="*/ 871 w 1455"/>
                  <a:gd name="T93" fmla="*/ 252 h 2032"/>
                  <a:gd name="T94" fmla="*/ 769 w 1455"/>
                  <a:gd name="T95" fmla="*/ 271 h 2032"/>
                  <a:gd name="T96" fmla="*/ 799 w 1455"/>
                  <a:gd name="T97" fmla="*/ 156 h 2032"/>
                  <a:gd name="T98" fmla="*/ 641 w 1455"/>
                  <a:gd name="T99" fmla="*/ 154 h 2032"/>
                  <a:gd name="T100" fmla="*/ 605 w 1455"/>
                  <a:gd name="T101" fmla="*/ 62 h 2032"/>
                  <a:gd name="T102" fmla="*/ 516 w 1455"/>
                  <a:gd name="T103" fmla="*/ 27 h 2032"/>
                  <a:gd name="T104" fmla="*/ 402 w 1455"/>
                  <a:gd name="T105" fmla="*/ 52 h 2032"/>
                  <a:gd name="T106" fmla="*/ 385 w 1455"/>
                  <a:gd name="T107" fmla="*/ 177 h 2032"/>
                  <a:gd name="T108" fmla="*/ 449 w 1455"/>
                  <a:gd name="T109" fmla="*/ 228 h 2032"/>
                  <a:gd name="T110" fmla="*/ 586 w 1455"/>
                  <a:gd name="T111" fmla="*/ 384 h 2032"/>
                  <a:gd name="T112" fmla="*/ 369 w 1455"/>
                  <a:gd name="T113" fmla="*/ 324 h 2032"/>
                  <a:gd name="T114" fmla="*/ 320 w 1455"/>
                  <a:gd name="T115" fmla="*/ 390 h 2032"/>
                  <a:gd name="T116" fmla="*/ 285 w 1455"/>
                  <a:gd name="T117" fmla="*/ 343 h 2032"/>
                  <a:gd name="T118" fmla="*/ 156 w 1455"/>
                  <a:gd name="T119" fmla="*/ 451 h 2032"/>
                  <a:gd name="T120" fmla="*/ 64 w 1455"/>
                  <a:gd name="T121" fmla="*/ 652 h 2032"/>
                  <a:gd name="T122" fmla="*/ 74 w 1455"/>
                  <a:gd name="T123" fmla="*/ 785 h 2032"/>
                  <a:gd name="T124" fmla="*/ 437 w 1455"/>
                  <a:gd name="T125" fmla="*/ 1935 h 20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55" h="2032">
                    <a:moveTo>
                      <a:pt x="2" y="1218"/>
                    </a:moveTo>
                    <a:lnTo>
                      <a:pt x="2" y="1218"/>
                    </a:lnTo>
                    <a:lnTo>
                      <a:pt x="2" y="1218"/>
                    </a:lnTo>
                    <a:lnTo>
                      <a:pt x="2" y="1218"/>
                    </a:lnTo>
                    <a:lnTo>
                      <a:pt x="0" y="1220"/>
                    </a:lnTo>
                    <a:lnTo>
                      <a:pt x="0" y="1220"/>
                    </a:lnTo>
                    <a:lnTo>
                      <a:pt x="0" y="1222"/>
                    </a:lnTo>
                    <a:lnTo>
                      <a:pt x="0" y="1226"/>
                    </a:lnTo>
                    <a:lnTo>
                      <a:pt x="0" y="1226"/>
                    </a:lnTo>
                    <a:lnTo>
                      <a:pt x="2" y="1228"/>
                    </a:lnTo>
                    <a:lnTo>
                      <a:pt x="2" y="1228"/>
                    </a:lnTo>
                    <a:lnTo>
                      <a:pt x="4" y="1230"/>
                    </a:lnTo>
                    <a:lnTo>
                      <a:pt x="4" y="1230"/>
                    </a:lnTo>
                    <a:lnTo>
                      <a:pt x="6" y="1232"/>
                    </a:lnTo>
                    <a:lnTo>
                      <a:pt x="6" y="1234"/>
                    </a:lnTo>
                    <a:lnTo>
                      <a:pt x="4" y="1236"/>
                    </a:lnTo>
                    <a:lnTo>
                      <a:pt x="4" y="1241"/>
                    </a:lnTo>
                    <a:lnTo>
                      <a:pt x="4" y="1241"/>
                    </a:lnTo>
                    <a:lnTo>
                      <a:pt x="2" y="1245"/>
                    </a:lnTo>
                    <a:lnTo>
                      <a:pt x="2" y="1247"/>
                    </a:lnTo>
                    <a:lnTo>
                      <a:pt x="8" y="1259"/>
                    </a:lnTo>
                    <a:lnTo>
                      <a:pt x="8" y="1259"/>
                    </a:lnTo>
                    <a:lnTo>
                      <a:pt x="8" y="1259"/>
                    </a:lnTo>
                    <a:lnTo>
                      <a:pt x="8" y="1261"/>
                    </a:lnTo>
                    <a:lnTo>
                      <a:pt x="10" y="1263"/>
                    </a:lnTo>
                    <a:lnTo>
                      <a:pt x="10" y="1263"/>
                    </a:lnTo>
                    <a:lnTo>
                      <a:pt x="10" y="1263"/>
                    </a:lnTo>
                    <a:lnTo>
                      <a:pt x="8" y="1263"/>
                    </a:lnTo>
                    <a:lnTo>
                      <a:pt x="6" y="1265"/>
                    </a:lnTo>
                    <a:lnTo>
                      <a:pt x="4" y="1265"/>
                    </a:lnTo>
                    <a:lnTo>
                      <a:pt x="2" y="1265"/>
                    </a:lnTo>
                    <a:lnTo>
                      <a:pt x="2" y="1265"/>
                    </a:lnTo>
                    <a:lnTo>
                      <a:pt x="0" y="1265"/>
                    </a:lnTo>
                    <a:lnTo>
                      <a:pt x="0" y="1265"/>
                    </a:lnTo>
                    <a:lnTo>
                      <a:pt x="0" y="1386"/>
                    </a:lnTo>
                    <a:lnTo>
                      <a:pt x="0" y="1386"/>
                    </a:lnTo>
                    <a:lnTo>
                      <a:pt x="2" y="1386"/>
                    </a:lnTo>
                    <a:lnTo>
                      <a:pt x="6" y="1388"/>
                    </a:lnTo>
                    <a:lnTo>
                      <a:pt x="10" y="1392"/>
                    </a:lnTo>
                    <a:lnTo>
                      <a:pt x="11" y="1392"/>
                    </a:lnTo>
                    <a:lnTo>
                      <a:pt x="11" y="1394"/>
                    </a:lnTo>
                    <a:lnTo>
                      <a:pt x="15" y="1394"/>
                    </a:lnTo>
                    <a:lnTo>
                      <a:pt x="23" y="1394"/>
                    </a:lnTo>
                    <a:lnTo>
                      <a:pt x="29" y="1396"/>
                    </a:lnTo>
                    <a:lnTo>
                      <a:pt x="29" y="1396"/>
                    </a:lnTo>
                    <a:lnTo>
                      <a:pt x="29" y="1396"/>
                    </a:lnTo>
                    <a:lnTo>
                      <a:pt x="29" y="1396"/>
                    </a:lnTo>
                    <a:lnTo>
                      <a:pt x="31" y="1398"/>
                    </a:lnTo>
                    <a:lnTo>
                      <a:pt x="29" y="1398"/>
                    </a:lnTo>
                    <a:lnTo>
                      <a:pt x="29" y="1398"/>
                    </a:lnTo>
                    <a:lnTo>
                      <a:pt x="29" y="1398"/>
                    </a:lnTo>
                    <a:lnTo>
                      <a:pt x="29" y="1398"/>
                    </a:lnTo>
                    <a:lnTo>
                      <a:pt x="29" y="1400"/>
                    </a:lnTo>
                    <a:lnTo>
                      <a:pt x="29" y="1400"/>
                    </a:lnTo>
                    <a:lnTo>
                      <a:pt x="29" y="1400"/>
                    </a:lnTo>
                    <a:lnTo>
                      <a:pt x="29" y="1405"/>
                    </a:lnTo>
                    <a:lnTo>
                      <a:pt x="29" y="1407"/>
                    </a:lnTo>
                    <a:lnTo>
                      <a:pt x="29" y="1407"/>
                    </a:lnTo>
                    <a:lnTo>
                      <a:pt x="29" y="1407"/>
                    </a:lnTo>
                    <a:lnTo>
                      <a:pt x="29" y="1409"/>
                    </a:lnTo>
                    <a:lnTo>
                      <a:pt x="29" y="1409"/>
                    </a:lnTo>
                    <a:lnTo>
                      <a:pt x="27" y="1411"/>
                    </a:lnTo>
                    <a:lnTo>
                      <a:pt x="27" y="1413"/>
                    </a:lnTo>
                    <a:lnTo>
                      <a:pt x="27" y="1415"/>
                    </a:lnTo>
                    <a:lnTo>
                      <a:pt x="29" y="1417"/>
                    </a:lnTo>
                    <a:lnTo>
                      <a:pt x="29" y="1417"/>
                    </a:lnTo>
                    <a:lnTo>
                      <a:pt x="29" y="1419"/>
                    </a:lnTo>
                    <a:lnTo>
                      <a:pt x="29" y="1419"/>
                    </a:lnTo>
                    <a:lnTo>
                      <a:pt x="29" y="1419"/>
                    </a:lnTo>
                    <a:lnTo>
                      <a:pt x="29" y="1417"/>
                    </a:lnTo>
                    <a:lnTo>
                      <a:pt x="27" y="1417"/>
                    </a:lnTo>
                    <a:lnTo>
                      <a:pt x="27" y="1419"/>
                    </a:lnTo>
                    <a:lnTo>
                      <a:pt x="27" y="1419"/>
                    </a:lnTo>
                    <a:lnTo>
                      <a:pt x="27" y="1421"/>
                    </a:lnTo>
                    <a:lnTo>
                      <a:pt x="27" y="1421"/>
                    </a:lnTo>
                    <a:lnTo>
                      <a:pt x="29" y="1421"/>
                    </a:lnTo>
                    <a:lnTo>
                      <a:pt x="15" y="1429"/>
                    </a:lnTo>
                    <a:lnTo>
                      <a:pt x="13" y="1433"/>
                    </a:lnTo>
                    <a:lnTo>
                      <a:pt x="13" y="1433"/>
                    </a:lnTo>
                    <a:lnTo>
                      <a:pt x="13" y="1435"/>
                    </a:lnTo>
                    <a:lnTo>
                      <a:pt x="13" y="1435"/>
                    </a:lnTo>
                    <a:lnTo>
                      <a:pt x="15" y="1435"/>
                    </a:lnTo>
                    <a:lnTo>
                      <a:pt x="15" y="1435"/>
                    </a:lnTo>
                    <a:lnTo>
                      <a:pt x="15" y="1435"/>
                    </a:lnTo>
                    <a:lnTo>
                      <a:pt x="15" y="1435"/>
                    </a:lnTo>
                    <a:lnTo>
                      <a:pt x="15" y="1435"/>
                    </a:lnTo>
                    <a:lnTo>
                      <a:pt x="15" y="1437"/>
                    </a:lnTo>
                    <a:lnTo>
                      <a:pt x="15" y="1439"/>
                    </a:lnTo>
                    <a:lnTo>
                      <a:pt x="15" y="1439"/>
                    </a:lnTo>
                    <a:lnTo>
                      <a:pt x="15" y="1439"/>
                    </a:lnTo>
                    <a:lnTo>
                      <a:pt x="15" y="1439"/>
                    </a:lnTo>
                    <a:lnTo>
                      <a:pt x="15" y="1439"/>
                    </a:lnTo>
                    <a:lnTo>
                      <a:pt x="13" y="1441"/>
                    </a:lnTo>
                    <a:lnTo>
                      <a:pt x="13" y="1443"/>
                    </a:lnTo>
                    <a:lnTo>
                      <a:pt x="13" y="1444"/>
                    </a:lnTo>
                    <a:lnTo>
                      <a:pt x="11" y="1444"/>
                    </a:lnTo>
                    <a:lnTo>
                      <a:pt x="8" y="1448"/>
                    </a:lnTo>
                    <a:lnTo>
                      <a:pt x="6" y="1452"/>
                    </a:lnTo>
                    <a:lnTo>
                      <a:pt x="6" y="1452"/>
                    </a:lnTo>
                    <a:lnTo>
                      <a:pt x="4" y="1456"/>
                    </a:lnTo>
                    <a:lnTo>
                      <a:pt x="4" y="1464"/>
                    </a:lnTo>
                    <a:lnTo>
                      <a:pt x="4" y="1466"/>
                    </a:lnTo>
                    <a:lnTo>
                      <a:pt x="4" y="1470"/>
                    </a:lnTo>
                    <a:lnTo>
                      <a:pt x="4" y="1476"/>
                    </a:lnTo>
                    <a:lnTo>
                      <a:pt x="4" y="1484"/>
                    </a:lnTo>
                    <a:lnTo>
                      <a:pt x="4" y="1485"/>
                    </a:lnTo>
                    <a:lnTo>
                      <a:pt x="4" y="1485"/>
                    </a:lnTo>
                    <a:lnTo>
                      <a:pt x="4" y="1485"/>
                    </a:lnTo>
                    <a:lnTo>
                      <a:pt x="6" y="1485"/>
                    </a:lnTo>
                    <a:lnTo>
                      <a:pt x="8" y="1484"/>
                    </a:lnTo>
                    <a:lnTo>
                      <a:pt x="10" y="1482"/>
                    </a:lnTo>
                    <a:lnTo>
                      <a:pt x="11" y="1482"/>
                    </a:lnTo>
                    <a:lnTo>
                      <a:pt x="13" y="1482"/>
                    </a:lnTo>
                    <a:lnTo>
                      <a:pt x="29" y="1489"/>
                    </a:lnTo>
                    <a:lnTo>
                      <a:pt x="31" y="1493"/>
                    </a:lnTo>
                    <a:lnTo>
                      <a:pt x="33" y="1495"/>
                    </a:lnTo>
                    <a:lnTo>
                      <a:pt x="33" y="1497"/>
                    </a:lnTo>
                    <a:lnTo>
                      <a:pt x="33" y="1497"/>
                    </a:lnTo>
                    <a:lnTo>
                      <a:pt x="33" y="1497"/>
                    </a:lnTo>
                    <a:lnTo>
                      <a:pt x="35" y="1499"/>
                    </a:lnTo>
                    <a:lnTo>
                      <a:pt x="43" y="1509"/>
                    </a:lnTo>
                    <a:lnTo>
                      <a:pt x="43" y="1511"/>
                    </a:lnTo>
                    <a:lnTo>
                      <a:pt x="43" y="1513"/>
                    </a:lnTo>
                    <a:lnTo>
                      <a:pt x="39" y="1513"/>
                    </a:lnTo>
                    <a:lnTo>
                      <a:pt x="39" y="1515"/>
                    </a:lnTo>
                    <a:lnTo>
                      <a:pt x="39" y="1517"/>
                    </a:lnTo>
                    <a:lnTo>
                      <a:pt x="43" y="1521"/>
                    </a:lnTo>
                    <a:lnTo>
                      <a:pt x="53" y="1532"/>
                    </a:lnTo>
                    <a:lnTo>
                      <a:pt x="53" y="1532"/>
                    </a:lnTo>
                    <a:lnTo>
                      <a:pt x="53" y="1536"/>
                    </a:lnTo>
                    <a:lnTo>
                      <a:pt x="53" y="1536"/>
                    </a:lnTo>
                    <a:lnTo>
                      <a:pt x="54" y="1536"/>
                    </a:lnTo>
                    <a:lnTo>
                      <a:pt x="56" y="1538"/>
                    </a:lnTo>
                    <a:lnTo>
                      <a:pt x="56" y="1538"/>
                    </a:lnTo>
                    <a:lnTo>
                      <a:pt x="58" y="1544"/>
                    </a:lnTo>
                    <a:lnTo>
                      <a:pt x="58" y="1544"/>
                    </a:lnTo>
                    <a:lnTo>
                      <a:pt x="58" y="1546"/>
                    </a:lnTo>
                    <a:lnTo>
                      <a:pt x="60" y="1548"/>
                    </a:lnTo>
                    <a:lnTo>
                      <a:pt x="60" y="1548"/>
                    </a:lnTo>
                    <a:lnTo>
                      <a:pt x="60" y="1548"/>
                    </a:lnTo>
                    <a:lnTo>
                      <a:pt x="62" y="1546"/>
                    </a:lnTo>
                    <a:lnTo>
                      <a:pt x="64" y="1546"/>
                    </a:lnTo>
                    <a:lnTo>
                      <a:pt x="64" y="1550"/>
                    </a:lnTo>
                    <a:lnTo>
                      <a:pt x="64" y="1554"/>
                    </a:lnTo>
                    <a:lnTo>
                      <a:pt x="64" y="1558"/>
                    </a:lnTo>
                    <a:lnTo>
                      <a:pt x="66" y="1560"/>
                    </a:lnTo>
                    <a:lnTo>
                      <a:pt x="68" y="1562"/>
                    </a:lnTo>
                    <a:lnTo>
                      <a:pt x="74" y="1562"/>
                    </a:lnTo>
                    <a:lnTo>
                      <a:pt x="82" y="1564"/>
                    </a:lnTo>
                    <a:lnTo>
                      <a:pt x="84" y="1564"/>
                    </a:lnTo>
                    <a:lnTo>
                      <a:pt x="86" y="1560"/>
                    </a:lnTo>
                    <a:lnTo>
                      <a:pt x="86" y="1556"/>
                    </a:lnTo>
                    <a:lnTo>
                      <a:pt x="84" y="1552"/>
                    </a:lnTo>
                    <a:lnTo>
                      <a:pt x="86" y="1548"/>
                    </a:lnTo>
                    <a:lnTo>
                      <a:pt x="88" y="1548"/>
                    </a:lnTo>
                    <a:lnTo>
                      <a:pt x="94" y="1548"/>
                    </a:lnTo>
                    <a:lnTo>
                      <a:pt x="99" y="1548"/>
                    </a:lnTo>
                    <a:lnTo>
                      <a:pt x="101" y="1548"/>
                    </a:lnTo>
                    <a:lnTo>
                      <a:pt x="111" y="1554"/>
                    </a:lnTo>
                    <a:lnTo>
                      <a:pt x="115" y="1554"/>
                    </a:lnTo>
                    <a:lnTo>
                      <a:pt x="115" y="1564"/>
                    </a:lnTo>
                    <a:lnTo>
                      <a:pt x="117" y="1571"/>
                    </a:lnTo>
                    <a:lnTo>
                      <a:pt x="121" y="1573"/>
                    </a:lnTo>
                    <a:lnTo>
                      <a:pt x="125" y="1569"/>
                    </a:lnTo>
                    <a:lnTo>
                      <a:pt x="127" y="1569"/>
                    </a:lnTo>
                    <a:lnTo>
                      <a:pt x="125" y="1567"/>
                    </a:lnTo>
                    <a:lnTo>
                      <a:pt x="125" y="1566"/>
                    </a:lnTo>
                    <a:lnTo>
                      <a:pt x="127" y="1566"/>
                    </a:lnTo>
                    <a:lnTo>
                      <a:pt x="127" y="1566"/>
                    </a:lnTo>
                    <a:lnTo>
                      <a:pt x="135" y="1569"/>
                    </a:lnTo>
                    <a:lnTo>
                      <a:pt x="137" y="1571"/>
                    </a:lnTo>
                    <a:lnTo>
                      <a:pt x="138" y="1571"/>
                    </a:lnTo>
                    <a:lnTo>
                      <a:pt x="154" y="1571"/>
                    </a:lnTo>
                    <a:lnTo>
                      <a:pt x="158" y="1573"/>
                    </a:lnTo>
                    <a:lnTo>
                      <a:pt x="160" y="1573"/>
                    </a:lnTo>
                    <a:lnTo>
                      <a:pt x="160" y="1573"/>
                    </a:lnTo>
                    <a:lnTo>
                      <a:pt x="162" y="1569"/>
                    </a:lnTo>
                    <a:lnTo>
                      <a:pt x="164" y="1567"/>
                    </a:lnTo>
                    <a:lnTo>
                      <a:pt x="164" y="1567"/>
                    </a:lnTo>
                    <a:lnTo>
                      <a:pt x="168" y="1567"/>
                    </a:lnTo>
                    <a:lnTo>
                      <a:pt x="170" y="1567"/>
                    </a:lnTo>
                    <a:lnTo>
                      <a:pt x="170" y="1566"/>
                    </a:lnTo>
                    <a:lnTo>
                      <a:pt x="172" y="1562"/>
                    </a:lnTo>
                    <a:lnTo>
                      <a:pt x="172" y="1560"/>
                    </a:lnTo>
                    <a:lnTo>
                      <a:pt x="176" y="1560"/>
                    </a:lnTo>
                    <a:lnTo>
                      <a:pt x="176" y="1558"/>
                    </a:lnTo>
                    <a:lnTo>
                      <a:pt x="179" y="1558"/>
                    </a:lnTo>
                    <a:lnTo>
                      <a:pt x="181" y="1558"/>
                    </a:lnTo>
                    <a:lnTo>
                      <a:pt x="183" y="1562"/>
                    </a:lnTo>
                    <a:lnTo>
                      <a:pt x="189" y="1562"/>
                    </a:lnTo>
                    <a:lnTo>
                      <a:pt x="193" y="1562"/>
                    </a:lnTo>
                    <a:lnTo>
                      <a:pt x="193" y="1566"/>
                    </a:lnTo>
                    <a:lnTo>
                      <a:pt x="193" y="1567"/>
                    </a:lnTo>
                    <a:lnTo>
                      <a:pt x="193" y="1567"/>
                    </a:lnTo>
                    <a:lnTo>
                      <a:pt x="191" y="1567"/>
                    </a:lnTo>
                    <a:lnTo>
                      <a:pt x="195" y="1571"/>
                    </a:lnTo>
                    <a:lnTo>
                      <a:pt x="199" y="1577"/>
                    </a:lnTo>
                    <a:lnTo>
                      <a:pt x="201" y="1579"/>
                    </a:lnTo>
                    <a:lnTo>
                      <a:pt x="205" y="1581"/>
                    </a:lnTo>
                    <a:lnTo>
                      <a:pt x="211" y="1583"/>
                    </a:lnTo>
                    <a:lnTo>
                      <a:pt x="215" y="1585"/>
                    </a:lnTo>
                    <a:lnTo>
                      <a:pt x="217" y="1587"/>
                    </a:lnTo>
                    <a:lnTo>
                      <a:pt x="219" y="1589"/>
                    </a:lnTo>
                    <a:lnTo>
                      <a:pt x="219" y="1591"/>
                    </a:lnTo>
                    <a:lnTo>
                      <a:pt x="221" y="1591"/>
                    </a:lnTo>
                    <a:lnTo>
                      <a:pt x="222" y="1591"/>
                    </a:lnTo>
                    <a:lnTo>
                      <a:pt x="224" y="1591"/>
                    </a:lnTo>
                    <a:lnTo>
                      <a:pt x="226" y="1591"/>
                    </a:lnTo>
                    <a:lnTo>
                      <a:pt x="228" y="1589"/>
                    </a:lnTo>
                    <a:lnTo>
                      <a:pt x="230" y="1591"/>
                    </a:lnTo>
                    <a:lnTo>
                      <a:pt x="234" y="1591"/>
                    </a:lnTo>
                    <a:lnTo>
                      <a:pt x="234" y="1591"/>
                    </a:lnTo>
                    <a:lnTo>
                      <a:pt x="236" y="1591"/>
                    </a:lnTo>
                    <a:lnTo>
                      <a:pt x="240" y="1589"/>
                    </a:lnTo>
                    <a:lnTo>
                      <a:pt x="242" y="1589"/>
                    </a:lnTo>
                    <a:lnTo>
                      <a:pt x="258" y="1593"/>
                    </a:lnTo>
                    <a:lnTo>
                      <a:pt x="265" y="1591"/>
                    </a:lnTo>
                    <a:lnTo>
                      <a:pt x="269" y="1593"/>
                    </a:lnTo>
                    <a:lnTo>
                      <a:pt x="297" y="1607"/>
                    </a:lnTo>
                    <a:lnTo>
                      <a:pt x="312" y="1610"/>
                    </a:lnTo>
                    <a:lnTo>
                      <a:pt x="314" y="1610"/>
                    </a:lnTo>
                    <a:lnTo>
                      <a:pt x="314" y="1610"/>
                    </a:lnTo>
                    <a:lnTo>
                      <a:pt x="310" y="1616"/>
                    </a:lnTo>
                    <a:lnTo>
                      <a:pt x="305" y="1626"/>
                    </a:lnTo>
                    <a:lnTo>
                      <a:pt x="299" y="1646"/>
                    </a:lnTo>
                    <a:lnTo>
                      <a:pt x="297" y="1650"/>
                    </a:lnTo>
                    <a:lnTo>
                      <a:pt x="295" y="1651"/>
                    </a:lnTo>
                    <a:lnTo>
                      <a:pt x="289" y="1653"/>
                    </a:lnTo>
                    <a:lnTo>
                      <a:pt x="287" y="1653"/>
                    </a:lnTo>
                    <a:lnTo>
                      <a:pt x="287" y="1655"/>
                    </a:lnTo>
                    <a:lnTo>
                      <a:pt x="287" y="1655"/>
                    </a:lnTo>
                    <a:lnTo>
                      <a:pt x="285" y="1657"/>
                    </a:lnTo>
                    <a:lnTo>
                      <a:pt x="285" y="1659"/>
                    </a:lnTo>
                    <a:lnTo>
                      <a:pt x="285" y="1661"/>
                    </a:lnTo>
                    <a:lnTo>
                      <a:pt x="283" y="1661"/>
                    </a:lnTo>
                    <a:lnTo>
                      <a:pt x="283" y="1661"/>
                    </a:lnTo>
                    <a:lnTo>
                      <a:pt x="277" y="1661"/>
                    </a:lnTo>
                    <a:lnTo>
                      <a:pt x="275" y="1663"/>
                    </a:lnTo>
                    <a:lnTo>
                      <a:pt x="275" y="1665"/>
                    </a:lnTo>
                    <a:lnTo>
                      <a:pt x="275" y="1669"/>
                    </a:lnTo>
                    <a:lnTo>
                      <a:pt x="273" y="1671"/>
                    </a:lnTo>
                    <a:lnTo>
                      <a:pt x="271" y="1673"/>
                    </a:lnTo>
                    <a:lnTo>
                      <a:pt x="269" y="1677"/>
                    </a:lnTo>
                    <a:lnTo>
                      <a:pt x="267" y="1677"/>
                    </a:lnTo>
                    <a:lnTo>
                      <a:pt x="263" y="1683"/>
                    </a:lnTo>
                    <a:lnTo>
                      <a:pt x="262" y="1685"/>
                    </a:lnTo>
                    <a:lnTo>
                      <a:pt x="258" y="1687"/>
                    </a:lnTo>
                    <a:lnTo>
                      <a:pt x="256" y="1687"/>
                    </a:lnTo>
                    <a:lnTo>
                      <a:pt x="250" y="1698"/>
                    </a:lnTo>
                    <a:lnTo>
                      <a:pt x="248" y="1706"/>
                    </a:lnTo>
                    <a:lnTo>
                      <a:pt x="248" y="1716"/>
                    </a:lnTo>
                    <a:lnTo>
                      <a:pt x="250" y="1720"/>
                    </a:lnTo>
                    <a:lnTo>
                      <a:pt x="250" y="1722"/>
                    </a:lnTo>
                    <a:lnTo>
                      <a:pt x="246" y="1726"/>
                    </a:lnTo>
                    <a:lnTo>
                      <a:pt x="244" y="1728"/>
                    </a:lnTo>
                    <a:lnTo>
                      <a:pt x="242" y="1730"/>
                    </a:lnTo>
                    <a:lnTo>
                      <a:pt x="242" y="1735"/>
                    </a:lnTo>
                    <a:lnTo>
                      <a:pt x="242" y="1737"/>
                    </a:lnTo>
                    <a:lnTo>
                      <a:pt x="240" y="1739"/>
                    </a:lnTo>
                    <a:lnTo>
                      <a:pt x="238" y="1741"/>
                    </a:lnTo>
                    <a:lnTo>
                      <a:pt x="238" y="1743"/>
                    </a:lnTo>
                    <a:lnTo>
                      <a:pt x="236" y="1751"/>
                    </a:lnTo>
                    <a:lnTo>
                      <a:pt x="236" y="1755"/>
                    </a:lnTo>
                    <a:lnTo>
                      <a:pt x="238" y="1757"/>
                    </a:lnTo>
                    <a:lnTo>
                      <a:pt x="238" y="1761"/>
                    </a:lnTo>
                    <a:lnTo>
                      <a:pt x="240" y="1763"/>
                    </a:lnTo>
                    <a:lnTo>
                      <a:pt x="238" y="1767"/>
                    </a:lnTo>
                    <a:lnTo>
                      <a:pt x="236" y="1771"/>
                    </a:lnTo>
                    <a:lnTo>
                      <a:pt x="234" y="1773"/>
                    </a:lnTo>
                    <a:lnTo>
                      <a:pt x="230" y="1774"/>
                    </a:lnTo>
                    <a:lnTo>
                      <a:pt x="230" y="1780"/>
                    </a:lnTo>
                    <a:lnTo>
                      <a:pt x="230" y="1784"/>
                    </a:lnTo>
                    <a:lnTo>
                      <a:pt x="228" y="1790"/>
                    </a:lnTo>
                    <a:lnTo>
                      <a:pt x="226" y="1792"/>
                    </a:lnTo>
                    <a:lnTo>
                      <a:pt x="217" y="1808"/>
                    </a:lnTo>
                    <a:lnTo>
                      <a:pt x="215" y="1812"/>
                    </a:lnTo>
                    <a:lnTo>
                      <a:pt x="215" y="1814"/>
                    </a:lnTo>
                    <a:lnTo>
                      <a:pt x="213" y="1815"/>
                    </a:lnTo>
                    <a:lnTo>
                      <a:pt x="213" y="1817"/>
                    </a:lnTo>
                    <a:lnTo>
                      <a:pt x="211" y="1819"/>
                    </a:lnTo>
                    <a:lnTo>
                      <a:pt x="211" y="1823"/>
                    </a:lnTo>
                    <a:lnTo>
                      <a:pt x="209" y="1829"/>
                    </a:lnTo>
                    <a:lnTo>
                      <a:pt x="209" y="1839"/>
                    </a:lnTo>
                    <a:lnTo>
                      <a:pt x="217" y="1853"/>
                    </a:lnTo>
                    <a:lnTo>
                      <a:pt x="217" y="1860"/>
                    </a:lnTo>
                    <a:lnTo>
                      <a:pt x="217" y="1862"/>
                    </a:lnTo>
                    <a:lnTo>
                      <a:pt x="211" y="1868"/>
                    </a:lnTo>
                    <a:lnTo>
                      <a:pt x="211" y="1870"/>
                    </a:lnTo>
                    <a:lnTo>
                      <a:pt x="211" y="1874"/>
                    </a:lnTo>
                    <a:lnTo>
                      <a:pt x="211" y="1876"/>
                    </a:lnTo>
                    <a:lnTo>
                      <a:pt x="209" y="1878"/>
                    </a:lnTo>
                    <a:lnTo>
                      <a:pt x="209" y="1880"/>
                    </a:lnTo>
                    <a:lnTo>
                      <a:pt x="207" y="1880"/>
                    </a:lnTo>
                    <a:lnTo>
                      <a:pt x="207" y="1882"/>
                    </a:lnTo>
                    <a:lnTo>
                      <a:pt x="207" y="1882"/>
                    </a:lnTo>
                    <a:lnTo>
                      <a:pt x="207" y="1884"/>
                    </a:lnTo>
                    <a:lnTo>
                      <a:pt x="207" y="1884"/>
                    </a:lnTo>
                    <a:lnTo>
                      <a:pt x="207" y="1886"/>
                    </a:lnTo>
                    <a:lnTo>
                      <a:pt x="207" y="1890"/>
                    </a:lnTo>
                    <a:lnTo>
                      <a:pt x="207" y="1892"/>
                    </a:lnTo>
                    <a:lnTo>
                      <a:pt x="205" y="1894"/>
                    </a:lnTo>
                    <a:lnTo>
                      <a:pt x="205" y="1896"/>
                    </a:lnTo>
                    <a:lnTo>
                      <a:pt x="201" y="1903"/>
                    </a:lnTo>
                    <a:lnTo>
                      <a:pt x="201" y="1907"/>
                    </a:lnTo>
                    <a:lnTo>
                      <a:pt x="203" y="1915"/>
                    </a:lnTo>
                    <a:lnTo>
                      <a:pt x="203" y="1919"/>
                    </a:lnTo>
                    <a:lnTo>
                      <a:pt x="203" y="1921"/>
                    </a:lnTo>
                    <a:lnTo>
                      <a:pt x="199" y="1923"/>
                    </a:lnTo>
                    <a:lnTo>
                      <a:pt x="199" y="1925"/>
                    </a:lnTo>
                    <a:lnTo>
                      <a:pt x="199" y="1931"/>
                    </a:lnTo>
                    <a:lnTo>
                      <a:pt x="199" y="1933"/>
                    </a:lnTo>
                    <a:lnTo>
                      <a:pt x="201" y="1935"/>
                    </a:lnTo>
                    <a:lnTo>
                      <a:pt x="203" y="1937"/>
                    </a:lnTo>
                    <a:lnTo>
                      <a:pt x="205" y="1938"/>
                    </a:lnTo>
                    <a:lnTo>
                      <a:pt x="209" y="1946"/>
                    </a:lnTo>
                    <a:lnTo>
                      <a:pt x="211" y="1948"/>
                    </a:lnTo>
                    <a:lnTo>
                      <a:pt x="211" y="1948"/>
                    </a:lnTo>
                    <a:lnTo>
                      <a:pt x="213" y="1950"/>
                    </a:lnTo>
                    <a:lnTo>
                      <a:pt x="213" y="1952"/>
                    </a:lnTo>
                    <a:lnTo>
                      <a:pt x="213" y="1952"/>
                    </a:lnTo>
                    <a:lnTo>
                      <a:pt x="211" y="1956"/>
                    </a:lnTo>
                    <a:lnTo>
                      <a:pt x="221" y="1952"/>
                    </a:lnTo>
                    <a:lnTo>
                      <a:pt x="224" y="1952"/>
                    </a:lnTo>
                    <a:lnTo>
                      <a:pt x="221" y="1958"/>
                    </a:lnTo>
                    <a:lnTo>
                      <a:pt x="221" y="1960"/>
                    </a:lnTo>
                    <a:lnTo>
                      <a:pt x="217" y="1960"/>
                    </a:lnTo>
                    <a:lnTo>
                      <a:pt x="215" y="1960"/>
                    </a:lnTo>
                    <a:lnTo>
                      <a:pt x="222" y="1964"/>
                    </a:lnTo>
                    <a:lnTo>
                      <a:pt x="224" y="1966"/>
                    </a:lnTo>
                    <a:lnTo>
                      <a:pt x="228" y="1966"/>
                    </a:lnTo>
                    <a:lnTo>
                      <a:pt x="234" y="1964"/>
                    </a:lnTo>
                    <a:lnTo>
                      <a:pt x="242" y="1962"/>
                    </a:lnTo>
                    <a:lnTo>
                      <a:pt x="244" y="1960"/>
                    </a:lnTo>
                    <a:lnTo>
                      <a:pt x="248" y="1958"/>
                    </a:lnTo>
                    <a:lnTo>
                      <a:pt x="250" y="1952"/>
                    </a:lnTo>
                    <a:lnTo>
                      <a:pt x="254" y="1954"/>
                    </a:lnTo>
                    <a:lnTo>
                      <a:pt x="263" y="1954"/>
                    </a:lnTo>
                    <a:lnTo>
                      <a:pt x="265" y="1956"/>
                    </a:lnTo>
                    <a:lnTo>
                      <a:pt x="265" y="1958"/>
                    </a:lnTo>
                    <a:lnTo>
                      <a:pt x="265" y="1960"/>
                    </a:lnTo>
                    <a:lnTo>
                      <a:pt x="265" y="1962"/>
                    </a:lnTo>
                    <a:lnTo>
                      <a:pt x="287" y="1962"/>
                    </a:lnTo>
                    <a:lnTo>
                      <a:pt x="295" y="1960"/>
                    </a:lnTo>
                    <a:lnTo>
                      <a:pt x="297" y="1958"/>
                    </a:lnTo>
                    <a:lnTo>
                      <a:pt x="297" y="1958"/>
                    </a:lnTo>
                    <a:lnTo>
                      <a:pt x="299" y="1956"/>
                    </a:lnTo>
                    <a:lnTo>
                      <a:pt x="301" y="1954"/>
                    </a:lnTo>
                    <a:lnTo>
                      <a:pt x="301" y="1954"/>
                    </a:lnTo>
                    <a:lnTo>
                      <a:pt x="305" y="1952"/>
                    </a:lnTo>
                    <a:lnTo>
                      <a:pt x="308" y="1950"/>
                    </a:lnTo>
                    <a:lnTo>
                      <a:pt x="308" y="1950"/>
                    </a:lnTo>
                    <a:lnTo>
                      <a:pt x="310" y="1948"/>
                    </a:lnTo>
                    <a:lnTo>
                      <a:pt x="310" y="1948"/>
                    </a:lnTo>
                    <a:lnTo>
                      <a:pt x="320" y="1946"/>
                    </a:lnTo>
                    <a:lnTo>
                      <a:pt x="322" y="1946"/>
                    </a:lnTo>
                    <a:lnTo>
                      <a:pt x="326" y="1948"/>
                    </a:lnTo>
                    <a:lnTo>
                      <a:pt x="328" y="1948"/>
                    </a:lnTo>
                    <a:lnTo>
                      <a:pt x="330" y="1948"/>
                    </a:lnTo>
                    <a:lnTo>
                      <a:pt x="330" y="1952"/>
                    </a:lnTo>
                    <a:lnTo>
                      <a:pt x="332" y="1954"/>
                    </a:lnTo>
                    <a:lnTo>
                      <a:pt x="334" y="1954"/>
                    </a:lnTo>
                    <a:lnTo>
                      <a:pt x="340" y="1956"/>
                    </a:lnTo>
                    <a:lnTo>
                      <a:pt x="351" y="1956"/>
                    </a:lnTo>
                    <a:lnTo>
                      <a:pt x="351" y="1956"/>
                    </a:lnTo>
                    <a:lnTo>
                      <a:pt x="355" y="1956"/>
                    </a:lnTo>
                    <a:lnTo>
                      <a:pt x="355" y="1954"/>
                    </a:lnTo>
                    <a:lnTo>
                      <a:pt x="357" y="1950"/>
                    </a:lnTo>
                    <a:lnTo>
                      <a:pt x="363" y="1946"/>
                    </a:lnTo>
                    <a:lnTo>
                      <a:pt x="369" y="1946"/>
                    </a:lnTo>
                    <a:lnTo>
                      <a:pt x="371" y="1948"/>
                    </a:lnTo>
                    <a:lnTo>
                      <a:pt x="373" y="1952"/>
                    </a:lnTo>
                    <a:lnTo>
                      <a:pt x="373" y="1952"/>
                    </a:lnTo>
                    <a:lnTo>
                      <a:pt x="375" y="1954"/>
                    </a:lnTo>
                    <a:lnTo>
                      <a:pt x="377" y="1954"/>
                    </a:lnTo>
                    <a:lnTo>
                      <a:pt x="377" y="1952"/>
                    </a:lnTo>
                    <a:lnTo>
                      <a:pt x="377" y="1952"/>
                    </a:lnTo>
                    <a:lnTo>
                      <a:pt x="379" y="1950"/>
                    </a:lnTo>
                    <a:lnTo>
                      <a:pt x="379" y="1948"/>
                    </a:lnTo>
                    <a:lnTo>
                      <a:pt x="379" y="1946"/>
                    </a:lnTo>
                    <a:lnTo>
                      <a:pt x="379" y="1946"/>
                    </a:lnTo>
                    <a:lnTo>
                      <a:pt x="377" y="1944"/>
                    </a:lnTo>
                    <a:lnTo>
                      <a:pt x="377" y="1944"/>
                    </a:lnTo>
                    <a:lnTo>
                      <a:pt x="377" y="1942"/>
                    </a:lnTo>
                    <a:lnTo>
                      <a:pt x="379" y="1942"/>
                    </a:lnTo>
                    <a:lnTo>
                      <a:pt x="379" y="1940"/>
                    </a:lnTo>
                    <a:lnTo>
                      <a:pt x="381" y="1940"/>
                    </a:lnTo>
                    <a:lnTo>
                      <a:pt x="381" y="1942"/>
                    </a:lnTo>
                    <a:lnTo>
                      <a:pt x="381" y="1942"/>
                    </a:lnTo>
                    <a:lnTo>
                      <a:pt x="381" y="1944"/>
                    </a:lnTo>
                    <a:lnTo>
                      <a:pt x="383" y="1938"/>
                    </a:lnTo>
                    <a:lnTo>
                      <a:pt x="381" y="1938"/>
                    </a:lnTo>
                    <a:lnTo>
                      <a:pt x="381" y="1937"/>
                    </a:lnTo>
                    <a:lnTo>
                      <a:pt x="379" y="1937"/>
                    </a:lnTo>
                    <a:lnTo>
                      <a:pt x="375" y="1937"/>
                    </a:lnTo>
                    <a:lnTo>
                      <a:pt x="367" y="1938"/>
                    </a:lnTo>
                    <a:lnTo>
                      <a:pt x="365" y="1938"/>
                    </a:lnTo>
                    <a:lnTo>
                      <a:pt x="363" y="1940"/>
                    </a:lnTo>
                    <a:lnTo>
                      <a:pt x="361" y="1942"/>
                    </a:lnTo>
                    <a:lnTo>
                      <a:pt x="357" y="1942"/>
                    </a:lnTo>
                    <a:lnTo>
                      <a:pt x="353" y="1940"/>
                    </a:lnTo>
                    <a:lnTo>
                      <a:pt x="349" y="1937"/>
                    </a:lnTo>
                    <a:lnTo>
                      <a:pt x="349" y="1937"/>
                    </a:lnTo>
                    <a:lnTo>
                      <a:pt x="346" y="1937"/>
                    </a:lnTo>
                    <a:lnTo>
                      <a:pt x="347" y="1933"/>
                    </a:lnTo>
                    <a:lnTo>
                      <a:pt x="347" y="1931"/>
                    </a:lnTo>
                    <a:lnTo>
                      <a:pt x="346" y="1929"/>
                    </a:lnTo>
                    <a:lnTo>
                      <a:pt x="346" y="1927"/>
                    </a:lnTo>
                    <a:lnTo>
                      <a:pt x="347" y="1925"/>
                    </a:lnTo>
                    <a:lnTo>
                      <a:pt x="351" y="1923"/>
                    </a:lnTo>
                    <a:lnTo>
                      <a:pt x="353" y="1921"/>
                    </a:lnTo>
                    <a:lnTo>
                      <a:pt x="355" y="1917"/>
                    </a:lnTo>
                    <a:lnTo>
                      <a:pt x="355" y="1915"/>
                    </a:lnTo>
                    <a:lnTo>
                      <a:pt x="357" y="1911"/>
                    </a:lnTo>
                    <a:lnTo>
                      <a:pt x="359" y="1911"/>
                    </a:lnTo>
                    <a:lnTo>
                      <a:pt x="361" y="1911"/>
                    </a:lnTo>
                    <a:lnTo>
                      <a:pt x="371" y="1909"/>
                    </a:lnTo>
                    <a:lnTo>
                      <a:pt x="373" y="1907"/>
                    </a:lnTo>
                    <a:lnTo>
                      <a:pt x="371" y="1903"/>
                    </a:lnTo>
                    <a:lnTo>
                      <a:pt x="375" y="1901"/>
                    </a:lnTo>
                    <a:lnTo>
                      <a:pt x="379" y="1901"/>
                    </a:lnTo>
                    <a:lnTo>
                      <a:pt x="381" y="1903"/>
                    </a:lnTo>
                    <a:lnTo>
                      <a:pt x="381" y="1905"/>
                    </a:lnTo>
                    <a:lnTo>
                      <a:pt x="383" y="1909"/>
                    </a:lnTo>
                    <a:lnTo>
                      <a:pt x="383" y="1911"/>
                    </a:lnTo>
                    <a:lnTo>
                      <a:pt x="385" y="1913"/>
                    </a:lnTo>
                    <a:lnTo>
                      <a:pt x="387" y="1911"/>
                    </a:lnTo>
                    <a:lnTo>
                      <a:pt x="387" y="1905"/>
                    </a:lnTo>
                    <a:lnTo>
                      <a:pt x="389" y="1905"/>
                    </a:lnTo>
                    <a:lnTo>
                      <a:pt x="390" y="1905"/>
                    </a:lnTo>
                    <a:lnTo>
                      <a:pt x="392" y="1907"/>
                    </a:lnTo>
                    <a:lnTo>
                      <a:pt x="394" y="1911"/>
                    </a:lnTo>
                    <a:lnTo>
                      <a:pt x="394" y="1913"/>
                    </a:lnTo>
                    <a:lnTo>
                      <a:pt x="396" y="1913"/>
                    </a:lnTo>
                    <a:lnTo>
                      <a:pt x="398" y="1913"/>
                    </a:lnTo>
                    <a:lnTo>
                      <a:pt x="400" y="1913"/>
                    </a:lnTo>
                    <a:lnTo>
                      <a:pt x="400" y="1915"/>
                    </a:lnTo>
                    <a:lnTo>
                      <a:pt x="400" y="1917"/>
                    </a:lnTo>
                    <a:lnTo>
                      <a:pt x="398" y="1919"/>
                    </a:lnTo>
                    <a:lnTo>
                      <a:pt x="398" y="1921"/>
                    </a:lnTo>
                    <a:lnTo>
                      <a:pt x="398" y="1923"/>
                    </a:lnTo>
                    <a:lnTo>
                      <a:pt x="400" y="1925"/>
                    </a:lnTo>
                    <a:lnTo>
                      <a:pt x="400" y="1927"/>
                    </a:lnTo>
                    <a:lnTo>
                      <a:pt x="400" y="1929"/>
                    </a:lnTo>
                    <a:lnTo>
                      <a:pt x="410" y="1929"/>
                    </a:lnTo>
                    <a:lnTo>
                      <a:pt x="408" y="1927"/>
                    </a:lnTo>
                    <a:lnTo>
                      <a:pt x="410" y="1921"/>
                    </a:lnTo>
                    <a:lnTo>
                      <a:pt x="414" y="1923"/>
                    </a:lnTo>
                    <a:lnTo>
                      <a:pt x="420" y="1925"/>
                    </a:lnTo>
                    <a:lnTo>
                      <a:pt x="424" y="1929"/>
                    </a:lnTo>
                    <a:lnTo>
                      <a:pt x="422" y="1931"/>
                    </a:lnTo>
                    <a:lnTo>
                      <a:pt x="422" y="1933"/>
                    </a:lnTo>
                    <a:lnTo>
                      <a:pt x="424" y="1935"/>
                    </a:lnTo>
                    <a:lnTo>
                      <a:pt x="424" y="1935"/>
                    </a:lnTo>
                    <a:lnTo>
                      <a:pt x="428" y="1938"/>
                    </a:lnTo>
                    <a:lnTo>
                      <a:pt x="432" y="1938"/>
                    </a:lnTo>
                    <a:lnTo>
                      <a:pt x="439" y="1938"/>
                    </a:lnTo>
                    <a:lnTo>
                      <a:pt x="445" y="1937"/>
                    </a:lnTo>
                    <a:lnTo>
                      <a:pt x="447" y="1933"/>
                    </a:lnTo>
                    <a:lnTo>
                      <a:pt x="451" y="1933"/>
                    </a:lnTo>
                    <a:lnTo>
                      <a:pt x="469" y="1935"/>
                    </a:lnTo>
                    <a:lnTo>
                      <a:pt x="478" y="1935"/>
                    </a:lnTo>
                    <a:lnTo>
                      <a:pt x="480" y="1938"/>
                    </a:lnTo>
                    <a:lnTo>
                      <a:pt x="480" y="1938"/>
                    </a:lnTo>
                    <a:lnTo>
                      <a:pt x="478" y="1935"/>
                    </a:lnTo>
                    <a:lnTo>
                      <a:pt x="482" y="1935"/>
                    </a:lnTo>
                    <a:lnTo>
                      <a:pt x="482" y="1931"/>
                    </a:lnTo>
                    <a:lnTo>
                      <a:pt x="478" y="1927"/>
                    </a:lnTo>
                    <a:lnTo>
                      <a:pt x="476" y="1923"/>
                    </a:lnTo>
                    <a:lnTo>
                      <a:pt x="476" y="1919"/>
                    </a:lnTo>
                    <a:lnTo>
                      <a:pt x="474" y="1915"/>
                    </a:lnTo>
                    <a:lnTo>
                      <a:pt x="473" y="1913"/>
                    </a:lnTo>
                    <a:lnTo>
                      <a:pt x="471" y="1911"/>
                    </a:lnTo>
                    <a:lnTo>
                      <a:pt x="463" y="1907"/>
                    </a:lnTo>
                    <a:lnTo>
                      <a:pt x="461" y="1905"/>
                    </a:lnTo>
                    <a:lnTo>
                      <a:pt x="455" y="1899"/>
                    </a:lnTo>
                    <a:lnTo>
                      <a:pt x="453" y="1897"/>
                    </a:lnTo>
                    <a:lnTo>
                      <a:pt x="461" y="1897"/>
                    </a:lnTo>
                    <a:lnTo>
                      <a:pt x="478" y="1911"/>
                    </a:lnTo>
                    <a:lnTo>
                      <a:pt x="482" y="1911"/>
                    </a:lnTo>
                    <a:lnTo>
                      <a:pt x="482" y="1913"/>
                    </a:lnTo>
                    <a:lnTo>
                      <a:pt x="484" y="1915"/>
                    </a:lnTo>
                    <a:lnTo>
                      <a:pt x="484" y="1919"/>
                    </a:lnTo>
                    <a:lnTo>
                      <a:pt x="486" y="1921"/>
                    </a:lnTo>
                    <a:lnTo>
                      <a:pt x="502" y="1931"/>
                    </a:lnTo>
                    <a:lnTo>
                      <a:pt x="506" y="1933"/>
                    </a:lnTo>
                    <a:lnTo>
                      <a:pt x="512" y="1933"/>
                    </a:lnTo>
                    <a:lnTo>
                      <a:pt x="516" y="1933"/>
                    </a:lnTo>
                    <a:lnTo>
                      <a:pt x="525" y="1938"/>
                    </a:lnTo>
                    <a:lnTo>
                      <a:pt x="529" y="1938"/>
                    </a:lnTo>
                    <a:lnTo>
                      <a:pt x="531" y="1938"/>
                    </a:lnTo>
                    <a:lnTo>
                      <a:pt x="533" y="1940"/>
                    </a:lnTo>
                    <a:lnTo>
                      <a:pt x="533" y="1944"/>
                    </a:lnTo>
                    <a:lnTo>
                      <a:pt x="535" y="1946"/>
                    </a:lnTo>
                    <a:lnTo>
                      <a:pt x="535" y="1948"/>
                    </a:lnTo>
                    <a:lnTo>
                      <a:pt x="537" y="1952"/>
                    </a:lnTo>
                    <a:lnTo>
                      <a:pt x="541" y="1954"/>
                    </a:lnTo>
                    <a:lnTo>
                      <a:pt x="547" y="1954"/>
                    </a:lnTo>
                    <a:lnTo>
                      <a:pt x="555" y="1958"/>
                    </a:lnTo>
                    <a:lnTo>
                      <a:pt x="560" y="1964"/>
                    </a:lnTo>
                    <a:lnTo>
                      <a:pt x="568" y="1966"/>
                    </a:lnTo>
                    <a:lnTo>
                      <a:pt x="570" y="1960"/>
                    </a:lnTo>
                    <a:lnTo>
                      <a:pt x="574" y="1956"/>
                    </a:lnTo>
                    <a:lnTo>
                      <a:pt x="576" y="1954"/>
                    </a:lnTo>
                    <a:lnTo>
                      <a:pt x="578" y="1954"/>
                    </a:lnTo>
                    <a:lnTo>
                      <a:pt x="582" y="1956"/>
                    </a:lnTo>
                    <a:lnTo>
                      <a:pt x="584" y="1958"/>
                    </a:lnTo>
                    <a:lnTo>
                      <a:pt x="584" y="1960"/>
                    </a:lnTo>
                    <a:lnTo>
                      <a:pt x="584" y="1964"/>
                    </a:lnTo>
                    <a:lnTo>
                      <a:pt x="584" y="1966"/>
                    </a:lnTo>
                    <a:lnTo>
                      <a:pt x="588" y="1968"/>
                    </a:lnTo>
                    <a:lnTo>
                      <a:pt x="588" y="1968"/>
                    </a:lnTo>
                    <a:lnTo>
                      <a:pt x="592" y="1966"/>
                    </a:lnTo>
                    <a:lnTo>
                      <a:pt x="592" y="1966"/>
                    </a:lnTo>
                    <a:lnTo>
                      <a:pt x="598" y="1968"/>
                    </a:lnTo>
                    <a:lnTo>
                      <a:pt x="601" y="1968"/>
                    </a:lnTo>
                    <a:lnTo>
                      <a:pt x="603" y="1968"/>
                    </a:lnTo>
                    <a:lnTo>
                      <a:pt x="605" y="1966"/>
                    </a:lnTo>
                    <a:lnTo>
                      <a:pt x="607" y="1970"/>
                    </a:lnTo>
                    <a:lnTo>
                      <a:pt x="609" y="1974"/>
                    </a:lnTo>
                    <a:lnTo>
                      <a:pt x="611" y="1976"/>
                    </a:lnTo>
                    <a:lnTo>
                      <a:pt x="611" y="1978"/>
                    </a:lnTo>
                    <a:lnTo>
                      <a:pt x="611" y="1979"/>
                    </a:lnTo>
                    <a:lnTo>
                      <a:pt x="611" y="1979"/>
                    </a:lnTo>
                    <a:lnTo>
                      <a:pt x="613" y="1981"/>
                    </a:lnTo>
                    <a:lnTo>
                      <a:pt x="615" y="1981"/>
                    </a:lnTo>
                    <a:lnTo>
                      <a:pt x="615" y="1981"/>
                    </a:lnTo>
                    <a:lnTo>
                      <a:pt x="617" y="1979"/>
                    </a:lnTo>
                    <a:lnTo>
                      <a:pt x="619" y="1979"/>
                    </a:lnTo>
                    <a:lnTo>
                      <a:pt x="627" y="1991"/>
                    </a:lnTo>
                    <a:lnTo>
                      <a:pt x="629" y="1995"/>
                    </a:lnTo>
                    <a:lnTo>
                      <a:pt x="629" y="1997"/>
                    </a:lnTo>
                    <a:lnTo>
                      <a:pt x="625" y="1999"/>
                    </a:lnTo>
                    <a:lnTo>
                      <a:pt x="627" y="2003"/>
                    </a:lnTo>
                    <a:lnTo>
                      <a:pt x="627" y="2005"/>
                    </a:lnTo>
                    <a:lnTo>
                      <a:pt x="627" y="2007"/>
                    </a:lnTo>
                    <a:lnTo>
                      <a:pt x="627" y="2009"/>
                    </a:lnTo>
                    <a:lnTo>
                      <a:pt x="629" y="2011"/>
                    </a:lnTo>
                    <a:lnTo>
                      <a:pt x="631" y="2011"/>
                    </a:lnTo>
                    <a:lnTo>
                      <a:pt x="631" y="2011"/>
                    </a:lnTo>
                    <a:lnTo>
                      <a:pt x="633" y="2009"/>
                    </a:lnTo>
                    <a:lnTo>
                      <a:pt x="635" y="2009"/>
                    </a:lnTo>
                    <a:lnTo>
                      <a:pt x="637" y="2011"/>
                    </a:lnTo>
                    <a:lnTo>
                      <a:pt x="637" y="2011"/>
                    </a:lnTo>
                    <a:lnTo>
                      <a:pt x="639" y="2011"/>
                    </a:lnTo>
                    <a:lnTo>
                      <a:pt x="641" y="2007"/>
                    </a:lnTo>
                    <a:lnTo>
                      <a:pt x="646" y="2007"/>
                    </a:lnTo>
                    <a:lnTo>
                      <a:pt x="650" y="2009"/>
                    </a:lnTo>
                    <a:lnTo>
                      <a:pt x="650" y="2013"/>
                    </a:lnTo>
                    <a:lnTo>
                      <a:pt x="646" y="2020"/>
                    </a:lnTo>
                    <a:lnTo>
                      <a:pt x="648" y="2022"/>
                    </a:lnTo>
                    <a:lnTo>
                      <a:pt x="648" y="2024"/>
                    </a:lnTo>
                    <a:lnTo>
                      <a:pt x="646" y="2026"/>
                    </a:lnTo>
                    <a:lnTo>
                      <a:pt x="646" y="2026"/>
                    </a:lnTo>
                    <a:lnTo>
                      <a:pt x="644" y="2028"/>
                    </a:lnTo>
                    <a:lnTo>
                      <a:pt x="644" y="2028"/>
                    </a:lnTo>
                    <a:lnTo>
                      <a:pt x="642" y="2030"/>
                    </a:lnTo>
                    <a:lnTo>
                      <a:pt x="641" y="2032"/>
                    </a:lnTo>
                    <a:lnTo>
                      <a:pt x="642" y="2032"/>
                    </a:lnTo>
                    <a:lnTo>
                      <a:pt x="644" y="2032"/>
                    </a:lnTo>
                    <a:lnTo>
                      <a:pt x="656" y="2030"/>
                    </a:lnTo>
                    <a:lnTo>
                      <a:pt x="658" y="2030"/>
                    </a:lnTo>
                    <a:lnTo>
                      <a:pt x="666" y="2024"/>
                    </a:lnTo>
                    <a:lnTo>
                      <a:pt x="670" y="2022"/>
                    </a:lnTo>
                    <a:lnTo>
                      <a:pt x="672" y="2019"/>
                    </a:lnTo>
                    <a:lnTo>
                      <a:pt x="676" y="2011"/>
                    </a:lnTo>
                    <a:lnTo>
                      <a:pt x="678" y="2009"/>
                    </a:lnTo>
                    <a:lnTo>
                      <a:pt x="680" y="2009"/>
                    </a:lnTo>
                    <a:lnTo>
                      <a:pt x="684" y="2007"/>
                    </a:lnTo>
                    <a:lnTo>
                      <a:pt x="684" y="2005"/>
                    </a:lnTo>
                    <a:lnTo>
                      <a:pt x="687" y="2003"/>
                    </a:lnTo>
                    <a:lnTo>
                      <a:pt x="689" y="1997"/>
                    </a:lnTo>
                    <a:lnTo>
                      <a:pt x="691" y="1991"/>
                    </a:lnTo>
                    <a:lnTo>
                      <a:pt x="691" y="1985"/>
                    </a:lnTo>
                    <a:lnTo>
                      <a:pt x="689" y="1983"/>
                    </a:lnTo>
                    <a:lnTo>
                      <a:pt x="689" y="1981"/>
                    </a:lnTo>
                    <a:lnTo>
                      <a:pt x="687" y="1979"/>
                    </a:lnTo>
                    <a:lnTo>
                      <a:pt x="685" y="1978"/>
                    </a:lnTo>
                    <a:lnTo>
                      <a:pt x="687" y="1968"/>
                    </a:lnTo>
                    <a:lnTo>
                      <a:pt x="687" y="1966"/>
                    </a:lnTo>
                    <a:lnTo>
                      <a:pt x="685" y="1964"/>
                    </a:lnTo>
                    <a:lnTo>
                      <a:pt x="685" y="1960"/>
                    </a:lnTo>
                    <a:lnTo>
                      <a:pt x="685" y="1958"/>
                    </a:lnTo>
                    <a:lnTo>
                      <a:pt x="687" y="1958"/>
                    </a:lnTo>
                    <a:lnTo>
                      <a:pt x="689" y="1956"/>
                    </a:lnTo>
                    <a:lnTo>
                      <a:pt x="691" y="1956"/>
                    </a:lnTo>
                    <a:lnTo>
                      <a:pt x="691" y="1956"/>
                    </a:lnTo>
                    <a:lnTo>
                      <a:pt x="693" y="1960"/>
                    </a:lnTo>
                    <a:lnTo>
                      <a:pt x="693" y="1960"/>
                    </a:lnTo>
                    <a:lnTo>
                      <a:pt x="691" y="1962"/>
                    </a:lnTo>
                    <a:lnTo>
                      <a:pt x="691" y="1962"/>
                    </a:lnTo>
                    <a:lnTo>
                      <a:pt x="691" y="1966"/>
                    </a:lnTo>
                    <a:lnTo>
                      <a:pt x="691" y="1966"/>
                    </a:lnTo>
                    <a:lnTo>
                      <a:pt x="693" y="1968"/>
                    </a:lnTo>
                    <a:lnTo>
                      <a:pt x="695" y="1968"/>
                    </a:lnTo>
                    <a:lnTo>
                      <a:pt x="703" y="1970"/>
                    </a:lnTo>
                    <a:lnTo>
                      <a:pt x="705" y="1970"/>
                    </a:lnTo>
                    <a:lnTo>
                      <a:pt x="707" y="1968"/>
                    </a:lnTo>
                    <a:lnTo>
                      <a:pt x="711" y="1962"/>
                    </a:lnTo>
                    <a:lnTo>
                      <a:pt x="713" y="1962"/>
                    </a:lnTo>
                    <a:lnTo>
                      <a:pt x="717" y="1962"/>
                    </a:lnTo>
                    <a:lnTo>
                      <a:pt x="738" y="1970"/>
                    </a:lnTo>
                    <a:lnTo>
                      <a:pt x="740" y="1970"/>
                    </a:lnTo>
                    <a:lnTo>
                      <a:pt x="740" y="1972"/>
                    </a:lnTo>
                    <a:lnTo>
                      <a:pt x="740" y="1974"/>
                    </a:lnTo>
                    <a:lnTo>
                      <a:pt x="742" y="1974"/>
                    </a:lnTo>
                    <a:lnTo>
                      <a:pt x="748" y="1972"/>
                    </a:lnTo>
                    <a:lnTo>
                      <a:pt x="754" y="1970"/>
                    </a:lnTo>
                    <a:lnTo>
                      <a:pt x="756" y="1970"/>
                    </a:lnTo>
                    <a:lnTo>
                      <a:pt x="760" y="1970"/>
                    </a:lnTo>
                    <a:lnTo>
                      <a:pt x="762" y="1970"/>
                    </a:lnTo>
                    <a:lnTo>
                      <a:pt x="764" y="1974"/>
                    </a:lnTo>
                    <a:lnTo>
                      <a:pt x="764" y="1974"/>
                    </a:lnTo>
                    <a:lnTo>
                      <a:pt x="758" y="1978"/>
                    </a:lnTo>
                    <a:lnTo>
                      <a:pt x="760" y="1979"/>
                    </a:lnTo>
                    <a:lnTo>
                      <a:pt x="768" y="1983"/>
                    </a:lnTo>
                    <a:lnTo>
                      <a:pt x="775" y="1993"/>
                    </a:lnTo>
                    <a:lnTo>
                      <a:pt x="777" y="1995"/>
                    </a:lnTo>
                    <a:lnTo>
                      <a:pt x="777" y="1995"/>
                    </a:lnTo>
                    <a:lnTo>
                      <a:pt x="775" y="1997"/>
                    </a:lnTo>
                    <a:lnTo>
                      <a:pt x="775" y="1999"/>
                    </a:lnTo>
                    <a:lnTo>
                      <a:pt x="775" y="1999"/>
                    </a:lnTo>
                    <a:lnTo>
                      <a:pt x="777" y="2003"/>
                    </a:lnTo>
                    <a:lnTo>
                      <a:pt x="779" y="2003"/>
                    </a:lnTo>
                    <a:lnTo>
                      <a:pt x="797" y="2003"/>
                    </a:lnTo>
                    <a:lnTo>
                      <a:pt x="801" y="2003"/>
                    </a:lnTo>
                    <a:lnTo>
                      <a:pt x="810" y="1995"/>
                    </a:lnTo>
                    <a:lnTo>
                      <a:pt x="814" y="1993"/>
                    </a:lnTo>
                    <a:lnTo>
                      <a:pt x="818" y="1995"/>
                    </a:lnTo>
                    <a:lnTo>
                      <a:pt x="818" y="2003"/>
                    </a:lnTo>
                    <a:lnTo>
                      <a:pt x="822" y="2003"/>
                    </a:lnTo>
                    <a:lnTo>
                      <a:pt x="826" y="2001"/>
                    </a:lnTo>
                    <a:lnTo>
                      <a:pt x="828" y="1999"/>
                    </a:lnTo>
                    <a:lnTo>
                      <a:pt x="830" y="1995"/>
                    </a:lnTo>
                    <a:lnTo>
                      <a:pt x="834" y="1993"/>
                    </a:lnTo>
                    <a:lnTo>
                      <a:pt x="836" y="1991"/>
                    </a:lnTo>
                    <a:lnTo>
                      <a:pt x="844" y="1991"/>
                    </a:lnTo>
                    <a:lnTo>
                      <a:pt x="848" y="1989"/>
                    </a:lnTo>
                    <a:lnTo>
                      <a:pt x="848" y="1987"/>
                    </a:lnTo>
                    <a:lnTo>
                      <a:pt x="848" y="1985"/>
                    </a:lnTo>
                    <a:lnTo>
                      <a:pt x="846" y="1985"/>
                    </a:lnTo>
                    <a:lnTo>
                      <a:pt x="844" y="1983"/>
                    </a:lnTo>
                    <a:lnTo>
                      <a:pt x="852" y="1976"/>
                    </a:lnTo>
                    <a:lnTo>
                      <a:pt x="855" y="1974"/>
                    </a:lnTo>
                    <a:lnTo>
                      <a:pt x="859" y="1976"/>
                    </a:lnTo>
                    <a:lnTo>
                      <a:pt x="863" y="1976"/>
                    </a:lnTo>
                    <a:lnTo>
                      <a:pt x="871" y="1974"/>
                    </a:lnTo>
                    <a:lnTo>
                      <a:pt x="875" y="1974"/>
                    </a:lnTo>
                    <a:lnTo>
                      <a:pt x="877" y="1970"/>
                    </a:lnTo>
                    <a:lnTo>
                      <a:pt x="879" y="1968"/>
                    </a:lnTo>
                    <a:lnTo>
                      <a:pt x="881" y="1962"/>
                    </a:lnTo>
                    <a:lnTo>
                      <a:pt x="881" y="1960"/>
                    </a:lnTo>
                    <a:lnTo>
                      <a:pt x="887" y="1954"/>
                    </a:lnTo>
                    <a:lnTo>
                      <a:pt x="887" y="1954"/>
                    </a:lnTo>
                    <a:lnTo>
                      <a:pt x="889" y="1954"/>
                    </a:lnTo>
                    <a:lnTo>
                      <a:pt x="896" y="1956"/>
                    </a:lnTo>
                    <a:lnTo>
                      <a:pt x="910" y="1956"/>
                    </a:lnTo>
                    <a:lnTo>
                      <a:pt x="920" y="1958"/>
                    </a:lnTo>
                    <a:lnTo>
                      <a:pt x="922" y="1958"/>
                    </a:lnTo>
                    <a:lnTo>
                      <a:pt x="924" y="1952"/>
                    </a:lnTo>
                    <a:lnTo>
                      <a:pt x="926" y="1952"/>
                    </a:lnTo>
                    <a:lnTo>
                      <a:pt x="939" y="1948"/>
                    </a:lnTo>
                    <a:lnTo>
                      <a:pt x="978" y="1950"/>
                    </a:lnTo>
                    <a:lnTo>
                      <a:pt x="978" y="1950"/>
                    </a:lnTo>
                    <a:lnTo>
                      <a:pt x="984" y="1944"/>
                    </a:lnTo>
                    <a:lnTo>
                      <a:pt x="984" y="1942"/>
                    </a:lnTo>
                    <a:lnTo>
                      <a:pt x="984" y="1940"/>
                    </a:lnTo>
                    <a:lnTo>
                      <a:pt x="984" y="1935"/>
                    </a:lnTo>
                    <a:lnTo>
                      <a:pt x="984" y="1933"/>
                    </a:lnTo>
                    <a:lnTo>
                      <a:pt x="982" y="1933"/>
                    </a:lnTo>
                    <a:lnTo>
                      <a:pt x="982" y="1931"/>
                    </a:lnTo>
                    <a:lnTo>
                      <a:pt x="980" y="1929"/>
                    </a:lnTo>
                    <a:lnTo>
                      <a:pt x="980" y="1927"/>
                    </a:lnTo>
                    <a:lnTo>
                      <a:pt x="980" y="1925"/>
                    </a:lnTo>
                    <a:lnTo>
                      <a:pt x="982" y="1925"/>
                    </a:lnTo>
                    <a:lnTo>
                      <a:pt x="986" y="1921"/>
                    </a:lnTo>
                    <a:lnTo>
                      <a:pt x="988" y="1921"/>
                    </a:lnTo>
                    <a:lnTo>
                      <a:pt x="990" y="1919"/>
                    </a:lnTo>
                    <a:lnTo>
                      <a:pt x="990" y="1919"/>
                    </a:lnTo>
                    <a:lnTo>
                      <a:pt x="990" y="1921"/>
                    </a:lnTo>
                    <a:lnTo>
                      <a:pt x="990" y="1923"/>
                    </a:lnTo>
                    <a:lnTo>
                      <a:pt x="988" y="1925"/>
                    </a:lnTo>
                    <a:lnTo>
                      <a:pt x="988" y="1927"/>
                    </a:lnTo>
                    <a:lnTo>
                      <a:pt x="986" y="1929"/>
                    </a:lnTo>
                    <a:lnTo>
                      <a:pt x="988" y="1931"/>
                    </a:lnTo>
                    <a:lnTo>
                      <a:pt x="990" y="1933"/>
                    </a:lnTo>
                    <a:lnTo>
                      <a:pt x="992" y="1933"/>
                    </a:lnTo>
                    <a:lnTo>
                      <a:pt x="996" y="1931"/>
                    </a:lnTo>
                    <a:lnTo>
                      <a:pt x="998" y="1929"/>
                    </a:lnTo>
                    <a:lnTo>
                      <a:pt x="1008" y="1931"/>
                    </a:lnTo>
                    <a:lnTo>
                      <a:pt x="1012" y="1931"/>
                    </a:lnTo>
                    <a:lnTo>
                      <a:pt x="1018" y="1929"/>
                    </a:lnTo>
                    <a:lnTo>
                      <a:pt x="1021" y="1929"/>
                    </a:lnTo>
                    <a:lnTo>
                      <a:pt x="1021" y="1931"/>
                    </a:lnTo>
                    <a:lnTo>
                      <a:pt x="1023" y="1937"/>
                    </a:lnTo>
                    <a:lnTo>
                      <a:pt x="1023" y="1938"/>
                    </a:lnTo>
                    <a:lnTo>
                      <a:pt x="1025" y="1938"/>
                    </a:lnTo>
                    <a:lnTo>
                      <a:pt x="1031" y="1944"/>
                    </a:lnTo>
                    <a:lnTo>
                      <a:pt x="1033" y="1944"/>
                    </a:lnTo>
                    <a:lnTo>
                      <a:pt x="1037" y="1944"/>
                    </a:lnTo>
                    <a:lnTo>
                      <a:pt x="1039" y="1944"/>
                    </a:lnTo>
                    <a:lnTo>
                      <a:pt x="1043" y="1942"/>
                    </a:lnTo>
                    <a:lnTo>
                      <a:pt x="1045" y="1942"/>
                    </a:lnTo>
                    <a:lnTo>
                      <a:pt x="1051" y="1937"/>
                    </a:lnTo>
                    <a:lnTo>
                      <a:pt x="1053" y="1935"/>
                    </a:lnTo>
                    <a:lnTo>
                      <a:pt x="1059" y="1933"/>
                    </a:lnTo>
                    <a:lnTo>
                      <a:pt x="1064" y="1933"/>
                    </a:lnTo>
                    <a:lnTo>
                      <a:pt x="1074" y="1937"/>
                    </a:lnTo>
                    <a:lnTo>
                      <a:pt x="1078" y="1935"/>
                    </a:lnTo>
                    <a:lnTo>
                      <a:pt x="1076" y="1940"/>
                    </a:lnTo>
                    <a:lnTo>
                      <a:pt x="1078" y="1942"/>
                    </a:lnTo>
                    <a:lnTo>
                      <a:pt x="1082" y="1946"/>
                    </a:lnTo>
                    <a:lnTo>
                      <a:pt x="1086" y="1948"/>
                    </a:lnTo>
                    <a:lnTo>
                      <a:pt x="1082" y="1950"/>
                    </a:lnTo>
                    <a:lnTo>
                      <a:pt x="1080" y="1956"/>
                    </a:lnTo>
                    <a:lnTo>
                      <a:pt x="1080" y="1962"/>
                    </a:lnTo>
                    <a:lnTo>
                      <a:pt x="1084" y="1966"/>
                    </a:lnTo>
                    <a:lnTo>
                      <a:pt x="1086" y="1966"/>
                    </a:lnTo>
                    <a:lnTo>
                      <a:pt x="1088" y="1968"/>
                    </a:lnTo>
                    <a:lnTo>
                      <a:pt x="1090" y="1968"/>
                    </a:lnTo>
                    <a:lnTo>
                      <a:pt x="1098" y="1978"/>
                    </a:lnTo>
                    <a:lnTo>
                      <a:pt x="1105" y="1983"/>
                    </a:lnTo>
                    <a:lnTo>
                      <a:pt x="1107" y="1983"/>
                    </a:lnTo>
                    <a:lnTo>
                      <a:pt x="1109" y="1983"/>
                    </a:lnTo>
                    <a:lnTo>
                      <a:pt x="1111" y="1983"/>
                    </a:lnTo>
                    <a:lnTo>
                      <a:pt x="1111" y="1983"/>
                    </a:lnTo>
                    <a:lnTo>
                      <a:pt x="1113" y="1983"/>
                    </a:lnTo>
                    <a:lnTo>
                      <a:pt x="1115" y="1983"/>
                    </a:lnTo>
                    <a:lnTo>
                      <a:pt x="1115" y="1985"/>
                    </a:lnTo>
                    <a:lnTo>
                      <a:pt x="1117" y="1985"/>
                    </a:lnTo>
                    <a:lnTo>
                      <a:pt x="1119" y="1983"/>
                    </a:lnTo>
                    <a:lnTo>
                      <a:pt x="1123" y="1978"/>
                    </a:lnTo>
                    <a:lnTo>
                      <a:pt x="1123" y="1976"/>
                    </a:lnTo>
                    <a:lnTo>
                      <a:pt x="1123" y="1976"/>
                    </a:lnTo>
                    <a:lnTo>
                      <a:pt x="1123" y="1974"/>
                    </a:lnTo>
                    <a:lnTo>
                      <a:pt x="1121" y="1972"/>
                    </a:lnTo>
                    <a:lnTo>
                      <a:pt x="1121" y="1970"/>
                    </a:lnTo>
                    <a:lnTo>
                      <a:pt x="1121" y="1966"/>
                    </a:lnTo>
                    <a:lnTo>
                      <a:pt x="1123" y="1966"/>
                    </a:lnTo>
                    <a:lnTo>
                      <a:pt x="1123" y="1962"/>
                    </a:lnTo>
                    <a:lnTo>
                      <a:pt x="1125" y="1962"/>
                    </a:lnTo>
                    <a:lnTo>
                      <a:pt x="1123" y="1962"/>
                    </a:lnTo>
                    <a:lnTo>
                      <a:pt x="1123" y="1956"/>
                    </a:lnTo>
                    <a:lnTo>
                      <a:pt x="1125" y="1956"/>
                    </a:lnTo>
                    <a:lnTo>
                      <a:pt x="1127" y="1952"/>
                    </a:lnTo>
                    <a:lnTo>
                      <a:pt x="1127" y="1952"/>
                    </a:lnTo>
                    <a:lnTo>
                      <a:pt x="1129" y="1946"/>
                    </a:lnTo>
                    <a:lnTo>
                      <a:pt x="1129" y="1946"/>
                    </a:lnTo>
                    <a:lnTo>
                      <a:pt x="1129" y="1942"/>
                    </a:lnTo>
                    <a:lnTo>
                      <a:pt x="1129" y="1940"/>
                    </a:lnTo>
                    <a:lnTo>
                      <a:pt x="1129" y="1937"/>
                    </a:lnTo>
                    <a:lnTo>
                      <a:pt x="1129" y="1933"/>
                    </a:lnTo>
                    <a:lnTo>
                      <a:pt x="1125" y="1929"/>
                    </a:lnTo>
                    <a:lnTo>
                      <a:pt x="1123" y="1925"/>
                    </a:lnTo>
                    <a:lnTo>
                      <a:pt x="1121" y="1925"/>
                    </a:lnTo>
                    <a:lnTo>
                      <a:pt x="1117" y="1923"/>
                    </a:lnTo>
                    <a:lnTo>
                      <a:pt x="1113" y="1925"/>
                    </a:lnTo>
                    <a:lnTo>
                      <a:pt x="1111" y="1925"/>
                    </a:lnTo>
                    <a:lnTo>
                      <a:pt x="1102" y="1925"/>
                    </a:lnTo>
                    <a:lnTo>
                      <a:pt x="1100" y="1921"/>
                    </a:lnTo>
                    <a:lnTo>
                      <a:pt x="1102" y="1917"/>
                    </a:lnTo>
                    <a:lnTo>
                      <a:pt x="1102" y="1917"/>
                    </a:lnTo>
                    <a:lnTo>
                      <a:pt x="1104" y="1915"/>
                    </a:lnTo>
                    <a:lnTo>
                      <a:pt x="1104" y="1913"/>
                    </a:lnTo>
                    <a:lnTo>
                      <a:pt x="1104" y="1911"/>
                    </a:lnTo>
                    <a:lnTo>
                      <a:pt x="1104" y="1909"/>
                    </a:lnTo>
                    <a:lnTo>
                      <a:pt x="1105" y="1907"/>
                    </a:lnTo>
                    <a:lnTo>
                      <a:pt x="1115" y="1890"/>
                    </a:lnTo>
                    <a:lnTo>
                      <a:pt x="1115" y="1890"/>
                    </a:lnTo>
                    <a:lnTo>
                      <a:pt x="1111" y="1884"/>
                    </a:lnTo>
                    <a:lnTo>
                      <a:pt x="1105" y="1872"/>
                    </a:lnTo>
                    <a:lnTo>
                      <a:pt x="1104" y="1868"/>
                    </a:lnTo>
                    <a:lnTo>
                      <a:pt x="1102" y="1868"/>
                    </a:lnTo>
                    <a:lnTo>
                      <a:pt x="1098" y="1864"/>
                    </a:lnTo>
                    <a:lnTo>
                      <a:pt x="1094" y="1862"/>
                    </a:lnTo>
                    <a:lnTo>
                      <a:pt x="1094" y="1860"/>
                    </a:lnTo>
                    <a:lnTo>
                      <a:pt x="1092" y="1856"/>
                    </a:lnTo>
                    <a:lnTo>
                      <a:pt x="1092" y="1856"/>
                    </a:lnTo>
                    <a:lnTo>
                      <a:pt x="1092" y="1855"/>
                    </a:lnTo>
                    <a:lnTo>
                      <a:pt x="1090" y="1849"/>
                    </a:lnTo>
                    <a:lnTo>
                      <a:pt x="1076" y="1837"/>
                    </a:lnTo>
                    <a:lnTo>
                      <a:pt x="1076" y="1833"/>
                    </a:lnTo>
                    <a:lnTo>
                      <a:pt x="1074" y="1831"/>
                    </a:lnTo>
                    <a:lnTo>
                      <a:pt x="1072" y="1827"/>
                    </a:lnTo>
                    <a:lnTo>
                      <a:pt x="1074" y="1823"/>
                    </a:lnTo>
                    <a:lnTo>
                      <a:pt x="1074" y="1823"/>
                    </a:lnTo>
                    <a:lnTo>
                      <a:pt x="1076" y="1821"/>
                    </a:lnTo>
                    <a:lnTo>
                      <a:pt x="1076" y="1821"/>
                    </a:lnTo>
                    <a:lnTo>
                      <a:pt x="1078" y="1821"/>
                    </a:lnTo>
                    <a:lnTo>
                      <a:pt x="1080" y="1817"/>
                    </a:lnTo>
                    <a:lnTo>
                      <a:pt x="1080" y="1817"/>
                    </a:lnTo>
                    <a:lnTo>
                      <a:pt x="1088" y="1812"/>
                    </a:lnTo>
                    <a:lnTo>
                      <a:pt x="1090" y="1810"/>
                    </a:lnTo>
                    <a:lnTo>
                      <a:pt x="1092" y="1806"/>
                    </a:lnTo>
                    <a:lnTo>
                      <a:pt x="1094" y="1804"/>
                    </a:lnTo>
                    <a:lnTo>
                      <a:pt x="1098" y="1802"/>
                    </a:lnTo>
                    <a:lnTo>
                      <a:pt x="1105" y="1800"/>
                    </a:lnTo>
                    <a:lnTo>
                      <a:pt x="1105" y="1800"/>
                    </a:lnTo>
                    <a:lnTo>
                      <a:pt x="1107" y="1798"/>
                    </a:lnTo>
                    <a:lnTo>
                      <a:pt x="1113" y="1794"/>
                    </a:lnTo>
                    <a:lnTo>
                      <a:pt x="1119" y="1788"/>
                    </a:lnTo>
                    <a:lnTo>
                      <a:pt x="1123" y="1786"/>
                    </a:lnTo>
                    <a:lnTo>
                      <a:pt x="1141" y="1780"/>
                    </a:lnTo>
                    <a:lnTo>
                      <a:pt x="1164" y="1776"/>
                    </a:lnTo>
                    <a:lnTo>
                      <a:pt x="1168" y="1773"/>
                    </a:lnTo>
                    <a:lnTo>
                      <a:pt x="1186" y="1759"/>
                    </a:lnTo>
                    <a:lnTo>
                      <a:pt x="1188" y="1755"/>
                    </a:lnTo>
                    <a:lnTo>
                      <a:pt x="1188" y="1749"/>
                    </a:lnTo>
                    <a:lnTo>
                      <a:pt x="1189" y="1747"/>
                    </a:lnTo>
                    <a:lnTo>
                      <a:pt x="1189" y="1747"/>
                    </a:lnTo>
                    <a:lnTo>
                      <a:pt x="1189" y="1745"/>
                    </a:lnTo>
                    <a:lnTo>
                      <a:pt x="1191" y="1741"/>
                    </a:lnTo>
                    <a:lnTo>
                      <a:pt x="1189" y="1735"/>
                    </a:lnTo>
                    <a:lnTo>
                      <a:pt x="1191" y="1733"/>
                    </a:lnTo>
                    <a:lnTo>
                      <a:pt x="1191" y="1730"/>
                    </a:lnTo>
                    <a:lnTo>
                      <a:pt x="1193" y="1726"/>
                    </a:lnTo>
                    <a:lnTo>
                      <a:pt x="1193" y="1724"/>
                    </a:lnTo>
                    <a:lnTo>
                      <a:pt x="1193" y="1722"/>
                    </a:lnTo>
                    <a:lnTo>
                      <a:pt x="1191" y="1718"/>
                    </a:lnTo>
                    <a:lnTo>
                      <a:pt x="1191" y="1714"/>
                    </a:lnTo>
                    <a:lnTo>
                      <a:pt x="1191" y="1712"/>
                    </a:lnTo>
                    <a:lnTo>
                      <a:pt x="1191" y="1712"/>
                    </a:lnTo>
                    <a:lnTo>
                      <a:pt x="1191" y="1710"/>
                    </a:lnTo>
                    <a:lnTo>
                      <a:pt x="1193" y="1708"/>
                    </a:lnTo>
                    <a:lnTo>
                      <a:pt x="1199" y="1706"/>
                    </a:lnTo>
                    <a:lnTo>
                      <a:pt x="1205" y="1706"/>
                    </a:lnTo>
                    <a:lnTo>
                      <a:pt x="1221" y="1710"/>
                    </a:lnTo>
                    <a:lnTo>
                      <a:pt x="1225" y="1712"/>
                    </a:lnTo>
                    <a:lnTo>
                      <a:pt x="1227" y="1714"/>
                    </a:lnTo>
                    <a:lnTo>
                      <a:pt x="1231" y="1718"/>
                    </a:lnTo>
                    <a:lnTo>
                      <a:pt x="1236" y="1722"/>
                    </a:lnTo>
                    <a:lnTo>
                      <a:pt x="1236" y="1722"/>
                    </a:lnTo>
                    <a:lnTo>
                      <a:pt x="1238" y="1716"/>
                    </a:lnTo>
                    <a:lnTo>
                      <a:pt x="1240" y="1712"/>
                    </a:lnTo>
                    <a:lnTo>
                      <a:pt x="1240" y="1712"/>
                    </a:lnTo>
                    <a:lnTo>
                      <a:pt x="1244" y="1712"/>
                    </a:lnTo>
                    <a:lnTo>
                      <a:pt x="1246" y="1712"/>
                    </a:lnTo>
                    <a:lnTo>
                      <a:pt x="1246" y="1710"/>
                    </a:lnTo>
                    <a:lnTo>
                      <a:pt x="1248" y="1708"/>
                    </a:lnTo>
                    <a:lnTo>
                      <a:pt x="1250" y="1702"/>
                    </a:lnTo>
                    <a:lnTo>
                      <a:pt x="1252" y="1698"/>
                    </a:lnTo>
                    <a:lnTo>
                      <a:pt x="1252" y="1696"/>
                    </a:lnTo>
                    <a:lnTo>
                      <a:pt x="1252" y="1691"/>
                    </a:lnTo>
                    <a:lnTo>
                      <a:pt x="1252" y="1683"/>
                    </a:lnTo>
                    <a:lnTo>
                      <a:pt x="1252" y="1681"/>
                    </a:lnTo>
                    <a:lnTo>
                      <a:pt x="1254" y="1679"/>
                    </a:lnTo>
                    <a:lnTo>
                      <a:pt x="1252" y="1677"/>
                    </a:lnTo>
                    <a:lnTo>
                      <a:pt x="1250" y="1677"/>
                    </a:lnTo>
                    <a:lnTo>
                      <a:pt x="1250" y="1673"/>
                    </a:lnTo>
                    <a:lnTo>
                      <a:pt x="1248" y="1673"/>
                    </a:lnTo>
                    <a:lnTo>
                      <a:pt x="1248" y="1671"/>
                    </a:lnTo>
                    <a:lnTo>
                      <a:pt x="1254" y="1659"/>
                    </a:lnTo>
                    <a:lnTo>
                      <a:pt x="1250" y="1657"/>
                    </a:lnTo>
                    <a:lnTo>
                      <a:pt x="1246" y="1646"/>
                    </a:lnTo>
                    <a:lnTo>
                      <a:pt x="1242" y="1640"/>
                    </a:lnTo>
                    <a:lnTo>
                      <a:pt x="1240" y="1638"/>
                    </a:lnTo>
                    <a:lnTo>
                      <a:pt x="1238" y="1634"/>
                    </a:lnTo>
                    <a:lnTo>
                      <a:pt x="1238" y="1634"/>
                    </a:lnTo>
                    <a:lnTo>
                      <a:pt x="1236" y="1634"/>
                    </a:lnTo>
                    <a:lnTo>
                      <a:pt x="1234" y="1634"/>
                    </a:lnTo>
                    <a:lnTo>
                      <a:pt x="1231" y="1632"/>
                    </a:lnTo>
                    <a:lnTo>
                      <a:pt x="1227" y="1630"/>
                    </a:lnTo>
                    <a:lnTo>
                      <a:pt x="1227" y="1630"/>
                    </a:lnTo>
                    <a:lnTo>
                      <a:pt x="1227" y="1630"/>
                    </a:lnTo>
                    <a:lnTo>
                      <a:pt x="1225" y="1628"/>
                    </a:lnTo>
                    <a:lnTo>
                      <a:pt x="1223" y="1626"/>
                    </a:lnTo>
                    <a:lnTo>
                      <a:pt x="1221" y="1624"/>
                    </a:lnTo>
                    <a:lnTo>
                      <a:pt x="1219" y="1620"/>
                    </a:lnTo>
                    <a:lnTo>
                      <a:pt x="1219" y="1616"/>
                    </a:lnTo>
                    <a:lnTo>
                      <a:pt x="1219" y="1614"/>
                    </a:lnTo>
                    <a:lnTo>
                      <a:pt x="1219" y="1614"/>
                    </a:lnTo>
                    <a:lnTo>
                      <a:pt x="1217" y="1614"/>
                    </a:lnTo>
                    <a:lnTo>
                      <a:pt x="1213" y="1614"/>
                    </a:lnTo>
                    <a:lnTo>
                      <a:pt x="1213" y="1612"/>
                    </a:lnTo>
                    <a:lnTo>
                      <a:pt x="1211" y="1612"/>
                    </a:lnTo>
                    <a:lnTo>
                      <a:pt x="1211" y="1610"/>
                    </a:lnTo>
                    <a:lnTo>
                      <a:pt x="1207" y="1609"/>
                    </a:lnTo>
                    <a:lnTo>
                      <a:pt x="1207" y="1609"/>
                    </a:lnTo>
                    <a:lnTo>
                      <a:pt x="1205" y="1609"/>
                    </a:lnTo>
                    <a:lnTo>
                      <a:pt x="1203" y="1609"/>
                    </a:lnTo>
                    <a:lnTo>
                      <a:pt x="1203" y="1609"/>
                    </a:lnTo>
                    <a:lnTo>
                      <a:pt x="1201" y="1609"/>
                    </a:lnTo>
                    <a:lnTo>
                      <a:pt x="1199" y="1612"/>
                    </a:lnTo>
                    <a:lnTo>
                      <a:pt x="1197" y="1616"/>
                    </a:lnTo>
                    <a:lnTo>
                      <a:pt x="1197" y="1616"/>
                    </a:lnTo>
                    <a:lnTo>
                      <a:pt x="1197" y="1616"/>
                    </a:lnTo>
                    <a:lnTo>
                      <a:pt x="1193" y="1614"/>
                    </a:lnTo>
                    <a:lnTo>
                      <a:pt x="1191" y="1612"/>
                    </a:lnTo>
                    <a:lnTo>
                      <a:pt x="1189" y="1610"/>
                    </a:lnTo>
                    <a:lnTo>
                      <a:pt x="1186" y="1609"/>
                    </a:lnTo>
                    <a:lnTo>
                      <a:pt x="1184" y="1607"/>
                    </a:lnTo>
                    <a:lnTo>
                      <a:pt x="1182" y="1603"/>
                    </a:lnTo>
                    <a:lnTo>
                      <a:pt x="1182" y="1595"/>
                    </a:lnTo>
                    <a:lnTo>
                      <a:pt x="1180" y="1591"/>
                    </a:lnTo>
                    <a:lnTo>
                      <a:pt x="1180" y="1591"/>
                    </a:lnTo>
                    <a:lnTo>
                      <a:pt x="1176" y="1587"/>
                    </a:lnTo>
                    <a:lnTo>
                      <a:pt x="1172" y="1583"/>
                    </a:lnTo>
                    <a:lnTo>
                      <a:pt x="1168" y="1577"/>
                    </a:lnTo>
                    <a:lnTo>
                      <a:pt x="1166" y="1575"/>
                    </a:lnTo>
                    <a:lnTo>
                      <a:pt x="1166" y="1575"/>
                    </a:lnTo>
                    <a:lnTo>
                      <a:pt x="1164" y="1575"/>
                    </a:lnTo>
                    <a:lnTo>
                      <a:pt x="1162" y="1573"/>
                    </a:lnTo>
                    <a:lnTo>
                      <a:pt x="1152" y="1573"/>
                    </a:lnTo>
                    <a:lnTo>
                      <a:pt x="1152" y="1573"/>
                    </a:lnTo>
                    <a:lnTo>
                      <a:pt x="1152" y="1573"/>
                    </a:lnTo>
                    <a:lnTo>
                      <a:pt x="1152" y="1573"/>
                    </a:lnTo>
                    <a:lnTo>
                      <a:pt x="1147" y="1571"/>
                    </a:lnTo>
                    <a:lnTo>
                      <a:pt x="1145" y="1567"/>
                    </a:lnTo>
                    <a:lnTo>
                      <a:pt x="1145" y="1566"/>
                    </a:lnTo>
                    <a:lnTo>
                      <a:pt x="1145" y="1566"/>
                    </a:lnTo>
                    <a:lnTo>
                      <a:pt x="1145" y="1566"/>
                    </a:lnTo>
                    <a:lnTo>
                      <a:pt x="1143" y="1562"/>
                    </a:lnTo>
                    <a:lnTo>
                      <a:pt x="1137" y="1552"/>
                    </a:lnTo>
                    <a:lnTo>
                      <a:pt x="1127" y="1540"/>
                    </a:lnTo>
                    <a:lnTo>
                      <a:pt x="1125" y="1540"/>
                    </a:lnTo>
                    <a:lnTo>
                      <a:pt x="1125" y="1538"/>
                    </a:lnTo>
                    <a:lnTo>
                      <a:pt x="1125" y="1538"/>
                    </a:lnTo>
                    <a:lnTo>
                      <a:pt x="1125" y="1538"/>
                    </a:lnTo>
                    <a:lnTo>
                      <a:pt x="1121" y="1534"/>
                    </a:lnTo>
                    <a:lnTo>
                      <a:pt x="1119" y="1532"/>
                    </a:lnTo>
                    <a:lnTo>
                      <a:pt x="1119" y="1530"/>
                    </a:lnTo>
                    <a:lnTo>
                      <a:pt x="1119" y="1528"/>
                    </a:lnTo>
                    <a:lnTo>
                      <a:pt x="1119" y="1528"/>
                    </a:lnTo>
                    <a:lnTo>
                      <a:pt x="1117" y="1526"/>
                    </a:lnTo>
                    <a:lnTo>
                      <a:pt x="1117" y="1525"/>
                    </a:lnTo>
                    <a:lnTo>
                      <a:pt x="1115" y="1525"/>
                    </a:lnTo>
                    <a:lnTo>
                      <a:pt x="1109" y="1521"/>
                    </a:lnTo>
                    <a:lnTo>
                      <a:pt x="1109" y="1519"/>
                    </a:lnTo>
                    <a:lnTo>
                      <a:pt x="1109" y="1519"/>
                    </a:lnTo>
                    <a:lnTo>
                      <a:pt x="1107" y="1517"/>
                    </a:lnTo>
                    <a:lnTo>
                      <a:pt x="1104" y="1517"/>
                    </a:lnTo>
                    <a:lnTo>
                      <a:pt x="1098" y="1515"/>
                    </a:lnTo>
                    <a:lnTo>
                      <a:pt x="1098" y="1515"/>
                    </a:lnTo>
                    <a:lnTo>
                      <a:pt x="1096" y="1515"/>
                    </a:lnTo>
                    <a:lnTo>
                      <a:pt x="1096" y="1517"/>
                    </a:lnTo>
                    <a:lnTo>
                      <a:pt x="1096" y="1519"/>
                    </a:lnTo>
                    <a:lnTo>
                      <a:pt x="1094" y="1519"/>
                    </a:lnTo>
                    <a:lnTo>
                      <a:pt x="1092" y="1519"/>
                    </a:lnTo>
                    <a:lnTo>
                      <a:pt x="1084" y="1517"/>
                    </a:lnTo>
                    <a:lnTo>
                      <a:pt x="1080" y="1517"/>
                    </a:lnTo>
                    <a:lnTo>
                      <a:pt x="1078" y="1515"/>
                    </a:lnTo>
                    <a:lnTo>
                      <a:pt x="1078" y="1513"/>
                    </a:lnTo>
                    <a:lnTo>
                      <a:pt x="1074" y="1507"/>
                    </a:lnTo>
                    <a:lnTo>
                      <a:pt x="1072" y="1501"/>
                    </a:lnTo>
                    <a:lnTo>
                      <a:pt x="1070" y="1499"/>
                    </a:lnTo>
                    <a:lnTo>
                      <a:pt x="1068" y="1497"/>
                    </a:lnTo>
                    <a:lnTo>
                      <a:pt x="1066" y="1497"/>
                    </a:lnTo>
                    <a:lnTo>
                      <a:pt x="1061" y="1493"/>
                    </a:lnTo>
                    <a:lnTo>
                      <a:pt x="1057" y="1491"/>
                    </a:lnTo>
                    <a:lnTo>
                      <a:pt x="1057" y="1489"/>
                    </a:lnTo>
                    <a:lnTo>
                      <a:pt x="1055" y="1487"/>
                    </a:lnTo>
                    <a:lnTo>
                      <a:pt x="1055" y="1485"/>
                    </a:lnTo>
                    <a:lnTo>
                      <a:pt x="1055" y="1484"/>
                    </a:lnTo>
                    <a:lnTo>
                      <a:pt x="1055" y="1476"/>
                    </a:lnTo>
                    <a:lnTo>
                      <a:pt x="1055" y="1470"/>
                    </a:lnTo>
                    <a:lnTo>
                      <a:pt x="1053" y="1470"/>
                    </a:lnTo>
                    <a:lnTo>
                      <a:pt x="1053" y="1470"/>
                    </a:lnTo>
                    <a:lnTo>
                      <a:pt x="1051" y="1470"/>
                    </a:lnTo>
                    <a:lnTo>
                      <a:pt x="1049" y="1470"/>
                    </a:lnTo>
                    <a:lnTo>
                      <a:pt x="1049" y="1470"/>
                    </a:lnTo>
                    <a:lnTo>
                      <a:pt x="1049" y="1470"/>
                    </a:lnTo>
                    <a:lnTo>
                      <a:pt x="1049" y="1470"/>
                    </a:lnTo>
                    <a:lnTo>
                      <a:pt x="1047" y="1468"/>
                    </a:lnTo>
                    <a:lnTo>
                      <a:pt x="1047" y="1466"/>
                    </a:lnTo>
                    <a:lnTo>
                      <a:pt x="1047" y="1466"/>
                    </a:lnTo>
                    <a:lnTo>
                      <a:pt x="1045" y="1464"/>
                    </a:lnTo>
                    <a:lnTo>
                      <a:pt x="1045" y="1462"/>
                    </a:lnTo>
                    <a:lnTo>
                      <a:pt x="1045" y="1460"/>
                    </a:lnTo>
                    <a:lnTo>
                      <a:pt x="1043" y="1458"/>
                    </a:lnTo>
                    <a:lnTo>
                      <a:pt x="1043" y="1456"/>
                    </a:lnTo>
                    <a:lnTo>
                      <a:pt x="1043" y="1452"/>
                    </a:lnTo>
                    <a:lnTo>
                      <a:pt x="1043" y="1450"/>
                    </a:lnTo>
                    <a:lnTo>
                      <a:pt x="1041" y="1448"/>
                    </a:lnTo>
                    <a:lnTo>
                      <a:pt x="1039" y="1446"/>
                    </a:lnTo>
                    <a:lnTo>
                      <a:pt x="1037" y="1446"/>
                    </a:lnTo>
                    <a:lnTo>
                      <a:pt x="1035" y="1444"/>
                    </a:lnTo>
                    <a:lnTo>
                      <a:pt x="1035" y="1444"/>
                    </a:lnTo>
                    <a:lnTo>
                      <a:pt x="1035" y="1444"/>
                    </a:lnTo>
                    <a:lnTo>
                      <a:pt x="1033" y="1443"/>
                    </a:lnTo>
                    <a:lnTo>
                      <a:pt x="1033" y="1443"/>
                    </a:lnTo>
                    <a:lnTo>
                      <a:pt x="1035" y="1441"/>
                    </a:lnTo>
                    <a:lnTo>
                      <a:pt x="1035" y="1441"/>
                    </a:lnTo>
                    <a:lnTo>
                      <a:pt x="1033" y="1439"/>
                    </a:lnTo>
                    <a:lnTo>
                      <a:pt x="1033" y="1439"/>
                    </a:lnTo>
                    <a:lnTo>
                      <a:pt x="1033" y="1439"/>
                    </a:lnTo>
                    <a:lnTo>
                      <a:pt x="1033" y="1439"/>
                    </a:lnTo>
                    <a:lnTo>
                      <a:pt x="1035" y="1435"/>
                    </a:lnTo>
                    <a:lnTo>
                      <a:pt x="1035" y="1433"/>
                    </a:lnTo>
                    <a:lnTo>
                      <a:pt x="1033" y="1429"/>
                    </a:lnTo>
                    <a:lnTo>
                      <a:pt x="1033" y="1429"/>
                    </a:lnTo>
                    <a:lnTo>
                      <a:pt x="1031" y="1429"/>
                    </a:lnTo>
                    <a:lnTo>
                      <a:pt x="1025" y="1425"/>
                    </a:lnTo>
                    <a:lnTo>
                      <a:pt x="1023" y="1425"/>
                    </a:lnTo>
                    <a:lnTo>
                      <a:pt x="1023" y="1423"/>
                    </a:lnTo>
                    <a:lnTo>
                      <a:pt x="1021" y="1423"/>
                    </a:lnTo>
                    <a:lnTo>
                      <a:pt x="1020" y="1421"/>
                    </a:lnTo>
                    <a:lnTo>
                      <a:pt x="1018" y="1419"/>
                    </a:lnTo>
                    <a:lnTo>
                      <a:pt x="1018" y="1417"/>
                    </a:lnTo>
                    <a:lnTo>
                      <a:pt x="1016" y="1415"/>
                    </a:lnTo>
                    <a:lnTo>
                      <a:pt x="1016" y="1413"/>
                    </a:lnTo>
                    <a:lnTo>
                      <a:pt x="1014" y="1411"/>
                    </a:lnTo>
                    <a:lnTo>
                      <a:pt x="1016" y="1407"/>
                    </a:lnTo>
                    <a:lnTo>
                      <a:pt x="1021" y="1405"/>
                    </a:lnTo>
                    <a:lnTo>
                      <a:pt x="1023" y="1403"/>
                    </a:lnTo>
                    <a:lnTo>
                      <a:pt x="1025" y="1402"/>
                    </a:lnTo>
                    <a:lnTo>
                      <a:pt x="1025" y="1398"/>
                    </a:lnTo>
                    <a:lnTo>
                      <a:pt x="1025" y="1398"/>
                    </a:lnTo>
                    <a:lnTo>
                      <a:pt x="1025" y="1392"/>
                    </a:lnTo>
                    <a:lnTo>
                      <a:pt x="1027" y="1388"/>
                    </a:lnTo>
                    <a:lnTo>
                      <a:pt x="1027" y="1388"/>
                    </a:lnTo>
                    <a:lnTo>
                      <a:pt x="1027" y="1388"/>
                    </a:lnTo>
                    <a:lnTo>
                      <a:pt x="1029" y="1388"/>
                    </a:lnTo>
                    <a:lnTo>
                      <a:pt x="1031" y="1388"/>
                    </a:lnTo>
                    <a:lnTo>
                      <a:pt x="1031" y="1386"/>
                    </a:lnTo>
                    <a:lnTo>
                      <a:pt x="1031" y="1384"/>
                    </a:lnTo>
                    <a:lnTo>
                      <a:pt x="1031" y="1384"/>
                    </a:lnTo>
                    <a:lnTo>
                      <a:pt x="1031" y="1384"/>
                    </a:lnTo>
                    <a:lnTo>
                      <a:pt x="1031" y="1384"/>
                    </a:lnTo>
                    <a:lnTo>
                      <a:pt x="1035" y="1378"/>
                    </a:lnTo>
                    <a:lnTo>
                      <a:pt x="1037" y="1374"/>
                    </a:lnTo>
                    <a:lnTo>
                      <a:pt x="1037" y="1370"/>
                    </a:lnTo>
                    <a:lnTo>
                      <a:pt x="1037" y="1368"/>
                    </a:lnTo>
                    <a:lnTo>
                      <a:pt x="1037" y="1366"/>
                    </a:lnTo>
                    <a:lnTo>
                      <a:pt x="1033" y="1366"/>
                    </a:lnTo>
                    <a:lnTo>
                      <a:pt x="1027" y="1362"/>
                    </a:lnTo>
                    <a:lnTo>
                      <a:pt x="1027" y="1362"/>
                    </a:lnTo>
                    <a:lnTo>
                      <a:pt x="1027" y="1362"/>
                    </a:lnTo>
                    <a:lnTo>
                      <a:pt x="1027" y="1359"/>
                    </a:lnTo>
                    <a:lnTo>
                      <a:pt x="1029" y="1355"/>
                    </a:lnTo>
                    <a:lnTo>
                      <a:pt x="1027" y="1353"/>
                    </a:lnTo>
                    <a:lnTo>
                      <a:pt x="1025" y="1349"/>
                    </a:lnTo>
                    <a:lnTo>
                      <a:pt x="1025" y="1349"/>
                    </a:lnTo>
                    <a:lnTo>
                      <a:pt x="1023" y="1349"/>
                    </a:lnTo>
                    <a:lnTo>
                      <a:pt x="1020" y="1349"/>
                    </a:lnTo>
                    <a:lnTo>
                      <a:pt x="1018" y="1347"/>
                    </a:lnTo>
                    <a:lnTo>
                      <a:pt x="1018" y="1347"/>
                    </a:lnTo>
                    <a:lnTo>
                      <a:pt x="1016" y="1347"/>
                    </a:lnTo>
                    <a:lnTo>
                      <a:pt x="990" y="1333"/>
                    </a:lnTo>
                    <a:lnTo>
                      <a:pt x="990" y="1331"/>
                    </a:lnTo>
                    <a:lnTo>
                      <a:pt x="990" y="1329"/>
                    </a:lnTo>
                    <a:lnTo>
                      <a:pt x="990" y="1327"/>
                    </a:lnTo>
                    <a:lnTo>
                      <a:pt x="990" y="1325"/>
                    </a:lnTo>
                    <a:lnTo>
                      <a:pt x="990" y="1325"/>
                    </a:lnTo>
                    <a:lnTo>
                      <a:pt x="988" y="1323"/>
                    </a:lnTo>
                    <a:lnTo>
                      <a:pt x="988" y="1321"/>
                    </a:lnTo>
                    <a:lnTo>
                      <a:pt x="986" y="1321"/>
                    </a:lnTo>
                    <a:lnTo>
                      <a:pt x="984" y="1320"/>
                    </a:lnTo>
                    <a:lnTo>
                      <a:pt x="982" y="1318"/>
                    </a:lnTo>
                    <a:lnTo>
                      <a:pt x="980" y="1318"/>
                    </a:lnTo>
                    <a:lnTo>
                      <a:pt x="980" y="1314"/>
                    </a:lnTo>
                    <a:lnTo>
                      <a:pt x="980" y="1314"/>
                    </a:lnTo>
                    <a:lnTo>
                      <a:pt x="980" y="1312"/>
                    </a:lnTo>
                    <a:lnTo>
                      <a:pt x="980" y="1310"/>
                    </a:lnTo>
                    <a:lnTo>
                      <a:pt x="980" y="1304"/>
                    </a:lnTo>
                    <a:lnTo>
                      <a:pt x="980" y="1304"/>
                    </a:lnTo>
                    <a:lnTo>
                      <a:pt x="980" y="1300"/>
                    </a:lnTo>
                    <a:lnTo>
                      <a:pt x="978" y="1296"/>
                    </a:lnTo>
                    <a:lnTo>
                      <a:pt x="977" y="1294"/>
                    </a:lnTo>
                    <a:lnTo>
                      <a:pt x="977" y="1294"/>
                    </a:lnTo>
                    <a:lnTo>
                      <a:pt x="973" y="1288"/>
                    </a:lnTo>
                    <a:lnTo>
                      <a:pt x="967" y="1284"/>
                    </a:lnTo>
                    <a:lnTo>
                      <a:pt x="965" y="1284"/>
                    </a:lnTo>
                    <a:lnTo>
                      <a:pt x="963" y="1280"/>
                    </a:lnTo>
                    <a:lnTo>
                      <a:pt x="965" y="1279"/>
                    </a:lnTo>
                    <a:lnTo>
                      <a:pt x="965" y="1279"/>
                    </a:lnTo>
                    <a:lnTo>
                      <a:pt x="965" y="1279"/>
                    </a:lnTo>
                    <a:lnTo>
                      <a:pt x="965" y="1279"/>
                    </a:lnTo>
                    <a:lnTo>
                      <a:pt x="967" y="1277"/>
                    </a:lnTo>
                    <a:lnTo>
                      <a:pt x="969" y="1275"/>
                    </a:lnTo>
                    <a:lnTo>
                      <a:pt x="969" y="1275"/>
                    </a:lnTo>
                    <a:lnTo>
                      <a:pt x="969" y="1273"/>
                    </a:lnTo>
                    <a:lnTo>
                      <a:pt x="969" y="1269"/>
                    </a:lnTo>
                    <a:lnTo>
                      <a:pt x="967" y="1267"/>
                    </a:lnTo>
                    <a:lnTo>
                      <a:pt x="965" y="1263"/>
                    </a:lnTo>
                    <a:lnTo>
                      <a:pt x="963" y="1263"/>
                    </a:lnTo>
                    <a:lnTo>
                      <a:pt x="967" y="1263"/>
                    </a:lnTo>
                    <a:lnTo>
                      <a:pt x="975" y="1263"/>
                    </a:lnTo>
                    <a:lnTo>
                      <a:pt x="975" y="1263"/>
                    </a:lnTo>
                    <a:lnTo>
                      <a:pt x="975" y="1263"/>
                    </a:lnTo>
                    <a:lnTo>
                      <a:pt x="975" y="1263"/>
                    </a:lnTo>
                    <a:lnTo>
                      <a:pt x="978" y="1265"/>
                    </a:lnTo>
                    <a:lnTo>
                      <a:pt x="978" y="1267"/>
                    </a:lnTo>
                    <a:lnTo>
                      <a:pt x="978" y="1273"/>
                    </a:lnTo>
                    <a:lnTo>
                      <a:pt x="980" y="1275"/>
                    </a:lnTo>
                    <a:lnTo>
                      <a:pt x="980" y="1275"/>
                    </a:lnTo>
                    <a:lnTo>
                      <a:pt x="982" y="1277"/>
                    </a:lnTo>
                    <a:lnTo>
                      <a:pt x="982" y="1277"/>
                    </a:lnTo>
                    <a:lnTo>
                      <a:pt x="984" y="1277"/>
                    </a:lnTo>
                    <a:lnTo>
                      <a:pt x="986" y="1277"/>
                    </a:lnTo>
                    <a:lnTo>
                      <a:pt x="988" y="1277"/>
                    </a:lnTo>
                    <a:lnTo>
                      <a:pt x="988" y="1277"/>
                    </a:lnTo>
                    <a:lnTo>
                      <a:pt x="988" y="1277"/>
                    </a:lnTo>
                    <a:lnTo>
                      <a:pt x="990" y="1277"/>
                    </a:lnTo>
                    <a:lnTo>
                      <a:pt x="990" y="1279"/>
                    </a:lnTo>
                    <a:lnTo>
                      <a:pt x="990" y="1279"/>
                    </a:lnTo>
                    <a:lnTo>
                      <a:pt x="990" y="1279"/>
                    </a:lnTo>
                    <a:lnTo>
                      <a:pt x="990" y="1280"/>
                    </a:lnTo>
                    <a:lnTo>
                      <a:pt x="990" y="1280"/>
                    </a:lnTo>
                    <a:lnTo>
                      <a:pt x="990" y="1280"/>
                    </a:lnTo>
                    <a:lnTo>
                      <a:pt x="988" y="1280"/>
                    </a:lnTo>
                    <a:lnTo>
                      <a:pt x="988" y="1280"/>
                    </a:lnTo>
                    <a:lnTo>
                      <a:pt x="988" y="1280"/>
                    </a:lnTo>
                    <a:lnTo>
                      <a:pt x="988" y="1282"/>
                    </a:lnTo>
                    <a:lnTo>
                      <a:pt x="988" y="1282"/>
                    </a:lnTo>
                    <a:lnTo>
                      <a:pt x="988" y="1282"/>
                    </a:lnTo>
                    <a:lnTo>
                      <a:pt x="988" y="1282"/>
                    </a:lnTo>
                    <a:lnTo>
                      <a:pt x="988" y="1282"/>
                    </a:lnTo>
                    <a:lnTo>
                      <a:pt x="988" y="1284"/>
                    </a:lnTo>
                    <a:lnTo>
                      <a:pt x="992" y="1286"/>
                    </a:lnTo>
                    <a:lnTo>
                      <a:pt x="992" y="1288"/>
                    </a:lnTo>
                    <a:lnTo>
                      <a:pt x="992" y="1288"/>
                    </a:lnTo>
                    <a:lnTo>
                      <a:pt x="994" y="1290"/>
                    </a:lnTo>
                    <a:lnTo>
                      <a:pt x="994" y="1290"/>
                    </a:lnTo>
                    <a:lnTo>
                      <a:pt x="994" y="1292"/>
                    </a:lnTo>
                    <a:lnTo>
                      <a:pt x="996" y="1300"/>
                    </a:lnTo>
                    <a:lnTo>
                      <a:pt x="996" y="1300"/>
                    </a:lnTo>
                    <a:lnTo>
                      <a:pt x="998" y="1302"/>
                    </a:lnTo>
                    <a:lnTo>
                      <a:pt x="1000" y="1302"/>
                    </a:lnTo>
                    <a:lnTo>
                      <a:pt x="1000" y="1302"/>
                    </a:lnTo>
                    <a:lnTo>
                      <a:pt x="1002" y="1300"/>
                    </a:lnTo>
                    <a:lnTo>
                      <a:pt x="1002" y="1298"/>
                    </a:lnTo>
                    <a:lnTo>
                      <a:pt x="1002" y="1296"/>
                    </a:lnTo>
                    <a:lnTo>
                      <a:pt x="1002" y="1292"/>
                    </a:lnTo>
                    <a:lnTo>
                      <a:pt x="1002" y="1288"/>
                    </a:lnTo>
                    <a:lnTo>
                      <a:pt x="1002" y="1284"/>
                    </a:lnTo>
                    <a:lnTo>
                      <a:pt x="1006" y="1280"/>
                    </a:lnTo>
                    <a:lnTo>
                      <a:pt x="1006" y="1277"/>
                    </a:lnTo>
                    <a:lnTo>
                      <a:pt x="1006" y="1277"/>
                    </a:lnTo>
                    <a:lnTo>
                      <a:pt x="1006" y="1277"/>
                    </a:lnTo>
                    <a:lnTo>
                      <a:pt x="1008" y="1275"/>
                    </a:lnTo>
                    <a:lnTo>
                      <a:pt x="1008" y="1275"/>
                    </a:lnTo>
                    <a:lnTo>
                      <a:pt x="1008" y="1275"/>
                    </a:lnTo>
                    <a:lnTo>
                      <a:pt x="1010" y="1273"/>
                    </a:lnTo>
                    <a:lnTo>
                      <a:pt x="1012" y="1271"/>
                    </a:lnTo>
                    <a:lnTo>
                      <a:pt x="1012" y="1269"/>
                    </a:lnTo>
                    <a:lnTo>
                      <a:pt x="1016" y="1263"/>
                    </a:lnTo>
                    <a:lnTo>
                      <a:pt x="1018" y="1261"/>
                    </a:lnTo>
                    <a:lnTo>
                      <a:pt x="1023" y="1257"/>
                    </a:lnTo>
                    <a:lnTo>
                      <a:pt x="1025" y="1255"/>
                    </a:lnTo>
                    <a:lnTo>
                      <a:pt x="1025" y="1255"/>
                    </a:lnTo>
                    <a:lnTo>
                      <a:pt x="1025" y="1255"/>
                    </a:lnTo>
                    <a:lnTo>
                      <a:pt x="1025" y="1255"/>
                    </a:lnTo>
                    <a:lnTo>
                      <a:pt x="1027" y="1255"/>
                    </a:lnTo>
                    <a:lnTo>
                      <a:pt x="1027" y="1255"/>
                    </a:lnTo>
                    <a:lnTo>
                      <a:pt x="1027" y="1255"/>
                    </a:lnTo>
                    <a:lnTo>
                      <a:pt x="1027" y="1255"/>
                    </a:lnTo>
                    <a:lnTo>
                      <a:pt x="1029" y="1253"/>
                    </a:lnTo>
                    <a:lnTo>
                      <a:pt x="1029" y="1253"/>
                    </a:lnTo>
                    <a:lnTo>
                      <a:pt x="1027" y="1253"/>
                    </a:lnTo>
                    <a:lnTo>
                      <a:pt x="1027" y="1251"/>
                    </a:lnTo>
                    <a:lnTo>
                      <a:pt x="1027" y="1251"/>
                    </a:lnTo>
                    <a:lnTo>
                      <a:pt x="1029" y="1251"/>
                    </a:lnTo>
                    <a:lnTo>
                      <a:pt x="1029" y="1249"/>
                    </a:lnTo>
                    <a:lnTo>
                      <a:pt x="1029" y="1249"/>
                    </a:lnTo>
                    <a:lnTo>
                      <a:pt x="1029" y="1249"/>
                    </a:lnTo>
                    <a:lnTo>
                      <a:pt x="1029" y="1247"/>
                    </a:lnTo>
                    <a:lnTo>
                      <a:pt x="1031" y="1247"/>
                    </a:lnTo>
                    <a:lnTo>
                      <a:pt x="1031" y="1247"/>
                    </a:lnTo>
                    <a:lnTo>
                      <a:pt x="1035" y="1243"/>
                    </a:lnTo>
                    <a:lnTo>
                      <a:pt x="1035" y="1243"/>
                    </a:lnTo>
                    <a:lnTo>
                      <a:pt x="1035" y="1243"/>
                    </a:lnTo>
                    <a:lnTo>
                      <a:pt x="1041" y="1241"/>
                    </a:lnTo>
                    <a:lnTo>
                      <a:pt x="1051" y="1239"/>
                    </a:lnTo>
                    <a:lnTo>
                      <a:pt x="1055" y="1239"/>
                    </a:lnTo>
                    <a:lnTo>
                      <a:pt x="1061" y="1241"/>
                    </a:lnTo>
                    <a:lnTo>
                      <a:pt x="1064" y="1241"/>
                    </a:lnTo>
                    <a:lnTo>
                      <a:pt x="1066" y="1241"/>
                    </a:lnTo>
                    <a:lnTo>
                      <a:pt x="1068" y="1239"/>
                    </a:lnTo>
                    <a:lnTo>
                      <a:pt x="1070" y="1234"/>
                    </a:lnTo>
                    <a:lnTo>
                      <a:pt x="1074" y="1232"/>
                    </a:lnTo>
                    <a:lnTo>
                      <a:pt x="1076" y="1232"/>
                    </a:lnTo>
                    <a:lnTo>
                      <a:pt x="1076" y="1230"/>
                    </a:lnTo>
                    <a:lnTo>
                      <a:pt x="1078" y="1230"/>
                    </a:lnTo>
                    <a:lnTo>
                      <a:pt x="1082" y="1232"/>
                    </a:lnTo>
                    <a:lnTo>
                      <a:pt x="1082" y="1230"/>
                    </a:lnTo>
                    <a:lnTo>
                      <a:pt x="1086" y="1230"/>
                    </a:lnTo>
                    <a:lnTo>
                      <a:pt x="1086" y="1230"/>
                    </a:lnTo>
                    <a:lnTo>
                      <a:pt x="1086" y="1228"/>
                    </a:lnTo>
                    <a:lnTo>
                      <a:pt x="1088" y="1228"/>
                    </a:lnTo>
                    <a:lnTo>
                      <a:pt x="1088" y="1230"/>
                    </a:lnTo>
                    <a:lnTo>
                      <a:pt x="1104" y="1238"/>
                    </a:lnTo>
                    <a:lnTo>
                      <a:pt x="1109" y="1239"/>
                    </a:lnTo>
                    <a:lnTo>
                      <a:pt x="1111" y="1238"/>
                    </a:lnTo>
                    <a:lnTo>
                      <a:pt x="1115" y="1234"/>
                    </a:lnTo>
                    <a:lnTo>
                      <a:pt x="1117" y="1232"/>
                    </a:lnTo>
                    <a:lnTo>
                      <a:pt x="1117" y="1226"/>
                    </a:lnTo>
                    <a:lnTo>
                      <a:pt x="1119" y="1216"/>
                    </a:lnTo>
                    <a:lnTo>
                      <a:pt x="1121" y="1214"/>
                    </a:lnTo>
                    <a:lnTo>
                      <a:pt x="1121" y="1214"/>
                    </a:lnTo>
                    <a:lnTo>
                      <a:pt x="1121" y="1214"/>
                    </a:lnTo>
                    <a:lnTo>
                      <a:pt x="1123" y="1214"/>
                    </a:lnTo>
                    <a:lnTo>
                      <a:pt x="1123" y="1214"/>
                    </a:lnTo>
                    <a:lnTo>
                      <a:pt x="1123" y="1214"/>
                    </a:lnTo>
                    <a:lnTo>
                      <a:pt x="1123" y="1214"/>
                    </a:lnTo>
                    <a:lnTo>
                      <a:pt x="1125" y="1216"/>
                    </a:lnTo>
                    <a:lnTo>
                      <a:pt x="1125" y="1216"/>
                    </a:lnTo>
                    <a:lnTo>
                      <a:pt x="1127" y="1216"/>
                    </a:lnTo>
                    <a:lnTo>
                      <a:pt x="1127" y="1216"/>
                    </a:lnTo>
                    <a:lnTo>
                      <a:pt x="1129" y="1216"/>
                    </a:lnTo>
                    <a:lnTo>
                      <a:pt x="1129" y="1216"/>
                    </a:lnTo>
                    <a:lnTo>
                      <a:pt x="1131" y="1216"/>
                    </a:lnTo>
                    <a:lnTo>
                      <a:pt x="1131" y="1216"/>
                    </a:lnTo>
                    <a:lnTo>
                      <a:pt x="1131" y="1216"/>
                    </a:lnTo>
                    <a:lnTo>
                      <a:pt x="1131" y="1216"/>
                    </a:lnTo>
                    <a:lnTo>
                      <a:pt x="1131" y="1216"/>
                    </a:lnTo>
                    <a:lnTo>
                      <a:pt x="1131" y="1216"/>
                    </a:lnTo>
                    <a:lnTo>
                      <a:pt x="1135" y="1214"/>
                    </a:lnTo>
                    <a:lnTo>
                      <a:pt x="1141" y="1214"/>
                    </a:lnTo>
                    <a:lnTo>
                      <a:pt x="1145" y="1214"/>
                    </a:lnTo>
                    <a:lnTo>
                      <a:pt x="1145" y="1214"/>
                    </a:lnTo>
                    <a:lnTo>
                      <a:pt x="1148" y="1212"/>
                    </a:lnTo>
                    <a:lnTo>
                      <a:pt x="1150" y="1206"/>
                    </a:lnTo>
                    <a:lnTo>
                      <a:pt x="1156" y="1193"/>
                    </a:lnTo>
                    <a:lnTo>
                      <a:pt x="1156" y="1193"/>
                    </a:lnTo>
                    <a:lnTo>
                      <a:pt x="1156" y="1193"/>
                    </a:lnTo>
                    <a:lnTo>
                      <a:pt x="1158" y="1193"/>
                    </a:lnTo>
                    <a:lnTo>
                      <a:pt x="1160" y="1193"/>
                    </a:lnTo>
                    <a:lnTo>
                      <a:pt x="1162" y="1195"/>
                    </a:lnTo>
                    <a:lnTo>
                      <a:pt x="1164" y="1197"/>
                    </a:lnTo>
                    <a:lnTo>
                      <a:pt x="1168" y="1195"/>
                    </a:lnTo>
                    <a:lnTo>
                      <a:pt x="1170" y="1189"/>
                    </a:lnTo>
                    <a:lnTo>
                      <a:pt x="1172" y="1187"/>
                    </a:lnTo>
                    <a:lnTo>
                      <a:pt x="1176" y="1185"/>
                    </a:lnTo>
                    <a:lnTo>
                      <a:pt x="1178" y="1183"/>
                    </a:lnTo>
                    <a:lnTo>
                      <a:pt x="1178" y="1181"/>
                    </a:lnTo>
                    <a:lnTo>
                      <a:pt x="1178" y="1181"/>
                    </a:lnTo>
                    <a:lnTo>
                      <a:pt x="1178" y="1181"/>
                    </a:lnTo>
                    <a:lnTo>
                      <a:pt x="1178" y="1181"/>
                    </a:lnTo>
                    <a:lnTo>
                      <a:pt x="1178" y="1181"/>
                    </a:lnTo>
                    <a:lnTo>
                      <a:pt x="1178" y="1181"/>
                    </a:lnTo>
                    <a:lnTo>
                      <a:pt x="1180" y="1181"/>
                    </a:lnTo>
                    <a:lnTo>
                      <a:pt x="1180" y="1181"/>
                    </a:lnTo>
                    <a:lnTo>
                      <a:pt x="1182" y="1181"/>
                    </a:lnTo>
                    <a:lnTo>
                      <a:pt x="1182" y="1181"/>
                    </a:lnTo>
                    <a:lnTo>
                      <a:pt x="1184" y="1185"/>
                    </a:lnTo>
                    <a:lnTo>
                      <a:pt x="1184" y="1185"/>
                    </a:lnTo>
                    <a:lnTo>
                      <a:pt x="1186" y="1187"/>
                    </a:lnTo>
                    <a:lnTo>
                      <a:pt x="1189" y="1189"/>
                    </a:lnTo>
                    <a:lnTo>
                      <a:pt x="1191" y="1189"/>
                    </a:lnTo>
                    <a:lnTo>
                      <a:pt x="1193" y="1187"/>
                    </a:lnTo>
                    <a:lnTo>
                      <a:pt x="1195" y="1185"/>
                    </a:lnTo>
                    <a:lnTo>
                      <a:pt x="1195" y="1185"/>
                    </a:lnTo>
                    <a:lnTo>
                      <a:pt x="1197" y="1183"/>
                    </a:lnTo>
                    <a:lnTo>
                      <a:pt x="1197" y="1181"/>
                    </a:lnTo>
                    <a:lnTo>
                      <a:pt x="1199" y="1181"/>
                    </a:lnTo>
                    <a:lnTo>
                      <a:pt x="1201" y="1181"/>
                    </a:lnTo>
                    <a:lnTo>
                      <a:pt x="1201" y="1179"/>
                    </a:lnTo>
                    <a:lnTo>
                      <a:pt x="1201" y="1179"/>
                    </a:lnTo>
                    <a:lnTo>
                      <a:pt x="1199" y="1177"/>
                    </a:lnTo>
                    <a:lnTo>
                      <a:pt x="1199" y="1175"/>
                    </a:lnTo>
                    <a:lnTo>
                      <a:pt x="1199" y="1175"/>
                    </a:lnTo>
                    <a:lnTo>
                      <a:pt x="1201" y="1175"/>
                    </a:lnTo>
                    <a:lnTo>
                      <a:pt x="1203" y="1173"/>
                    </a:lnTo>
                    <a:lnTo>
                      <a:pt x="1205" y="1171"/>
                    </a:lnTo>
                    <a:lnTo>
                      <a:pt x="1205" y="1171"/>
                    </a:lnTo>
                    <a:lnTo>
                      <a:pt x="1205" y="1169"/>
                    </a:lnTo>
                    <a:lnTo>
                      <a:pt x="1205" y="1167"/>
                    </a:lnTo>
                    <a:lnTo>
                      <a:pt x="1203" y="1163"/>
                    </a:lnTo>
                    <a:lnTo>
                      <a:pt x="1203" y="1163"/>
                    </a:lnTo>
                    <a:lnTo>
                      <a:pt x="1203" y="1163"/>
                    </a:lnTo>
                    <a:lnTo>
                      <a:pt x="1207" y="1161"/>
                    </a:lnTo>
                    <a:lnTo>
                      <a:pt x="1211" y="1159"/>
                    </a:lnTo>
                    <a:lnTo>
                      <a:pt x="1215" y="1157"/>
                    </a:lnTo>
                    <a:lnTo>
                      <a:pt x="1219" y="1157"/>
                    </a:lnTo>
                    <a:lnTo>
                      <a:pt x="1223" y="1157"/>
                    </a:lnTo>
                    <a:lnTo>
                      <a:pt x="1232" y="1157"/>
                    </a:lnTo>
                    <a:lnTo>
                      <a:pt x="1234" y="1157"/>
                    </a:lnTo>
                    <a:lnTo>
                      <a:pt x="1236" y="1157"/>
                    </a:lnTo>
                    <a:lnTo>
                      <a:pt x="1242" y="1156"/>
                    </a:lnTo>
                    <a:lnTo>
                      <a:pt x="1246" y="1156"/>
                    </a:lnTo>
                    <a:lnTo>
                      <a:pt x="1254" y="1156"/>
                    </a:lnTo>
                    <a:lnTo>
                      <a:pt x="1254" y="1156"/>
                    </a:lnTo>
                    <a:lnTo>
                      <a:pt x="1256" y="1156"/>
                    </a:lnTo>
                    <a:lnTo>
                      <a:pt x="1262" y="1152"/>
                    </a:lnTo>
                    <a:lnTo>
                      <a:pt x="1262" y="1152"/>
                    </a:lnTo>
                    <a:lnTo>
                      <a:pt x="1262" y="1152"/>
                    </a:lnTo>
                    <a:lnTo>
                      <a:pt x="1264" y="1152"/>
                    </a:lnTo>
                    <a:lnTo>
                      <a:pt x="1264" y="1152"/>
                    </a:lnTo>
                    <a:lnTo>
                      <a:pt x="1266" y="1150"/>
                    </a:lnTo>
                    <a:lnTo>
                      <a:pt x="1266" y="1150"/>
                    </a:lnTo>
                    <a:lnTo>
                      <a:pt x="1266" y="1148"/>
                    </a:lnTo>
                    <a:lnTo>
                      <a:pt x="1264" y="1146"/>
                    </a:lnTo>
                    <a:lnTo>
                      <a:pt x="1264" y="1144"/>
                    </a:lnTo>
                    <a:lnTo>
                      <a:pt x="1266" y="1142"/>
                    </a:lnTo>
                    <a:lnTo>
                      <a:pt x="1266" y="1140"/>
                    </a:lnTo>
                    <a:lnTo>
                      <a:pt x="1266" y="1140"/>
                    </a:lnTo>
                    <a:lnTo>
                      <a:pt x="1268" y="1140"/>
                    </a:lnTo>
                    <a:lnTo>
                      <a:pt x="1270" y="1140"/>
                    </a:lnTo>
                    <a:lnTo>
                      <a:pt x="1270" y="1140"/>
                    </a:lnTo>
                    <a:lnTo>
                      <a:pt x="1272" y="1140"/>
                    </a:lnTo>
                    <a:lnTo>
                      <a:pt x="1272" y="1140"/>
                    </a:lnTo>
                    <a:lnTo>
                      <a:pt x="1273" y="1138"/>
                    </a:lnTo>
                    <a:lnTo>
                      <a:pt x="1275" y="1136"/>
                    </a:lnTo>
                    <a:lnTo>
                      <a:pt x="1277" y="1134"/>
                    </a:lnTo>
                    <a:lnTo>
                      <a:pt x="1281" y="1134"/>
                    </a:lnTo>
                    <a:lnTo>
                      <a:pt x="1281" y="1134"/>
                    </a:lnTo>
                    <a:lnTo>
                      <a:pt x="1287" y="1134"/>
                    </a:lnTo>
                    <a:lnTo>
                      <a:pt x="1291" y="1134"/>
                    </a:lnTo>
                    <a:lnTo>
                      <a:pt x="1299" y="1130"/>
                    </a:lnTo>
                    <a:lnTo>
                      <a:pt x="1316" y="1122"/>
                    </a:lnTo>
                    <a:lnTo>
                      <a:pt x="1318" y="1120"/>
                    </a:lnTo>
                    <a:lnTo>
                      <a:pt x="1322" y="1116"/>
                    </a:lnTo>
                    <a:lnTo>
                      <a:pt x="1322" y="1116"/>
                    </a:lnTo>
                    <a:lnTo>
                      <a:pt x="1324" y="1115"/>
                    </a:lnTo>
                    <a:lnTo>
                      <a:pt x="1324" y="1115"/>
                    </a:lnTo>
                    <a:lnTo>
                      <a:pt x="1330" y="1113"/>
                    </a:lnTo>
                    <a:lnTo>
                      <a:pt x="1332" y="1113"/>
                    </a:lnTo>
                    <a:lnTo>
                      <a:pt x="1342" y="1115"/>
                    </a:lnTo>
                    <a:lnTo>
                      <a:pt x="1348" y="1109"/>
                    </a:lnTo>
                    <a:lnTo>
                      <a:pt x="1348" y="1103"/>
                    </a:lnTo>
                    <a:lnTo>
                      <a:pt x="1344" y="1101"/>
                    </a:lnTo>
                    <a:lnTo>
                      <a:pt x="1338" y="1099"/>
                    </a:lnTo>
                    <a:lnTo>
                      <a:pt x="1338" y="1099"/>
                    </a:lnTo>
                    <a:lnTo>
                      <a:pt x="1338" y="1099"/>
                    </a:lnTo>
                    <a:lnTo>
                      <a:pt x="1334" y="1095"/>
                    </a:lnTo>
                    <a:lnTo>
                      <a:pt x="1334" y="1095"/>
                    </a:lnTo>
                    <a:lnTo>
                      <a:pt x="1334" y="1091"/>
                    </a:lnTo>
                    <a:lnTo>
                      <a:pt x="1336" y="1091"/>
                    </a:lnTo>
                    <a:lnTo>
                      <a:pt x="1336" y="1091"/>
                    </a:lnTo>
                    <a:lnTo>
                      <a:pt x="1336" y="1089"/>
                    </a:lnTo>
                    <a:lnTo>
                      <a:pt x="1334" y="1089"/>
                    </a:lnTo>
                    <a:lnTo>
                      <a:pt x="1332" y="1089"/>
                    </a:lnTo>
                    <a:lnTo>
                      <a:pt x="1326" y="1087"/>
                    </a:lnTo>
                    <a:lnTo>
                      <a:pt x="1324" y="1087"/>
                    </a:lnTo>
                    <a:lnTo>
                      <a:pt x="1324" y="1087"/>
                    </a:lnTo>
                    <a:lnTo>
                      <a:pt x="1326" y="1083"/>
                    </a:lnTo>
                    <a:lnTo>
                      <a:pt x="1328" y="1075"/>
                    </a:lnTo>
                    <a:lnTo>
                      <a:pt x="1330" y="1074"/>
                    </a:lnTo>
                    <a:lnTo>
                      <a:pt x="1332" y="1072"/>
                    </a:lnTo>
                    <a:lnTo>
                      <a:pt x="1332" y="1072"/>
                    </a:lnTo>
                    <a:lnTo>
                      <a:pt x="1332" y="1072"/>
                    </a:lnTo>
                    <a:lnTo>
                      <a:pt x="1334" y="1072"/>
                    </a:lnTo>
                    <a:lnTo>
                      <a:pt x="1338" y="1072"/>
                    </a:lnTo>
                    <a:lnTo>
                      <a:pt x="1344" y="1074"/>
                    </a:lnTo>
                    <a:lnTo>
                      <a:pt x="1346" y="1074"/>
                    </a:lnTo>
                    <a:lnTo>
                      <a:pt x="1346" y="1075"/>
                    </a:lnTo>
                    <a:lnTo>
                      <a:pt x="1348" y="1077"/>
                    </a:lnTo>
                    <a:lnTo>
                      <a:pt x="1348" y="1077"/>
                    </a:lnTo>
                    <a:lnTo>
                      <a:pt x="1350" y="1077"/>
                    </a:lnTo>
                    <a:lnTo>
                      <a:pt x="1352" y="1077"/>
                    </a:lnTo>
                    <a:lnTo>
                      <a:pt x="1356" y="1075"/>
                    </a:lnTo>
                    <a:lnTo>
                      <a:pt x="1361" y="1077"/>
                    </a:lnTo>
                    <a:lnTo>
                      <a:pt x="1363" y="1075"/>
                    </a:lnTo>
                    <a:lnTo>
                      <a:pt x="1363" y="1075"/>
                    </a:lnTo>
                    <a:lnTo>
                      <a:pt x="1365" y="1074"/>
                    </a:lnTo>
                    <a:lnTo>
                      <a:pt x="1365" y="1072"/>
                    </a:lnTo>
                    <a:lnTo>
                      <a:pt x="1365" y="1072"/>
                    </a:lnTo>
                    <a:lnTo>
                      <a:pt x="1365" y="1072"/>
                    </a:lnTo>
                    <a:lnTo>
                      <a:pt x="1365" y="1074"/>
                    </a:lnTo>
                    <a:lnTo>
                      <a:pt x="1365" y="1074"/>
                    </a:lnTo>
                    <a:lnTo>
                      <a:pt x="1367" y="1075"/>
                    </a:lnTo>
                    <a:lnTo>
                      <a:pt x="1367" y="1077"/>
                    </a:lnTo>
                    <a:lnTo>
                      <a:pt x="1367" y="1077"/>
                    </a:lnTo>
                    <a:lnTo>
                      <a:pt x="1369" y="1079"/>
                    </a:lnTo>
                    <a:lnTo>
                      <a:pt x="1371" y="1081"/>
                    </a:lnTo>
                    <a:lnTo>
                      <a:pt x="1375" y="1081"/>
                    </a:lnTo>
                    <a:lnTo>
                      <a:pt x="1377" y="1083"/>
                    </a:lnTo>
                    <a:lnTo>
                      <a:pt x="1379" y="1087"/>
                    </a:lnTo>
                    <a:lnTo>
                      <a:pt x="1381" y="1089"/>
                    </a:lnTo>
                    <a:lnTo>
                      <a:pt x="1381" y="1091"/>
                    </a:lnTo>
                    <a:lnTo>
                      <a:pt x="1381" y="1095"/>
                    </a:lnTo>
                    <a:lnTo>
                      <a:pt x="1379" y="1099"/>
                    </a:lnTo>
                    <a:lnTo>
                      <a:pt x="1377" y="1103"/>
                    </a:lnTo>
                    <a:lnTo>
                      <a:pt x="1377" y="1105"/>
                    </a:lnTo>
                    <a:lnTo>
                      <a:pt x="1377" y="1105"/>
                    </a:lnTo>
                    <a:lnTo>
                      <a:pt x="1379" y="1107"/>
                    </a:lnTo>
                    <a:lnTo>
                      <a:pt x="1389" y="1103"/>
                    </a:lnTo>
                    <a:lnTo>
                      <a:pt x="1391" y="1103"/>
                    </a:lnTo>
                    <a:lnTo>
                      <a:pt x="1391" y="1105"/>
                    </a:lnTo>
                    <a:lnTo>
                      <a:pt x="1391" y="1107"/>
                    </a:lnTo>
                    <a:lnTo>
                      <a:pt x="1391" y="1109"/>
                    </a:lnTo>
                    <a:lnTo>
                      <a:pt x="1387" y="1115"/>
                    </a:lnTo>
                    <a:lnTo>
                      <a:pt x="1387" y="1116"/>
                    </a:lnTo>
                    <a:lnTo>
                      <a:pt x="1387" y="1120"/>
                    </a:lnTo>
                    <a:lnTo>
                      <a:pt x="1387" y="1122"/>
                    </a:lnTo>
                    <a:lnTo>
                      <a:pt x="1393" y="1124"/>
                    </a:lnTo>
                    <a:lnTo>
                      <a:pt x="1395" y="1126"/>
                    </a:lnTo>
                    <a:lnTo>
                      <a:pt x="1402" y="1130"/>
                    </a:lnTo>
                    <a:lnTo>
                      <a:pt x="1408" y="1132"/>
                    </a:lnTo>
                    <a:lnTo>
                      <a:pt x="1410" y="1132"/>
                    </a:lnTo>
                    <a:lnTo>
                      <a:pt x="1412" y="1132"/>
                    </a:lnTo>
                    <a:lnTo>
                      <a:pt x="1414" y="1132"/>
                    </a:lnTo>
                    <a:lnTo>
                      <a:pt x="1414" y="1130"/>
                    </a:lnTo>
                    <a:lnTo>
                      <a:pt x="1416" y="1130"/>
                    </a:lnTo>
                    <a:lnTo>
                      <a:pt x="1416" y="1128"/>
                    </a:lnTo>
                    <a:lnTo>
                      <a:pt x="1418" y="1126"/>
                    </a:lnTo>
                    <a:lnTo>
                      <a:pt x="1420" y="1120"/>
                    </a:lnTo>
                    <a:lnTo>
                      <a:pt x="1420" y="1118"/>
                    </a:lnTo>
                    <a:lnTo>
                      <a:pt x="1420" y="1115"/>
                    </a:lnTo>
                    <a:lnTo>
                      <a:pt x="1422" y="1111"/>
                    </a:lnTo>
                    <a:lnTo>
                      <a:pt x="1428" y="1105"/>
                    </a:lnTo>
                    <a:lnTo>
                      <a:pt x="1438" y="1083"/>
                    </a:lnTo>
                    <a:lnTo>
                      <a:pt x="1443" y="1066"/>
                    </a:lnTo>
                    <a:lnTo>
                      <a:pt x="1445" y="1062"/>
                    </a:lnTo>
                    <a:lnTo>
                      <a:pt x="1445" y="1056"/>
                    </a:lnTo>
                    <a:lnTo>
                      <a:pt x="1445" y="1054"/>
                    </a:lnTo>
                    <a:lnTo>
                      <a:pt x="1445" y="1052"/>
                    </a:lnTo>
                    <a:lnTo>
                      <a:pt x="1447" y="1050"/>
                    </a:lnTo>
                    <a:lnTo>
                      <a:pt x="1449" y="1050"/>
                    </a:lnTo>
                    <a:lnTo>
                      <a:pt x="1449" y="1046"/>
                    </a:lnTo>
                    <a:lnTo>
                      <a:pt x="1449" y="1038"/>
                    </a:lnTo>
                    <a:lnTo>
                      <a:pt x="1451" y="1033"/>
                    </a:lnTo>
                    <a:lnTo>
                      <a:pt x="1453" y="1025"/>
                    </a:lnTo>
                    <a:lnTo>
                      <a:pt x="1455" y="1019"/>
                    </a:lnTo>
                    <a:lnTo>
                      <a:pt x="1455" y="1019"/>
                    </a:lnTo>
                    <a:lnTo>
                      <a:pt x="1455" y="1017"/>
                    </a:lnTo>
                    <a:lnTo>
                      <a:pt x="1455" y="1009"/>
                    </a:lnTo>
                    <a:lnTo>
                      <a:pt x="1453" y="1005"/>
                    </a:lnTo>
                    <a:lnTo>
                      <a:pt x="1449" y="999"/>
                    </a:lnTo>
                    <a:lnTo>
                      <a:pt x="1445" y="995"/>
                    </a:lnTo>
                    <a:lnTo>
                      <a:pt x="1445" y="993"/>
                    </a:lnTo>
                    <a:lnTo>
                      <a:pt x="1445" y="988"/>
                    </a:lnTo>
                    <a:lnTo>
                      <a:pt x="1445" y="988"/>
                    </a:lnTo>
                    <a:lnTo>
                      <a:pt x="1443" y="976"/>
                    </a:lnTo>
                    <a:lnTo>
                      <a:pt x="1443" y="970"/>
                    </a:lnTo>
                    <a:lnTo>
                      <a:pt x="1443" y="966"/>
                    </a:lnTo>
                    <a:lnTo>
                      <a:pt x="1443" y="962"/>
                    </a:lnTo>
                    <a:lnTo>
                      <a:pt x="1440" y="958"/>
                    </a:lnTo>
                    <a:lnTo>
                      <a:pt x="1438" y="956"/>
                    </a:lnTo>
                    <a:lnTo>
                      <a:pt x="1434" y="954"/>
                    </a:lnTo>
                    <a:lnTo>
                      <a:pt x="1426" y="952"/>
                    </a:lnTo>
                    <a:lnTo>
                      <a:pt x="1422" y="951"/>
                    </a:lnTo>
                    <a:lnTo>
                      <a:pt x="1422" y="951"/>
                    </a:lnTo>
                    <a:lnTo>
                      <a:pt x="1418" y="949"/>
                    </a:lnTo>
                    <a:lnTo>
                      <a:pt x="1406" y="945"/>
                    </a:lnTo>
                    <a:lnTo>
                      <a:pt x="1402" y="941"/>
                    </a:lnTo>
                    <a:lnTo>
                      <a:pt x="1402" y="937"/>
                    </a:lnTo>
                    <a:lnTo>
                      <a:pt x="1402" y="935"/>
                    </a:lnTo>
                    <a:lnTo>
                      <a:pt x="1404" y="931"/>
                    </a:lnTo>
                    <a:lnTo>
                      <a:pt x="1406" y="925"/>
                    </a:lnTo>
                    <a:lnTo>
                      <a:pt x="1408" y="919"/>
                    </a:lnTo>
                    <a:lnTo>
                      <a:pt x="1408" y="913"/>
                    </a:lnTo>
                    <a:lnTo>
                      <a:pt x="1406" y="906"/>
                    </a:lnTo>
                    <a:lnTo>
                      <a:pt x="1404" y="902"/>
                    </a:lnTo>
                    <a:lnTo>
                      <a:pt x="1397" y="894"/>
                    </a:lnTo>
                    <a:lnTo>
                      <a:pt x="1393" y="890"/>
                    </a:lnTo>
                    <a:lnTo>
                      <a:pt x="1391" y="884"/>
                    </a:lnTo>
                    <a:lnTo>
                      <a:pt x="1391" y="876"/>
                    </a:lnTo>
                    <a:lnTo>
                      <a:pt x="1389" y="872"/>
                    </a:lnTo>
                    <a:lnTo>
                      <a:pt x="1385" y="870"/>
                    </a:lnTo>
                    <a:lnTo>
                      <a:pt x="1383" y="867"/>
                    </a:lnTo>
                    <a:lnTo>
                      <a:pt x="1383" y="861"/>
                    </a:lnTo>
                    <a:lnTo>
                      <a:pt x="1385" y="857"/>
                    </a:lnTo>
                    <a:lnTo>
                      <a:pt x="1395" y="847"/>
                    </a:lnTo>
                    <a:lnTo>
                      <a:pt x="1397" y="843"/>
                    </a:lnTo>
                    <a:lnTo>
                      <a:pt x="1400" y="837"/>
                    </a:lnTo>
                    <a:lnTo>
                      <a:pt x="1400" y="833"/>
                    </a:lnTo>
                    <a:lnTo>
                      <a:pt x="1402" y="816"/>
                    </a:lnTo>
                    <a:lnTo>
                      <a:pt x="1402" y="814"/>
                    </a:lnTo>
                    <a:lnTo>
                      <a:pt x="1406" y="806"/>
                    </a:lnTo>
                    <a:lnTo>
                      <a:pt x="1406" y="804"/>
                    </a:lnTo>
                    <a:lnTo>
                      <a:pt x="1406" y="802"/>
                    </a:lnTo>
                    <a:lnTo>
                      <a:pt x="1408" y="800"/>
                    </a:lnTo>
                    <a:lnTo>
                      <a:pt x="1408" y="796"/>
                    </a:lnTo>
                    <a:lnTo>
                      <a:pt x="1412" y="792"/>
                    </a:lnTo>
                    <a:lnTo>
                      <a:pt x="1400" y="785"/>
                    </a:lnTo>
                    <a:lnTo>
                      <a:pt x="1399" y="781"/>
                    </a:lnTo>
                    <a:lnTo>
                      <a:pt x="1400" y="775"/>
                    </a:lnTo>
                    <a:lnTo>
                      <a:pt x="1402" y="769"/>
                    </a:lnTo>
                    <a:lnTo>
                      <a:pt x="1402" y="765"/>
                    </a:lnTo>
                    <a:lnTo>
                      <a:pt x="1400" y="761"/>
                    </a:lnTo>
                    <a:lnTo>
                      <a:pt x="1400" y="759"/>
                    </a:lnTo>
                    <a:lnTo>
                      <a:pt x="1404" y="755"/>
                    </a:lnTo>
                    <a:lnTo>
                      <a:pt x="1404" y="749"/>
                    </a:lnTo>
                    <a:lnTo>
                      <a:pt x="1400" y="746"/>
                    </a:lnTo>
                    <a:lnTo>
                      <a:pt x="1397" y="744"/>
                    </a:lnTo>
                    <a:lnTo>
                      <a:pt x="1393" y="742"/>
                    </a:lnTo>
                    <a:lnTo>
                      <a:pt x="1387" y="740"/>
                    </a:lnTo>
                    <a:lnTo>
                      <a:pt x="1383" y="734"/>
                    </a:lnTo>
                    <a:lnTo>
                      <a:pt x="1383" y="730"/>
                    </a:lnTo>
                    <a:lnTo>
                      <a:pt x="1379" y="722"/>
                    </a:lnTo>
                    <a:lnTo>
                      <a:pt x="1375" y="710"/>
                    </a:lnTo>
                    <a:lnTo>
                      <a:pt x="1375" y="699"/>
                    </a:lnTo>
                    <a:lnTo>
                      <a:pt x="1383" y="691"/>
                    </a:lnTo>
                    <a:lnTo>
                      <a:pt x="1387" y="685"/>
                    </a:lnTo>
                    <a:lnTo>
                      <a:pt x="1391" y="679"/>
                    </a:lnTo>
                    <a:lnTo>
                      <a:pt x="1389" y="675"/>
                    </a:lnTo>
                    <a:lnTo>
                      <a:pt x="1387" y="673"/>
                    </a:lnTo>
                    <a:lnTo>
                      <a:pt x="1387" y="667"/>
                    </a:lnTo>
                    <a:lnTo>
                      <a:pt x="1393" y="656"/>
                    </a:lnTo>
                    <a:lnTo>
                      <a:pt x="1387" y="652"/>
                    </a:lnTo>
                    <a:lnTo>
                      <a:pt x="1387" y="652"/>
                    </a:lnTo>
                    <a:lnTo>
                      <a:pt x="1377" y="640"/>
                    </a:lnTo>
                    <a:lnTo>
                      <a:pt x="1367" y="636"/>
                    </a:lnTo>
                    <a:lnTo>
                      <a:pt x="1361" y="630"/>
                    </a:lnTo>
                    <a:lnTo>
                      <a:pt x="1359" y="628"/>
                    </a:lnTo>
                    <a:lnTo>
                      <a:pt x="1357" y="626"/>
                    </a:lnTo>
                    <a:lnTo>
                      <a:pt x="1352" y="615"/>
                    </a:lnTo>
                    <a:lnTo>
                      <a:pt x="1348" y="613"/>
                    </a:lnTo>
                    <a:lnTo>
                      <a:pt x="1330" y="599"/>
                    </a:lnTo>
                    <a:lnTo>
                      <a:pt x="1326" y="597"/>
                    </a:lnTo>
                    <a:lnTo>
                      <a:pt x="1320" y="589"/>
                    </a:lnTo>
                    <a:lnTo>
                      <a:pt x="1316" y="589"/>
                    </a:lnTo>
                    <a:lnTo>
                      <a:pt x="1315" y="589"/>
                    </a:lnTo>
                    <a:lnTo>
                      <a:pt x="1311" y="587"/>
                    </a:lnTo>
                    <a:lnTo>
                      <a:pt x="1307" y="585"/>
                    </a:lnTo>
                    <a:lnTo>
                      <a:pt x="1305" y="582"/>
                    </a:lnTo>
                    <a:lnTo>
                      <a:pt x="1311" y="578"/>
                    </a:lnTo>
                    <a:lnTo>
                      <a:pt x="1311" y="574"/>
                    </a:lnTo>
                    <a:lnTo>
                      <a:pt x="1313" y="568"/>
                    </a:lnTo>
                    <a:lnTo>
                      <a:pt x="1313" y="566"/>
                    </a:lnTo>
                    <a:lnTo>
                      <a:pt x="1311" y="556"/>
                    </a:lnTo>
                    <a:lnTo>
                      <a:pt x="1309" y="552"/>
                    </a:lnTo>
                    <a:lnTo>
                      <a:pt x="1309" y="550"/>
                    </a:lnTo>
                    <a:lnTo>
                      <a:pt x="1316" y="544"/>
                    </a:lnTo>
                    <a:lnTo>
                      <a:pt x="1326" y="540"/>
                    </a:lnTo>
                    <a:lnTo>
                      <a:pt x="1336" y="533"/>
                    </a:lnTo>
                    <a:lnTo>
                      <a:pt x="1342" y="527"/>
                    </a:lnTo>
                    <a:lnTo>
                      <a:pt x="1344" y="521"/>
                    </a:lnTo>
                    <a:lnTo>
                      <a:pt x="1344" y="519"/>
                    </a:lnTo>
                    <a:lnTo>
                      <a:pt x="1350" y="503"/>
                    </a:lnTo>
                    <a:lnTo>
                      <a:pt x="1350" y="499"/>
                    </a:lnTo>
                    <a:lnTo>
                      <a:pt x="1348" y="496"/>
                    </a:lnTo>
                    <a:lnTo>
                      <a:pt x="1348" y="492"/>
                    </a:lnTo>
                    <a:lnTo>
                      <a:pt x="1348" y="488"/>
                    </a:lnTo>
                    <a:lnTo>
                      <a:pt x="1350" y="484"/>
                    </a:lnTo>
                    <a:lnTo>
                      <a:pt x="1352" y="482"/>
                    </a:lnTo>
                    <a:lnTo>
                      <a:pt x="1354" y="480"/>
                    </a:lnTo>
                    <a:lnTo>
                      <a:pt x="1354" y="478"/>
                    </a:lnTo>
                    <a:lnTo>
                      <a:pt x="1359" y="470"/>
                    </a:lnTo>
                    <a:lnTo>
                      <a:pt x="1356" y="468"/>
                    </a:lnTo>
                    <a:lnTo>
                      <a:pt x="1356" y="466"/>
                    </a:lnTo>
                    <a:lnTo>
                      <a:pt x="1354" y="464"/>
                    </a:lnTo>
                    <a:lnTo>
                      <a:pt x="1352" y="462"/>
                    </a:lnTo>
                    <a:lnTo>
                      <a:pt x="1352" y="460"/>
                    </a:lnTo>
                    <a:lnTo>
                      <a:pt x="1352" y="455"/>
                    </a:lnTo>
                    <a:lnTo>
                      <a:pt x="1352" y="453"/>
                    </a:lnTo>
                    <a:lnTo>
                      <a:pt x="1350" y="447"/>
                    </a:lnTo>
                    <a:lnTo>
                      <a:pt x="1346" y="431"/>
                    </a:lnTo>
                    <a:lnTo>
                      <a:pt x="1346" y="416"/>
                    </a:lnTo>
                    <a:lnTo>
                      <a:pt x="1342" y="410"/>
                    </a:lnTo>
                    <a:lnTo>
                      <a:pt x="1340" y="404"/>
                    </a:lnTo>
                    <a:lnTo>
                      <a:pt x="1336" y="398"/>
                    </a:lnTo>
                    <a:lnTo>
                      <a:pt x="1334" y="392"/>
                    </a:lnTo>
                    <a:lnTo>
                      <a:pt x="1334" y="386"/>
                    </a:lnTo>
                    <a:lnTo>
                      <a:pt x="1334" y="376"/>
                    </a:lnTo>
                    <a:lnTo>
                      <a:pt x="1334" y="373"/>
                    </a:lnTo>
                    <a:lnTo>
                      <a:pt x="1330" y="363"/>
                    </a:lnTo>
                    <a:lnTo>
                      <a:pt x="1328" y="357"/>
                    </a:lnTo>
                    <a:lnTo>
                      <a:pt x="1328" y="353"/>
                    </a:lnTo>
                    <a:lnTo>
                      <a:pt x="1328" y="343"/>
                    </a:lnTo>
                    <a:lnTo>
                      <a:pt x="1328" y="345"/>
                    </a:lnTo>
                    <a:lnTo>
                      <a:pt x="1324" y="343"/>
                    </a:lnTo>
                    <a:lnTo>
                      <a:pt x="1322" y="343"/>
                    </a:lnTo>
                    <a:lnTo>
                      <a:pt x="1320" y="341"/>
                    </a:lnTo>
                    <a:lnTo>
                      <a:pt x="1328" y="335"/>
                    </a:lnTo>
                    <a:lnTo>
                      <a:pt x="1330" y="334"/>
                    </a:lnTo>
                    <a:lnTo>
                      <a:pt x="1328" y="330"/>
                    </a:lnTo>
                    <a:lnTo>
                      <a:pt x="1326" y="328"/>
                    </a:lnTo>
                    <a:lnTo>
                      <a:pt x="1324" y="328"/>
                    </a:lnTo>
                    <a:lnTo>
                      <a:pt x="1322" y="328"/>
                    </a:lnTo>
                    <a:lnTo>
                      <a:pt x="1320" y="332"/>
                    </a:lnTo>
                    <a:lnTo>
                      <a:pt x="1316" y="334"/>
                    </a:lnTo>
                    <a:lnTo>
                      <a:pt x="1303" y="332"/>
                    </a:lnTo>
                    <a:lnTo>
                      <a:pt x="1301" y="332"/>
                    </a:lnTo>
                    <a:lnTo>
                      <a:pt x="1297" y="328"/>
                    </a:lnTo>
                    <a:lnTo>
                      <a:pt x="1295" y="328"/>
                    </a:lnTo>
                    <a:lnTo>
                      <a:pt x="1291" y="328"/>
                    </a:lnTo>
                    <a:lnTo>
                      <a:pt x="1291" y="328"/>
                    </a:lnTo>
                    <a:lnTo>
                      <a:pt x="1287" y="324"/>
                    </a:lnTo>
                    <a:lnTo>
                      <a:pt x="1281" y="324"/>
                    </a:lnTo>
                    <a:lnTo>
                      <a:pt x="1270" y="312"/>
                    </a:lnTo>
                    <a:lnTo>
                      <a:pt x="1268" y="314"/>
                    </a:lnTo>
                    <a:lnTo>
                      <a:pt x="1266" y="310"/>
                    </a:lnTo>
                    <a:lnTo>
                      <a:pt x="1262" y="308"/>
                    </a:lnTo>
                    <a:lnTo>
                      <a:pt x="1262" y="304"/>
                    </a:lnTo>
                    <a:lnTo>
                      <a:pt x="1260" y="304"/>
                    </a:lnTo>
                    <a:lnTo>
                      <a:pt x="1258" y="302"/>
                    </a:lnTo>
                    <a:lnTo>
                      <a:pt x="1254" y="300"/>
                    </a:lnTo>
                    <a:lnTo>
                      <a:pt x="1252" y="298"/>
                    </a:lnTo>
                    <a:lnTo>
                      <a:pt x="1254" y="294"/>
                    </a:lnTo>
                    <a:lnTo>
                      <a:pt x="1266" y="285"/>
                    </a:lnTo>
                    <a:lnTo>
                      <a:pt x="1268" y="281"/>
                    </a:lnTo>
                    <a:lnTo>
                      <a:pt x="1270" y="279"/>
                    </a:lnTo>
                    <a:lnTo>
                      <a:pt x="1270" y="275"/>
                    </a:lnTo>
                    <a:lnTo>
                      <a:pt x="1268" y="275"/>
                    </a:lnTo>
                    <a:lnTo>
                      <a:pt x="1266" y="275"/>
                    </a:lnTo>
                    <a:lnTo>
                      <a:pt x="1266" y="273"/>
                    </a:lnTo>
                    <a:lnTo>
                      <a:pt x="1264" y="273"/>
                    </a:lnTo>
                    <a:lnTo>
                      <a:pt x="1264" y="273"/>
                    </a:lnTo>
                    <a:lnTo>
                      <a:pt x="1262" y="273"/>
                    </a:lnTo>
                    <a:lnTo>
                      <a:pt x="1260" y="273"/>
                    </a:lnTo>
                    <a:lnTo>
                      <a:pt x="1260" y="271"/>
                    </a:lnTo>
                    <a:lnTo>
                      <a:pt x="1260" y="271"/>
                    </a:lnTo>
                    <a:lnTo>
                      <a:pt x="1260" y="269"/>
                    </a:lnTo>
                    <a:lnTo>
                      <a:pt x="1260" y="269"/>
                    </a:lnTo>
                    <a:lnTo>
                      <a:pt x="1260" y="267"/>
                    </a:lnTo>
                    <a:lnTo>
                      <a:pt x="1258" y="265"/>
                    </a:lnTo>
                    <a:lnTo>
                      <a:pt x="1258" y="263"/>
                    </a:lnTo>
                    <a:lnTo>
                      <a:pt x="1256" y="263"/>
                    </a:lnTo>
                    <a:lnTo>
                      <a:pt x="1252" y="261"/>
                    </a:lnTo>
                    <a:lnTo>
                      <a:pt x="1250" y="259"/>
                    </a:lnTo>
                    <a:lnTo>
                      <a:pt x="1248" y="257"/>
                    </a:lnTo>
                    <a:lnTo>
                      <a:pt x="1244" y="252"/>
                    </a:lnTo>
                    <a:lnTo>
                      <a:pt x="1242" y="250"/>
                    </a:lnTo>
                    <a:lnTo>
                      <a:pt x="1246" y="246"/>
                    </a:lnTo>
                    <a:lnTo>
                      <a:pt x="1248" y="242"/>
                    </a:lnTo>
                    <a:lnTo>
                      <a:pt x="1250" y="236"/>
                    </a:lnTo>
                    <a:lnTo>
                      <a:pt x="1252" y="232"/>
                    </a:lnTo>
                    <a:lnTo>
                      <a:pt x="1252" y="230"/>
                    </a:lnTo>
                    <a:lnTo>
                      <a:pt x="1238" y="218"/>
                    </a:lnTo>
                    <a:lnTo>
                      <a:pt x="1234" y="216"/>
                    </a:lnTo>
                    <a:lnTo>
                      <a:pt x="1234" y="214"/>
                    </a:lnTo>
                    <a:lnTo>
                      <a:pt x="1236" y="214"/>
                    </a:lnTo>
                    <a:lnTo>
                      <a:pt x="1236" y="212"/>
                    </a:lnTo>
                    <a:lnTo>
                      <a:pt x="1236" y="211"/>
                    </a:lnTo>
                    <a:lnTo>
                      <a:pt x="1236" y="211"/>
                    </a:lnTo>
                    <a:lnTo>
                      <a:pt x="1232" y="212"/>
                    </a:lnTo>
                    <a:lnTo>
                      <a:pt x="1223" y="218"/>
                    </a:lnTo>
                    <a:lnTo>
                      <a:pt x="1219" y="220"/>
                    </a:lnTo>
                    <a:lnTo>
                      <a:pt x="1197" y="224"/>
                    </a:lnTo>
                    <a:lnTo>
                      <a:pt x="1197" y="226"/>
                    </a:lnTo>
                    <a:lnTo>
                      <a:pt x="1199" y="226"/>
                    </a:lnTo>
                    <a:lnTo>
                      <a:pt x="1201" y="230"/>
                    </a:lnTo>
                    <a:lnTo>
                      <a:pt x="1201" y="232"/>
                    </a:lnTo>
                    <a:lnTo>
                      <a:pt x="1201" y="234"/>
                    </a:lnTo>
                    <a:lnTo>
                      <a:pt x="1197" y="234"/>
                    </a:lnTo>
                    <a:lnTo>
                      <a:pt x="1195" y="232"/>
                    </a:lnTo>
                    <a:lnTo>
                      <a:pt x="1193" y="228"/>
                    </a:lnTo>
                    <a:lnTo>
                      <a:pt x="1191" y="224"/>
                    </a:lnTo>
                    <a:lnTo>
                      <a:pt x="1188" y="216"/>
                    </a:lnTo>
                    <a:lnTo>
                      <a:pt x="1188" y="216"/>
                    </a:lnTo>
                    <a:lnTo>
                      <a:pt x="1186" y="214"/>
                    </a:lnTo>
                    <a:lnTo>
                      <a:pt x="1184" y="216"/>
                    </a:lnTo>
                    <a:lnTo>
                      <a:pt x="1184" y="216"/>
                    </a:lnTo>
                    <a:lnTo>
                      <a:pt x="1182" y="216"/>
                    </a:lnTo>
                    <a:lnTo>
                      <a:pt x="1182" y="214"/>
                    </a:lnTo>
                    <a:lnTo>
                      <a:pt x="1184" y="212"/>
                    </a:lnTo>
                    <a:lnTo>
                      <a:pt x="1186" y="211"/>
                    </a:lnTo>
                    <a:lnTo>
                      <a:pt x="1182" y="209"/>
                    </a:lnTo>
                    <a:lnTo>
                      <a:pt x="1176" y="212"/>
                    </a:lnTo>
                    <a:lnTo>
                      <a:pt x="1172" y="212"/>
                    </a:lnTo>
                    <a:lnTo>
                      <a:pt x="1174" y="211"/>
                    </a:lnTo>
                    <a:lnTo>
                      <a:pt x="1176" y="209"/>
                    </a:lnTo>
                    <a:lnTo>
                      <a:pt x="1172" y="205"/>
                    </a:lnTo>
                    <a:lnTo>
                      <a:pt x="1166" y="193"/>
                    </a:lnTo>
                    <a:lnTo>
                      <a:pt x="1162" y="191"/>
                    </a:lnTo>
                    <a:lnTo>
                      <a:pt x="1156" y="189"/>
                    </a:lnTo>
                    <a:lnTo>
                      <a:pt x="1147" y="183"/>
                    </a:lnTo>
                    <a:lnTo>
                      <a:pt x="1141" y="185"/>
                    </a:lnTo>
                    <a:lnTo>
                      <a:pt x="1143" y="183"/>
                    </a:lnTo>
                    <a:lnTo>
                      <a:pt x="1145" y="183"/>
                    </a:lnTo>
                    <a:lnTo>
                      <a:pt x="1147" y="183"/>
                    </a:lnTo>
                    <a:lnTo>
                      <a:pt x="1147" y="181"/>
                    </a:lnTo>
                    <a:lnTo>
                      <a:pt x="1139" y="181"/>
                    </a:lnTo>
                    <a:lnTo>
                      <a:pt x="1137" y="179"/>
                    </a:lnTo>
                    <a:lnTo>
                      <a:pt x="1137" y="177"/>
                    </a:lnTo>
                    <a:lnTo>
                      <a:pt x="1137" y="173"/>
                    </a:lnTo>
                    <a:lnTo>
                      <a:pt x="1135" y="171"/>
                    </a:lnTo>
                    <a:lnTo>
                      <a:pt x="1131" y="164"/>
                    </a:lnTo>
                    <a:lnTo>
                      <a:pt x="1131" y="160"/>
                    </a:lnTo>
                    <a:lnTo>
                      <a:pt x="1133" y="154"/>
                    </a:lnTo>
                    <a:lnTo>
                      <a:pt x="1131" y="152"/>
                    </a:lnTo>
                    <a:lnTo>
                      <a:pt x="1123" y="148"/>
                    </a:lnTo>
                    <a:lnTo>
                      <a:pt x="1121" y="144"/>
                    </a:lnTo>
                    <a:lnTo>
                      <a:pt x="1121" y="140"/>
                    </a:lnTo>
                    <a:lnTo>
                      <a:pt x="1121" y="138"/>
                    </a:lnTo>
                    <a:lnTo>
                      <a:pt x="1123" y="136"/>
                    </a:lnTo>
                    <a:lnTo>
                      <a:pt x="1119" y="134"/>
                    </a:lnTo>
                    <a:lnTo>
                      <a:pt x="1111" y="136"/>
                    </a:lnTo>
                    <a:lnTo>
                      <a:pt x="1105" y="140"/>
                    </a:lnTo>
                    <a:lnTo>
                      <a:pt x="1102" y="146"/>
                    </a:lnTo>
                    <a:lnTo>
                      <a:pt x="1100" y="148"/>
                    </a:lnTo>
                    <a:lnTo>
                      <a:pt x="1098" y="152"/>
                    </a:lnTo>
                    <a:lnTo>
                      <a:pt x="1096" y="156"/>
                    </a:lnTo>
                    <a:lnTo>
                      <a:pt x="1094" y="156"/>
                    </a:lnTo>
                    <a:lnTo>
                      <a:pt x="1094" y="158"/>
                    </a:lnTo>
                    <a:lnTo>
                      <a:pt x="1090" y="158"/>
                    </a:lnTo>
                    <a:lnTo>
                      <a:pt x="1088" y="158"/>
                    </a:lnTo>
                    <a:lnTo>
                      <a:pt x="1088" y="158"/>
                    </a:lnTo>
                    <a:lnTo>
                      <a:pt x="1086" y="158"/>
                    </a:lnTo>
                    <a:lnTo>
                      <a:pt x="1084" y="154"/>
                    </a:lnTo>
                    <a:lnTo>
                      <a:pt x="1082" y="152"/>
                    </a:lnTo>
                    <a:lnTo>
                      <a:pt x="1082" y="150"/>
                    </a:lnTo>
                    <a:lnTo>
                      <a:pt x="1082" y="148"/>
                    </a:lnTo>
                    <a:lnTo>
                      <a:pt x="1080" y="150"/>
                    </a:lnTo>
                    <a:lnTo>
                      <a:pt x="1078" y="152"/>
                    </a:lnTo>
                    <a:lnTo>
                      <a:pt x="1076" y="152"/>
                    </a:lnTo>
                    <a:lnTo>
                      <a:pt x="1074" y="150"/>
                    </a:lnTo>
                    <a:lnTo>
                      <a:pt x="1072" y="152"/>
                    </a:lnTo>
                    <a:lnTo>
                      <a:pt x="1070" y="150"/>
                    </a:lnTo>
                    <a:lnTo>
                      <a:pt x="1068" y="148"/>
                    </a:lnTo>
                    <a:lnTo>
                      <a:pt x="1068" y="146"/>
                    </a:lnTo>
                    <a:lnTo>
                      <a:pt x="1066" y="148"/>
                    </a:lnTo>
                    <a:lnTo>
                      <a:pt x="1066" y="150"/>
                    </a:lnTo>
                    <a:lnTo>
                      <a:pt x="1064" y="154"/>
                    </a:lnTo>
                    <a:lnTo>
                      <a:pt x="1064" y="150"/>
                    </a:lnTo>
                    <a:lnTo>
                      <a:pt x="1066" y="146"/>
                    </a:lnTo>
                    <a:lnTo>
                      <a:pt x="1068" y="144"/>
                    </a:lnTo>
                    <a:lnTo>
                      <a:pt x="1070" y="144"/>
                    </a:lnTo>
                    <a:lnTo>
                      <a:pt x="1070" y="142"/>
                    </a:lnTo>
                    <a:lnTo>
                      <a:pt x="1068" y="140"/>
                    </a:lnTo>
                    <a:lnTo>
                      <a:pt x="1066" y="142"/>
                    </a:lnTo>
                    <a:lnTo>
                      <a:pt x="1064" y="142"/>
                    </a:lnTo>
                    <a:lnTo>
                      <a:pt x="1062" y="144"/>
                    </a:lnTo>
                    <a:lnTo>
                      <a:pt x="1062" y="144"/>
                    </a:lnTo>
                    <a:lnTo>
                      <a:pt x="1062" y="146"/>
                    </a:lnTo>
                    <a:lnTo>
                      <a:pt x="1062" y="148"/>
                    </a:lnTo>
                    <a:lnTo>
                      <a:pt x="1055" y="152"/>
                    </a:lnTo>
                    <a:lnTo>
                      <a:pt x="1049" y="154"/>
                    </a:lnTo>
                    <a:lnTo>
                      <a:pt x="1047" y="152"/>
                    </a:lnTo>
                    <a:lnTo>
                      <a:pt x="1047" y="154"/>
                    </a:lnTo>
                    <a:lnTo>
                      <a:pt x="1045" y="152"/>
                    </a:lnTo>
                    <a:lnTo>
                      <a:pt x="1043" y="152"/>
                    </a:lnTo>
                    <a:lnTo>
                      <a:pt x="1041" y="154"/>
                    </a:lnTo>
                    <a:lnTo>
                      <a:pt x="1041" y="156"/>
                    </a:lnTo>
                    <a:lnTo>
                      <a:pt x="1041" y="156"/>
                    </a:lnTo>
                    <a:lnTo>
                      <a:pt x="1043" y="158"/>
                    </a:lnTo>
                    <a:lnTo>
                      <a:pt x="1033" y="162"/>
                    </a:lnTo>
                    <a:lnTo>
                      <a:pt x="1029" y="166"/>
                    </a:lnTo>
                    <a:lnTo>
                      <a:pt x="1029" y="166"/>
                    </a:lnTo>
                    <a:lnTo>
                      <a:pt x="1029" y="170"/>
                    </a:lnTo>
                    <a:lnTo>
                      <a:pt x="1029" y="171"/>
                    </a:lnTo>
                    <a:lnTo>
                      <a:pt x="1027" y="171"/>
                    </a:lnTo>
                    <a:lnTo>
                      <a:pt x="1027" y="171"/>
                    </a:lnTo>
                    <a:lnTo>
                      <a:pt x="1025" y="173"/>
                    </a:lnTo>
                    <a:lnTo>
                      <a:pt x="1021" y="177"/>
                    </a:lnTo>
                    <a:lnTo>
                      <a:pt x="1020" y="179"/>
                    </a:lnTo>
                    <a:lnTo>
                      <a:pt x="1020" y="183"/>
                    </a:lnTo>
                    <a:lnTo>
                      <a:pt x="1021" y="185"/>
                    </a:lnTo>
                    <a:lnTo>
                      <a:pt x="1023" y="187"/>
                    </a:lnTo>
                    <a:lnTo>
                      <a:pt x="1027" y="187"/>
                    </a:lnTo>
                    <a:lnTo>
                      <a:pt x="1023" y="189"/>
                    </a:lnTo>
                    <a:lnTo>
                      <a:pt x="1020" y="187"/>
                    </a:lnTo>
                    <a:lnTo>
                      <a:pt x="1012" y="183"/>
                    </a:lnTo>
                    <a:lnTo>
                      <a:pt x="1014" y="181"/>
                    </a:lnTo>
                    <a:lnTo>
                      <a:pt x="1014" y="177"/>
                    </a:lnTo>
                    <a:lnTo>
                      <a:pt x="1012" y="175"/>
                    </a:lnTo>
                    <a:lnTo>
                      <a:pt x="1010" y="171"/>
                    </a:lnTo>
                    <a:lnTo>
                      <a:pt x="1014" y="170"/>
                    </a:lnTo>
                    <a:lnTo>
                      <a:pt x="1016" y="168"/>
                    </a:lnTo>
                    <a:lnTo>
                      <a:pt x="1016" y="164"/>
                    </a:lnTo>
                    <a:lnTo>
                      <a:pt x="1016" y="162"/>
                    </a:lnTo>
                    <a:lnTo>
                      <a:pt x="1016" y="160"/>
                    </a:lnTo>
                    <a:lnTo>
                      <a:pt x="1018" y="160"/>
                    </a:lnTo>
                    <a:lnTo>
                      <a:pt x="1018" y="160"/>
                    </a:lnTo>
                    <a:lnTo>
                      <a:pt x="1021" y="162"/>
                    </a:lnTo>
                    <a:lnTo>
                      <a:pt x="1020" y="156"/>
                    </a:lnTo>
                    <a:lnTo>
                      <a:pt x="1021" y="152"/>
                    </a:lnTo>
                    <a:lnTo>
                      <a:pt x="1023" y="148"/>
                    </a:lnTo>
                    <a:lnTo>
                      <a:pt x="1025" y="148"/>
                    </a:lnTo>
                    <a:lnTo>
                      <a:pt x="1031" y="148"/>
                    </a:lnTo>
                    <a:lnTo>
                      <a:pt x="1035" y="150"/>
                    </a:lnTo>
                    <a:lnTo>
                      <a:pt x="1037" y="154"/>
                    </a:lnTo>
                    <a:lnTo>
                      <a:pt x="1039" y="150"/>
                    </a:lnTo>
                    <a:lnTo>
                      <a:pt x="1043" y="148"/>
                    </a:lnTo>
                    <a:lnTo>
                      <a:pt x="1047" y="148"/>
                    </a:lnTo>
                    <a:lnTo>
                      <a:pt x="1049" y="150"/>
                    </a:lnTo>
                    <a:lnTo>
                      <a:pt x="1049" y="148"/>
                    </a:lnTo>
                    <a:lnTo>
                      <a:pt x="1049" y="148"/>
                    </a:lnTo>
                    <a:lnTo>
                      <a:pt x="1051" y="148"/>
                    </a:lnTo>
                    <a:lnTo>
                      <a:pt x="1051" y="148"/>
                    </a:lnTo>
                    <a:lnTo>
                      <a:pt x="1049" y="148"/>
                    </a:lnTo>
                    <a:lnTo>
                      <a:pt x="1049" y="146"/>
                    </a:lnTo>
                    <a:lnTo>
                      <a:pt x="1047" y="146"/>
                    </a:lnTo>
                    <a:lnTo>
                      <a:pt x="1047" y="144"/>
                    </a:lnTo>
                    <a:lnTo>
                      <a:pt x="1049" y="142"/>
                    </a:lnTo>
                    <a:lnTo>
                      <a:pt x="1049" y="142"/>
                    </a:lnTo>
                    <a:lnTo>
                      <a:pt x="1051" y="142"/>
                    </a:lnTo>
                    <a:lnTo>
                      <a:pt x="1051" y="144"/>
                    </a:lnTo>
                    <a:lnTo>
                      <a:pt x="1053" y="140"/>
                    </a:lnTo>
                    <a:lnTo>
                      <a:pt x="1055" y="138"/>
                    </a:lnTo>
                    <a:lnTo>
                      <a:pt x="1059" y="140"/>
                    </a:lnTo>
                    <a:lnTo>
                      <a:pt x="1062" y="140"/>
                    </a:lnTo>
                    <a:lnTo>
                      <a:pt x="1062" y="138"/>
                    </a:lnTo>
                    <a:lnTo>
                      <a:pt x="1064" y="136"/>
                    </a:lnTo>
                    <a:lnTo>
                      <a:pt x="1066" y="136"/>
                    </a:lnTo>
                    <a:lnTo>
                      <a:pt x="1070" y="136"/>
                    </a:lnTo>
                    <a:lnTo>
                      <a:pt x="1078" y="138"/>
                    </a:lnTo>
                    <a:lnTo>
                      <a:pt x="1096" y="140"/>
                    </a:lnTo>
                    <a:lnTo>
                      <a:pt x="1100" y="140"/>
                    </a:lnTo>
                    <a:lnTo>
                      <a:pt x="1104" y="136"/>
                    </a:lnTo>
                    <a:lnTo>
                      <a:pt x="1102" y="132"/>
                    </a:lnTo>
                    <a:lnTo>
                      <a:pt x="1098" y="130"/>
                    </a:lnTo>
                    <a:lnTo>
                      <a:pt x="1094" y="134"/>
                    </a:lnTo>
                    <a:lnTo>
                      <a:pt x="1086" y="130"/>
                    </a:lnTo>
                    <a:lnTo>
                      <a:pt x="1049" y="130"/>
                    </a:lnTo>
                    <a:lnTo>
                      <a:pt x="1041" y="127"/>
                    </a:lnTo>
                    <a:lnTo>
                      <a:pt x="1037" y="123"/>
                    </a:lnTo>
                    <a:lnTo>
                      <a:pt x="1039" y="123"/>
                    </a:lnTo>
                    <a:lnTo>
                      <a:pt x="1039" y="121"/>
                    </a:lnTo>
                    <a:lnTo>
                      <a:pt x="1035" y="123"/>
                    </a:lnTo>
                    <a:lnTo>
                      <a:pt x="1033" y="125"/>
                    </a:lnTo>
                    <a:lnTo>
                      <a:pt x="1031" y="132"/>
                    </a:lnTo>
                    <a:lnTo>
                      <a:pt x="1023" y="144"/>
                    </a:lnTo>
                    <a:lnTo>
                      <a:pt x="1023" y="146"/>
                    </a:lnTo>
                    <a:lnTo>
                      <a:pt x="1014" y="162"/>
                    </a:lnTo>
                    <a:lnTo>
                      <a:pt x="1008" y="173"/>
                    </a:lnTo>
                    <a:lnTo>
                      <a:pt x="1004" y="175"/>
                    </a:lnTo>
                    <a:lnTo>
                      <a:pt x="998" y="181"/>
                    </a:lnTo>
                    <a:lnTo>
                      <a:pt x="986" y="187"/>
                    </a:lnTo>
                    <a:lnTo>
                      <a:pt x="984" y="189"/>
                    </a:lnTo>
                    <a:lnTo>
                      <a:pt x="980" y="191"/>
                    </a:lnTo>
                    <a:lnTo>
                      <a:pt x="977" y="197"/>
                    </a:lnTo>
                    <a:lnTo>
                      <a:pt x="975" y="201"/>
                    </a:lnTo>
                    <a:lnTo>
                      <a:pt x="969" y="207"/>
                    </a:lnTo>
                    <a:lnTo>
                      <a:pt x="967" y="211"/>
                    </a:lnTo>
                    <a:lnTo>
                      <a:pt x="969" y="209"/>
                    </a:lnTo>
                    <a:lnTo>
                      <a:pt x="971" y="209"/>
                    </a:lnTo>
                    <a:lnTo>
                      <a:pt x="973" y="209"/>
                    </a:lnTo>
                    <a:lnTo>
                      <a:pt x="975" y="209"/>
                    </a:lnTo>
                    <a:lnTo>
                      <a:pt x="973" y="212"/>
                    </a:lnTo>
                    <a:lnTo>
                      <a:pt x="967" y="214"/>
                    </a:lnTo>
                    <a:lnTo>
                      <a:pt x="967" y="218"/>
                    </a:lnTo>
                    <a:lnTo>
                      <a:pt x="967" y="220"/>
                    </a:lnTo>
                    <a:lnTo>
                      <a:pt x="967" y="228"/>
                    </a:lnTo>
                    <a:lnTo>
                      <a:pt x="969" y="232"/>
                    </a:lnTo>
                    <a:lnTo>
                      <a:pt x="965" y="226"/>
                    </a:lnTo>
                    <a:lnTo>
                      <a:pt x="965" y="220"/>
                    </a:lnTo>
                    <a:lnTo>
                      <a:pt x="965" y="212"/>
                    </a:lnTo>
                    <a:lnTo>
                      <a:pt x="965" y="205"/>
                    </a:lnTo>
                    <a:lnTo>
                      <a:pt x="959" y="209"/>
                    </a:lnTo>
                    <a:lnTo>
                      <a:pt x="918" y="216"/>
                    </a:lnTo>
                    <a:lnTo>
                      <a:pt x="904" y="214"/>
                    </a:lnTo>
                    <a:lnTo>
                      <a:pt x="898" y="214"/>
                    </a:lnTo>
                    <a:lnTo>
                      <a:pt x="893" y="218"/>
                    </a:lnTo>
                    <a:lnTo>
                      <a:pt x="889" y="226"/>
                    </a:lnTo>
                    <a:lnTo>
                      <a:pt x="889" y="228"/>
                    </a:lnTo>
                    <a:lnTo>
                      <a:pt x="887" y="228"/>
                    </a:lnTo>
                    <a:lnTo>
                      <a:pt x="887" y="230"/>
                    </a:lnTo>
                    <a:lnTo>
                      <a:pt x="887" y="232"/>
                    </a:lnTo>
                    <a:lnTo>
                      <a:pt x="889" y="232"/>
                    </a:lnTo>
                    <a:lnTo>
                      <a:pt x="889" y="234"/>
                    </a:lnTo>
                    <a:lnTo>
                      <a:pt x="887" y="236"/>
                    </a:lnTo>
                    <a:lnTo>
                      <a:pt x="887" y="238"/>
                    </a:lnTo>
                    <a:lnTo>
                      <a:pt x="885" y="238"/>
                    </a:lnTo>
                    <a:lnTo>
                      <a:pt x="885" y="240"/>
                    </a:lnTo>
                    <a:lnTo>
                      <a:pt x="881" y="240"/>
                    </a:lnTo>
                    <a:lnTo>
                      <a:pt x="879" y="248"/>
                    </a:lnTo>
                    <a:lnTo>
                      <a:pt x="875" y="252"/>
                    </a:lnTo>
                    <a:lnTo>
                      <a:pt x="873" y="252"/>
                    </a:lnTo>
                    <a:lnTo>
                      <a:pt x="869" y="250"/>
                    </a:lnTo>
                    <a:lnTo>
                      <a:pt x="869" y="252"/>
                    </a:lnTo>
                    <a:lnTo>
                      <a:pt x="871" y="252"/>
                    </a:lnTo>
                    <a:lnTo>
                      <a:pt x="871" y="253"/>
                    </a:lnTo>
                    <a:lnTo>
                      <a:pt x="865" y="259"/>
                    </a:lnTo>
                    <a:lnTo>
                      <a:pt x="865" y="259"/>
                    </a:lnTo>
                    <a:lnTo>
                      <a:pt x="865" y="263"/>
                    </a:lnTo>
                    <a:lnTo>
                      <a:pt x="865" y="265"/>
                    </a:lnTo>
                    <a:lnTo>
                      <a:pt x="865" y="265"/>
                    </a:lnTo>
                    <a:lnTo>
                      <a:pt x="863" y="265"/>
                    </a:lnTo>
                    <a:lnTo>
                      <a:pt x="861" y="269"/>
                    </a:lnTo>
                    <a:lnTo>
                      <a:pt x="863" y="273"/>
                    </a:lnTo>
                    <a:lnTo>
                      <a:pt x="861" y="279"/>
                    </a:lnTo>
                    <a:lnTo>
                      <a:pt x="859" y="283"/>
                    </a:lnTo>
                    <a:lnTo>
                      <a:pt x="859" y="287"/>
                    </a:lnTo>
                    <a:lnTo>
                      <a:pt x="857" y="287"/>
                    </a:lnTo>
                    <a:lnTo>
                      <a:pt x="855" y="285"/>
                    </a:lnTo>
                    <a:lnTo>
                      <a:pt x="850" y="277"/>
                    </a:lnTo>
                    <a:lnTo>
                      <a:pt x="850" y="277"/>
                    </a:lnTo>
                    <a:lnTo>
                      <a:pt x="842" y="277"/>
                    </a:lnTo>
                    <a:lnTo>
                      <a:pt x="842" y="275"/>
                    </a:lnTo>
                    <a:lnTo>
                      <a:pt x="840" y="271"/>
                    </a:lnTo>
                    <a:lnTo>
                      <a:pt x="838" y="271"/>
                    </a:lnTo>
                    <a:lnTo>
                      <a:pt x="832" y="277"/>
                    </a:lnTo>
                    <a:lnTo>
                      <a:pt x="830" y="277"/>
                    </a:lnTo>
                    <a:lnTo>
                      <a:pt x="826" y="277"/>
                    </a:lnTo>
                    <a:lnTo>
                      <a:pt x="824" y="275"/>
                    </a:lnTo>
                    <a:lnTo>
                      <a:pt x="822" y="271"/>
                    </a:lnTo>
                    <a:lnTo>
                      <a:pt x="824" y="265"/>
                    </a:lnTo>
                    <a:lnTo>
                      <a:pt x="822" y="263"/>
                    </a:lnTo>
                    <a:lnTo>
                      <a:pt x="816" y="263"/>
                    </a:lnTo>
                    <a:lnTo>
                      <a:pt x="816" y="261"/>
                    </a:lnTo>
                    <a:lnTo>
                      <a:pt x="814" y="255"/>
                    </a:lnTo>
                    <a:lnTo>
                      <a:pt x="812" y="255"/>
                    </a:lnTo>
                    <a:lnTo>
                      <a:pt x="812" y="253"/>
                    </a:lnTo>
                    <a:lnTo>
                      <a:pt x="791" y="257"/>
                    </a:lnTo>
                    <a:lnTo>
                      <a:pt x="783" y="261"/>
                    </a:lnTo>
                    <a:lnTo>
                      <a:pt x="779" y="263"/>
                    </a:lnTo>
                    <a:lnTo>
                      <a:pt x="777" y="263"/>
                    </a:lnTo>
                    <a:lnTo>
                      <a:pt x="771" y="269"/>
                    </a:lnTo>
                    <a:lnTo>
                      <a:pt x="769" y="271"/>
                    </a:lnTo>
                    <a:lnTo>
                      <a:pt x="769" y="271"/>
                    </a:lnTo>
                    <a:lnTo>
                      <a:pt x="768" y="271"/>
                    </a:lnTo>
                    <a:lnTo>
                      <a:pt x="766" y="271"/>
                    </a:lnTo>
                    <a:lnTo>
                      <a:pt x="764" y="269"/>
                    </a:lnTo>
                    <a:lnTo>
                      <a:pt x="764" y="267"/>
                    </a:lnTo>
                    <a:lnTo>
                      <a:pt x="764" y="263"/>
                    </a:lnTo>
                    <a:lnTo>
                      <a:pt x="762" y="261"/>
                    </a:lnTo>
                    <a:lnTo>
                      <a:pt x="760" y="259"/>
                    </a:lnTo>
                    <a:lnTo>
                      <a:pt x="754" y="261"/>
                    </a:lnTo>
                    <a:lnTo>
                      <a:pt x="750" y="259"/>
                    </a:lnTo>
                    <a:lnTo>
                      <a:pt x="746" y="257"/>
                    </a:lnTo>
                    <a:lnTo>
                      <a:pt x="744" y="252"/>
                    </a:lnTo>
                    <a:lnTo>
                      <a:pt x="742" y="248"/>
                    </a:lnTo>
                    <a:lnTo>
                      <a:pt x="742" y="246"/>
                    </a:lnTo>
                    <a:lnTo>
                      <a:pt x="742" y="244"/>
                    </a:lnTo>
                    <a:lnTo>
                      <a:pt x="750" y="234"/>
                    </a:lnTo>
                    <a:lnTo>
                      <a:pt x="750" y="232"/>
                    </a:lnTo>
                    <a:lnTo>
                      <a:pt x="752" y="232"/>
                    </a:lnTo>
                    <a:lnTo>
                      <a:pt x="754" y="232"/>
                    </a:lnTo>
                    <a:lnTo>
                      <a:pt x="754" y="234"/>
                    </a:lnTo>
                    <a:lnTo>
                      <a:pt x="756" y="234"/>
                    </a:lnTo>
                    <a:lnTo>
                      <a:pt x="756" y="232"/>
                    </a:lnTo>
                    <a:lnTo>
                      <a:pt x="758" y="232"/>
                    </a:lnTo>
                    <a:lnTo>
                      <a:pt x="766" y="230"/>
                    </a:lnTo>
                    <a:lnTo>
                      <a:pt x="768" y="228"/>
                    </a:lnTo>
                    <a:lnTo>
                      <a:pt x="773" y="220"/>
                    </a:lnTo>
                    <a:lnTo>
                      <a:pt x="793" y="207"/>
                    </a:lnTo>
                    <a:lnTo>
                      <a:pt x="795" y="205"/>
                    </a:lnTo>
                    <a:lnTo>
                      <a:pt x="797" y="203"/>
                    </a:lnTo>
                    <a:lnTo>
                      <a:pt x="797" y="201"/>
                    </a:lnTo>
                    <a:lnTo>
                      <a:pt x="799" y="195"/>
                    </a:lnTo>
                    <a:lnTo>
                      <a:pt x="797" y="187"/>
                    </a:lnTo>
                    <a:lnTo>
                      <a:pt x="797" y="183"/>
                    </a:lnTo>
                    <a:lnTo>
                      <a:pt x="799" y="179"/>
                    </a:lnTo>
                    <a:lnTo>
                      <a:pt x="797" y="173"/>
                    </a:lnTo>
                    <a:lnTo>
                      <a:pt x="795" y="162"/>
                    </a:lnTo>
                    <a:lnTo>
                      <a:pt x="793" y="158"/>
                    </a:lnTo>
                    <a:lnTo>
                      <a:pt x="797" y="158"/>
                    </a:lnTo>
                    <a:lnTo>
                      <a:pt x="797" y="160"/>
                    </a:lnTo>
                    <a:lnTo>
                      <a:pt x="799" y="156"/>
                    </a:lnTo>
                    <a:lnTo>
                      <a:pt x="805" y="150"/>
                    </a:lnTo>
                    <a:lnTo>
                      <a:pt x="801" y="148"/>
                    </a:lnTo>
                    <a:lnTo>
                      <a:pt x="789" y="154"/>
                    </a:lnTo>
                    <a:lnTo>
                      <a:pt x="785" y="152"/>
                    </a:lnTo>
                    <a:lnTo>
                      <a:pt x="781" y="152"/>
                    </a:lnTo>
                    <a:lnTo>
                      <a:pt x="779" y="152"/>
                    </a:lnTo>
                    <a:lnTo>
                      <a:pt x="783" y="152"/>
                    </a:lnTo>
                    <a:lnTo>
                      <a:pt x="785" y="152"/>
                    </a:lnTo>
                    <a:lnTo>
                      <a:pt x="785" y="150"/>
                    </a:lnTo>
                    <a:lnTo>
                      <a:pt x="771" y="152"/>
                    </a:lnTo>
                    <a:lnTo>
                      <a:pt x="766" y="154"/>
                    </a:lnTo>
                    <a:lnTo>
                      <a:pt x="760" y="158"/>
                    </a:lnTo>
                    <a:lnTo>
                      <a:pt x="750" y="166"/>
                    </a:lnTo>
                    <a:lnTo>
                      <a:pt x="746" y="170"/>
                    </a:lnTo>
                    <a:lnTo>
                      <a:pt x="738" y="171"/>
                    </a:lnTo>
                    <a:lnTo>
                      <a:pt x="730" y="170"/>
                    </a:lnTo>
                    <a:lnTo>
                      <a:pt x="717" y="156"/>
                    </a:lnTo>
                    <a:lnTo>
                      <a:pt x="689" y="144"/>
                    </a:lnTo>
                    <a:lnTo>
                      <a:pt x="680" y="134"/>
                    </a:lnTo>
                    <a:lnTo>
                      <a:pt x="676" y="134"/>
                    </a:lnTo>
                    <a:lnTo>
                      <a:pt x="668" y="132"/>
                    </a:lnTo>
                    <a:lnTo>
                      <a:pt x="666" y="134"/>
                    </a:lnTo>
                    <a:lnTo>
                      <a:pt x="666" y="134"/>
                    </a:lnTo>
                    <a:lnTo>
                      <a:pt x="664" y="136"/>
                    </a:lnTo>
                    <a:lnTo>
                      <a:pt x="664" y="138"/>
                    </a:lnTo>
                    <a:lnTo>
                      <a:pt x="660" y="140"/>
                    </a:lnTo>
                    <a:lnTo>
                      <a:pt x="654" y="140"/>
                    </a:lnTo>
                    <a:lnTo>
                      <a:pt x="652" y="142"/>
                    </a:lnTo>
                    <a:lnTo>
                      <a:pt x="652" y="144"/>
                    </a:lnTo>
                    <a:lnTo>
                      <a:pt x="650" y="154"/>
                    </a:lnTo>
                    <a:lnTo>
                      <a:pt x="644" y="162"/>
                    </a:lnTo>
                    <a:lnTo>
                      <a:pt x="642" y="166"/>
                    </a:lnTo>
                    <a:lnTo>
                      <a:pt x="639" y="168"/>
                    </a:lnTo>
                    <a:lnTo>
                      <a:pt x="641" y="164"/>
                    </a:lnTo>
                    <a:lnTo>
                      <a:pt x="641" y="162"/>
                    </a:lnTo>
                    <a:lnTo>
                      <a:pt x="641" y="160"/>
                    </a:lnTo>
                    <a:lnTo>
                      <a:pt x="639" y="158"/>
                    </a:lnTo>
                    <a:lnTo>
                      <a:pt x="641" y="156"/>
                    </a:lnTo>
                    <a:lnTo>
                      <a:pt x="641" y="154"/>
                    </a:lnTo>
                    <a:lnTo>
                      <a:pt x="639" y="154"/>
                    </a:lnTo>
                    <a:lnTo>
                      <a:pt x="639" y="154"/>
                    </a:lnTo>
                    <a:lnTo>
                      <a:pt x="642" y="152"/>
                    </a:lnTo>
                    <a:lnTo>
                      <a:pt x="644" y="150"/>
                    </a:lnTo>
                    <a:lnTo>
                      <a:pt x="646" y="146"/>
                    </a:lnTo>
                    <a:lnTo>
                      <a:pt x="648" y="142"/>
                    </a:lnTo>
                    <a:lnTo>
                      <a:pt x="648" y="138"/>
                    </a:lnTo>
                    <a:lnTo>
                      <a:pt x="646" y="134"/>
                    </a:lnTo>
                    <a:lnTo>
                      <a:pt x="646" y="130"/>
                    </a:lnTo>
                    <a:lnTo>
                      <a:pt x="650" y="129"/>
                    </a:lnTo>
                    <a:lnTo>
                      <a:pt x="639" y="119"/>
                    </a:lnTo>
                    <a:lnTo>
                      <a:pt x="637" y="119"/>
                    </a:lnTo>
                    <a:lnTo>
                      <a:pt x="596" y="127"/>
                    </a:lnTo>
                    <a:lnTo>
                      <a:pt x="588" y="125"/>
                    </a:lnTo>
                    <a:lnTo>
                      <a:pt x="588" y="123"/>
                    </a:lnTo>
                    <a:lnTo>
                      <a:pt x="596" y="121"/>
                    </a:lnTo>
                    <a:lnTo>
                      <a:pt x="603" y="119"/>
                    </a:lnTo>
                    <a:lnTo>
                      <a:pt x="609" y="115"/>
                    </a:lnTo>
                    <a:lnTo>
                      <a:pt x="615" y="109"/>
                    </a:lnTo>
                    <a:lnTo>
                      <a:pt x="617" y="107"/>
                    </a:lnTo>
                    <a:lnTo>
                      <a:pt x="619" y="103"/>
                    </a:lnTo>
                    <a:lnTo>
                      <a:pt x="619" y="99"/>
                    </a:lnTo>
                    <a:lnTo>
                      <a:pt x="621" y="93"/>
                    </a:lnTo>
                    <a:lnTo>
                      <a:pt x="621" y="82"/>
                    </a:lnTo>
                    <a:lnTo>
                      <a:pt x="621" y="76"/>
                    </a:lnTo>
                    <a:lnTo>
                      <a:pt x="621" y="72"/>
                    </a:lnTo>
                    <a:lnTo>
                      <a:pt x="621" y="68"/>
                    </a:lnTo>
                    <a:lnTo>
                      <a:pt x="621" y="66"/>
                    </a:lnTo>
                    <a:lnTo>
                      <a:pt x="619" y="66"/>
                    </a:lnTo>
                    <a:lnTo>
                      <a:pt x="617" y="68"/>
                    </a:lnTo>
                    <a:lnTo>
                      <a:pt x="615" y="66"/>
                    </a:lnTo>
                    <a:lnTo>
                      <a:pt x="611" y="66"/>
                    </a:lnTo>
                    <a:lnTo>
                      <a:pt x="605" y="66"/>
                    </a:lnTo>
                    <a:lnTo>
                      <a:pt x="603" y="66"/>
                    </a:lnTo>
                    <a:lnTo>
                      <a:pt x="603" y="64"/>
                    </a:lnTo>
                    <a:lnTo>
                      <a:pt x="603" y="64"/>
                    </a:lnTo>
                    <a:lnTo>
                      <a:pt x="605" y="64"/>
                    </a:lnTo>
                    <a:lnTo>
                      <a:pt x="605" y="62"/>
                    </a:lnTo>
                    <a:lnTo>
                      <a:pt x="605" y="62"/>
                    </a:lnTo>
                    <a:lnTo>
                      <a:pt x="611" y="60"/>
                    </a:lnTo>
                    <a:lnTo>
                      <a:pt x="611" y="58"/>
                    </a:lnTo>
                    <a:lnTo>
                      <a:pt x="611" y="58"/>
                    </a:lnTo>
                    <a:lnTo>
                      <a:pt x="613" y="60"/>
                    </a:lnTo>
                    <a:lnTo>
                      <a:pt x="617" y="60"/>
                    </a:lnTo>
                    <a:lnTo>
                      <a:pt x="619" y="58"/>
                    </a:lnTo>
                    <a:lnTo>
                      <a:pt x="615" y="54"/>
                    </a:lnTo>
                    <a:lnTo>
                      <a:pt x="613" y="52"/>
                    </a:lnTo>
                    <a:lnTo>
                      <a:pt x="613" y="50"/>
                    </a:lnTo>
                    <a:lnTo>
                      <a:pt x="611" y="41"/>
                    </a:lnTo>
                    <a:lnTo>
                      <a:pt x="607" y="37"/>
                    </a:lnTo>
                    <a:lnTo>
                      <a:pt x="601" y="33"/>
                    </a:lnTo>
                    <a:lnTo>
                      <a:pt x="598" y="33"/>
                    </a:lnTo>
                    <a:lnTo>
                      <a:pt x="598" y="39"/>
                    </a:lnTo>
                    <a:lnTo>
                      <a:pt x="590" y="43"/>
                    </a:lnTo>
                    <a:lnTo>
                      <a:pt x="586" y="43"/>
                    </a:lnTo>
                    <a:lnTo>
                      <a:pt x="584" y="41"/>
                    </a:lnTo>
                    <a:lnTo>
                      <a:pt x="582" y="35"/>
                    </a:lnTo>
                    <a:lnTo>
                      <a:pt x="578" y="33"/>
                    </a:lnTo>
                    <a:lnTo>
                      <a:pt x="574" y="31"/>
                    </a:lnTo>
                    <a:lnTo>
                      <a:pt x="570" y="27"/>
                    </a:lnTo>
                    <a:lnTo>
                      <a:pt x="564" y="25"/>
                    </a:lnTo>
                    <a:lnTo>
                      <a:pt x="555" y="25"/>
                    </a:lnTo>
                    <a:lnTo>
                      <a:pt x="545" y="21"/>
                    </a:lnTo>
                    <a:lnTo>
                      <a:pt x="545" y="11"/>
                    </a:lnTo>
                    <a:lnTo>
                      <a:pt x="543" y="13"/>
                    </a:lnTo>
                    <a:lnTo>
                      <a:pt x="541" y="17"/>
                    </a:lnTo>
                    <a:lnTo>
                      <a:pt x="537" y="17"/>
                    </a:lnTo>
                    <a:lnTo>
                      <a:pt x="533" y="21"/>
                    </a:lnTo>
                    <a:lnTo>
                      <a:pt x="523" y="27"/>
                    </a:lnTo>
                    <a:lnTo>
                      <a:pt x="521" y="27"/>
                    </a:lnTo>
                    <a:lnTo>
                      <a:pt x="521" y="27"/>
                    </a:lnTo>
                    <a:lnTo>
                      <a:pt x="521" y="27"/>
                    </a:lnTo>
                    <a:lnTo>
                      <a:pt x="521" y="27"/>
                    </a:lnTo>
                    <a:lnTo>
                      <a:pt x="521" y="27"/>
                    </a:lnTo>
                    <a:lnTo>
                      <a:pt x="521" y="27"/>
                    </a:lnTo>
                    <a:lnTo>
                      <a:pt x="519" y="27"/>
                    </a:lnTo>
                    <a:lnTo>
                      <a:pt x="516" y="27"/>
                    </a:lnTo>
                    <a:lnTo>
                      <a:pt x="516" y="27"/>
                    </a:lnTo>
                    <a:lnTo>
                      <a:pt x="512" y="25"/>
                    </a:lnTo>
                    <a:lnTo>
                      <a:pt x="510" y="25"/>
                    </a:lnTo>
                    <a:lnTo>
                      <a:pt x="508" y="27"/>
                    </a:lnTo>
                    <a:lnTo>
                      <a:pt x="506" y="27"/>
                    </a:lnTo>
                    <a:lnTo>
                      <a:pt x="506" y="27"/>
                    </a:lnTo>
                    <a:lnTo>
                      <a:pt x="504" y="29"/>
                    </a:lnTo>
                    <a:lnTo>
                      <a:pt x="504" y="29"/>
                    </a:lnTo>
                    <a:lnTo>
                      <a:pt x="502" y="29"/>
                    </a:lnTo>
                    <a:lnTo>
                      <a:pt x="488" y="29"/>
                    </a:lnTo>
                    <a:lnTo>
                      <a:pt x="488" y="29"/>
                    </a:lnTo>
                    <a:lnTo>
                      <a:pt x="486" y="29"/>
                    </a:lnTo>
                    <a:lnTo>
                      <a:pt x="486" y="27"/>
                    </a:lnTo>
                    <a:lnTo>
                      <a:pt x="484" y="25"/>
                    </a:lnTo>
                    <a:lnTo>
                      <a:pt x="484" y="21"/>
                    </a:lnTo>
                    <a:lnTo>
                      <a:pt x="484" y="21"/>
                    </a:lnTo>
                    <a:lnTo>
                      <a:pt x="484" y="17"/>
                    </a:lnTo>
                    <a:lnTo>
                      <a:pt x="480" y="15"/>
                    </a:lnTo>
                    <a:lnTo>
                      <a:pt x="465" y="11"/>
                    </a:lnTo>
                    <a:lnTo>
                      <a:pt x="445" y="7"/>
                    </a:lnTo>
                    <a:lnTo>
                      <a:pt x="432" y="2"/>
                    </a:lnTo>
                    <a:lnTo>
                      <a:pt x="418" y="0"/>
                    </a:lnTo>
                    <a:lnTo>
                      <a:pt x="418" y="0"/>
                    </a:lnTo>
                    <a:lnTo>
                      <a:pt x="414" y="0"/>
                    </a:lnTo>
                    <a:lnTo>
                      <a:pt x="406" y="4"/>
                    </a:lnTo>
                    <a:lnTo>
                      <a:pt x="404" y="4"/>
                    </a:lnTo>
                    <a:lnTo>
                      <a:pt x="404" y="4"/>
                    </a:lnTo>
                    <a:lnTo>
                      <a:pt x="404" y="4"/>
                    </a:lnTo>
                    <a:lnTo>
                      <a:pt x="396" y="4"/>
                    </a:lnTo>
                    <a:lnTo>
                      <a:pt x="394" y="4"/>
                    </a:lnTo>
                    <a:lnTo>
                      <a:pt x="390" y="2"/>
                    </a:lnTo>
                    <a:lnTo>
                      <a:pt x="389" y="11"/>
                    </a:lnTo>
                    <a:lnTo>
                      <a:pt x="389" y="17"/>
                    </a:lnTo>
                    <a:lnTo>
                      <a:pt x="389" y="25"/>
                    </a:lnTo>
                    <a:lnTo>
                      <a:pt x="390" y="29"/>
                    </a:lnTo>
                    <a:lnTo>
                      <a:pt x="394" y="35"/>
                    </a:lnTo>
                    <a:lnTo>
                      <a:pt x="396" y="41"/>
                    </a:lnTo>
                    <a:lnTo>
                      <a:pt x="396" y="47"/>
                    </a:lnTo>
                    <a:lnTo>
                      <a:pt x="396" y="48"/>
                    </a:lnTo>
                    <a:lnTo>
                      <a:pt x="402" y="52"/>
                    </a:lnTo>
                    <a:lnTo>
                      <a:pt x="410" y="60"/>
                    </a:lnTo>
                    <a:lnTo>
                      <a:pt x="416" y="62"/>
                    </a:lnTo>
                    <a:lnTo>
                      <a:pt x="418" y="66"/>
                    </a:lnTo>
                    <a:lnTo>
                      <a:pt x="424" y="82"/>
                    </a:lnTo>
                    <a:lnTo>
                      <a:pt x="418" y="86"/>
                    </a:lnTo>
                    <a:lnTo>
                      <a:pt x="420" y="88"/>
                    </a:lnTo>
                    <a:lnTo>
                      <a:pt x="420" y="88"/>
                    </a:lnTo>
                    <a:lnTo>
                      <a:pt x="424" y="86"/>
                    </a:lnTo>
                    <a:lnTo>
                      <a:pt x="428" y="86"/>
                    </a:lnTo>
                    <a:lnTo>
                      <a:pt x="430" y="88"/>
                    </a:lnTo>
                    <a:lnTo>
                      <a:pt x="430" y="89"/>
                    </a:lnTo>
                    <a:lnTo>
                      <a:pt x="432" y="93"/>
                    </a:lnTo>
                    <a:lnTo>
                      <a:pt x="445" y="109"/>
                    </a:lnTo>
                    <a:lnTo>
                      <a:pt x="449" y="115"/>
                    </a:lnTo>
                    <a:lnTo>
                      <a:pt x="449" y="123"/>
                    </a:lnTo>
                    <a:lnTo>
                      <a:pt x="449" y="127"/>
                    </a:lnTo>
                    <a:lnTo>
                      <a:pt x="445" y="129"/>
                    </a:lnTo>
                    <a:lnTo>
                      <a:pt x="439" y="132"/>
                    </a:lnTo>
                    <a:lnTo>
                      <a:pt x="432" y="138"/>
                    </a:lnTo>
                    <a:lnTo>
                      <a:pt x="430" y="140"/>
                    </a:lnTo>
                    <a:lnTo>
                      <a:pt x="426" y="142"/>
                    </a:lnTo>
                    <a:lnTo>
                      <a:pt x="406" y="142"/>
                    </a:lnTo>
                    <a:lnTo>
                      <a:pt x="392" y="144"/>
                    </a:lnTo>
                    <a:lnTo>
                      <a:pt x="389" y="144"/>
                    </a:lnTo>
                    <a:lnTo>
                      <a:pt x="387" y="146"/>
                    </a:lnTo>
                    <a:lnTo>
                      <a:pt x="387" y="148"/>
                    </a:lnTo>
                    <a:lnTo>
                      <a:pt x="385" y="152"/>
                    </a:lnTo>
                    <a:lnTo>
                      <a:pt x="387" y="156"/>
                    </a:lnTo>
                    <a:lnTo>
                      <a:pt x="389" y="152"/>
                    </a:lnTo>
                    <a:lnTo>
                      <a:pt x="392" y="152"/>
                    </a:lnTo>
                    <a:lnTo>
                      <a:pt x="394" y="154"/>
                    </a:lnTo>
                    <a:lnTo>
                      <a:pt x="396" y="156"/>
                    </a:lnTo>
                    <a:lnTo>
                      <a:pt x="396" y="158"/>
                    </a:lnTo>
                    <a:lnTo>
                      <a:pt x="392" y="158"/>
                    </a:lnTo>
                    <a:lnTo>
                      <a:pt x="389" y="158"/>
                    </a:lnTo>
                    <a:lnTo>
                      <a:pt x="383" y="160"/>
                    </a:lnTo>
                    <a:lnTo>
                      <a:pt x="381" y="164"/>
                    </a:lnTo>
                    <a:lnTo>
                      <a:pt x="381" y="170"/>
                    </a:lnTo>
                    <a:lnTo>
                      <a:pt x="385" y="177"/>
                    </a:lnTo>
                    <a:lnTo>
                      <a:pt x="390" y="181"/>
                    </a:lnTo>
                    <a:lnTo>
                      <a:pt x="394" y="183"/>
                    </a:lnTo>
                    <a:lnTo>
                      <a:pt x="396" y="181"/>
                    </a:lnTo>
                    <a:lnTo>
                      <a:pt x="402" y="177"/>
                    </a:lnTo>
                    <a:lnTo>
                      <a:pt x="404" y="175"/>
                    </a:lnTo>
                    <a:lnTo>
                      <a:pt x="410" y="177"/>
                    </a:lnTo>
                    <a:lnTo>
                      <a:pt x="416" y="175"/>
                    </a:lnTo>
                    <a:lnTo>
                      <a:pt x="424" y="173"/>
                    </a:lnTo>
                    <a:lnTo>
                      <a:pt x="430" y="173"/>
                    </a:lnTo>
                    <a:lnTo>
                      <a:pt x="430" y="173"/>
                    </a:lnTo>
                    <a:lnTo>
                      <a:pt x="428" y="175"/>
                    </a:lnTo>
                    <a:lnTo>
                      <a:pt x="428" y="177"/>
                    </a:lnTo>
                    <a:lnTo>
                      <a:pt x="432" y="175"/>
                    </a:lnTo>
                    <a:lnTo>
                      <a:pt x="437" y="170"/>
                    </a:lnTo>
                    <a:lnTo>
                      <a:pt x="441" y="170"/>
                    </a:lnTo>
                    <a:lnTo>
                      <a:pt x="439" y="173"/>
                    </a:lnTo>
                    <a:lnTo>
                      <a:pt x="437" y="177"/>
                    </a:lnTo>
                    <a:lnTo>
                      <a:pt x="435" y="181"/>
                    </a:lnTo>
                    <a:lnTo>
                      <a:pt x="433" y="183"/>
                    </a:lnTo>
                    <a:lnTo>
                      <a:pt x="430" y="183"/>
                    </a:lnTo>
                    <a:lnTo>
                      <a:pt x="424" y="185"/>
                    </a:lnTo>
                    <a:lnTo>
                      <a:pt x="422" y="187"/>
                    </a:lnTo>
                    <a:lnTo>
                      <a:pt x="422" y="189"/>
                    </a:lnTo>
                    <a:lnTo>
                      <a:pt x="422" y="193"/>
                    </a:lnTo>
                    <a:lnTo>
                      <a:pt x="420" y="197"/>
                    </a:lnTo>
                    <a:lnTo>
                      <a:pt x="418" y="203"/>
                    </a:lnTo>
                    <a:lnTo>
                      <a:pt x="416" y="209"/>
                    </a:lnTo>
                    <a:lnTo>
                      <a:pt x="418" y="209"/>
                    </a:lnTo>
                    <a:lnTo>
                      <a:pt x="420" y="216"/>
                    </a:lnTo>
                    <a:lnTo>
                      <a:pt x="426" y="224"/>
                    </a:lnTo>
                    <a:lnTo>
                      <a:pt x="426" y="224"/>
                    </a:lnTo>
                    <a:lnTo>
                      <a:pt x="430" y="220"/>
                    </a:lnTo>
                    <a:lnTo>
                      <a:pt x="433" y="218"/>
                    </a:lnTo>
                    <a:lnTo>
                      <a:pt x="439" y="216"/>
                    </a:lnTo>
                    <a:lnTo>
                      <a:pt x="443" y="218"/>
                    </a:lnTo>
                    <a:lnTo>
                      <a:pt x="443" y="220"/>
                    </a:lnTo>
                    <a:lnTo>
                      <a:pt x="443" y="222"/>
                    </a:lnTo>
                    <a:lnTo>
                      <a:pt x="445" y="226"/>
                    </a:lnTo>
                    <a:lnTo>
                      <a:pt x="449" y="228"/>
                    </a:lnTo>
                    <a:lnTo>
                      <a:pt x="451" y="232"/>
                    </a:lnTo>
                    <a:lnTo>
                      <a:pt x="451" y="236"/>
                    </a:lnTo>
                    <a:lnTo>
                      <a:pt x="451" y="242"/>
                    </a:lnTo>
                    <a:lnTo>
                      <a:pt x="449" y="248"/>
                    </a:lnTo>
                    <a:lnTo>
                      <a:pt x="447" y="252"/>
                    </a:lnTo>
                    <a:lnTo>
                      <a:pt x="443" y="253"/>
                    </a:lnTo>
                    <a:lnTo>
                      <a:pt x="439" y="252"/>
                    </a:lnTo>
                    <a:lnTo>
                      <a:pt x="433" y="248"/>
                    </a:lnTo>
                    <a:lnTo>
                      <a:pt x="430" y="246"/>
                    </a:lnTo>
                    <a:lnTo>
                      <a:pt x="426" y="246"/>
                    </a:lnTo>
                    <a:lnTo>
                      <a:pt x="420" y="250"/>
                    </a:lnTo>
                    <a:lnTo>
                      <a:pt x="433" y="277"/>
                    </a:lnTo>
                    <a:lnTo>
                      <a:pt x="439" y="285"/>
                    </a:lnTo>
                    <a:lnTo>
                      <a:pt x="445" y="289"/>
                    </a:lnTo>
                    <a:lnTo>
                      <a:pt x="449" y="291"/>
                    </a:lnTo>
                    <a:lnTo>
                      <a:pt x="451" y="287"/>
                    </a:lnTo>
                    <a:lnTo>
                      <a:pt x="453" y="287"/>
                    </a:lnTo>
                    <a:lnTo>
                      <a:pt x="457" y="287"/>
                    </a:lnTo>
                    <a:lnTo>
                      <a:pt x="463" y="291"/>
                    </a:lnTo>
                    <a:lnTo>
                      <a:pt x="484" y="291"/>
                    </a:lnTo>
                    <a:lnTo>
                      <a:pt x="492" y="293"/>
                    </a:lnTo>
                    <a:lnTo>
                      <a:pt x="498" y="296"/>
                    </a:lnTo>
                    <a:lnTo>
                      <a:pt x="508" y="304"/>
                    </a:lnTo>
                    <a:lnTo>
                      <a:pt x="514" y="308"/>
                    </a:lnTo>
                    <a:lnTo>
                      <a:pt x="514" y="312"/>
                    </a:lnTo>
                    <a:lnTo>
                      <a:pt x="517" y="322"/>
                    </a:lnTo>
                    <a:lnTo>
                      <a:pt x="521" y="330"/>
                    </a:lnTo>
                    <a:lnTo>
                      <a:pt x="525" y="334"/>
                    </a:lnTo>
                    <a:lnTo>
                      <a:pt x="527" y="335"/>
                    </a:lnTo>
                    <a:lnTo>
                      <a:pt x="535" y="339"/>
                    </a:lnTo>
                    <a:lnTo>
                      <a:pt x="537" y="341"/>
                    </a:lnTo>
                    <a:lnTo>
                      <a:pt x="537" y="345"/>
                    </a:lnTo>
                    <a:lnTo>
                      <a:pt x="539" y="353"/>
                    </a:lnTo>
                    <a:lnTo>
                      <a:pt x="541" y="363"/>
                    </a:lnTo>
                    <a:lnTo>
                      <a:pt x="545" y="369"/>
                    </a:lnTo>
                    <a:lnTo>
                      <a:pt x="558" y="376"/>
                    </a:lnTo>
                    <a:lnTo>
                      <a:pt x="564" y="378"/>
                    </a:lnTo>
                    <a:lnTo>
                      <a:pt x="578" y="380"/>
                    </a:lnTo>
                    <a:lnTo>
                      <a:pt x="586" y="384"/>
                    </a:lnTo>
                    <a:lnTo>
                      <a:pt x="588" y="388"/>
                    </a:lnTo>
                    <a:lnTo>
                      <a:pt x="586" y="388"/>
                    </a:lnTo>
                    <a:lnTo>
                      <a:pt x="576" y="386"/>
                    </a:lnTo>
                    <a:lnTo>
                      <a:pt x="564" y="384"/>
                    </a:lnTo>
                    <a:lnTo>
                      <a:pt x="555" y="378"/>
                    </a:lnTo>
                    <a:lnTo>
                      <a:pt x="553" y="376"/>
                    </a:lnTo>
                    <a:lnTo>
                      <a:pt x="549" y="376"/>
                    </a:lnTo>
                    <a:lnTo>
                      <a:pt x="545" y="375"/>
                    </a:lnTo>
                    <a:lnTo>
                      <a:pt x="543" y="373"/>
                    </a:lnTo>
                    <a:lnTo>
                      <a:pt x="531" y="355"/>
                    </a:lnTo>
                    <a:lnTo>
                      <a:pt x="529" y="347"/>
                    </a:lnTo>
                    <a:lnTo>
                      <a:pt x="527" y="343"/>
                    </a:lnTo>
                    <a:lnTo>
                      <a:pt x="521" y="339"/>
                    </a:lnTo>
                    <a:lnTo>
                      <a:pt x="516" y="332"/>
                    </a:lnTo>
                    <a:lnTo>
                      <a:pt x="500" y="304"/>
                    </a:lnTo>
                    <a:lnTo>
                      <a:pt x="496" y="298"/>
                    </a:lnTo>
                    <a:lnTo>
                      <a:pt x="494" y="298"/>
                    </a:lnTo>
                    <a:lnTo>
                      <a:pt x="488" y="298"/>
                    </a:lnTo>
                    <a:lnTo>
                      <a:pt x="486" y="296"/>
                    </a:lnTo>
                    <a:lnTo>
                      <a:pt x="482" y="296"/>
                    </a:lnTo>
                    <a:lnTo>
                      <a:pt x="480" y="298"/>
                    </a:lnTo>
                    <a:lnTo>
                      <a:pt x="467" y="298"/>
                    </a:lnTo>
                    <a:lnTo>
                      <a:pt x="453" y="300"/>
                    </a:lnTo>
                    <a:lnTo>
                      <a:pt x="451" y="304"/>
                    </a:lnTo>
                    <a:lnTo>
                      <a:pt x="443" y="304"/>
                    </a:lnTo>
                    <a:lnTo>
                      <a:pt x="432" y="306"/>
                    </a:lnTo>
                    <a:lnTo>
                      <a:pt x="426" y="308"/>
                    </a:lnTo>
                    <a:lnTo>
                      <a:pt x="412" y="304"/>
                    </a:lnTo>
                    <a:lnTo>
                      <a:pt x="406" y="300"/>
                    </a:lnTo>
                    <a:lnTo>
                      <a:pt x="400" y="296"/>
                    </a:lnTo>
                    <a:lnTo>
                      <a:pt x="394" y="291"/>
                    </a:lnTo>
                    <a:lnTo>
                      <a:pt x="392" y="291"/>
                    </a:lnTo>
                    <a:lnTo>
                      <a:pt x="390" y="291"/>
                    </a:lnTo>
                    <a:lnTo>
                      <a:pt x="387" y="291"/>
                    </a:lnTo>
                    <a:lnTo>
                      <a:pt x="383" y="293"/>
                    </a:lnTo>
                    <a:lnTo>
                      <a:pt x="379" y="296"/>
                    </a:lnTo>
                    <a:lnTo>
                      <a:pt x="377" y="300"/>
                    </a:lnTo>
                    <a:lnTo>
                      <a:pt x="373" y="308"/>
                    </a:lnTo>
                    <a:lnTo>
                      <a:pt x="369" y="324"/>
                    </a:lnTo>
                    <a:lnTo>
                      <a:pt x="363" y="339"/>
                    </a:lnTo>
                    <a:lnTo>
                      <a:pt x="361" y="343"/>
                    </a:lnTo>
                    <a:lnTo>
                      <a:pt x="361" y="349"/>
                    </a:lnTo>
                    <a:lnTo>
                      <a:pt x="361" y="353"/>
                    </a:lnTo>
                    <a:lnTo>
                      <a:pt x="365" y="361"/>
                    </a:lnTo>
                    <a:lnTo>
                      <a:pt x="365" y="365"/>
                    </a:lnTo>
                    <a:lnTo>
                      <a:pt x="367" y="369"/>
                    </a:lnTo>
                    <a:lnTo>
                      <a:pt x="369" y="373"/>
                    </a:lnTo>
                    <a:lnTo>
                      <a:pt x="371" y="375"/>
                    </a:lnTo>
                    <a:lnTo>
                      <a:pt x="375" y="386"/>
                    </a:lnTo>
                    <a:lnTo>
                      <a:pt x="375" y="388"/>
                    </a:lnTo>
                    <a:lnTo>
                      <a:pt x="373" y="396"/>
                    </a:lnTo>
                    <a:lnTo>
                      <a:pt x="371" y="398"/>
                    </a:lnTo>
                    <a:lnTo>
                      <a:pt x="367" y="402"/>
                    </a:lnTo>
                    <a:lnTo>
                      <a:pt x="363" y="408"/>
                    </a:lnTo>
                    <a:lnTo>
                      <a:pt x="363" y="416"/>
                    </a:lnTo>
                    <a:lnTo>
                      <a:pt x="365" y="433"/>
                    </a:lnTo>
                    <a:lnTo>
                      <a:pt x="365" y="441"/>
                    </a:lnTo>
                    <a:lnTo>
                      <a:pt x="363" y="435"/>
                    </a:lnTo>
                    <a:lnTo>
                      <a:pt x="361" y="427"/>
                    </a:lnTo>
                    <a:lnTo>
                      <a:pt x="361" y="412"/>
                    </a:lnTo>
                    <a:lnTo>
                      <a:pt x="363" y="404"/>
                    </a:lnTo>
                    <a:lnTo>
                      <a:pt x="365" y="398"/>
                    </a:lnTo>
                    <a:lnTo>
                      <a:pt x="369" y="394"/>
                    </a:lnTo>
                    <a:lnTo>
                      <a:pt x="373" y="390"/>
                    </a:lnTo>
                    <a:lnTo>
                      <a:pt x="373" y="388"/>
                    </a:lnTo>
                    <a:lnTo>
                      <a:pt x="367" y="384"/>
                    </a:lnTo>
                    <a:lnTo>
                      <a:pt x="351" y="382"/>
                    </a:lnTo>
                    <a:lnTo>
                      <a:pt x="346" y="378"/>
                    </a:lnTo>
                    <a:lnTo>
                      <a:pt x="344" y="376"/>
                    </a:lnTo>
                    <a:lnTo>
                      <a:pt x="342" y="373"/>
                    </a:lnTo>
                    <a:lnTo>
                      <a:pt x="340" y="369"/>
                    </a:lnTo>
                    <a:lnTo>
                      <a:pt x="336" y="367"/>
                    </a:lnTo>
                    <a:lnTo>
                      <a:pt x="328" y="367"/>
                    </a:lnTo>
                    <a:lnTo>
                      <a:pt x="326" y="369"/>
                    </a:lnTo>
                    <a:lnTo>
                      <a:pt x="324" y="371"/>
                    </a:lnTo>
                    <a:lnTo>
                      <a:pt x="322" y="375"/>
                    </a:lnTo>
                    <a:lnTo>
                      <a:pt x="320" y="384"/>
                    </a:lnTo>
                    <a:lnTo>
                      <a:pt x="320" y="390"/>
                    </a:lnTo>
                    <a:lnTo>
                      <a:pt x="320" y="394"/>
                    </a:lnTo>
                    <a:lnTo>
                      <a:pt x="322" y="394"/>
                    </a:lnTo>
                    <a:lnTo>
                      <a:pt x="330" y="392"/>
                    </a:lnTo>
                    <a:lnTo>
                      <a:pt x="334" y="398"/>
                    </a:lnTo>
                    <a:lnTo>
                      <a:pt x="334" y="408"/>
                    </a:lnTo>
                    <a:lnTo>
                      <a:pt x="330" y="417"/>
                    </a:lnTo>
                    <a:lnTo>
                      <a:pt x="326" y="423"/>
                    </a:lnTo>
                    <a:lnTo>
                      <a:pt x="324" y="425"/>
                    </a:lnTo>
                    <a:lnTo>
                      <a:pt x="322" y="425"/>
                    </a:lnTo>
                    <a:lnTo>
                      <a:pt x="320" y="427"/>
                    </a:lnTo>
                    <a:lnTo>
                      <a:pt x="318" y="427"/>
                    </a:lnTo>
                    <a:lnTo>
                      <a:pt x="314" y="425"/>
                    </a:lnTo>
                    <a:lnTo>
                      <a:pt x="312" y="423"/>
                    </a:lnTo>
                    <a:lnTo>
                      <a:pt x="312" y="419"/>
                    </a:lnTo>
                    <a:lnTo>
                      <a:pt x="310" y="419"/>
                    </a:lnTo>
                    <a:lnTo>
                      <a:pt x="308" y="417"/>
                    </a:lnTo>
                    <a:lnTo>
                      <a:pt x="306" y="414"/>
                    </a:lnTo>
                    <a:lnTo>
                      <a:pt x="305" y="414"/>
                    </a:lnTo>
                    <a:lnTo>
                      <a:pt x="301" y="414"/>
                    </a:lnTo>
                    <a:lnTo>
                      <a:pt x="299" y="414"/>
                    </a:lnTo>
                    <a:lnTo>
                      <a:pt x="297" y="416"/>
                    </a:lnTo>
                    <a:lnTo>
                      <a:pt x="295" y="414"/>
                    </a:lnTo>
                    <a:lnTo>
                      <a:pt x="293" y="410"/>
                    </a:lnTo>
                    <a:lnTo>
                      <a:pt x="291" y="400"/>
                    </a:lnTo>
                    <a:lnTo>
                      <a:pt x="293" y="398"/>
                    </a:lnTo>
                    <a:lnTo>
                      <a:pt x="301" y="398"/>
                    </a:lnTo>
                    <a:lnTo>
                      <a:pt x="303" y="396"/>
                    </a:lnTo>
                    <a:lnTo>
                      <a:pt x="306" y="394"/>
                    </a:lnTo>
                    <a:lnTo>
                      <a:pt x="308" y="390"/>
                    </a:lnTo>
                    <a:lnTo>
                      <a:pt x="308" y="386"/>
                    </a:lnTo>
                    <a:lnTo>
                      <a:pt x="306" y="382"/>
                    </a:lnTo>
                    <a:lnTo>
                      <a:pt x="303" y="382"/>
                    </a:lnTo>
                    <a:lnTo>
                      <a:pt x="301" y="380"/>
                    </a:lnTo>
                    <a:lnTo>
                      <a:pt x="303" y="376"/>
                    </a:lnTo>
                    <a:lnTo>
                      <a:pt x="303" y="375"/>
                    </a:lnTo>
                    <a:lnTo>
                      <a:pt x="297" y="371"/>
                    </a:lnTo>
                    <a:lnTo>
                      <a:pt x="289" y="363"/>
                    </a:lnTo>
                    <a:lnTo>
                      <a:pt x="285" y="351"/>
                    </a:lnTo>
                    <a:lnTo>
                      <a:pt x="285" y="343"/>
                    </a:lnTo>
                    <a:lnTo>
                      <a:pt x="285" y="341"/>
                    </a:lnTo>
                    <a:lnTo>
                      <a:pt x="273" y="337"/>
                    </a:lnTo>
                    <a:lnTo>
                      <a:pt x="222" y="345"/>
                    </a:lnTo>
                    <a:lnTo>
                      <a:pt x="197" y="351"/>
                    </a:lnTo>
                    <a:lnTo>
                      <a:pt x="193" y="349"/>
                    </a:lnTo>
                    <a:lnTo>
                      <a:pt x="191" y="347"/>
                    </a:lnTo>
                    <a:lnTo>
                      <a:pt x="189" y="345"/>
                    </a:lnTo>
                    <a:lnTo>
                      <a:pt x="164" y="349"/>
                    </a:lnTo>
                    <a:lnTo>
                      <a:pt x="150" y="353"/>
                    </a:lnTo>
                    <a:lnTo>
                      <a:pt x="144" y="361"/>
                    </a:lnTo>
                    <a:lnTo>
                      <a:pt x="142" y="363"/>
                    </a:lnTo>
                    <a:lnTo>
                      <a:pt x="137" y="369"/>
                    </a:lnTo>
                    <a:lnTo>
                      <a:pt x="131" y="373"/>
                    </a:lnTo>
                    <a:lnTo>
                      <a:pt x="129" y="376"/>
                    </a:lnTo>
                    <a:lnTo>
                      <a:pt x="129" y="380"/>
                    </a:lnTo>
                    <a:lnTo>
                      <a:pt x="131" y="382"/>
                    </a:lnTo>
                    <a:lnTo>
                      <a:pt x="135" y="384"/>
                    </a:lnTo>
                    <a:lnTo>
                      <a:pt x="137" y="386"/>
                    </a:lnTo>
                    <a:lnTo>
                      <a:pt x="137" y="390"/>
                    </a:lnTo>
                    <a:lnTo>
                      <a:pt x="137" y="392"/>
                    </a:lnTo>
                    <a:lnTo>
                      <a:pt x="135" y="394"/>
                    </a:lnTo>
                    <a:lnTo>
                      <a:pt x="133" y="396"/>
                    </a:lnTo>
                    <a:lnTo>
                      <a:pt x="127" y="394"/>
                    </a:lnTo>
                    <a:lnTo>
                      <a:pt x="123" y="394"/>
                    </a:lnTo>
                    <a:lnTo>
                      <a:pt x="123" y="396"/>
                    </a:lnTo>
                    <a:lnTo>
                      <a:pt x="121" y="402"/>
                    </a:lnTo>
                    <a:lnTo>
                      <a:pt x="117" y="410"/>
                    </a:lnTo>
                    <a:lnTo>
                      <a:pt x="117" y="414"/>
                    </a:lnTo>
                    <a:lnTo>
                      <a:pt x="117" y="435"/>
                    </a:lnTo>
                    <a:lnTo>
                      <a:pt x="119" y="443"/>
                    </a:lnTo>
                    <a:lnTo>
                      <a:pt x="127" y="447"/>
                    </a:lnTo>
                    <a:lnTo>
                      <a:pt x="164" y="447"/>
                    </a:lnTo>
                    <a:lnTo>
                      <a:pt x="170" y="449"/>
                    </a:lnTo>
                    <a:lnTo>
                      <a:pt x="176" y="457"/>
                    </a:lnTo>
                    <a:lnTo>
                      <a:pt x="172" y="455"/>
                    </a:lnTo>
                    <a:lnTo>
                      <a:pt x="166" y="451"/>
                    </a:lnTo>
                    <a:lnTo>
                      <a:pt x="162" y="451"/>
                    </a:lnTo>
                    <a:lnTo>
                      <a:pt x="158" y="451"/>
                    </a:lnTo>
                    <a:lnTo>
                      <a:pt x="156" y="451"/>
                    </a:lnTo>
                    <a:lnTo>
                      <a:pt x="152" y="457"/>
                    </a:lnTo>
                    <a:lnTo>
                      <a:pt x="152" y="460"/>
                    </a:lnTo>
                    <a:lnTo>
                      <a:pt x="152" y="464"/>
                    </a:lnTo>
                    <a:lnTo>
                      <a:pt x="150" y="466"/>
                    </a:lnTo>
                    <a:lnTo>
                      <a:pt x="150" y="468"/>
                    </a:lnTo>
                    <a:lnTo>
                      <a:pt x="148" y="470"/>
                    </a:lnTo>
                    <a:lnTo>
                      <a:pt x="146" y="472"/>
                    </a:lnTo>
                    <a:lnTo>
                      <a:pt x="146" y="480"/>
                    </a:lnTo>
                    <a:lnTo>
                      <a:pt x="146" y="484"/>
                    </a:lnTo>
                    <a:lnTo>
                      <a:pt x="146" y="488"/>
                    </a:lnTo>
                    <a:lnTo>
                      <a:pt x="144" y="494"/>
                    </a:lnTo>
                    <a:lnTo>
                      <a:pt x="142" y="499"/>
                    </a:lnTo>
                    <a:lnTo>
                      <a:pt x="142" y="501"/>
                    </a:lnTo>
                    <a:lnTo>
                      <a:pt x="142" y="505"/>
                    </a:lnTo>
                    <a:lnTo>
                      <a:pt x="142" y="507"/>
                    </a:lnTo>
                    <a:lnTo>
                      <a:pt x="144" y="507"/>
                    </a:lnTo>
                    <a:lnTo>
                      <a:pt x="144" y="511"/>
                    </a:lnTo>
                    <a:lnTo>
                      <a:pt x="146" y="531"/>
                    </a:lnTo>
                    <a:lnTo>
                      <a:pt x="146" y="540"/>
                    </a:lnTo>
                    <a:lnTo>
                      <a:pt x="144" y="548"/>
                    </a:lnTo>
                    <a:lnTo>
                      <a:pt x="140" y="558"/>
                    </a:lnTo>
                    <a:lnTo>
                      <a:pt x="127" y="580"/>
                    </a:lnTo>
                    <a:lnTo>
                      <a:pt x="125" y="583"/>
                    </a:lnTo>
                    <a:lnTo>
                      <a:pt x="123" y="589"/>
                    </a:lnTo>
                    <a:lnTo>
                      <a:pt x="123" y="597"/>
                    </a:lnTo>
                    <a:lnTo>
                      <a:pt x="121" y="628"/>
                    </a:lnTo>
                    <a:lnTo>
                      <a:pt x="119" y="638"/>
                    </a:lnTo>
                    <a:lnTo>
                      <a:pt x="117" y="644"/>
                    </a:lnTo>
                    <a:lnTo>
                      <a:pt x="111" y="642"/>
                    </a:lnTo>
                    <a:lnTo>
                      <a:pt x="107" y="640"/>
                    </a:lnTo>
                    <a:lnTo>
                      <a:pt x="99" y="642"/>
                    </a:lnTo>
                    <a:lnTo>
                      <a:pt x="92" y="638"/>
                    </a:lnTo>
                    <a:lnTo>
                      <a:pt x="74" y="638"/>
                    </a:lnTo>
                    <a:lnTo>
                      <a:pt x="70" y="640"/>
                    </a:lnTo>
                    <a:lnTo>
                      <a:pt x="66" y="642"/>
                    </a:lnTo>
                    <a:lnTo>
                      <a:pt x="64" y="646"/>
                    </a:lnTo>
                    <a:lnTo>
                      <a:pt x="64" y="648"/>
                    </a:lnTo>
                    <a:lnTo>
                      <a:pt x="64" y="650"/>
                    </a:lnTo>
                    <a:lnTo>
                      <a:pt x="64" y="652"/>
                    </a:lnTo>
                    <a:lnTo>
                      <a:pt x="64" y="656"/>
                    </a:lnTo>
                    <a:lnTo>
                      <a:pt x="64" y="656"/>
                    </a:lnTo>
                    <a:lnTo>
                      <a:pt x="70" y="662"/>
                    </a:lnTo>
                    <a:lnTo>
                      <a:pt x="60" y="665"/>
                    </a:lnTo>
                    <a:lnTo>
                      <a:pt x="58" y="665"/>
                    </a:lnTo>
                    <a:lnTo>
                      <a:pt x="60" y="671"/>
                    </a:lnTo>
                    <a:lnTo>
                      <a:pt x="60" y="675"/>
                    </a:lnTo>
                    <a:lnTo>
                      <a:pt x="60" y="681"/>
                    </a:lnTo>
                    <a:lnTo>
                      <a:pt x="62" y="685"/>
                    </a:lnTo>
                    <a:lnTo>
                      <a:pt x="66" y="689"/>
                    </a:lnTo>
                    <a:lnTo>
                      <a:pt x="70" y="691"/>
                    </a:lnTo>
                    <a:lnTo>
                      <a:pt x="84" y="693"/>
                    </a:lnTo>
                    <a:lnTo>
                      <a:pt x="92" y="695"/>
                    </a:lnTo>
                    <a:lnTo>
                      <a:pt x="97" y="697"/>
                    </a:lnTo>
                    <a:lnTo>
                      <a:pt x="101" y="697"/>
                    </a:lnTo>
                    <a:lnTo>
                      <a:pt x="105" y="695"/>
                    </a:lnTo>
                    <a:lnTo>
                      <a:pt x="107" y="693"/>
                    </a:lnTo>
                    <a:lnTo>
                      <a:pt x="107" y="691"/>
                    </a:lnTo>
                    <a:lnTo>
                      <a:pt x="109" y="691"/>
                    </a:lnTo>
                    <a:lnTo>
                      <a:pt x="119" y="708"/>
                    </a:lnTo>
                    <a:lnTo>
                      <a:pt x="121" y="714"/>
                    </a:lnTo>
                    <a:lnTo>
                      <a:pt x="121" y="724"/>
                    </a:lnTo>
                    <a:lnTo>
                      <a:pt x="117" y="732"/>
                    </a:lnTo>
                    <a:lnTo>
                      <a:pt x="115" y="736"/>
                    </a:lnTo>
                    <a:lnTo>
                      <a:pt x="115" y="742"/>
                    </a:lnTo>
                    <a:lnTo>
                      <a:pt x="117" y="747"/>
                    </a:lnTo>
                    <a:lnTo>
                      <a:pt x="117" y="749"/>
                    </a:lnTo>
                    <a:lnTo>
                      <a:pt x="119" y="749"/>
                    </a:lnTo>
                    <a:lnTo>
                      <a:pt x="117" y="751"/>
                    </a:lnTo>
                    <a:lnTo>
                      <a:pt x="111" y="755"/>
                    </a:lnTo>
                    <a:lnTo>
                      <a:pt x="109" y="757"/>
                    </a:lnTo>
                    <a:lnTo>
                      <a:pt x="105" y="765"/>
                    </a:lnTo>
                    <a:lnTo>
                      <a:pt x="101" y="767"/>
                    </a:lnTo>
                    <a:lnTo>
                      <a:pt x="94" y="771"/>
                    </a:lnTo>
                    <a:lnTo>
                      <a:pt x="92" y="773"/>
                    </a:lnTo>
                    <a:lnTo>
                      <a:pt x="88" y="781"/>
                    </a:lnTo>
                    <a:lnTo>
                      <a:pt x="86" y="783"/>
                    </a:lnTo>
                    <a:lnTo>
                      <a:pt x="76" y="785"/>
                    </a:lnTo>
                    <a:lnTo>
                      <a:pt x="74" y="785"/>
                    </a:lnTo>
                    <a:lnTo>
                      <a:pt x="72" y="787"/>
                    </a:lnTo>
                    <a:lnTo>
                      <a:pt x="68" y="788"/>
                    </a:lnTo>
                    <a:lnTo>
                      <a:pt x="68" y="790"/>
                    </a:lnTo>
                    <a:lnTo>
                      <a:pt x="66" y="794"/>
                    </a:lnTo>
                    <a:lnTo>
                      <a:pt x="64" y="796"/>
                    </a:lnTo>
                    <a:lnTo>
                      <a:pt x="62" y="796"/>
                    </a:lnTo>
                    <a:lnTo>
                      <a:pt x="60" y="796"/>
                    </a:lnTo>
                    <a:lnTo>
                      <a:pt x="60" y="798"/>
                    </a:lnTo>
                    <a:lnTo>
                      <a:pt x="58" y="800"/>
                    </a:lnTo>
                    <a:lnTo>
                      <a:pt x="58" y="804"/>
                    </a:lnTo>
                    <a:lnTo>
                      <a:pt x="62" y="806"/>
                    </a:lnTo>
                    <a:lnTo>
                      <a:pt x="64" y="808"/>
                    </a:lnTo>
                    <a:lnTo>
                      <a:pt x="76" y="814"/>
                    </a:lnTo>
                    <a:lnTo>
                      <a:pt x="80" y="818"/>
                    </a:lnTo>
                    <a:lnTo>
                      <a:pt x="82" y="820"/>
                    </a:lnTo>
                    <a:lnTo>
                      <a:pt x="82" y="822"/>
                    </a:lnTo>
                    <a:lnTo>
                      <a:pt x="82" y="824"/>
                    </a:lnTo>
                    <a:lnTo>
                      <a:pt x="80" y="826"/>
                    </a:lnTo>
                    <a:lnTo>
                      <a:pt x="80" y="826"/>
                    </a:lnTo>
                    <a:lnTo>
                      <a:pt x="78" y="828"/>
                    </a:lnTo>
                    <a:lnTo>
                      <a:pt x="74" y="833"/>
                    </a:lnTo>
                    <a:lnTo>
                      <a:pt x="70" y="839"/>
                    </a:lnTo>
                    <a:lnTo>
                      <a:pt x="66" y="841"/>
                    </a:lnTo>
                    <a:lnTo>
                      <a:pt x="51" y="841"/>
                    </a:lnTo>
                    <a:lnTo>
                      <a:pt x="35" y="847"/>
                    </a:lnTo>
                    <a:lnTo>
                      <a:pt x="27" y="853"/>
                    </a:lnTo>
                    <a:lnTo>
                      <a:pt x="23" y="855"/>
                    </a:lnTo>
                    <a:lnTo>
                      <a:pt x="19" y="855"/>
                    </a:lnTo>
                    <a:lnTo>
                      <a:pt x="10" y="851"/>
                    </a:lnTo>
                    <a:lnTo>
                      <a:pt x="11" y="859"/>
                    </a:lnTo>
                    <a:lnTo>
                      <a:pt x="10" y="861"/>
                    </a:lnTo>
                    <a:lnTo>
                      <a:pt x="4" y="863"/>
                    </a:lnTo>
                    <a:lnTo>
                      <a:pt x="4" y="859"/>
                    </a:lnTo>
                    <a:lnTo>
                      <a:pt x="0" y="857"/>
                    </a:lnTo>
                    <a:lnTo>
                      <a:pt x="0" y="857"/>
                    </a:lnTo>
                    <a:lnTo>
                      <a:pt x="0" y="1218"/>
                    </a:lnTo>
                    <a:lnTo>
                      <a:pt x="2" y="1218"/>
                    </a:lnTo>
                    <a:close/>
                    <a:moveTo>
                      <a:pt x="433" y="1938"/>
                    </a:moveTo>
                    <a:lnTo>
                      <a:pt x="437" y="1935"/>
                    </a:lnTo>
                    <a:lnTo>
                      <a:pt x="445" y="1931"/>
                    </a:lnTo>
                    <a:lnTo>
                      <a:pt x="449" y="1927"/>
                    </a:lnTo>
                    <a:lnTo>
                      <a:pt x="441" y="1921"/>
                    </a:lnTo>
                    <a:lnTo>
                      <a:pt x="439" y="1919"/>
                    </a:lnTo>
                    <a:lnTo>
                      <a:pt x="439" y="1919"/>
                    </a:lnTo>
                    <a:lnTo>
                      <a:pt x="439" y="1917"/>
                    </a:lnTo>
                    <a:lnTo>
                      <a:pt x="439" y="1917"/>
                    </a:lnTo>
                    <a:lnTo>
                      <a:pt x="439" y="1915"/>
                    </a:lnTo>
                    <a:lnTo>
                      <a:pt x="441" y="1915"/>
                    </a:lnTo>
                    <a:lnTo>
                      <a:pt x="441" y="1915"/>
                    </a:lnTo>
                    <a:lnTo>
                      <a:pt x="443" y="1917"/>
                    </a:lnTo>
                    <a:lnTo>
                      <a:pt x="443" y="1917"/>
                    </a:lnTo>
                    <a:lnTo>
                      <a:pt x="445" y="1917"/>
                    </a:lnTo>
                    <a:lnTo>
                      <a:pt x="445" y="1917"/>
                    </a:lnTo>
                    <a:lnTo>
                      <a:pt x="449" y="1919"/>
                    </a:lnTo>
                    <a:lnTo>
                      <a:pt x="449" y="1917"/>
                    </a:lnTo>
                    <a:lnTo>
                      <a:pt x="445" y="1915"/>
                    </a:lnTo>
                    <a:lnTo>
                      <a:pt x="445" y="1913"/>
                    </a:lnTo>
                    <a:lnTo>
                      <a:pt x="459" y="1921"/>
                    </a:lnTo>
                    <a:lnTo>
                      <a:pt x="465" y="1927"/>
                    </a:lnTo>
                    <a:lnTo>
                      <a:pt x="469" y="1935"/>
                    </a:lnTo>
                    <a:lnTo>
                      <a:pt x="451" y="1933"/>
                    </a:lnTo>
                    <a:lnTo>
                      <a:pt x="447" y="1933"/>
                    </a:lnTo>
                    <a:lnTo>
                      <a:pt x="445" y="1937"/>
                    </a:lnTo>
                    <a:lnTo>
                      <a:pt x="439" y="1938"/>
                    </a:lnTo>
                    <a:lnTo>
                      <a:pt x="432" y="1938"/>
                    </a:lnTo>
                    <a:lnTo>
                      <a:pt x="428" y="1938"/>
                    </a:lnTo>
                    <a:lnTo>
                      <a:pt x="433" y="193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19" name="Freeform 1021">
                <a:extLst>
                  <a:ext uri="{FF2B5EF4-FFF2-40B4-BE49-F238E27FC236}">
                    <a16:creationId xmlns:a16="http://schemas.microsoft.com/office/drawing/2014/main" id="{77E4BE70-BC19-4040-9E04-39D8761454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" y="3082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2 h 2"/>
                  <a:gd name="T5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20" name="Freeform 1022">
                <a:extLst>
                  <a:ext uri="{FF2B5EF4-FFF2-40B4-BE49-F238E27FC236}">
                    <a16:creationId xmlns:a16="http://schemas.microsoft.com/office/drawing/2014/main" id="{26109CB4-A9B5-4CA7-B844-8FD095D8F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" y="3090"/>
                <a:ext cx="18" cy="4"/>
              </a:xfrm>
              <a:custGeom>
                <a:avLst/>
                <a:gdLst>
                  <a:gd name="T0" fmla="*/ 4 w 18"/>
                  <a:gd name="T1" fmla="*/ 2 h 4"/>
                  <a:gd name="T2" fmla="*/ 12 w 18"/>
                  <a:gd name="T3" fmla="*/ 2 h 4"/>
                  <a:gd name="T4" fmla="*/ 18 w 18"/>
                  <a:gd name="T5" fmla="*/ 4 h 4"/>
                  <a:gd name="T6" fmla="*/ 18 w 18"/>
                  <a:gd name="T7" fmla="*/ 4 h 4"/>
                  <a:gd name="T8" fmla="*/ 18 w 18"/>
                  <a:gd name="T9" fmla="*/ 4 h 4"/>
                  <a:gd name="T10" fmla="*/ 12 w 18"/>
                  <a:gd name="T11" fmla="*/ 2 h 4"/>
                  <a:gd name="T12" fmla="*/ 4 w 18"/>
                  <a:gd name="T13" fmla="*/ 2 h 4"/>
                  <a:gd name="T14" fmla="*/ 0 w 18"/>
                  <a:gd name="T15" fmla="*/ 2 h 4"/>
                  <a:gd name="T16" fmla="*/ 0 w 18"/>
                  <a:gd name="T17" fmla="*/ 0 h 4"/>
                  <a:gd name="T18" fmla="*/ 0 w 18"/>
                  <a:gd name="T19" fmla="*/ 2 h 4"/>
                  <a:gd name="T20" fmla="*/ 4 w 18"/>
                  <a:gd name="T2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" h="4">
                    <a:moveTo>
                      <a:pt x="4" y="2"/>
                    </a:moveTo>
                    <a:lnTo>
                      <a:pt x="12" y="2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2" y="2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21" name="Freeform 1023">
                <a:extLst>
                  <a:ext uri="{FF2B5EF4-FFF2-40B4-BE49-F238E27FC236}">
                    <a16:creationId xmlns:a16="http://schemas.microsoft.com/office/drawing/2014/main" id="{BEF82FF4-EBAB-4DC4-B528-4B3A27E11A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" y="3142"/>
                <a:ext cx="5" cy="8"/>
              </a:xfrm>
              <a:custGeom>
                <a:avLst/>
                <a:gdLst>
                  <a:gd name="T0" fmla="*/ 0 w 5"/>
                  <a:gd name="T1" fmla="*/ 8 h 8"/>
                  <a:gd name="T2" fmla="*/ 2 w 5"/>
                  <a:gd name="T3" fmla="*/ 4 h 8"/>
                  <a:gd name="T4" fmla="*/ 5 w 5"/>
                  <a:gd name="T5" fmla="*/ 0 h 8"/>
                  <a:gd name="T6" fmla="*/ 2 w 5"/>
                  <a:gd name="T7" fmla="*/ 4 h 8"/>
                  <a:gd name="T8" fmla="*/ 0 w 5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8">
                    <a:moveTo>
                      <a:pt x="0" y="8"/>
                    </a:moveTo>
                    <a:lnTo>
                      <a:pt x="2" y="4"/>
                    </a:lnTo>
                    <a:lnTo>
                      <a:pt x="5" y="0"/>
                    </a:lnTo>
                    <a:lnTo>
                      <a:pt x="2" y="4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22" name="Freeform 1024">
                <a:extLst>
                  <a:ext uri="{FF2B5EF4-FFF2-40B4-BE49-F238E27FC236}">
                    <a16:creationId xmlns:a16="http://schemas.microsoft.com/office/drawing/2014/main" id="{AF94CF0F-02B8-4AF4-8C53-EEF3BA14AE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" y="3115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23" name="Rectangle 1025">
                <a:extLst>
                  <a:ext uri="{FF2B5EF4-FFF2-40B4-BE49-F238E27FC236}">
                    <a16:creationId xmlns:a16="http://schemas.microsoft.com/office/drawing/2014/main" id="{44609974-E00C-4E00-A390-09984DA89F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" y="309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24" name="Freeform 1026">
                <a:extLst>
                  <a:ext uri="{FF2B5EF4-FFF2-40B4-BE49-F238E27FC236}">
                    <a16:creationId xmlns:a16="http://schemas.microsoft.com/office/drawing/2014/main" id="{D2448203-3CD1-449D-81AA-37B3902D1C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3115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25" name="Freeform 1027">
                <a:extLst>
                  <a:ext uri="{FF2B5EF4-FFF2-40B4-BE49-F238E27FC236}">
                    <a16:creationId xmlns:a16="http://schemas.microsoft.com/office/drawing/2014/main" id="{3BBFE013-40FB-4AA7-A08F-1BACB9705A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3137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2 h 4"/>
                  <a:gd name="T4" fmla="*/ 2 w 2"/>
                  <a:gd name="T5" fmla="*/ 0 h 4"/>
                  <a:gd name="T6" fmla="*/ 0 w 2"/>
                  <a:gd name="T7" fmla="*/ 2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26" name="Freeform 1028">
                <a:extLst>
                  <a:ext uri="{FF2B5EF4-FFF2-40B4-BE49-F238E27FC236}">
                    <a16:creationId xmlns:a16="http://schemas.microsoft.com/office/drawing/2014/main" id="{398B2757-4BA5-43D9-8D3F-3A2C8F96DD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3131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27" name="Freeform 1029">
                <a:extLst>
                  <a:ext uri="{FF2B5EF4-FFF2-40B4-BE49-F238E27FC236}">
                    <a16:creationId xmlns:a16="http://schemas.microsoft.com/office/drawing/2014/main" id="{BCBE4981-2296-4809-913D-D45F72FC68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3105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  <a:gd name="T5" fmla="*/ 0 h 2"/>
                  <a:gd name="T6" fmla="*/ 0 h 2"/>
                  <a:gd name="T7" fmla="*/ 0 h 2"/>
                  <a:gd name="T8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28" name="Rectangle 1030">
                <a:extLst>
                  <a:ext uri="{FF2B5EF4-FFF2-40B4-BE49-F238E27FC236}">
                    <a16:creationId xmlns:a16="http://schemas.microsoft.com/office/drawing/2014/main" id="{020FF884-8B1B-48EA-ABAF-4665432422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" y="313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29" name="Freeform 1031">
                <a:extLst>
                  <a:ext uri="{FF2B5EF4-FFF2-40B4-BE49-F238E27FC236}">
                    <a16:creationId xmlns:a16="http://schemas.microsoft.com/office/drawing/2014/main" id="{F88E3874-AB46-4CF1-B04B-E49C5E60C1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" y="3168"/>
                <a:ext cx="0" cy="15"/>
              </a:xfrm>
              <a:custGeom>
                <a:avLst/>
                <a:gdLst>
                  <a:gd name="T0" fmla="*/ 14 h 15"/>
                  <a:gd name="T1" fmla="*/ 6 h 15"/>
                  <a:gd name="T2" fmla="*/ 0 h 15"/>
                  <a:gd name="T3" fmla="*/ 6 h 15"/>
                  <a:gd name="T4" fmla="*/ 14 h 15"/>
                  <a:gd name="T5" fmla="*/ 15 h 15"/>
                  <a:gd name="T6" fmla="*/ 15 h 15"/>
                  <a:gd name="T7" fmla="*/ 14 h 1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</a:cxnLst>
                <a:rect l="0" t="0" r="r" b="b"/>
                <a:pathLst>
                  <a:path h="15">
                    <a:moveTo>
                      <a:pt x="0" y="14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4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30" name="Rectangle 1032">
                <a:extLst>
                  <a:ext uri="{FF2B5EF4-FFF2-40B4-BE49-F238E27FC236}">
                    <a16:creationId xmlns:a16="http://schemas.microsoft.com/office/drawing/2014/main" id="{E37A5AAA-E6B7-4628-9A55-11ECFDFC9D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" y="313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31" name="Freeform 1033">
                <a:extLst>
                  <a:ext uri="{FF2B5EF4-FFF2-40B4-BE49-F238E27FC236}">
                    <a16:creationId xmlns:a16="http://schemas.microsoft.com/office/drawing/2014/main" id="{FFC7A5BB-7A42-4078-8BA1-365DF5942B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" y="3119"/>
                <a:ext cx="14" cy="8"/>
              </a:xfrm>
              <a:custGeom>
                <a:avLst/>
                <a:gdLst>
                  <a:gd name="T0" fmla="*/ 0 w 14"/>
                  <a:gd name="T1" fmla="*/ 8 h 8"/>
                  <a:gd name="T2" fmla="*/ 0 w 14"/>
                  <a:gd name="T3" fmla="*/ 8 h 8"/>
                  <a:gd name="T4" fmla="*/ 14 w 14"/>
                  <a:gd name="T5" fmla="*/ 0 h 8"/>
                  <a:gd name="T6" fmla="*/ 12 w 14"/>
                  <a:gd name="T7" fmla="*/ 0 h 8"/>
                  <a:gd name="T8" fmla="*/ 14 w 14"/>
                  <a:gd name="T9" fmla="*/ 0 h 8"/>
                  <a:gd name="T10" fmla="*/ 0 w 1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8">
                    <a:moveTo>
                      <a:pt x="0" y="8"/>
                    </a:moveTo>
                    <a:lnTo>
                      <a:pt x="0" y="8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32" name="Freeform 1034">
                <a:extLst>
                  <a:ext uri="{FF2B5EF4-FFF2-40B4-BE49-F238E27FC236}">
                    <a16:creationId xmlns:a16="http://schemas.microsoft.com/office/drawing/2014/main" id="{55C486FF-9D16-4615-A4D4-00B7B75B2D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3094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33" name="Rectangle 1035">
                <a:extLst>
                  <a:ext uri="{FF2B5EF4-FFF2-40B4-BE49-F238E27FC236}">
                    <a16:creationId xmlns:a16="http://schemas.microsoft.com/office/drawing/2014/main" id="{1037813A-7736-467D-82E6-F192FE03E6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" y="309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34" name="Freeform 1036">
                <a:extLst>
                  <a:ext uri="{FF2B5EF4-FFF2-40B4-BE49-F238E27FC236}">
                    <a16:creationId xmlns:a16="http://schemas.microsoft.com/office/drawing/2014/main" id="{D9604CED-75B2-4C19-8F58-29A8F7A9EE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" y="1702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35" name="Freeform 1037">
                <a:extLst>
                  <a:ext uri="{FF2B5EF4-FFF2-40B4-BE49-F238E27FC236}">
                    <a16:creationId xmlns:a16="http://schemas.microsoft.com/office/drawing/2014/main" id="{2F2E5979-4A81-4756-BB21-76E6737CE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" y="172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36" name="Freeform 1038">
                <a:extLst>
                  <a:ext uri="{FF2B5EF4-FFF2-40B4-BE49-F238E27FC236}">
                    <a16:creationId xmlns:a16="http://schemas.microsoft.com/office/drawing/2014/main" id="{91EF3644-6A78-4F95-B57D-4B2CF6FD9B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" y="1715"/>
                <a:ext cx="0" cy="4"/>
              </a:xfrm>
              <a:custGeom>
                <a:avLst/>
                <a:gdLst>
                  <a:gd name="T0" fmla="*/ 0 h 4"/>
                  <a:gd name="T1" fmla="*/ 4 h 4"/>
                  <a:gd name="T2" fmla="*/ 0 h 4"/>
                  <a:gd name="T3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37" name="Freeform 1039">
                <a:extLst>
                  <a:ext uri="{FF2B5EF4-FFF2-40B4-BE49-F238E27FC236}">
                    <a16:creationId xmlns:a16="http://schemas.microsoft.com/office/drawing/2014/main" id="{BB027588-91FB-4CEA-A857-DE1D598919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" y="1723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0 w 4"/>
                  <a:gd name="T3" fmla="*/ 2 h 2"/>
                  <a:gd name="T4" fmla="*/ 2 w 4"/>
                  <a:gd name="T5" fmla="*/ 2 h 2"/>
                  <a:gd name="T6" fmla="*/ 4 w 4"/>
                  <a:gd name="T7" fmla="*/ 0 h 2"/>
                  <a:gd name="T8" fmla="*/ 4 w 4"/>
                  <a:gd name="T9" fmla="*/ 0 h 2"/>
                  <a:gd name="T10" fmla="*/ 2 w 4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38" name="Freeform 1040">
                <a:extLst>
                  <a:ext uri="{FF2B5EF4-FFF2-40B4-BE49-F238E27FC236}">
                    <a16:creationId xmlns:a16="http://schemas.microsoft.com/office/drawing/2014/main" id="{41F28EA7-A9ED-4111-9FF5-F2A0A938FB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" y="1698"/>
                <a:ext cx="47" cy="11"/>
              </a:xfrm>
              <a:custGeom>
                <a:avLst/>
                <a:gdLst>
                  <a:gd name="T0" fmla="*/ 14 w 47"/>
                  <a:gd name="T1" fmla="*/ 2 h 11"/>
                  <a:gd name="T2" fmla="*/ 0 w 47"/>
                  <a:gd name="T3" fmla="*/ 0 h 11"/>
                  <a:gd name="T4" fmla="*/ 0 w 47"/>
                  <a:gd name="T5" fmla="*/ 0 h 11"/>
                  <a:gd name="T6" fmla="*/ 0 w 47"/>
                  <a:gd name="T7" fmla="*/ 0 h 11"/>
                  <a:gd name="T8" fmla="*/ 14 w 47"/>
                  <a:gd name="T9" fmla="*/ 2 h 11"/>
                  <a:gd name="T10" fmla="*/ 27 w 47"/>
                  <a:gd name="T11" fmla="*/ 7 h 11"/>
                  <a:gd name="T12" fmla="*/ 47 w 47"/>
                  <a:gd name="T13" fmla="*/ 11 h 11"/>
                  <a:gd name="T14" fmla="*/ 27 w 47"/>
                  <a:gd name="T15" fmla="*/ 7 h 11"/>
                  <a:gd name="T16" fmla="*/ 14 w 47"/>
                  <a:gd name="T17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11">
                    <a:moveTo>
                      <a:pt x="14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4" y="2"/>
                    </a:lnTo>
                    <a:lnTo>
                      <a:pt x="27" y="7"/>
                    </a:lnTo>
                    <a:lnTo>
                      <a:pt x="47" y="11"/>
                    </a:lnTo>
                    <a:lnTo>
                      <a:pt x="27" y="7"/>
                    </a:lnTo>
                    <a:lnTo>
                      <a:pt x="1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39" name="Freeform 1041">
                <a:extLst>
                  <a:ext uri="{FF2B5EF4-FFF2-40B4-BE49-F238E27FC236}">
                    <a16:creationId xmlns:a16="http://schemas.microsoft.com/office/drawing/2014/main" id="{3CC579D8-CB19-433A-B069-B823BDA1B1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" y="1725"/>
                <a:ext cx="5" cy="0"/>
              </a:xfrm>
              <a:custGeom>
                <a:avLst/>
                <a:gdLst>
                  <a:gd name="T0" fmla="*/ 0 w 5"/>
                  <a:gd name="T1" fmla="*/ 0 w 5"/>
                  <a:gd name="T2" fmla="*/ 0 w 5"/>
                  <a:gd name="T3" fmla="*/ 3 w 5"/>
                  <a:gd name="T4" fmla="*/ 5 w 5"/>
                  <a:gd name="T5" fmla="*/ 3 w 5"/>
                  <a:gd name="T6" fmla="*/ 0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5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40" name="Freeform 1042">
                <a:extLst>
                  <a:ext uri="{FF2B5EF4-FFF2-40B4-BE49-F238E27FC236}">
                    <a16:creationId xmlns:a16="http://schemas.microsoft.com/office/drawing/2014/main" id="{749EA7F6-9EE5-41C8-BBF0-78B2D437B2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" y="172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41" name="Rectangle 1043">
                <a:extLst>
                  <a:ext uri="{FF2B5EF4-FFF2-40B4-BE49-F238E27FC236}">
                    <a16:creationId xmlns:a16="http://schemas.microsoft.com/office/drawing/2014/main" id="{56E124C9-E707-4194-AB9D-22B2187806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" y="172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42" name="Freeform 1044">
                <a:extLst>
                  <a:ext uri="{FF2B5EF4-FFF2-40B4-BE49-F238E27FC236}">
                    <a16:creationId xmlns:a16="http://schemas.microsoft.com/office/drawing/2014/main" id="{6B6B6F0B-D4C8-426A-BE93-B044A5D54C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" y="1700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0 w 4"/>
                  <a:gd name="T3" fmla="*/ 0 h 2"/>
                  <a:gd name="T4" fmla="*/ 4 w 4"/>
                  <a:gd name="T5" fmla="*/ 2 h 2"/>
                  <a:gd name="T6" fmla="*/ 0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43" name="Freeform 1045">
                <a:extLst>
                  <a:ext uri="{FF2B5EF4-FFF2-40B4-BE49-F238E27FC236}">
                    <a16:creationId xmlns:a16="http://schemas.microsoft.com/office/drawing/2014/main" id="{1723AA06-7DC2-4913-B9BB-4767CA453E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0" y="2828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0 h 2"/>
                  <a:gd name="T4" fmla="*/ 4 w 4"/>
                  <a:gd name="T5" fmla="*/ 2 h 2"/>
                  <a:gd name="T6" fmla="*/ 2 w 4"/>
                  <a:gd name="T7" fmla="*/ 2 h 2"/>
                  <a:gd name="T8" fmla="*/ 0 w 4"/>
                  <a:gd name="T9" fmla="*/ 2 h 2"/>
                  <a:gd name="T10" fmla="*/ 2 w 4"/>
                  <a:gd name="T11" fmla="*/ 2 h 2"/>
                  <a:gd name="T12" fmla="*/ 4 w 4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44" name="Freeform 1046">
                <a:extLst>
                  <a:ext uri="{FF2B5EF4-FFF2-40B4-BE49-F238E27FC236}">
                    <a16:creationId xmlns:a16="http://schemas.microsoft.com/office/drawing/2014/main" id="{29280C5A-3853-4B04-88AB-F0D8181740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2811"/>
                <a:ext cx="8" cy="2"/>
              </a:xfrm>
              <a:custGeom>
                <a:avLst/>
                <a:gdLst>
                  <a:gd name="T0" fmla="*/ 8 w 8"/>
                  <a:gd name="T1" fmla="*/ 0 h 2"/>
                  <a:gd name="T2" fmla="*/ 6 w 8"/>
                  <a:gd name="T3" fmla="*/ 0 h 2"/>
                  <a:gd name="T4" fmla="*/ 0 w 8"/>
                  <a:gd name="T5" fmla="*/ 2 h 2"/>
                  <a:gd name="T6" fmla="*/ 0 w 8"/>
                  <a:gd name="T7" fmla="*/ 2 h 2"/>
                  <a:gd name="T8" fmla="*/ 6 w 8"/>
                  <a:gd name="T9" fmla="*/ 0 h 2"/>
                  <a:gd name="T10" fmla="*/ 8 w 8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45" name="Freeform 1047">
                <a:extLst>
                  <a:ext uri="{FF2B5EF4-FFF2-40B4-BE49-F238E27FC236}">
                    <a16:creationId xmlns:a16="http://schemas.microsoft.com/office/drawing/2014/main" id="{22B83149-E3FF-41A1-B753-356BC8139D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6" y="2818"/>
                <a:ext cx="4" cy="8"/>
              </a:xfrm>
              <a:custGeom>
                <a:avLst/>
                <a:gdLst>
                  <a:gd name="T0" fmla="*/ 4 w 4"/>
                  <a:gd name="T1" fmla="*/ 0 h 8"/>
                  <a:gd name="T2" fmla="*/ 2 w 4"/>
                  <a:gd name="T3" fmla="*/ 6 h 8"/>
                  <a:gd name="T4" fmla="*/ 0 w 4"/>
                  <a:gd name="T5" fmla="*/ 8 h 8"/>
                  <a:gd name="T6" fmla="*/ 2 w 4"/>
                  <a:gd name="T7" fmla="*/ 6 h 8"/>
                  <a:gd name="T8" fmla="*/ 4 w 4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4" y="0"/>
                    </a:moveTo>
                    <a:lnTo>
                      <a:pt x="2" y="6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46" name="Freeform 1048">
                <a:extLst>
                  <a:ext uri="{FF2B5EF4-FFF2-40B4-BE49-F238E27FC236}">
                    <a16:creationId xmlns:a16="http://schemas.microsoft.com/office/drawing/2014/main" id="{C150F9A3-B8DD-4D6A-B899-D5FA638836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" y="278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47" name="Freeform 1049">
                <a:extLst>
                  <a:ext uri="{FF2B5EF4-FFF2-40B4-BE49-F238E27FC236}">
                    <a16:creationId xmlns:a16="http://schemas.microsoft.com/office/drawing/2014/main" id="{FF87486C-E36B-4E3E-BD21-B618A71CD7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3" y="2772"/>
                <a:ext cx="2" cy="1"/>
              </a:xfrm>
              <a:custGeom>
                <a:avLst/>
                <a:gdLst>
                  <a:gd name="T0" fmla="*/ 2 w 2"/>
                  <a:gd name="T1" fmla="*/ 0 h 1"/>
                  <a:gd name="T2" fmla="*/ 0 w 2"/>
                  <a:gd name="T3" fmla="*/ 1 h 1"/>
                  <a:gd name="T4" fmla="*/ 0 w 2"/>
                  <a:gd name="T5" fmla="*/ 1 h 1"/>
                  <a:gd name="T6" fmla="*/ 0 w 2"/>
                  <a:gd name="T7" fmla="*/ 1 h 1"/>
                  <a:gd name="T8" fmla="*/ 2 w 2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48" name="Freeform 1050">
                <a:extLst>
                  <a:ext uri="{FF2B5EF4-FFF2-40B4-BE49-F238E27FC236}">
                    <a16:creationId xmlns:a16="http://schemas.microsoft.com/office/drawing/2014/main" id="{9FDFA3F8-3A16-4F23-8711-17316ADB04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7" y="2775"/>
                <a:ext cx="14" cy="28"/>
              </a:xfrm>
              <a:custGeom>
                <a:avLst/>
                <a:gdLst>
                  <a:gd name="T0" fmla="*/ 2 w 14"/>
                  <a:gd name="T1" fmla="*/ 2 h 28"/>
                  <a:gd name="T2" fmla="*/ 4 w 14"/>
                  <a:gd name="T3" fmla="*/ 4 h 28"/>
                  <a:gd name="T4" fmla="*/ 8 w 14"/>
                  <a:gd name="T5" fmla="*/ 4 h 28"/>
                  <a:gd name="T6" fmla="*/ 10 w 14"/>
                  <a:gd name="T7" fmla="*/ 6 h 28"/>
                  <a:gd name="T8" fmla="*/ 12 w 14"/>
                  <a:gd name="T9" fmla="*/ 10 h 28"/>
                  <a:gd name="T10" fmla="*/ 14 w 14"/>
                  <a:gd name="T11" fmla="*/ 12 h 28"/>
                  <a:gd name="T12" fmla="*/ 14 w 14"/>
                  <a:gd name="T13" fmla="*/ 14 h 28"/>
                  <a:gd name="T14" fmla="*/ 14 w 14"/>
                  <a:gd name="T15" fmla="*/ 18 h 28"/>
                  <a:gd name="T16" fmla="*/ 12 w 14"/>
                  <a:gd name="T17" fmla="*/ 22 h 28"/>
                  <a:gd name="T18" fmla="*/ 10 w 14"/>
                  <a:gd name="T19" fmla="*/ 26 h 28"/>
                  <a:gd name="T20" fmla="*/ 10 w 14"/>
                  <a:gd name="T21" fmla="*/ 28 h 28"/>
                  <a:gd name="T22" fmla="*/ 10 w 14"/>
                  <a:gd name="T23" fmla="*/ 26 h 28"/>
                  <a:gd name="T24" fmla="*/ 12 w 14"/>
                  <a:gd name="T25" fmla="*/ 22 h 28"/>
                  <a:gd name="T26" fmla="*/ 14 w 14"/>
                  <a:gd name="T27" fmla="*/ 18 h 28"/>
                  <a:gd name="T28" fmla="*/ 14 w 14"/>
                  <a:gd name="T29" fmla="*/ 14 h 28"/>
                  <a:gd name="T30" fmla="*/ 14 w 14"/>
                  <a:gd name="T31" fmla="*/ 12 h 28"/>
                  <a:gd name="T32" fmla="*/ 12 w 14"/>
                  <a:gd name="T33" fmla="*/ 10 h 28"/>
                  <a:gd name="T34" fmla="*/ 10 w 14"/>
                  <a:gd name="T35" fmla="*/ 6 h 28"/>
                  <a:gd name="T36" fmla="*/ 8 w 14"/>
                  <a:gd name="T37" fmla="*/ 4 h 28"/>
                  <a:gd name="T38" fmla="*/ 4 w 14"/>
                  <a:gd name="T39" fmla="*/ 4 h 28"/>
                  <a:gd name="T40" fmla="*/ 2 w 14"/>
                  <a:gd name="T41" fmla="*/ 2 h 28"/>
                  <a:gd name="T42" fmla="*/ 0 w 14"/>
                  <a:gd name="T43" fmla="*/ 0 h 28"/>
                  <a:gd name="T44" fmla="*/ 0 w 14"/>
                  <a:gd name="T45" fmla="*/ 0 h 28"/>
                  <a:gd name="T46" fmla="*/ 0 w 14"/>
                  <a:gd name="T47" fmla="*/ 0 h 28"/>
                  <a:gd name="T48" fmla="*/ 2 w 14"/>
                  <a:gd name="T49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4" h="28">
                    <a:moveTo>
                      <a:pt x="2" y="2"/>
                    </a:moveTo>
                    <a:lnTo>
                      <a:pt x="4" y="4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2" y="10"/>
                    </a:lnTo>
                    <a:lnTo>
                      <a:pt x="14" y="12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2" y="22"/>
                    </a:lnTo>
                    <a:lnTo>
                      <a:pt x="10" y="26"/>
                    </a:lnTo>
                    <a:lnTo>
                      <a:pt x="10" y="28"/>
                    </a:lnTo>
                    <a:lnTo>
                      <a:pt x="10" y="26"/>
                    </a:lnTo>
                    <a:lnTo>
                      <a:pt x="12" y="22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2" y="10"/>
                    </a:lnTo>
                    <a:lnTo>
                      <a:pt x="10" y="6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49" name="Freeform 1051">
                <a:extLst>
                  <a:ext uri="{FF2B5EF4-FFF2-40B4-BE49-F238E27FC236}">
                    <a16:creationId xmlns:a16="http://schemas.microsoft.com/office/drawing/2014/main" id="{BAFC6A3A-0DDF-4D3F-A8C8-D9FCD711C6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8" y="2775"/>
                <a:ext cx="4" cy="0"/>
              </a:xfrm>
              <a:custGeom>
                <a:avLst/>
                <a:gdLst>
                  <a:gd name="T0" fmla="*/ 4 w 4"/>
                  <a:gd name="T1" fmla="*/ 4 w 4"/>
                  <a:gd name="T2" fmla="*/ 2 w 4"/>
                  <a:gd name="T3" fmla="*/ 0 w 4"/>
                  <a:gd name="T4" fmla="*/ 2 w 4"/>
                  <a:gd name="T5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50" name="Freeform 1052">
                <a:extLst>
                  <a:ext uri="{FF2B5EF4-FFF2-40B4-BE49-F238E27FC236}">
                    <a16:creationId xmlns:a16="http://schemas.microsoft.com/office/drawing/2014/main" id="{6C2CF3C4-C858-4F73-A577-6EAB4C3D49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7" y="2813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  <a:gd name="T3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51" name="Freeform 1053">
                <a:extLst>
                  <a:ext uri="{FF2B5EF4-FFF2-40B4-BE49-F238E27FC236}">
                    <a16:creationId xmlns:a16="http://schemas.microsoft.com/office/drawing/2014/main" id="{C832BC18-71E4-4C48-9467-C20973EB4A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2772"/>
                <a:ext cx="6" cy="13"/>
              </a:xfrm>
              <a:custGeom>
                <a:avLst/>
                <a:gdLst>
                  <a:gd name="T0" fmla="*/ 2 w 6"/>
                  <a:gd name="T1" fmla="*/ 9 h 13"/>
                  <a:gd name="T2" fmla="*/ 4 w 6"/>
                  <a:gd name="T3" fmla="*/ 1 h 13"/>
                  <a:gd name="T4" fmla="*/ 6 w 6"/>
                  <a:gd name="T5" fmla="*/ 0 h 13"/>
                  <a:gd name="T6" fmla="*/ 4 w 6"/>
                  <a:gd name="T7" fmla="*/ 1 h 13"/>
                  <a:gd name="T8" fmla="*/ 2 w 6"/>
                  <a:gd name="T9" fmla="*/ 9 h 13"/>
                  <a:gd name="T10" fmla="*/ 0 w 6"/>
                  <a:gd name="T11" fmla="*/ 13 h 13"/>
                  <a:gd name="T12" fmla="*/ 0 w 6"/>
                  <a:gd name="T13" fmla="*/ 13 h 13"/>
                  <a:gd name="T14" fmla="*/ 0 w 6"/>
                  <a:gd name="T15" fmla="*/ 13 h 13"/>
                  <a:gd name="T16" fmla="*/ 2 w 6"/>
                  <a:gd name="T17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3">
                    <a:moveTo>
                      <a:pt x="2" y="9"/>
                    </a:moveTo>
                    <a:lnTo>
                      <a:pt x="4" y="1"/>
                    </a:lnTo>
                    <a:lnTo>
                      <a:pt x="6" y="0"/>
                    </a:lnTo>
                    <a:lnTo>
                      <a:pt x="4" y="1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52" name="Freeform 1054">
                <a:extLst>
                  <a:ext uri="{FF2B5EF4-FFF2-40B4-BE49-F238E27FC236}">
                    <a16:creationId xmlns:a16="http://schemas.microsoft.com/office/drawing/2014/main" id="{85A5CE9B-C5FF-46CB-A52D-838BCEECBE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2801"/>
                <a:ext cx="14" cy="4"/>
              </a:xfrm>
              <a:custGeom>
                <a:avLst/>
                <a:gdLst>
                  <a:gd name="T0" fmla="*/ 2 w 14"/>
                  <a:gd name="T1" fmla="*/ 4 h 4"/>
                  <a:gd name="T2" fmla="*/ 12 w 14"/>
                  <a:gd name="T3" fmla="*/ 0 h 4"/>
                  <a:gd name="T4" fmla="*/ 14 w 14"/>
                  <a:gd name="T5" fmla="*/ 0 h 4"/>
                  <a:gd name="T6" fmla="*/ 14 w 14"/>
                  <a:gd name="T7" fmla="*/ 2 h 4"/>
                  <a:gd name="T8" fmla="*/ 14 w 14"/>
                  <a:gd name="T9" fmla="*/ 0 h 4"/>
                  <a:gd name="T10" fmla="*/ 12 w 14"/>
                  <a:gd name="T11" fmla="*/ 0 h 4"/>
                  <a:gd name="T12" fmla="*/ 2 w 14"/>
                  <a:gd name="T13" fmla="*/ 4 h 4"/>
                  <a:gd name="T14" fmla="*/ 0 w 14"/>
                  <a:gd name="T15" fmla="*/ 2 h 4"/>
                  <a:gd name="T16" fmla="*/ 0 w 14"/>
                  <a:gd name="T17" fmla="*/ 2 h 4"/>
                  <a:gd name="T18" fmla="*/ 2 w 14"/>
                  <a:gd name="T1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4">
                    <a:moveTo>
                      <a:pt x="2" y="4"/>
                    </a:moveTo>
                    <a:lnTo>
                      <a:pt x="12" y="0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53" name="Freeform 1055">
                <a:extLst>
                  <a:ext uri="{FF2B5EF4-FFF2-40B4-BE49-F238E27FC236}">
                    <a16:creationId xmlns:a16="http://schemas.microsoft.com/office/drawing/2014/main" id="{6BFA2580-9373-419B-A975-250E2C2696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8" y="3045"/>
                <a:ext cx="5" cy="2"/>
              </a:xfrm>
              <a:custGeom>
                <a:avLst/>
                <a:gdLst>
                  <a:gd name="T0" fmla="*/ 0 w 5"/>
                  <a:gd name="T1" fmla="*/ 0 h 2"/>
                  <a:gd name="T2" fmla="*/ 2 w 5"/>
                  <a:gd name="T3" fmla="*/ 2 h 2"/>
                  <a:gd name="T4" fmla="*/ 5 w 5"/>
                  <a:gd name="T5" fmla="*/ 2 h 2"/>
                  <a:gd name="T6" fmla="*/ 2 w 5"/>
                  <a:gd name="T7" fmla="*/ 2 h 2"/>
                  <a:gd name="T8" fmla="*/ 0 w 5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lnTo>
                      <a:pt x="2" y="2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54" name="Freeform 1056">
                <a:extLst>
                  <a:ext uri="{FF2B5EF4-FFF2-40B4-BE49-F238E27FC236}">
                    <a16:creationId xmlns:a16="http://schemas.microsoft.com/office/drawing/2014/main" id="{7BA671DF-01FB-47BF-ACB7-D7E42FD5F5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6" y="3113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2 h 4"/>
                  <a:gd name="T4" fmla="*/ 2 w 2"/>
                  <a:gd name="T5" fmla="*/ 4 h 4"/>
                  <a:gd name="T6" fmla="*/ 2 w 2"/>
                  <a:gd name="T7" fmla="*/ 2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55" name="Freeform 1057">
                <a:extLst>
                  <a:ext uri="{FF2B5EF4-FFF2-40B4-BE49-F238E27FC236}">
                    <a16:creationId xmlns:a16="http://schemas.microsoft.com/office/drawing/2014/main" id="{4CADAEBC-33A6-48A0-AEFA-D92A855FF5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9" y="3217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56" name="Freeform 1058">
                <a:extLst>
                  <a:ext uri="{FF2B5EF4-FFF2-40B4-BE49-F238E27FC236}">
                    <a16:creationId xmlns:a16="http://schemas.microsoft.com/office/drawing/2014/main" id="{511C4DCA-CCEC-4A74-BF99-912C5293A4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7" y="3223"/>
                <a:ext cx="2" cy="3"/>
              </a:xfrm>
              <a:custGeom>
                <a:avLst/>
                <a:gdLst>
                  <a:gd name="T0" fmla="*/ 0 w 2"/>
                  <a:gd name="T1" fmla="*/ 1 h 3"/>
                  <a:gd name="T2" fmla="*/ 0 w 2"/>
                  <a:gd name="T3" fmla="*/ 0 h 3"/>
                  <a:gd name="T4" fmla="*/ 0 w 2"/>
                  <a:gd name="T5" fmla="*/ 1 h 3"/>
                  <a:gd name="T6" fmla="*/ 2 w 2"/>
                  <a:gd name="T7" fmla="*/ 3 h 3"/>
                  <a:gd name="T8" fmla="*/ 2 w 2"/>
                  <a:gd name="T9" fmla="*/ 3 h 3"/>
                  <a:gd name="T10" fmla="*/ 2 w 2"/>
                  <a:gd name="T11" fmla="*/ 3 h 3"/>
                  <a:gd name="T12" fmla="*/ 0 w 2"/>
                  <a:gd name="T13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3">
                    <a:moveTo>
                      <a:pt x="0" y="1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57" name="Freeform 1059">
                <a:extLst>
                  <a:ext uri="{FF2B5EF4-FFF2-40B4-BE49-F238E27FC236}">
                    <a16:creationId xmlns:a16="http://schemas.microsoft.com/office/drawing/2014/main" id="{9314A0DC-0CEB-4D26-9F3E-A47BAB69AC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1" y="3096"/>
                <a:ext cx="4" cy="7"/>
              </a:xfrm>
              <a:custGeom>
                <a:avLst/>
                <a:gdLst>
                  <a:gd name="T0" fmla="*/ 4 w 4"/>
                  <a:gd name="T1" fmla="*/ 4 h 7"/>
                  <a:gd name="T2" fmla="*/ 4 w 4"/>
                  <a:gd name="T3" fmla="*/ 0 h 7"/>
                  <a:gd name="T4" fmla="*/ 4 w 4"/>
                  <a:gd name="T5" fmla="*/ 4 h 7"/>
                  <a:gd name="T6" fmla="*/ 2 w 4"/>
                  <a:gd name="T7" fmla="*/ 5 h 7"/>
                  <a:gd name="T8" fmla="*/ 0 w 4"/>
                  <a:gd name="T9" fmla="*/ 7 h 7"/>
                  <a:gd name="T10" fmla="*/ 2 w 4"/>
                  <a:gd name="T11" fmla="*/ 5 h 7"/>
                  <a:gd name="T12" fmla="*/ 4 w 4"/>
                  <a:gd name="T13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7">
                    <a:moveTo>
                      <a:pt x="4" y="4"/>
                    </a:moveTo>
                    <a:lnTo>
                      <a:pt x="4" y="0"/>
                    </a:lnTo>
                    <a:lnTo>
                      <a:pt x="4" y="4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58" name="Freeform 1060">
                <a:extLst>
                  <a:ext uri="{FF2B5EF4-FFF2-40B4-BE49-F238E27FC236}">
                    <a16:creationId xmlns:a16="http://schemas.microsoft.com/office/drawing/2014/main" id="{A9E787D9-F6E9-44E0-A1AD-4503D6FA63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6" y="3213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59" name="Freeform 1061">
                <a:extLst>
                  <a:ext uri="{FF2B5EF4-FFF2-40B4-BE49-F238E27FC236}">
                    <a16:creationId xmlns:a16="http://schemas.microsoft.com/office/drawing/2014/main" id="{21475188-797D-40ED-8F0C-3EAFA4ACAA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8" y="3213"/>
                <a:ext cx="14" cy="4"/>
              </a:xfrm>
              <a:custGeom>
                <a:avLst/>
                <a:gdLst>
                  <a:gd name="T0" fmla="*/ 2 w 14"/>
                  <a:gd name="T1" fmla="*/ 2 h 4"/>
                  <a:gd name="T2" fmla="*/ 0 w 14"/>
                  <a:gd name="T3" fmla="*/ 0 h 4"/>
                  <a:gd name="T4" fmla="*/ 2 w 14"/>
                  <a:gd name="T5" fmla="*/ 2 h 4"/>
                  <a:gd name="T6" fmla="*/ 6 w 14"/>
                  <a:gd name="T7" fmla="*/ 2 h 4"/>
                  <a:gd name="T8" fmla="*/ 14 w 14"/>
                  <a:gd name="T9" fmla="*/ 4 h 4"/>
                  <a:gd name="T10" fmla="*/ 6 w 14"/>
                  <a:gd name="T11" fmla="*/ 2 h 4"/>
                  <a:gd name="T12" fmla="*/ 2 w 14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4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6" y="2"/>
                    </a:lnTo>
                    <a:lnTo>
                      <a:pt x="14" y="4"/>
                    </a:lnTo>
                    <a:lnTo>
                      <a:pt x="6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60" name="Freeform 1062">
                <a:extLst>
                  <a:ext uri="{FF2B5EF4-FFF2-40B4-BE49-F238E27FC236}">
                    <a16:creationId xmlns:a16="http://schemas.microsoft.com/office/drawing/2014/main" id="{72200DF5-C200-42AE-A754-9B81770910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5" y="2855"/>
                <a:ext cx="8" cy="0"/>
              </a:xfrm>
              <a:custGeom>
                <a:avLst/>
                <a:gdLst>
                  <a:gd name="T0" fmla="*/ 8 w 8"/>
                  <a:gd name="T1" fmla="*/ 4 w 8"/>
                  <a:gd name="T2" fmla="*/ 0 w 8"/>
                  <a:gd name="T3" fmla="*/ 4 w 8"/>
                  <a:gd name="T4" fmla="*/ 8 w 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8">
                    <a:moveTo>
                      <a:pt x="8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61" name="Freeform 1063">
                <a:extLst>
                  <a:ext uri="{FF2B5EF4-FFF2-40B4-BE49-F238E27FC236}">
                    <a16:creationId xmlns:a16="http://schemas.microsoft.com/office/drawing/2014/main" id="{AB71E55A-93DB-4B78-AA16-D0E24F3BAE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1" y="3121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62" name="Freeform 1064">
                <a:extLst>
                  <a:ext uri="{FF2B5EF4-FFF2-40B4-BE49-F238E27FC236}">
                    <a16:creationId xmlns:a16="http://schemas.microsoft.com/office/drawing/2014/main" id="{F14FA112-D317-43F6-A0E9-39B9822D3F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4" y="2854"/>
                <a:ext cx="20" cy="1"/>
              </a:xfrm>
              <a:custGeom>
                <a:avLst/>
                <a:gdLst>
                  <a:gd name="T0" fmla="*/ 8 w 20"/>
                  <a:gd name="T1" fmla="*/ 0 h 1"/>
                  <a:gd name="T2" fmla="*/ 12 w 20"/>
                  <a:gd name="T3" fmla="*/ 0 h 1"/>
                  <a:gd name="T4" fmla="*/ 20 w 20"/>
                  <a:gd name="T5" fmla="*/ 0 h 1"/>
                  <a:gd name="T6" fmla="*/ 20 w 20"/>
                  <a:gd name="T7" fmla="*/ 0 h 1"/>
                  <a:gd name="T8" fmla="*/ 20 w 20"/>
                  <a:gd name="T9" fmla="*/ 0 h 1"/>
                  <a:gd name="T10" fmla="*/ 12 w 20"/>
                  <a:gd name="T11" fmla="*/ 0 h 1"/>
                  <a:gd name="T12" fmla="*/ 8 w 20"/>
                  <a:gd name="T13" fmla="*/ 0 h 1"/>
                  <a:gd name="T14" fmla="*/ 2 w 20"/>
                  <a:gd name="T15" fmla="*/ 1 h 1"/>
                  <a:gd name="T16" fmla="*/ 0 w 20"/>
                  <a:gd name="T17" fmla="*/ 1 h 1"/>
                  <a:gd name="T18" fmla="*/ 2 w 20"/>
                  <a:gd name="T19" fmla="*/ 1 h 1"/>
                  <a:gd name="T20" fmla="*/ 8 w 20"/>
                  <a:gd name="T21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1">
                    <a:moveTo>
                      <a:pt x="8" y="0"/>
                    </a:moveTo>
                    <a:lnTo>
                      <a:pt x="1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63" name="Freeform 1065">
                <a:extLst>
                  <a:ext uri="{FF2B5EF4-FFF2-40B4-BE49-F238E27FC236}">
                    <a16:creationId xmlns:a16="http://schemas.microsoft.com/office/drawing/2014/main" id="{97C0BF2F-5BD8-4EE6-A3E8-7FD7F8BC02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7" y="3164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2 h 4"/>
                  <a:gd name="T4" fmla="*/ 2 w 2"/>
                  <a:gd name="T5" fmla="*/ 4 h 4"/>
                  <a:gd name="T6" fmla="*/ 2 w 2"/>
                  <a:gd name="T7" fmla="*/ 4 h 4"/>
                  <a:gd name="T8" fmla="*/ 0 w 2"/>
                  <a:gd name="T9" fmla="*/ 2 h 4"/>
                  <a:gd name="T10" fmla="*/ 0 w 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64" name="Freeform 1066">
                <a:extLst>
                  <a:ext uri="{FF2B5EF4-FFF2-40B4-BE49-F238E27FC236}">
                    <a16:creationId xmlns:a16="http://schemas.microsoft.com/office/drawing/2014/main" id="{8838DAA8-F259-4326-9CD0-9762968FCD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1" y="3232"/>
                <a:ext cx="4" cy="6"/>
              </a:xfrm>
              <a:custGeom>
                <a:avLst/>
                <a:gdLst>
                  <a:gd name="T0" fmla="*/ 4 w 4"/>
                  <a:gd name="T1" fmla="*/ 4 h 6"/>
                  <a:gd name="T2" fmla="*/ 4 w 4"/>
                  <a:gd name="T3" fmla="*/ 4 h 6"/>
                  <a:gd name="T4" fmla="*/ 0 w 4"/>
                  <a:gd name="T5" fmla="*/ 0 h 6"/>
                  <a:gd name="T6" fmla="*/ 4 w 4"/>
                  <a:gd name="T7" fmla="*/ 4 h 6"/>
                  <a:gd name="T8" fmla="*/ 4 w 4"/>
                  <a:gd name="T9" fmla="*/ 4 h 6"/>
                  <a:gd name="T10" fmla="*/ 4 w 4"/>
                  <a:gd name="T11" fmla="*/ 4 h 6"/>
                  <a:gd name="T12" fmla="*/ 4 w 4"/>
                  <a:gd name="T13" fmla="*/ 6 h 6"/>
                  <a:gd name="T14" fmla="*/ 4 w 4"/>
                  <a:gd name="T15" fmla="*/ 4 h 6"/>
                  <a:gd name="T16" fmla="*/ 4 w 4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6">
                    <a:moveTo>
                      <a:pt x="4" y="4"/>
                    </a:moveTo>
                    <a:lnTo>
                      <a:pt x="4" y="4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65" name="Freeform 1067">
                <a:extLst>
                  <a:ext uri="{FF2B5EF4-FFF2-40B4-BE49-F238E27FC236}">
                    <a16:creationId xmlns:a16="http://schemas.microsoft.com/office/drawing/2014/main" id="{3B6844FB-1CD5-47A4-BE27-AE8D00B363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2" y="3271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66" name="Freeform 1068">
                <a:extLst>
                  <a:ext uri="{FF2B5EF4-FFF2-40B4-BE49-F238E27FC236}">
                    <a16:creationId xmlns:a16="http://schemas.microsoft.com/office/drawing/2014/main" id="{894F851F-A72D-4937-A4F9-CA201A90D8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2838"/>
                <a:ext cx="4" cy="0"/>
              </a:xfrm>
              <a:custGeom>
                <a:avLst/>
                <a:gdLst>
                  <a:gd name="T0" fmla="*/ 2 w 4"/>
                  <a:gd name="T1" fmla="*/ 4 w 4"/>
                  <a:gd name="T2" fmla="*/ 2 w 4"/>
                  <a:gd name="T3" fmla="*/ 0 w 4"/>
                  <a:gd name="T4" fmla="*/ 0 w 4"/>
                  <a:gd name="T5" fmla="*/ 0 w 4"/>
                  <a:gd name="T6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67" name="Rectangle 1069">
                <a:extLst>
                  <a:ext uri="{FF2B5EF4-FFF2-40B4-BE49-F238E27FC236}">
                    <a16:creationId xmlns:a16="http://schemas.microsoft.com/office/drawing/2014/main" id="{E22686F8-530B-4E31-BA72-63EB69FB62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304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68" name="Freeform 1070">
                <a:extLst>
                  <a:ext uri="{FF2B5EF4-FFF2-40B4-BE49-F238E27FC236}">
                    <a16:creationId xmlns:a16="http://schemas.microsoft.com/office/drawing/2014/main" id="{FAFE10CD-31D4-4EF4-B819-9978E13D77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1" y="2828"/>
                <a:ext cx="18" cy="4"/>
              </a:xfrm>
              <a:custGeom>
                <a:avLst/>
                <a:gdLst>
                  <a:gd name="T0" fmla="*/ 6 w 18"/>
                  <a:gd name="T1" fmla="*/ 4 h 4"/>
                  <a:gd name="T2" fmla="*/ 10 w 18"/>
                  <a:gd name="T3" fmla="*/ 4 h 4"/>
                  <a:gd name="T4" fmla="*/ 18 w 18"/>
                  <a:gd name="T5" fmla="*/ 0 h 4"/>
                  <a:gd name="T6" fmla="*/ 10 w 18"/>
                  <a:gd name="T7" fmla="*/ 4 h 4"/>
                  <a:gd name="T8" fmla="*/ 6 w 18"/>
                  <a:gd name="T9" fmla="*/ 4 h 4"/>
                  <a:gd name="T10" fmla="*/ 0 w 18"/>
                  <a:gd name="T11" fmla="*/ 4 h 4"/>
                  <a:gd name="T12" fmla="*/ 0 w 18"/>
                  <a:gd name="T13" fmla="*/ 4 h 4"/>
                  <a:gd name="T14" fmla="*/ 0 w 18"/>
                  <a:gd name="T15" fmla="*/ 4 h 4"/>
                  <a:gd name="T16" fmla="*/ 6 w 18"/>
                  <a:gd name="T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4">
                    <a:moveTo>
                      <a:pt x="6" y="4"/>
                    </a:moveTo>
                    <a:lnTo>
                      <a:pt x="10" y="4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69" name="Rectangle 1071">
                <a:extLst>
                  <a:ext uri="{FF2B5EF4-FFF2-40B4-BE49-F238E27FC236}">
                    <a16:creationId xmlns:a16="http://schemas.microsoft.com/office/drawing/2014/main" id="{4A56BB11-7BD4-4CA3-A2E6-82EA256DD0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0" y="2838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70" name="Freeform 1072">
                <a:extLst>
                  <a:ext uri="{FF2B5EF4-FFF2-40B4-BE49-F238E27FC236}">
                    <a16:creationId xmlns:a16="http://schemas.microsoft.com/office/drawing/2014/main" id="{45033230-1D2D-42D7-9900-4C098A683D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" y="3068"/>
                <a:ext cx="6" cy="14"/>
              </a:xfrm>
              <a:custGeom>
                <a:avLst/>
                <a:gdLst>
                  <a:gd name="T0" fmla="*/ 6 w 6"/>
                  <a:gd name="T1" fmla="*/ 4 h 14"/>
                  <a:gd name="T2" fmla="*/ 6 w 6"/>
                  <a:gd name="T3" fmla="*/ 0 h 14"/>
                  <a:gd name="T4" fmla="*/ 6 w 6"/>
                  <a:gd name="T5" fmla="*/ 4 h 14"/>
                  <a:gd name="T6" fmla="*/ 4 w 6"/>
                  <a:gd name="T7" fmla="*/ 8 h 14"/>
                  <a:gd name="T8" fmla="*/ 0 w 6"/>
                  <a:gd name="T9" fmla="*/ 14 h 14"/>
                  <a:gd name="T10" fmla="*/ 4 w 6"/>
                  <a:gd name="T11" fmla="*/ 8 h 14"/>
                  <a:gd name="T12" fmla="*/ 6 w 6"/>
                  <a:gd name="T13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4">
                    <a:moveTo>
                      <a:pt x="6" y="4"/>
                    </a:moveTo>
                    <a:lnTo>
                      <a:pt x="6" y="0"/>
                    </a:lnTo>
                    <a:lnTo>
                      <a:pt x="6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4" y="8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71" name="Rectangle 1073">
                <a:extLst>
                  <a:ext uri="{FF2B5EF4-FFF2-40B4-BE49-F238E27FC236}">
                    <a16:creationId xmlns:a16="http://schemas.microsoft.com/office/drawing/2014/main" id="{99608D1D-B72B-412C-976F-7EF6DA56CC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6" y="327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72" name="Freeform 1074">
                <a:extLst>
                  <a:ext uri="{FF2B5EF4-FFF2-40B4-BE49-F238E27FC236}">
                    <a16:creationId xmlns:a16="http://schemas.microsoft.com/office/drawing/2014/main" id="{C2BC0DF3-A31C-45CE-9B4A-8D0730CA4E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7" y="3060"/>
                <a:ext cx="10" cy="4"/>
              </a:xfrm>
              <a:custGeom>
                <a:avLst/>
                <a:gdLst>
                  <a:gd name="T0" fmla="*/ 6 w 10"/>
                  <a:gd name="T1" fmla="*/ 4 h 4"/>
                  <a:gd name="T2" fmla="*/ 0 w 10"/>
                  <a:gd name="T3" fmla="*/ 0 h 4"/>
                  <a:gd name="T4" fmla="*/ 0 w 10"/>
                  <a:gd name="T5" fmla="*/ 0 h 4"/>
                  <a:gd name="T6" fmla="*/ 6 w 10"/>
                  <a:gd name="T7" fmla="*/ 4 h 4"/>
                  <a:gd name="T8" fmla="*/ 10 w 10"/>
                  <a:gd name="T9" fmla="*/ 4 h 4"/>
                  <a:gd name="T10" fmla="*/ 10 w 10"/>
                  <a:gd name="T11" fmla="*/ 4 h 4"/>
                  <a:gd name="T12" fmla="*/ 6 w 10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4">
                    <a:moveTo>
                      <a:pt x="6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73" name="Freeform 1075">
                <a:extLst>
                  <a:ext uri="{FF2B5EF4-FFF2-40B4-BE49-F238E27FC236}">
                    <a16:creationId xmlns:a16="http://schemas.microsoft.com/office/drawing/2014/main" id="{89924A04-A84A-4737-8596-45E3F63431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7" y="3238"/>
                <a:ext cx="10" cy="12"/>
              </a:xfrm>
              <a:custGeom>
                <a:avLst/>
                <a:gdLst>
                  <a:gd name="T0" fmla="*/ 0 w 10"/>
                  <a:gd name="T1" fmla="*/ 0 h 12"/>
                  <a:gd name="T2" fmla="*/ 10 w 10"/>
                  <a:gd name="T3" fmla="*/ 12 h 12"/>
                  <a:gd name="T4" fmla="*/ 0 w 10"/>
                  <a:gd name="T5" fmla="*/ 0 h 12"/>
                  <a:gd name="T6" fmla="*/ 0 w 10"/>
                  <a:gd name="T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2">
                    <a:moveTo>
                      <a:pt x="0" y="0"/>
                    </a:moveTo>
                    <a:lnTo>
                      <a:pt x="10" y="1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74" name="Freeform 1076">
                <a:extLst>
                  <a:ext uri="{FF2B5EF4-FFF2-40B4-BE49-F238E27FC236}">
                    <a16:creationId xmlns:a16="http://schemas.microsoft.com/office/drawing/2014/main" id="{BD2B92EC-C9A8-4218-9022-5DE559A60C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2" y="2848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4 w 4"/>
                  <a:gd name="T3" fmla="*/ 0 h 2"/>
                  <a:gd name="T4" fmla="*/ 4 w 4"/>
                  <a:gd name="T5" fmla="*/ 0 h 2"/>
                  <a:gd name="T6" fmla="*/ 4 w 4"/>
                  <a:gd name="T7" fmla="*/ 0 h 2"/>
                  <a:gd name="T8" fmla="*/ 2 w 4"/>
                  <a:gd name="T9" fmla="*/ 2 h 2"/>
                  <a:gd name="T10" fmla="*/ 2 w 4"/>
                  <a:gd name="T11" fmla="*/ 2 h 2"/>
                  <a:gd name="T12" fmla="*/ 0 w 4"/>
                  <a:gd name="T13" fmla="*/ 2 h 2"/>
                  <a:gd name="T14" fmla="*/ 0 w 4"/>
                  <a:gd name="T15" fmla="*/ 2 h 2"/>
                  <a:gd name="T16" fmla="*/ 2 w 4"/>
                  <a:gd name="T17" fmla="*/ 2 h 2"/>
                  <a:gd name="T18" fmla="*/ 2 w 4"/>
                  <a:gd name="T1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75" name="Freeform 1077">
                <a:extLst>
                  <a:ext uri="{FF2B5EF4-FFF2-40B4-BE49-F238E27FC236}">
                    <a16:creationId xmlns:a16="http://schemas.microsoft.com/office/drawing/2014/main" id="{C0D6374B-3F93-43F8-8DAF-5B92C53DC7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6" y="3285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4 h 4"/>
                  <a:gd name="T4" fmla="*/ 4 w 4"/>
                  <a:gd name="T5" fmla="*/ 4 h 4"/>
                  <a:gd name="T6" fmla="*/ 4 w 4"/>
                  <a:gd name="T7" fmla="*/ 4 h 4"/>
                  <a:gd name="T8" fmla="*/ 0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76" name="Freeform 1078">
                <a:extLst>
                  <a:ext uri="{FF2B5EF4-FFF2-40B4-BE49-F238E27FC236}">
                    <a16:creationId xmlns:a16="http://schemas.microsoft.com/office/drawing/2014/main" id="{D5F1C3E5-CFCD-45DA-9C33-8590861FA3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" y="3307"/>
                <a:ext cx="5" cy="3"/>
              </a:xfrm>
              <a:custGeom>
                <a:avLst/>
                <a:gdLst>
                  <a:gd name="T0" fmla="*/ 0 w 5"/>
                  <a:gd name="T1" fmla="*/ 0 h 3"/>
                  <a:gd name="T2" fmla="*/ 3 w 5"/>
                  <a:gd name="T3" fmla="*/ 1 h 3"/>
                  <a:gd name="T4" fmla="*/ 5 w 5"/>
                  <a:gd name="T5" fmla="*/ 3 h 3"/>
                  <a:gd name="T6" fmla="*/ 3 w 5"/>
                  <a:gd name="T7" fmla="*/ 1 h 3"/>
                  <a:gd name="T8" fmla="*/ 0 w 5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">
                    <a:moveTo>
                      <a:pt x="0" y="0"/>
                    </a:moveTo>
                    <a:lnTo>
                      <a:pt x="3" y="1"/>
                    </a:lnTo>
                    <a:lnTo>
                      <a:pt x="5" y="3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77" name="Freeform 1079">
                <a:extLst>
                  <a:ext uri="{FF2B5EF4-FFF2-40B4-BE49-F238E27FC236}">
                    <a16:creationId xmlns:a16="http://schemas.microsoft.com/office/drawing/2014/main" id="{9E644428-4103-49C7-8C11-0353CA2D10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0" y="3197"/>
                <a:ext cx="4" cy="8"/>
              </a:xfrm>
              <a:custGeom>
                <a:avLst/>
                <a:gdLst>
                  <a:gd name="T0" fmla="*/ 0 w 4"/>
                  <a:gd name="T1" fmla="*/ 0 h 8"/>
                  <a:gd name="T2" fmla="*/ 2 w 4"/>
                  <a:gd name="T3" fmla="*/ 2 h 8"/>
                  <a:gd name="T4" fmla="*/ 4 w 4"/>
                  <a:gd name="T5" fmla="*/ 8 h 8"/>
                  <a:gd name="T6" fmla="*/ 2 w 4"/>
                  <a:gd name="T7" fmla="*/ 2 h 8"/>
                  <a:gd name="T8" fmla="*/ 0 w 4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2" y="2"/>
                    </a:lnTo>
                    <a:lnTo>
                      <a:pt x="4" y="8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78" name="Rectangle 1080">
                <a:extLst>
                  <a:ext uri="{FF2B5EF4-FFF2-40B4-BE49-F238E27FC236}">
                    <a16:creationId xmlns:a16="http://schemas.microsoft.com/office/drawing/2014/main" id="{27AF9C01-DD31-430E-99B4-6B1ED60593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3" y="312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79" name="Freeform 1081">
                <a:extLst>
                  <a:ext uri="{FF2B5EF4-FFF2-40B4-BE49-F238E27FC236}">
                    <a16:creationId xmlns:a16="http://schemas.microsoft.com/office/drawing/2014/main" id="{ACAC829B-26B5-4861-AC58-C9576A70E2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7" y="3187"/>
                <a:ext cx="9" cy="8"/>
              </a:xfrm>
              <a:custGeom>
                <a:avLst/>
                <a:gdLst>
                  <a:gd name="T0" fmla="*/ 0 w 9"/>
                  <a:gd name="T1" fmla="*/ 2 h 8"/>
                  <a:gd name="T2" fmla="*/ 0 w 9"/>
                  <a:gd name="T3" fmla="*/ 0 h 8"/>
                  <a:gd name="T4" fmla="*/ 0 w 9"/>
                  <a:gd name="T5" fmla="*/ 2 h 8"/>
                  <a:gd name="T6" fmla="*/ 4 w 9"/>
                  <a:gd name="T7" fmla="*/ 4 h 8"/>
                  <a:gd name="T8" fmla="*/ 9 w 9"/>
                  <a:gd name="T9" fmla="*/ 8 h 8"/>
                  <a:gd name="T10" fmla="*/ 4 w 9"/>
                  <a:gd name="T11" fmla="*/ 4 h 8"/>
                  <a:gd name="T12" fmla="*/ 0 w 9"/>
                  <a:gd name="T1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4"/>
                    </a:lnTo>
                    <a:lnTo>
                      <a:pt x="9" y="8"/>
                    </a:lnTo>
                    <a:lnTo>
                      <a:pt x="4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80" name="Freeform 1082">
                <a:extLst>
                  <a:ext uri="{FF2B5EF4-FFF2-40B4-BE49-F238E27FC236}">
                    <a16:creationId xmlns:a16="http://schemas.microsoft.com/office/drawing/2014/main" id="{781333B9-6236-42C9-A8C9-DBBB11334D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6" y="2879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0 h 4"/>
                  <a:gd name="T4" fmla="*/ 2 w 2"/>
                  <a:gd name="T5" fmla="*/ 0 h 4"/>
                  <a:gd name="T6" fmla="*/ 2 w 2"/>
                  <a:gd name="T7" fmla="*/ 2 h 4"/>
                  <a:gd name="T8" fmla="*/ 0 w 2"/>
                  <a:gd name="T9" fmla="*/ 4 h 4"/>
                  <a:gd name="T10" fmla="*/ 2 w 2"/>
                  <a:gd name="T11" fmla="*/ 2 h 4"/>
                  <a:gd name="T12" fmla="*/ 2 w 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81" name="Freeform 1083">
                <a:extLst>
                  <a:ext uri="{FF2B5EF4-FFF2-40B4-BE49-F238E27FC236}">
                    <a16:creationId xmlns:a16="http://schemas.microsoft.com/office/drawing/2014/main" id="{44AFDC6B-5AC3-4C76-B8FB-9861834A5A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313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  <a:gd name="T10" fmla="*/ 2 w 2"/>
                  <a:gd name="T11" fmla="*/ 2 h 2"/>
                  <a:gd name="T12" fmla="*/ 2 w 2"/>
                  <a:gd name="T13" fmla="*/ 2 h 2"/>
                  <a:gd name="T14" fmla="*/ 0 w 2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82" name="Freeform 1084">
                <a:extLst>
                  <a:ext uri="{FF2B5EF4-FFF2-40B4-BE49-F238E27FC236}">
                    <a16:creationId xmlns:a16="http://schemas.microsoft.com/office/drawing/2014/main" id="{B2D98198-D872-42CA-AAD4-D4D01BE3A8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0" y="2879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4 w 4"/>
                  <a:gd name="T3" fmla="*/ 4 h 4"/>
                  <a:gd name="T4" fmla="*/ 2 w 4"/>
                  <a:gd name="T5" fmla="*/ 0 h 4"/>
                  <a:gd name="T6" fmla="*/ 2 w 4"/>
                  <a:gd name="T7" fmla="*/ 0 h 4"/>
                  <a:gd name="T8" fmla="*/ 0 w 4"/>
                  <a:gd name="T9" fmla="*/ 0 h 4"/>
                  <a:gd name="T10" fmla="*/ 2 w 4"/>
                  <a:gd name="T11" fmla="*/ 0 h 4"/>
                  <a:gd name="T12" fmla="*/ 2 w 4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4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83" name="Freeform 1085">
                <a:extLst>
                  <a:ext uri="{FF2B5EF4-FFF2-40B4-BE49-F238E27FC236}">
                    <a16:creationId xmlns:a16="http://schemas.microsoft.com/office/drawing/2014/main" id="{3ABDFF66-3824-471C-8145-9C4136AADB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3" y="2883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84" name="Freeform 1086">
                <a:extLst>
                  <a:ext uri="{FF2B5EF4-FFF2-40B4-BE49-F238E27FC236}">
                    <a16:creationId xmlns:a16="http://schemas.microsoft.com/office/drawing/2014/main" id="{89FE67B6-C036-433C-82D5-A6D977BBF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" y="2885"/>
                <a:ext cx="3" cy="2"/>
              </a:xfrm>
              <a:custGeom>
                <a:avLst/>
                <a:gdLst>
                  <a:gd name="T0" fmla="*/ 3 w 3"/>
                  <a:gd name="T1" fmla="*/ 2 h 2"/>
                  <a:gd name="T2" fmla="*/ 3 w 3"/>
                  <a:gd name="T3" fmla="*/ 2 h 2"/>
                  <a:gd name="T4" fmla="*/ 0 w 3"/>
                  <a:gd name="T5" fmla="*/ 0 h 2"/>
                  <a:gd name="T6" fmla="*/ 0 w 3"/>
                  <a:gd name="T7" fmla="*/ 0 h 2"/>
                  <a:gd name="T8" fmla="*/ 3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85" name="Freeform 1087">
                <a:extLst>
                  <a:ext uri="{FF2B5EF4-FFF2-40B4-BE49-F238E27FC236}">
                    <a16:creationId xmlns:a16="http://schemas.microsoft.com/office/drawing/2014/main" id="{E593C97D-75A3-4636-A9DC-7BC7DBE33A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3" y="3156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2 h 4"/>
                  <a:gd name="T4" fmla="*/ 2 w 2"/>
                  <a:gd name="T5" fmla="*/ 4 h 4"/>
                  <a:gd name="T6" fmla="*/ 2 w 2"/>
                  <a:gd name="T7" fmla="*/ 2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86" name="Freeform 1088">
                <a:extLst>
                  <a:ext uri="{FF2B5EF4-FFF2-40B4-BE49-F238E27FC236}">
                    <a16:creationId xmlns:a16="http://schemas.microsoft.com/office/drawing/2014/main" id="{790E3980-48E8-46F5-8CEC-DD31CC2D47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9" y="3168"/>
                <a:ext cx="4" cy="0"/>
              </a:xfrm>
              <a:custGeom>
                <a:avLst/>
                <a:gdLst>
                  <a:gd name="T0" fmla="*/ 2 w 4"/>
                  <a:gd name="T1" fmla="*/ 0 w 4"/>
                  <a:gd name="T2" fmla="*/ 2 w 4"/>
                  <a:gd name="T3" fmla="*/ 4 w 4"/>
                  <a:gd name="T4" fmla="*/ 4 w 4"/>
                  <a:gd name="T5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87" name="Freeform 1089">
                <a:extLst>
                  <a:ext uri="{FF2B5EF4-FFF2-40B4-BE49-F238E27FC236}">
                    <a16:creationId xmlns:a16="http://schemas.microsoft.com/office/drawing/2014/main" id="{A3004B70-D19F-4D7F-B890-775490DEC8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1" y="2912"/>
                <a:ext cx="4" cy="0"/>
              </a:xfrm>
              <a:custGeom>
                <a:avLst/>
                <a:gdLst>
                  <a:gd name="T0" fmla="*/ 4 w 4"/>
                  <a:gd name="T1" fmla="*/ 0 w 4"/>
                  <a:gd name="T2" fmla="*/ 4 w 4"/>
                  <a:gd name="T3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88" name="Freeform 1090">
                <a:extLst>
                  <a:ext uri="{FF2B5EF4-FFF2-40B4-BE49-F238E27FC236}">
                    <a16:creationId xmlns:a16="http://schemas.microsoft.com/office/drawing/2014/main" id="{F16A8FC9-937D-4AC5-9D99-42ED2F91B7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7" y="2879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2 w 4"/>
                  <a:gd name="T4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89" name="Freeform 1091">
                <a:extLst>
                  <a:ext uri="{FF2B5EF4-FFF2-40B4-BE49-F238E27FC236}">
                    <a16:creationId xmlns:a16="http://schemas.microsoft.com/office/drawing/2014/main" id="{7025E2EB-C96C-4683-807A-E5B1FE6035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3" y="3168"/>
                <a:ext cx="2" cy="15"/>
              </a:xfrm>
              <a:custGeom>
                <a:avLst/>
                <a:gdLst>
                  <a:gd name="T0" fmla="*/ 2 w 2"/>
                  <a:gd name="T1" fmla="*/ 6 h 15"/>
                  <a:gd name="T2" fmla="*/ 2 w 2"/>
                  <a:gd name="T3" fmla="*/ 0 h 15"/>
                  <a:gd name="T4" fmla="*/ 0 w 2"/>
                  <a:gd name="T5" fmla="*/ 0 h 15"/>
                  <a:gd name="T6" fmla="*/ 2 w 2"/>
                  <a:gd name="T7" fmla="*/ 0 h 15"/>
                  <a:gd name="T8" fmla="*/ 2 w 2"/>
                  <a:gd name="T9" fmla="*/ 6 h 15"/>
                  <a:gd name="T10" fmla="*/ 2 w 2"/>
                  <a:gd name="T11" fmla="*/ 14 h 15"/>
                  <a:gd name="T12" fmla="*/ 2 w 2"/>
                  <a:gd name="T13" fmla="*/ 15 h 15"/>
                  <a:gd name="T14" fmla="*/ 2 w 2"/>
                  <a:gd name="T15" fmla="*/ 14 h 15"/>
                  <a:gd name="T16" fmla="*/ 2 w 2"/>
                  <a:gd name="T17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15">
                    <a:moveTo>
                      <a:pt x="2" y="6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6"/>
                    </a:lnTo>
                    <a:lnTo>
                      <a:pt x="2" y="14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90" name="Freeform 1092">
                <a:extLst>
                  <a:ext uri="{FF2B5EF4-FFF2-40B4-BE49-F238E27FC236}">
                    <a16:creationId xmlns:a16="http://schemas.microsoft.com/office/drawing/2014/main" id="{981E7AFC-05EE-4D0E-8D57-77E741C75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8" y="2891"/>
                <a:ext cx="10" cy="4"/>
              </a:xfrm>
              <a:custGeom>
                <a:avLst/>
                <a:gdLst>
                  <a:gd name="T0" fmla="*/ 4 w 10"/>
                  <a:gd name="T1" fmla="*/ 2 h 4"/>
                  <a:gd name="T2" fmla="*/ 6 w 10"/>
                  <a:gd name="T3" fmla="*/ 4 h 4"/>
                  <a:gd name="T4" fmla="*/ 10 w 10"/>
                  <a:gd name="T5" fmla="*/ 2 h 4"/>
                  <a:gd name="T6" fmla="*/ 10 w 10"/>
                  <a:gd name="T7" fmla="*/ 2 h 4"/>
                  <a:gd name="T8" fmla="*/ 6 w 10"/>
                  <a:gd name="T9" fmla="*/ 4 h 4"/>
                  <a:gd name="T10" fmla="*/ 4 w 10"/>
                  <a:gd name="T11" fmla="*/ 2 h 4"/>
                  <a:gd name="T12" fmla="*/ 2 w 10"/>
                  <a:gd name="T13" fmla="*/ 0 h 4"/>
                  <a:gd name="T14" fmla="*/ 0 w 10"/>
                  <a:gd name="T15" fmla="*/ 0 h 4"/>
                  <a:gd name="T16" fmla="*/ 2 w 10"/>
                  <a:gd name="T17" fmla="*/ 0 h 4"/>
                  <a:gd name="T18" fmla="*/ 4 w 10"/>
                  <a:gd name="T1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4">
                    <a:moveTo>
                      <a:pt x="4" y="2"/>
                    </a:moveTo>
                    <a:lnTo>
                      <a:pt x="6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91" name="Freeform 1093">
                <a:extLst>
                  <a:ext uri="{FF2B5EF4-FFF2-40B4-BE49-F238E27FC236}">
                    <a16:creationId xmlns:a16="http://schemas.microsoft.com/office/drawing/2014/main" id="{1A08A53C-3466-4C55-8A1C-60C49F395E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5" y="2891"/>
                <a:ext cx="11" cy="21"/>
              </a:xfrm>
              <a:custGeom>
                <a:avLst/>
                <a:gdLst>
                  <a:gd name="T0" fmla="*/ 5 w 11"/>
                  <a:gd name="T1" fmla="*/ 13 h 21"/>
                  <a:gd name="T2" fmla="*/ 11 w 11"/>
                  <a:gd name="T3" fmla="*/ 0 h 21"/>
                  <a:gd name="T4" fmla="*/ 11 w 11"/>
                  <a:gd name="T5" fmla="*/ 0 h 21"/>
                  <a:gd name="T6" fmla="*/ 5 w 11"/>
                  <a:gd name="T7" fmla="*/ 13 h 21"/>
                  <a:gd name="T8" fmla="*/ 3 w 11"/>
                  <a:gd name="T9" fmla="*/ 19 h 21"/>
                  <a:gd name="T10" fmla="*/ 0 w 11"/>
                  <a:gd name="T11" fmla="*/ 21 h 21"/>
                  <a:gd name="T12" fmla="*/ 3 w 11"/>
                  <a:gd name="T13" fmla="*/ 19 h 21"/>
                  <a:gd name="T14" fmla="*/ 5 w 11"/>
                  <a:gd name="T15" fmla="*/ 13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1">
                    <a:moveTo>
                      <a:pt x="5" y="13"/>
                    </a:moveTo>
                    <a:lnTo>
                      <a:pt x="11" y="0"/>
                    </a:lnTo>
                    <a:lnTo>
                      <a:pt x="11" y="0"/>
                    </a:lnTo>
                    <a:lnTo>
                      <a:pt x="5" y="13"/>
                    </a:lnTo>
                    <a:lnTo>
                      <a:pt x="3" y="19"/>
                    </a:lnTo>
                    <a:lnTo>
                      <a:pt x="0" y="21"/>
                    </a:lnTo>
                    <a:lnTo>
                      <a:pt x="3" y="19"/>
                    </a:lnTo>
                    <a:lnTo>
                      <a:pt x="5" y="1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92" name="Freeform 1094">
                <a:extLst>
                  <a:ext uri="{FF2B5EF4-FFF2-40B4-BE49-F238E27FC236}">
                    <a16:creationId xmlns:a16="http://schemas.microsoft.com/office/drawing/2014/main" id="{4E70AD01-FC46-4FF7-B444-08C780F3EB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9" y="3144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0 w 4"/>
                  <a:gd name="T3" fmla="*/ 0 h 4"/>
                  <a:gd name="T4" fmla="*/ 2 w 4"/>
                  <a:gd name="T5" fmla="*/ 2 h 4"/>
                  <a:gd name="T6" fmla="*/ 4 w 4"/>
                  <a:gd name="T7" fmla="*/ 4 h 4"/>
                  <a:gd name="T8" fmla="*/ 2 w 4"/>
                  <a:gd name="T9" fmla="*/ 2 h 4"/>
                  <a:gd name="T10" fmla="*/ 0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93" name="Freeform 1095">
                <a:extLst>
                  <a:ext uri="{FF2B5EF4-FFF2-40B4-BE49-F238E27FC236}">
                    <a16:creationId xmlns:a16="http://schemas.microsoft.com/office/drawing/2014/main" id="{2A735DBB-2D23-441B-A375-3B09B0012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5" y="2770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94" name="Freeform 1096">
                <a:extLst>
                  <a:ext uri="{FF2B5EF4-FFF2-40B4-BE49-F238E27FC236}">
                    <a16:creationId xmlns:a16="http://schemas.microsoft.com/office/drawing/2014/main" id="{55FB629B-B589-4572-A54A-FA8D86E39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7" y="3086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95" name="Freeform 1097">
                <a:extLst>
                  <a:ext uri="{FF2B5EF4-FFF2-40B4-BE49-F238E27FC236}">
                    <a16:creationId xmlns:a16="http://schemas.microsoft.com/office/drawing/2014/main" id="{3E5F4F26-BD76-443D-8EC7-EDFF5C4049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" y="3082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96" name="Freeform 1098">
                <a:extLst>
                  <a:ext uri="{FF2B5EF4-FFF2-40B4-BE49-F238E27FC236}">
                    <a16:creationId xmlns:a16="http://schemas.microsoft.com/office/drawing/2014/main" id="{029FDBB7-B6E6-4885-9462-8045E7C8A4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5" y="3142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97" name="Rectangle 1099">
                <a:extLst>
                  <a:ext uri="{FF2B5EF4-FFF2-40B4-BE49-F238E27FC236}">
                    <a16:creationId xmlns:a16="http://schemas.microsoft.com/office/drawing/2014/main" id="{8314F36C-FBCE-4E6E-9A9A-33FFAC7D24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5" y="286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98" name="Freeform 1100">
                <a:extLst>
                  <a:ext uri="{FF2B5EF4-FFF2-40B4-BE49-F238E27FC236}">
                    <a16:creationId xmlns:a16="http://schemas.microsoft.com/office/drawing/2014/main" id="{0C0A8920-355D-472C-A766-E903681919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6" y="2975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99" name="Rectangle 1101">
                <a:extLst>
                  <a:ext uri="{FF2B5EF4-FFF2-40B4-BE49-F238E27FC236}">
                    <a16:creationId xmlns:a16="http://schemas.microsoft.com/office/drawing/2014/main" id="{3ED2C5FC-A7B5-4F12-997B-96079390CC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2" y="327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00" name="Freeform 1102">
                <a:extLst>
                  <a:ext uri="{FF2B5EF4-FFF2-40B4-BE49-F238E27FC236}">
                    <a16:creationId xmlns:a16="http://schemas.microsoft.com/office/drawing/2014/main" id="{B67C0F08-EAA2-4E70-A3BA-E197697E35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5" y="3264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01" name="Freeform 1103">
                <a:extLst>
                  <a:ext uri="{FF2B5EF4-FFF2-40B4-BE49-F238E27FC236}">
                    <a16:creationId xmlns:a16="http://schemas.microsoft.com/office/drawing/2014/main" id="{69560224-FA2E-44CC-B6BC-F10EB3DF20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2" y="2770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02" name="Freeform 1104">
                <a:extLst>
                  <a:ext uri="{FF2B5EF4-FFF2-40B4-BE49-F238E27FC236}">
                    <a16:creationId xmlns:a16="http://schemas.microsoft.com/office/drawing/2014/main" id="{D2D8CFC9-B02E-47D9-B447-CFC41247D1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6" y="2973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03" name="Freeform 1105">
                <a:extLst>
                  <a:ext uri="{FF2B5EF4-FFF2-40B4-BE49-F238E27FC236}">
                    <a16:creationId xmlns:a16="http://schemas.microsoft.com/office/drawing/2014/main" id="{745D3600-D3D8-4A29-ABDA-90DA050E1E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3" y="2859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0 w 4"/>
                  <a:gd name="T3" fmla="*/ 2 h 2"/>
                  <a:gd name="T4" fmla="*/ 4 w 4"/>
                  <a:gd name="T5" fmla="*/ 0 h 2"/>
                  <a:gd name="T6" fmla="*/ 0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0" y="2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04" name="Freeform 1106">
                <a:extLst>
                  <a:ext uri="{FF2B5EF4-FFF2-40B4-BE49-F238E27FC236}">
                    <a16:creationId xmlns:a16="http://schemas.microsoft.com/office/drawing/2014/main" id="{55884739-D0D2-4F71-B97B-598D1BCCA6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9" y="2914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2 w 2"/>
                  <a:gd name="T3" fmla="*/ 2 w 2"/>
                  <a:gd name="T4" fmla="*/ 0 w 2"/>
                  <a:gd name="T5" fmla="*/ 0 w 2"/>
                  <a:gd name="T6" fmla="*/ 0 w 2"/>
                  <a:gd name="T7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05" name="Freeform 1107">
                <a:extLst>
                  <a:ext uri="{FF2B5EF4-FFF2-40B4-BE49-F238E27FC236}">
                    <a16:creationId xmlns:a16="http://schemas.microsoft.com/office/drawing/2014/main" id="{C807C138-A9AA-4ED5-8196-AD91B2CD15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" y="2793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0 w 4"/>
                  <a:gd name="T5" fmla="*/ 0 h 4"/>
                  <a:gd name="T6" fmla="*/ 4 w 4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06" name="Rectangle 1108">
                <a:extLst>
                  <a:ext uri="{FF2B5EF4-FFF2-40B4-BE49-F238E27FC236}">
                    <a16:creationId xmlns:a16="http://schemas.microsoft.com/office/drawing/2014/main" id="{F94BF63F-09F5-4712-A5AF-3C3617E100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" y="291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07" name="Freeform 1109">
                <a:extLst>
                  <a:ext uri="{FF2B5EF4-FFF2-40B4-BE49-F238E27FC236}">
                    <a16:creationId xmlns:a16="http://schemas.microsoft.com/office/drawing/2014/main" id="{2889386E-95B5-44C5-B311-2B9C9CB3A9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9" y="2873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08" name="Rectangle 1110">
                <a:extLst>
                  <a:ext uri="{FF2B5EF4-FFF2-40B4-BE49-F238E27FC236}">
                    <a16:creationId xmlns:a16="http://schemas.microsoft.com/office/drawing/2014/main" id="{289F1559-C6E3-4251-B4C3-25524FFBEC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8" y="287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09" name="Rectangle 1111">
                <a:extLst>
                  <a:ext uri="{FF2B5EF4-FFF2-40B4-BE49-F238E27FC236}">
                    <a16:creationId xmlns:a16="http://schemas.microsoft.com/office/drawing/2014/main" id="{28AA437A-3647-4418-B955-79AC2DFDE4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9" y="294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10" name="Freeform 1112">
                <a:extLst>
                  <a:ext uri="{FF2B5EF4-FFF2-40B4-BE49-F238E27FC236}">
                    <a16:creationId xmlns:a16="http://schemas.microsoft.com/office/drawing/2014/main" id="{C5973E52-A9F7-488E-9332-363A167820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6" y="3332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11" name="Freeform 1113">
                <a:extLst>
                  <a:ext uri="{FF2B5EF4-FFF2-40B4-BE49-F238E27FC236}">
                    <a16:creationId xmlns:a16="http://schemas.microsoft.com/office/drawing/2014/main" id="{C3CD1F57-08A4-4A73-9AF6-E3FF684903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5" y="2973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0 h 4"/>
                  <a:gd name="T4" fmla="*/ 4 w 4"/>
                  <a:gd name="T5" fmla="*/ 0 h 4"/>
                  <a:gd name="T6" fmla="*/ 2 w 4"/>
                  <a:gd name="T7" fmla="*/ 2 h 4"/>
                  <a:gd name="T8" fmla="*/ 0 w 4"/>
                  <a:gd name="T9" fmla="*/ 4 h 4"/>
                  <a:gd name="T10" fmla="*/ 0 w 4"/>
                  <a:gd name="T11" fmla="*/ 4 h 4"/>
                  <a:gd name="T12" fmla="*/ 2 w 4"/>
                  <a:gd name="T13" fmla="*/ 2 h 4"/>
                  <a:gd name="T14" fmla="*/ 4 w 4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12" name="Freeform 1114">
                <a:extLst>
                  <a:ext uri="{FF2B5EF4-FFF2-40B4-BE49-F238E27FC236}">
                    <a16:creationId xmlns:a16="http://schemas.microsoft.com/office/drawing/2014/main" id="{E28E0A39-1CE3-4F0F-8016-8FB9D1E78D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" y="2977"/>
                <a:ext cx="4" cy="5"/>
              </a:xfrm>
              <a:custGeom>
                <a:avLst/>
                <a:gdLst>
                  <a:gd name="T0" fmla="*/ 0 w 4"/>
                  <a:gd name="T1" fmla="*/ 1 h 5"/>
                  <a:gd name="T2" fmla="*/ 2 w 4"/>
                  <a:gd name="T3" fmla="*/ 0 h 5"/>
                  <a:gd name="T4" fmla="*/ 0 w 4"/>
                  <a:gd name="T5" fmla="*/ 1 h 5"/>
                  <a:gd name="T6" fmla="*/ 2 w 4"/>
                  <a:gd name="T7" fmla="*/ 5 h 5"/>
                  <a:gd name="T8" fmla="*/ 4 w 4"/>
                  <a:gd name="T9" fmla="*/ 5 h 5"/>
                  <a:gd name="T10" fmla="*/ 2 w 4"/>
                  <a:gd name="T11" fmla="*/ 5 h 5"/>
                  <a:gd name="T12" fmla="*/ 0 w 4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5">
                    <a:moveTo>
                      <a:pt x="0" y="1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2" y="5"/>
                    </a:lnTo>
                    <a:lnTo>
                      <a:pt x="4" y="5"/>
                    </a:lnTo>
                    <a:lnTo>
                      <a:pt x="2" y="5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13" name="Freeform 1115">
                <a:extLst>
                  <a:ext uri="{FF2B5EF4-FFF2-40B4-BE49-F238E27FC236}">
                    <a16:creationId xmlns:a16="http://schemas.microsoft.com/office/drawing/2014/main" id="{B650D474-FC07-48CB-B864-6846E22D51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" y="2961"/>
                <a:ext cx="12" cy="0"/>
              </a:xfrm>
              <a:custGeom>
                <a:avLst/>
                <a:gdLst>
                  <a:gd name="T0" fmla="*/ 4 w 12"/>
                  <a:gd name="T1" fmla="*/ 12 w 12"/>
                  <a:gd name="T2" fmla="*/ 12 w 12"/>
                  <a:gd name="T3" fmla="*/ 4 w 12"/>
                  <a:gd name="T4" fmla="*/ 0 w 12"/>
                  <a:gd name="T5" fmla="*/ 2 w 12"/>
                  <a:gd name="T6" fmla="*/ 0 w 12"/>
                  <a:gd name="T7" fmla="*/ 4 w 1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</a:cxnLst>
                <a:rect l="0" t="0" r="r" b="b"/>
                <a:pathLst>
                  <a:path w="12">
                    <a:moveTo>
                      <a:pt x="4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14" name="Freeform 1116">
                <a:extLst>
                  <a:ext uri="{FF2B5EF4-FFF2-40B4-BE49-F238E27FC236}">
                    <a16:creationId xmlns:a16="http://schemas.microsoft.com/office/drawing/2014/main" id="{7F53529F-6378-40AB-8F25-6256B3C94B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9" y="3312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15" name="Rectangle 1117">
                <a:extLst>
                  <a:ext uri="{FF2B5EF4-FFF2-40B4-BE49-F238E27FC236}">
                    <a16:creationId xmlns:a16="http://schemas.microsoft.com/office/drawing/2014/main" id="{90DE7F7F-676A-4F5D-AA59-98C346BE1C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2" y="297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16" name="Freeform 1118">
                <a:extLst>
                  <a:ext uri="{FF2B5EF4-FFF2-40B4-BE49-F238E27FC236}">
                    <a16:creationId xmlns:a16="http://schemas.microsoft.com/office/drawing/2014/main" id="{63C687A4-67A4-42FF-AB8A-D23CE50147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" y="2961"/>
                <a:ext cx="5" cy="12"/>
              </a:xfrm>
              <a:custGeom>
                <a:avLst/>
                <a:gdLst>
                  <a:gd name="T0" fmla="*/ 3 w 5"/>
                  <a:gd name="T1" fmla="*/ 4 h 12"/>
                  <a:gd name="T2" fmla="*/ 3 w 5"/>
                  <a:gd name="T3" fmla="*/ 10 h 12"/>
                  <a:gd name="T4" fmla="*/ 5 w 5"/>
                  <a:gd name="T5" fmla="*/ 12 h 12"/>
                  <a:gd name="T6" fmla="*/ 5 w 5"/>
                  <a:gd name="T7" fmla="*/ 12 h 12"/>
                  <a:gd name="T8" fmla="*/ 5 w 5"/>
                  <a:gd name="T9" fmla="*/ 12 h 12"/>
                  <a:gd name="T10" fmla="*/ 3 w 5"/>
                  <a:gd name="T11" fmla="*/ 10 h 12"/>
                  <a:gd name="T12" fmla="*/ 3 w 5"/>
                  <a:gd name="T13" fmla="*/ 4 h 12"/>
                  <a:gd name="T14" fmla="*/ 3 w 5"/>
                  <a:gd name="T15" fmla="*/ 2 h 12"/>
                  <a:gd name="T16" fmla="*/ 0 w 5"/>
                  <a:gd name="T17" fmla="*/ 0 h 12"/>
                  <a:gd name="T18" fmla="*/ 3 w 5"/>
                  <a:gd name="T19" fmla="*/ 2 h 12"/>
                  <a:gd name="T20" fmla="*/ 3 w 5"/>
                  <a:gd name="T21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12">
                    <a:moveTo>
                      <a:pt x="3" y="4"/>
                    </a:moveTo>
                    <a:lnTo>
                      <a:pt x="3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3" y="10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17" name="Freeform 1119">
                <a:extLst>
                  <a:ext uri="{FF2B5EF4-FFF2-40B4-BE49-F238E27FC236}">
                    <a16:creationId xmlns:a16="http://schemas.microsoft.com/office/drawing/2014/main" id="{CB08BFB2-4593-4BF8-8BC6-740BAEB3F1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7" y="3328"/>
                <a:ext cx="7" cy="4"/>
              </a:xfrm>
              <a:custGeom>
                <a:avLst/>
                <a:gdLst>
                  <a:gd name="T0" fmla="*/ 0 w 7"/>
                  <a:gd name="T1" fmla="*/ 0 h 4"/>
                  <a:gd name="T2" fmla="*/ 4 w 7"/>
                  <a:gd name="T3" fmla="*/ 2 h 4"/>
                  <a:gd name="T4" fmla="*/ 7 w 7"/>
                  <a:gd name="T5" fmla="*/ 4 h 4"/>
                  <a:gd name="T6" fmla="*/ 4 w 7"/>
                  <a:gd name="T7" fmla="*/ 2 h 4"/>
                  <a:gd name="T8" fmla="*/ 0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0" y="0"/>
                    </a:moveTo>
                    <a:lnTo>
                      <a:pt x="4" y="2"/>
                    </a:lnTo>
                    <a:lnTo>
                      <a:pt x="7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18" name="Freeform 1120">
                <a:extLst>
                  <a:ext uri="{FF2B5EF4-FFF2-40B4-BE49-F238E27FC236}">
                    <a16:creationId xmlns:a16="http://schemas.microsoft.com/office/drawing/2014/main" id="{FD82DA97-567C-41AA-A3C5-2F7B8F907B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3" y="3324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2 w 4"/>
                  <a:gd name="T3" fmla="*/ 2 h 4"/>
                  <a:gd name="T4" fmla="*/ 4 w 4"/>
                  <a:gd name="T5" fmla="*/ 4 h 4"/>
                  <a:gd name="T6" fmla="*/ 2 w 4"/>
                  <a:gd name="T7" fmla="*/ 2 h 4"/>
                  <a:gd name="T8" fmla="*/ 0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2" y="2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19" name="Rectangle 1121">
                <a:extLst>
                  <a:ext uri="{FF2B5EF4-FFF2-40B4-BE49-F238E27FC236}">
                    <a16:creationId xmlns:a16="http://schemas.microsoft.com/office/drawing/2014/main" id="{4FD2DEE2-3707-4DAB-9F8F-2E7EA59EBB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7" y="299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20" name="Freeform 1122">
                <a:extLst>
                  <a:ext uri="{FF2B5EF4-FFF2-40B4-BE49-F238E27FC236}">
                    <a16:creationId xmlns:a16="http://schemas.microsoft.com/office/drawing/2014/main" id="{0ADC1CFF-127C-4D1E-8C98-86563ED0E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7" y="3307"/>
                <a:ext cx="6" cy="7"/>
              </a:xfrm>
              <a:custGeom>
                <a:avLst/>
                <a:gdLst>
                  <a:gd name="T0" fmla="*/ 4 w 6"/>
                  <a:gd name="T1" fmla="*/ 0 h 7"/>
                  <a:gd name="T2" fmla="*/ 2 w 6"/>
                  <a:gd name="T3" fmla="*/ 3 h 7"/>
                  <a:gd name="T4" fmla="*/ 0 w 6"/>
                  <a:gd name="T5" fmla="*/ 7 h 7"/>
                  <a:gd name="T6" fmla="*/ 0 w 6"/>
                  <a:gd name="T7" fmla="*/ 7 h 7"/>
                  <a:gd name="T8" fmla="*/ 2 w 6"/>
                  <a:gd name="T9" fmla="*/ 3 h 7"/>
                  <a:gd name="T10" fmla="*/ 4 w 6"/>
                  <a:gd name="T11" fmla="*/ 0 h 7"/>
                  <a:gd name="T12" fmla="*/ 6 w 6"/>
                  <a:gd name="T13" fmla="*/ 0 h 7"/>
                  <a:gd name="T14" fmla="*/ 6 w 6"/>
                  <a:gd name="T15" fmla="*/ 0 h 7"/>
                  <a:gd name="T16" fmla="*/ 6 w 6"/>
                  <a:gd name="T17" fmla="*/ 0 h 7"/>
                  <a:gd name="T18" fmla="*/ 4 w 6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7">
                    <a:moveTo>
                      <a:pt x="4" y="0"/>
                    </a:moveTo>
                    <a:lnTo>
                      <a:pt x="2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21" name="Freeform 1123">
                <a:extLst>
                  <a:ext uri="{FF2B5EF4-FFF2-40B4-BE49-F238E27FC236}">
                    <a16:creationId xmlns:a16="http://schemas.microsoft.com/office/drawing/2014/main" id="{32CB9245-6220-47D2-9229-7DD7DE54E0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3019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2 h 4"/>
                  <a:gd name="T4" fmla="*/ 2 w 2"/>
                  <a:gd name="T5" fmla="*/ 4 h 4"/>
                  <a:gd name="T6" fmla="*/ 0 w 2"/>
                  <a:gd name="T7" fmla="*/ 2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22" name="Freeform 1124">
                <a:extLst>
                  <a:ext uri="{FF2B5EF4-FFF2-40B4-BE49-F238E27FC236}">
                    <a16:creationId xmlns:a16="http://schemas.microsoft.com/office/drawing/2014/main" id="{2806C092-C334-4720-BB49-6F3155A5E4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" y="3012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4 h 4"/>
                  <a:gd name="T4" fmla="*/ 2 w 2"/>
                  <a:gd name="T5" fmla="*/ 4 h 4"/>
                  <a:gd name="T6" fmla="*/ 0 w 2"/>
                  <a:gd name="T7" fmla="*/ 4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4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23" name="Freeform 1125">
                <a:extLst>
                  <a:ext uri="{FF2B5EF4-FFF2-40B4-BE49-F238E27FC236}">
                    <a16:creationId xmlns:a16="http://schemas.microsoft.com/office/drawing/2014/main" id="{7BDCF8B9-CAA8-4276-BDDE-B1AC46DCB2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" y="3025"/>
                <a:ext cx="0" cy="4"/>
              </a:xfrm>
              <a:custGeom>
                <a:avLst/>
                <a:gdLst>
                  <a:gd name="T0" fmla="*/ 0 h 4"/>
                  <a:gd name="T1" fmla="*/ 2 h 4"/>
                  <a:gd name="T2" fmla="*/ 4 h 4"/>
                  <a:gd name="T3" fmla="*/ 2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24" name="Freeform 1126">
                <a:extLst>
                  <a:ext uri="{FF2B5EF4-FFF2-40B4-BE49-F238E27FC236}">
                    <a16:creationId xmlns:a16="http://schemas.microsoft.com/office/drawing/2014/main" id="{43CE2EEA-5302-474D-9FE2-55622BED1C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7" y="3307"/>
                <a:ext cx="4" cy="3"/>
              </a:xfrm>
              <a:custGeom>
                <a:avLst/>
                <a:gdLst>
                  <a:gd name="T0" fmla="*/ 0 w 4"/>
                  <a:gd name="T1" fmla="*/ 0 h 3"/>
                  <a:gd name="T2" fmla="*/ 0 w 4"/>
                  <a:gd name="T3" fmla="*/ 0 h 3"/>
                  <a:gd name="T4" fmla="*/ 0 w 4"/>
                  <a:gd name="T5" fmla="*/ 0 h 3"/>
                  <a:gd name="T6" fmla="*/ 4 w 4"/>
                  <a:gd name="T7" fmla="*/ 1 h 3"/>
                  <a:gd name="T8" fmla="*/ 4 w 4"/>
                  <a:gd name="T9" fmla="*/ 3 h 3"/>
                  <a:gd name="T10" fmla="*/ 4 w 4"/>
                  <a:gd name="T11" fmla="*/ 1 h 3"/>
                  <a:gd name="T12" fmla="*/ 0 w 4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1"/>
                    </a:lnTo>
                    <a:lnTo>
                      <a:pt x="4" y="3"/>
                    </a:lnTo>
                    <a:lnTo>
                      <a:pt x="4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25" name="Freeform 1127">
                <a:extLst>
                  <a:ext uri="{FF2B5EF4-FFF2-40B4-BE49-F238E27FC236}">
                    <a16:creationId xmlns:a16="http://schemas.microsoft.com/office/drawing/2014/main" id="{0A3AD6AA-C80C-4385-B2DF-2294D9214A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" y="3002"/>
                <a:ext cx="0" cy="8"/>
              </a:xfrm>
              <a:custGeom>
                <a:avLst/>
                <a:gdLst>
                  <a:gd name="T0" fmla="*/ 0 h 8"/>
                  <a:gd name="T1" fmla="*/ 6 h 8"/>
                  <a:gd name="T2" fmla="*/ 8 h 8"/>
                  <a:gd name="T3" fmla="*/ 6 h 8"/>
                  <a:gd name="T4" fmla="*/ 0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8">
                    <a:moveTo>
                      <a:pt x="0" y="0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26" name="Freeform 1128">
                <a:extLst>
                  <a:ext uri="{FF2B5EF4-FFF2-40B4-BE49-F238E27FC236}">
                    <a16:creationId xmlns:a16="http://schemas.microsoft.com/office/drawing/2014/main" id="{19E0A0BB-5EDA-4BB6-BE45-9F1B64B7E8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" y="2998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  <a:gd name="T8" fmla="*/ 0 w 2"/>
                  <a:gd name="T9" fmla="*/ 2 h 2"/>
                  <a:gd name="T10" fmla="*/ 2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27" name="Freeform 1129">
                <a:extLst>
                  <a:ext uri="{FF2B5EF4-FFF2-40B4-BE49-F238E27FC236}">
                    <a16:creationId xmlns:a16="http://schemas.microsoft.com/office/drawing/2014/main" id="{7D05EC93-3DDB-47FE-87D2-FF24EC7B5E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" y="3332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4 h 4"/>
                  <a:gd name="T4" fmla="*/ 0 w 2"/>
                  <a:gd name="T5" fmla="*/ 0 h 4"/>
                  <a:gd name="T6" fmla="*/ 0 w 2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28" name="Freeform 1130">
                <a:extLst>
                  <a:ext uri="{FF2B5EF4-FFF2-40B4-BE49-F238E27FC236}">
                    <a16:creationId xmlns:a16="http://schemas.microsoft.com/office/drawing/2014/main" id="{7C6AE19C-10BC-4BF3-89BC-7B63F36306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5" y="2865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29" name="Freeform 1131">
                <a:extLst>
                  <a:ext uri="{FF2B5EF4-FFF2-40B4-BE49-F238E27FC236}">
                    <a16:creationId xmlns:a16="http://schemas.microsoft.com/office/drawing/2014/main" id="{FC76416F-9B50-4F22-B9C1-F2579C0D9A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1" y="2937"/>
                <a:ext cx="10" cy="2"/>
              </a:xfrm>
              <a:custGeom>
                <a:avLst/>
                <a:gdLst>
                  <a:gd name="T0" fmla="*/ 10 w 10"/>
                  <a:gd name="T1" fmla="*/ 2 h 2"/>
                  <a:gd name="T2" fmla="*/ 4 w 10"/>
                  <a:gd name="T3" fmla="*/ 0 h 2"/>
                  <a:gd name="T4" fmla="*/ 0 w 10"/>
                  <a:gd name="T5" fmla="*/ 0 h 2"/>
                  <a:gd name="T6" fmla="*/ 4 w 10"/>
                  <a:gd name="T7" fmla="*/ 0 h 2"/>
                  <a:gd name="T8" fmla="*/ 10 w 10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">
                    <a:moveTo>
                      <a:pt x="10" y="2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30" name="Freeform 1132">
                <a:extLst>
                  <a:ext uri="{FF2B5EF4-FFF2-40B4-BE49-F238E27FC236}">
                    <a16:creationId xmlns:a16="http://schemas.microsoft.com/office/drawing/2014/main" id="{E06B0B03-0EA7-4E5D-82E8-7CA7C48D07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" y="2928"/>
                <a:ext cx="6" cy="2"/>
              </a:xfrm>
              <a:custGeom>
                <a:avLst/>
                <a:gdLst>
                  <a:gd name="T0" fmla="*/ 2 w 6"/>
                  <a:gd name="T1" fmla="*/ 0 h 2"/>
                  <a:gd name="T2" fmla="*/ 6 w 6"/>
                  <a:gd name="T3" fmla="*/ 2 h 2"/>
                  <a:gd name="T4" fmla="*/ 6 w 6"/>
                  <a:gd name="T5" fmla="*/ 0 h 2"/>
                  <a:gd name="T6" fmla="*/ 6 w 6"/>
                  <a:gd name="T7" fmla="*/ 0 h 2"/>
                  <a:gd name="T8" fmla="*/ 6 w 6"/>
                  <a:gd name="T9" fmla="*/ 2 h 2"/>
                  <a:gd name="T10" fmla="*/ 2 w 6"/>
                  <a:gd name="T11" fmla="*/ 0 h 2"/>
                  <a:gd name="T12" fmla="*/ 0 w 6"/>
                  <a:gd name="T13" fmla="*/ 0 h 2"/>
                  <a:gd name="T14" fmla="*/ 0 w 6"/>
                  <a:gd name="T15" fmla="*/ 2 h 2"/>
                  <a:gd name="T16" fmla="*/ 0 w 6"/>
                  <a:gd name="T17" fmla="*/ 0 h 2"/>
                  <a:gd name="T18" fmla="*/ 2 w 6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">
                    <a:moveTo>
                      <a:pt x="2" y="0"/>
                    </a:move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31" name="Freeform 1133">
                <a:extLst>
                  <a:ext uri="{FF2B5EF4-FFF2-40B4-BE49-F238E27FC236}">
                    <a16:creationId xmlns:a16="http://schemas.microsoft.com/office/drawing/2014/main" id="{32ED7B18-50CB-4C29-8122-C252786E71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1" y="2912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32" name="Freeform 1134">
                <a:extLst>
                  <a:ext uri="{FF2B5EF4-FFF2-40B4-BE49-F238E27FC236}">
                    <a16:creationId xmlns:a16="http://schemas.microsoft.com/office/drawing/2014/main" id="{D0DA83BD-F92D-4DEB-812F-0A15F6F953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6" y="292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33" name="Freeform 1135">
                <a:extLst>
                  <a:ext uri="{FF2B5EF4-FFF2-40B4-BE49-F238E27FC236}">
                    <a16:creationId xmlns:a16="http://schemas.microsoft.com/office/drawing/2014/main" id="{2AEF4870-469D-42B5-9DF1-1AC8CE6956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7" y="2951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34" name="Freeform 1136">
                <a:extLst>
                  <a:ext uri="{FF2B5EF4-FFF2-40B4-BE49-F238E27FC236}">
                    <a16:creationId xmlns:a16="http://schemas.microsoft.com/office/drawing/2014/main" id="{80E54249-D71C-4EFF-AC51-0275EE6412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" y="2941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0 h 4"/>
                  <a:gd name="T4" fmla="*/ 0 w 4"/>
                  <a:gd name="T5" fmla="*/ 4 h 4"/>
                  <a:gd name="T6" fmla="*/ 0 w 4"/>
                  <a:gd name="T7" fmla="*/ 4 h 4"/>
                  <a:gd name="T8" fmla="*/ 0 w 4"/>
                  <a:gd name="T9" fmla="*/ 4 h 4"/>
                  <a:gd name="T10" fmla="*/ 4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35" name="Freeform 1137">
                <a:extLst>
                  <a:ext uri="{FF2B5EF4-FFF2-40B4-BE49-F238E27FC236}">
                    <a16:creationId xmlns:a16="http://schemas.microsoft.com/office/drawing/2014/main" id="{A75683C2-1DD4-4F4D-A156-91713C2475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6" y="3344"/>
                <a:ext cx="8" cy="13"/>
              </a:xfrm>
              <a:custGeom>
                <a:avLst/>
                <a:gdLst>
                  <a:gd name="T0" fmla="*/ 4 w 8"/>
                  <a:gd name="T1" fmla="*/ 11 h 13"/>
                  <a:gd name="T2" fmla="*/ 0 w 8"/>
                  <a:gd name="T3" fmla="*/ 0 h 13"/>
                  <a:gd name="T4" fmla="*/ 4 w 8"/>
                  <a:gd name="T5" fmla="*/ 11 h 13"/>
                  <a:gd name="T6" fmla="*/ 8 w 8"/>
                  <a:gd name="T7" fmla="*/ 13 h 13"/>
                  <a:gd name="T8" fmla="*/ 8 w 8"/>
                  <a:gd name="T9" fmla="*/ 13 h 13"/>
                  <a:gd name="T10" fmla="*/ 4 w 8"/>
                  <a:gd name="T11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3">
                    <a:moveTo>
                      <a:pt x="4" y="11"/>
                    </a:moveTo>
                    <a:lnTo>
                      <a:pt x="0" y="0"/>
                    </a:lnTo>
                    <a:lnTo>
                      <a:pt x="4" y="11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4" y="1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36" name="Freeform 1138">
                <a:extLst>
                  <a:ext uri="{FF2B5EF4-FFF2-40B4-BE49-F238E27FC236}">
                    <a16:creationId xmlns:a16="http://schemas.microsoft.com/office/drawing/2014/main" id="{EB245FC9-505C-4025-89E5-18C39FF1F3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2977"/>
                <a:ext cx="2" cy="1"/>
              </a:xfrm>
              <a:custGeom>
                <a:avLst/>
                <a:gdLst>
                  <a:gd name="T0" fmla="*/ 2 w 2"/>
                  <a:gd name="T1" fmla="*/ 1 h 1"/>
                  <a:gd name="T2" fmla="*/ 2 w 2"/>
                  <a:gd name="T3" fmla="*/ 1 h 1"/>
                  <a:gd name="T4" fmla="*/ 2 w 2"/>
                  <a:gd name="T5" fmla="*/ 1 h 1"/>
                  <a:gd name="T6" fmla="*/ 0 w 2"/>
                  <a:gd name="T7" fmla="*/ 1 h 1"/>
                  <a:gd name="T8" fmla="*/ 0 w 2"/>
                  <a:gd name="T9" fmla="*/ 1 h 1"/>
                  <a:gd name="T10" fmla="*/ 0 w 2"/>
                  <a:gd name="T11" fmla="*/ 1 h 1"/>
                  <a:gd name="T12" fmla="*/ 2 w 2"/>
                  <a:gd name="T13" fmla="*/ 1 h 1"/>
                  <a:gd name="T14" fmla="*/ 2 w 2"/>
                  <a:gd name="T15" fmla="*/ 1 h 1"/>
                  <a:gd name="T16" fmla="*/ 2 w 2"/>
                  <a:gd name="T17" fmla="*/ 1 h 1"/>
                  <a:gd name="T18" fmla="*/ 2 w 2"/>
                  <a:gd name="T19" fmla="*/ 0 h 1"/>
                  <a:gd name="T20" fmla="*/ 2 w 2"/>
                  <a:gd name="T21" fmla="*/ 0 h 1"/>
                  <a:gd name="T22" fmla="*/ 2 w 2"/>
                  <a:gd name="T23" fmla="*/ 0 h 1"/>
                  <a:gd name="T24" fmla="*/ 2 w 2"/>
                  <a:gd name="T2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2" y="1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37" name="Rectangle 1139">
                <a:extLst>
                  <a:ext uri="{FF2B5EF4-FFF2-40B4-BE49-F238E27FC236}">
                    <a16:creationId xmlns:a16="http://schemas.microsoft.com/office/drawing/2014/main" id="{7774216D-33B9-4287-A2E6-DB94361DA1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8" y="298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38" name="Rectangle 1140">
                <a:extLst>
                  <a:ext uri="{FF2B5EF4-FFF2-40B4-BE49-F238E27FC236}">
                    <a16:creationId xmlns:a16="http://schemas.microsoft.com/office/drawing/2014/main" id="{4E32EF90-BD29-4BCB-B6F3-6652F495B2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7" y="295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39" name="Freeform 1141">
                <a:extLst>
                  <a:ext uri="{FF2B5EF4-FFF2-40B4-BE49-F238E27FC236}">
                    <a16:creationId xmlns:a16="http://schemas.microsoft.com/office/drawing/2014/main" id="{7EAB1936-01B6-438F-B0FD-105E328141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2" y="2953"/>
                <a:ext cx="13" cy="14"/>
              </a:xfrm>
              <a:custGeom>
                <a:avLst/>
                <a:gdLst>
                  <a:gd name="T0" fmla="*/ 6 w 13"/>
                  <a:gd name="T1" fmla="*/ 6 h 14"/>
                  <a:gd name="T2" fmla="*/ 11 w 13"/>
                  <a:gd name="T3" fmla="*/ 2 h 14"/>
                  <a:gd name="T4" fmla="*/ 13 w 13"/>
                  <a:gd name="T5" fmla="*/ 0 h 14"/>
                  <a:gd name="T6" fmla="*/ 13 w 13"/>
                  <a:gd name="T7" fmla="*/ 0 h 14"/>
                  <a:gd name="T8" fmla="*/ 13 w 13"/>
                  <a:gd name="T9" fmla="*/ 0 h 14"/>
                  <a:gd name="T10" fmla="*/ 13 w 13"/>
                  <a:gd name="T11" fmla="*/ 0 h 14"/>
                  <a:gd name="T12" fmla="*/ 11 w 13"/>
                  <a:gd name="T13" fmla="*/ 2 h 14"/>
                  <a:gd name="T14" fmla="*/ 6 w 13"/>
                  <a:gd name="T15" fmla="*/ 6 h 14"/>
                  <a:gd name="T16" fmla="*/ 4 w 13"/>
                  <a:gd name="T17" fmla="*/ 8 h 14"/>
                  <a:gd name="T18" fmla="*/ 0 w 13"/>
                  <a:gd name="T19" fmla="*/ 14 h 14"/>
                  <a:gd name="T20" fmla="*/ 4 w 13"/>
                  <a:gd name="T21" fmla="*/ 8 h 14"/>
                  <a:gd name="T22" fmla="*/ 6 w 13"/>
                  <a:gd name="T23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" h="14">
                    <a:moveTo>
                      <a:pt x="6" y="6"/>
                    </a:moveTo>
                    <a:lnTo>
                      <a:pt x="11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4" y="8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40" name="Freeform 1142">
                <a:extLst>
                  <a:ext uri="{FF2B5EF4-FFF2-40B4-BE49-F238E27FC236}">
                    <a16:creationId xmlns:a16="http://schemas.microsoft.com/office/drawing/2014/main" id="{47780FCE-CC54-4CB7-9917-15F56866A5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3" y="2912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4 w 4"/>
                  <a:gd name="T3" fmla="*/ 2 h 2"/>
                  <a:gd name="T4" fmla="*/ 2 w 4"/>
                  <a:gd name="T5" fmla="*/ 2 h 2"/>
                  <a:gd name="T6" fmla="*/ 2 w 4"/>
                  <a:gd name="T7" fmla="*/ 2 h 2"/>
                  <a:gd name="T8" fmla="*/ 0 w 4"/>
                  <a:gd name="T9" fmla="*/ 0 h 2"/>
                  <a:gd name="T10" fmla="*/ 0 w 4"/>
                  <a:gd name="T11" fmla="*/ 0 h 2"/>
                  <a:gd name="T12" fmla="*/ 2 w 4"/>
                  <a:gd name="T13" fmla="*/ 2 h 2"/>
                  <a:gd name="T14" fmla="*/ 2 w 4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41" name="Freeform 1143">
                <a:extLst>
                  <a:ext uri="{FF2B5EF4-FFF2-40B4-BE49-F238E27FC236}">
                    <a16:creationId xmlns:a16="http://schemas.microsoft.com/office/drawing/2014/main" id="{B2A68A69-B8AA-4E46-AB3A-A9E2724C33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4" y="2988"/>
                <a:ext cx="2" cy="10"/>
              </a:xfrm>
              <a:custGeom>
                <a:avLst/>
                <a:gdLst>
                  <a:gd name="T0" fmla="*/ 0 w 2"/>
                  <a:gd name="T1" fmla="*/ 2 h 10"/>
                  <a:gd name="T2" fmla="*/ 2 w 2"/>
                  <a:gd name="T3" fmla="*/ 10 h 10"/>
                  <a:gd name="T4" fmla="*/ 2 w 2"/>
                  <a:gd name="T5" fmla="*/ 10 h 10"/>
                  <a:gd name="T6" fmla="*/ 2 w 2"/>
                  <a:gd name="T7" fmla="*/ 10 h 10"/>
                  <a:gd name="T8" fmla="*/ 0 w 2"/>
                  <a:gd name="T9" fmla="*/ 2 h 10"/>
                  <a:gd name="T10" fmla="*/ 0 w 2"/>
                  <a:gd name="T11" fmla="*/ 0 h 10"/>
                  <a:gd name="T12" fmla="*/ 0 w 2"/>
                  <a:gd name="T13" fmla="*/ 0 h 10"/>
                  <a:gd name="T14" fmla="*/ 0 w 2"/>
                  <a:gd name="T15" fmla="*/ 0 h 10"/>
                  <a:gd name="T16" fmla="*/ 0 w 2"/>
                  <a:gd name="T17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10">
                    <a:moveTo>
                      <a:pt x="0" y="2"/>
                    </a:move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42" name="Freeform 1144">
                <a:extLst>
                  <a:ext uri="{FF2B5EF4-FFF2-40B4-BE49-F238E27FC236}">
                    <a16:creationId xmlns:a16="http://schemas.microsoft.com/office/drawing/2014/main" id="{83D294FE-327F-425C-BC72-111C478AC1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3" y="3312"/>
                <a:ext cx="6" cy="0"/>
              </a:xfrm>
              <a:custGeom>
                <a:avLst/>
                <a:gdLst>
                  <a:gd name="T0" fmla="*/ 0 w 6"/>
                  <a:gd name="T1" fmla="*/ 4 w 6"/>
                  <a:gd name="T2" fmla="*/ 6 w 6"/>
                  <a:gd name="T3" fmla="*/ 4 w 6"/>
                  <a:gd name="T4" fmla="*/ 0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0" y="0"/>
                    </a:move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43" name="Rectangle 1145">
                <a:extLst>
                  <a:ext uri="{FF2B5EF4-FFF2-40B4-BE49-F238E27FC236}">
                    <a16:creationId xmlns:a16="http://schemas.microsoft.com/office/drawing/2014/main" id="{0EEC07F1-8184-4146-A932-368CC134A7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" y="296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44" name="Freeform 1146">
                <a:extLst>
                  <a:ext uri="{FF2B5EF4-FFF2-40B4-BE49-F238E27FC236}">
                    <a16:creationId xmlns:a16="http://schemas.microsoft.com/office/drawing/2014/main" id="{929F259E-D6CF-411A-A0CD-844998BDEC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" y="2916"/>
                <a:ext cx="6" cy="0"/>
              </a:xfrm>
              <a:custGeom>
                <a:avLst/>
                <a:gdLst>
                  <a:gd name="T0" fmla="*/ 6 w 6"/>
                  <a:gd name="T1" fmla="*/ 0 w 6"/>
                  <a:gd name="T2" fmla="*/ 6 w 6"/>
                  <a:gd name="T3" fmla="*/ 6 w 6"/>
                  <a:gd name="T4" fmla="*/ 6 w 6"/>
                  <a:gd name="T5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45" name="Freeform 1147">
                <a:extLst>
                  <a:ext uri="{FF2B5EF4-FFF2-40B4-BE49-F238E27FC236}">
                    <a16:creationId xmlns:a16="http://schemas.microsoft.com/office/drawing/2014/main" id="{26C7D4FF-6756-4578-8F4A-FCD2023B48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" y="2967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46" name="Freeform 1148">
                <a:extLst>
                  <a:ext uri="{FF2B5EF4-FFF2-40B4-BE49-F238E27FC236}">
                    <a16:creationId xmlns:a16="http://schemas.microsoft.com/office/drawing/2014/main" id="{F503F33F-0626-4620-9D99-4806E0B2AC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1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47" name="Freeform 1149">
                <a:extLst>
                  <a:ext uri="{FF2B5EF4-FFF2-40B4-BE49-F238E27FC236}">
                    <a16:creationId xmlns:a16="http://schemas.microsoft.com/office/drawing/2014/main" id="{5BB73FD5-0C83-4B56-A707-F833819CEE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18"/>
                <a:ext cx="0" cy="6"/>
              </a:xfrm>
              <a:custGeom>
                <a:avLst/>
                <a:gdLst>
                  <a:gd name="T0" fmla="*/ 0 h 6"/>
                  <a:gd name="T1" fmla="*/ 0 h 6"/>
                  <a:gd name="T2" fmla="*/ 2 h 6"/>
                  <a:gd name="T3" fmla="*/ 6 h 6"/>
                  <a:gd name="T4" fmla="*/ 2 h 6"/>
                  <a:gd name="T5" fmla="*/ 0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48" name="Freeform 1150">
                <a:extLst>
                  <a:ext uri="{FF2B5EF4-FFF2-40B4-BE49-F238E27FC236}">
                    <a16:creationId xmlns:a16="http://schemas.microsoft.com/office/drawing/2014/main" id="{B76B6CD7-2DC6-4E90-B494-63AEAD8D7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" y="2959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2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49" name="Freeform 1151">
                <a:extLst>
                  <a:ext uri="{FF2B5EF4-FFF2-40B4-BE49-F238E27FC236}">
                    <a16:creationId xmlns:a16="http://schemas.microsoft.com/office/drawing/2014/main" id="{E349FE1D-ED52-4BC1-8EDC-5D50082168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" y="2961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2 h 2"/>
                  <a:gd name="T4" fmla="*/ 0 w 4"/>
                  <a:gd name="T5" fmla="*/ 2 h 2"/>
                  <a:gd name="T6" fmla="*/ 2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50" name="Freeform 1152">
                <a:extLst>
                  <a:ext uri="{FF2B5EF4-FFF2-40B4-BE49-F238E27FC236}">
                    <a16:creationId xmlns:a16="http://schemas.microsoft.com/office/drawing/2014/main" id="{F153F3DA-546A-4CBE-A0DF-CD3F1DCE75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" y="2926"/>
                <a:ext cx="4" cy="6"/>
              </a:xfrm>
              <a:custGeom>
                <a:avLst/>
                <a:gdLst>
                  <a:gd name="T0" fmla="*/ 2 w 4"/>
                  <a:gd name="T1" fmla="*/ 2 h 6"/>
                  <a:gd name="T2" fmla="*/ 2 w 4"/>
                  <a:gd name="T3" fmla="*/ 2 h 6"/>
                  <a:gd name="T4" fmla="*/ 0 w 4"/>
                  <a:gd name="T5" fmla="*/ 0 h 6"/>
                  <a:gd name="T6" fmla="*/ 2 w 4"/>
                  <a:gd name="T7" fmla="*/ 2 h 6"/>
                  <a:gd name="T8" fmla="*/ 2 w 4"/>
                  <a:gd name="T9" fmla="*/ 2 h 6"/>
                  <a:gd name="T10" fmla="*/ 4 w 4"/>
                  <a:gd name="T11" fmla="*/ 4 h 6"/>
                  <a:gd name="T12" fmla="*/ 4 w 4"/>
                  <a:gd name="T13" fmla="*/ 6 h 6"/>
                  <a:gd name="T14" fmla="*/ 4 w 4"/>
                  <a:gd name="T15" fmla="*/ 4 h 6"/>
                  <a:gd name="T16" fmla="*/ 2 w 4"/>
                  <a:gd name="T1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6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51" name="Freeform 1153">
                <a:extLst>
                  <a:ext uri="{FF2B5EF4-FFF2-40B4-BE49-F238E27FC236}">
                    <a16:creationId xmlns:a16="http://schemas.microsoft.com/office/drawing/2014/main" id="{4C83B61C-21A3-48F4-BCFF-8CA70CFE3F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" y="2939"/>
                <a:ext cx="6" cy="18"/>
              </a:xfrm>
              <a:custGeom>
                <a:avLst/>
                <a:gdLst>
                  <a:gd name="T0" fmla="*/ 0 w 6"/>
                  <a:gd name="T1" fmla="*/ 6 h 18"/>
                  <a:gd name="T2" fmla="*/ 0 w 6"/>
                  <a:gd name="T3" fmla="*/ 4 h 18"/>
                  <a:gd name="T4" fmla="*/ 2 w 6"/>
                  <a:gd name="T5" fmla="*/ 0 h 18"/>
                  <a:gd name="T6" fmla="*/ 2 w 6"/>
                  <a:gd name="T7" fmla="*/ 0 h 18"/>
                  <a:gd name="T8" fmla="*/ 2 w 6"/>
                  <a:gd name="T9" fmla="*/ 0 h 18"/>
                  <a:gd name="T10" fmla="*/ 0 w 6"/>
                  <a:gd name="T11" fmla="*/ 4 h 18"/>
                  <a:gd name="T12" fmla="*/ 0 w 6"/>
                  <a:gd name="T13" fmla="*/ 6 h 18"/>
                  <a:gd name="T14" fmla="*/ 6 w 6"/>
                  <a:gd name="T15" fmla="*/ 18 h 18"/>
                  <a:gd name="T16" fmla="*/ 6 w 6"/>
                  <a:gd name="T17" fmla="*/ 18 h 18"/>
                  <a:gd name="T18" fmla="*/ 6 w 6"/>
                  <a:gd name="T19" fmla="*/ 18 h 18"/>
                  <a:gd name="T20" fmla="*/ 0 w 6"/>
                  <a:gd name="T2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18">
                    <a:moveTo>
                      <a:pt x="0" y="6"/>
                    </a:move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52" name="Freeform 1154">
                <a:extLst>
                  <a:ext uri="{FF2B5EF4-FFF2-40B4-BE49-F238E27FC236}">
                    <a16:creationId xmlns:a16="http://schemas.microsoft.com/office/drawing/2014/main" id="{86513A72-0ED8-46B0-B0C2-FDAF3F0B1A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16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53" name="Freeform 1155">
                <a:extLst>
                  <a:ext uri="{FF2B5EF4-FFF2-40B4-BE49-F238E27FC236}">
                    <a16:creationId xmlns:a16="http://schemas.microsoft.com/office/drawing/2014/main" id="{C2EB910F-21EC-4EE4-BA57-AA93B912F6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63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  <a:gd name="T4" fmla="*/ 0 w 2"/>
                  <a:gd name="T5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54" name="Freeform 1156">
                <a:extLst>
                  <a:ext uri="{FF2B5EF4-FFF2-40B4-BE49-F238E27FC236}">
                    <a16:creationId xmlns:a16="http://schemas.microsoft.com/office/drawing/2014/main" id="{B51B498B-AD8C-4C6D-A4C2-F1F0A1F721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" y="2065"/>
                <a:ext cx="24" cy="15"/>
              </a:xfrm>
              <a:custGeom>
                <a:avLst/>
                <a:gdLst>
                  <a:gd name="T0" fmla="*/ 2 w 24"/>
                  <a:gd name="T1" fmla="*/ 11 h 15"/>
                  <a:gd name="T2" fmla="*/ 6 w 24"/>
                  <a:gd name="T3" fmla="*/ 13 h 15"/>
                  <a:gd name="T4" fmla="*/ 8 w 24"/>
                  <a:gd name="T5" fmla="*/ 13 h 15"/>
                  <a:gd name="T6" fmla="*/ 10 w 24"/>
                  <a:gd name="T7" fmla="*/ 11 h 15"/>
                  <a:gd name="T8" fmla="*/ 12 w 24"/>
                  <a:gd name="T9" fmla="*/ 11 h 15"/>
                  <a:gd name="T10" fmla="*/ 12 w 24"/>
                  <a:gd name="T11" fmla="*/ 11 h 15"/>
                  <a:gd name="T12" fmla="*/ 14 w 24"/>
                  <a:gd name="T13" fmla="*/ 15 h 15"/>
                  <a:gd name="T14" fmla="*/ 16 w 24"/>
                  <a:gd name="T15" fmla="*/ 15 h 15"/>
                  <a:gd name="T16" fmla="*/ 16 w 24"/>
                  <a:gd name="T17" fmla="*/ 13 h 15"/>
                  <a:gd name="T18" fmla="*/ 14 w 24"/>
                  <a:gd name="T19" fmla="*/ 11 h 15"/>
                  <a:gd name="T20" fmla="*/ 12 w 24"/>
                  <a:gd name="T21" fmla="*/ 9 h 15"/>
                  <a:gd name="T22" fmla="*/ 10 w 24"/>
                  <a:gd name="T23" fmla="*/ 9 h 15"/>
                  <a:gd name="T24" fmla="*/ 10 w 24"/>
                  <a:gd name="T25" fmla="*/ 8 h 15"/>
                  <a:gd name="T26" fmla="*/ 14 w 24"/>
                  <a:gd name="T27" fmla="*/ 8 h 15"/>
                  <a:gd name="T28" fmla="*/ 20 w 24"/>
                  <a:gd name="T29" fmla="*/ 6 h 15"/>
                  <a:gd name="T30" fmla="*/ 24 w 24"/>
                  <a:gd name="T31" fmla="*/ 4 h 15"/>
                  <a:gd name="T32" fmla="*/ 22 w 24"/>
                  <a:gd name="T33" fmla="*/ 0 h 15"/>
                  <a:gd name="T34" fmla="*/ 14 w 24"/>
                  <a:gd name="T35" fmla="*/ 0 h 15"/>
                  <a:gd name="T36" fmla="*/ 2 w 24"/>
                  <a:gd name="T37" fmla="*/ 4 h 15"/>
                  <a:gd name="T38" fmla="*/ 0 w 24"/>
                  <a:gd name="T39" fmla="*/ 6 h 15"/>
                  <a:gd name="T40" fmla="*/ 0 w 24"/>
                  <a:gd name="T41" fmla="*/ 9 h 15"/>
                  <a:gd name="T42" fmla="*/ 2 w 24"/>
                  <a:gd name="T43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" h="15">
                    <a:moveTo>
                      <a:pt x="2" y="11"/>
                    </a:moveTo>
                    <a:lnTo>
                      <a:pt x="6" y="13"/>
                    </a:lnTo>
                    <a:lnTo>
                      <a:pt x="8" y="13"/>
                    </a:lnTo>
                    <a:lnTo>
                      <a:pt x="10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4" y="15"/>
                    </a:lnTo>
                    <a:lnTo>
                      <a:pt x="16" y="15"/>
                    </a:lnTo>
                    <a:lnTo>
                      <a:pt x="16" y="13"/>
                    </a:lnTo>
                    <a:lnTo>
                      <a:pt x="14" y="11"/>
                    </a:lnTo>
                    <a:lnTo>
                      <a:pt x="12" y="9"/>
                    </a:lnTo>
                    <a:lnTo>
                      <a:pt x="10" y="9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20" y="6"/>
                    </a:lnTo>
                    <a:lnTo>
                      <a:pt x="24" y="4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2" y="1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55" name="Freeform 1157">
                <a:extLst>
                  <a:ext uri="{FF2B5EF4-FFF2-40B4-BE49-F238E27FC236}">
                    <a16:creationId xmlns:a16="http://schemas.microsoft.com/office/drawing/2014/main" id="{9E53670C-C023-49A0-A7CE-C860C2CA55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" y="2033"/>
                <a:ext cx="35" cy="8"/>
              </a:xfrm>
              <a:custGeom>
                <a:avLst/>
                <a:gdLst>
                  <a:gd name="T0" fmla="*/ 25 w 35"/>
                  <a:gd name="T1" fmla="*/ 6 h 8"/>
                  <a:gd name="T2" fmla="*/ 33 w 35"/>
                  <a:gd name="T3" fmla="*/ 2 h 8"/>
                  <a:gd name="T4" fmla="*/ 35 w 35"/>
                  <a:gd name="T5" fmla="*/ 2 h 8"/>
                  <a:gd name="T6" fmla="*/ 35 w 35"/>
                  <a:gd name="T7" fmla="*/ 2 h 8"/>
                  <a:gd name="T8" fmla="*/ 35 w 35"/>
                  <a:gd name="T9" fmla="*/ 0 h 8"/>
                  <a:gd name="T10" fmla="*/ 15 w 35"/>
                  <a:gd name="T11" fmla="*/ 0 h 8"/>
                  <a:gd name="T12" fmla="*/ 5 w 35"/>
                  <a:gd name="T13" fmla="*/ 2 h 8"/>
                  <a:gd name="T14" fmla="*/ 0 w 35"/>
                  <a:gd name="T15" fmla="*/ 6 h 8"/>
                  <a:gd name="T16" fmla="*/ 5 w 35"/>
                  <a:gd name="T17" fmla="*/ 8 h 8"/>
                  <a:gd name="T18" fmla="*/ 25 w 35"/>
                  <a:gd name="T1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8">
                    <a:moveTo>
                      <a:pt x="25" y="6"/>
                    </a:moveTo>
                    <a:lnTo>
                      <a:pt x="33" y="2"/>
                    </a:lnTo>
                    <a:lnTo>
                      <a:pt x="35" y="2"/>
                    </a:lnTo>
                    <a:lnTo>
                      <a:pt x="35" y="2"/>
                    </a:lnTo>
                    <a:lnTo>
                      <a:pt x="35" y="0"/>
                    </a:lnTo>
                    <a:lnTo>
                      <a:pt x="15" y="0"/>
                    </a:lnTo>
                    <a:lnTo>
                      <a:pt x="5" y="2"/>
                    </a:lnTo>
                    <a:lnTo>
                      <a:pt x="0" y="6"/>
                    </a:lnTo>
                    <a:lnTo>
                      <a:pt x="5" y="8"/>
                    </a:lnTo>
                    <a:lnTo>
                      <a:pt x="25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56" name="Freeform 1158">
                <a:extLst>
                  <a:ext uri="{FF2B5EF4-FFF2-40B4-BE49-F238E27FC236}">
                    <a16:creationId xmlns:a16="http://schemas.microsoft.com/office/drawing/2014/main" id="{781A7718-BE97-4510-AB16-E959DD51A8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" y="2043"/>
                <a:ext cx="35" cy="6"/>
              </a:xfrm>
              <a:custGeom>
                <a:avLst/>
                <a:gdLst>
                  <a:gd name="T0" fmla="*/ 29 w 35"/>
                  <a:gd name="T1" fmla="*/ 0 h 6"/>
                  <a:gd name="T2" fmla="*/ 5 w 35"/>
                  <a:gd name="T3" fmla="*/ 4 h 6"/>
                  <a:gd name="T4" fmla="*/ 0 w 35"/>
                  <a:gd name="T5" fmla="*/ 6 h 6"/>
                  <a:gd name="T6" fmla="*/ 35 w 35"/>
                  <a:gd name="T7" fmla="*/ 2 h 6"/>
                  <a:gd name="T8" fmla="*/ 29 w 35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6">
                    <a:moveTo>
                      <a:pt x="29" y="0"/>
                    </a:moveTo>
                    <a:lnTo>
                      <a:pt x="5" y="4"/>
                    </a:lnTo>
                    <a:lnTo>
                      <a:pt x="0" y="6"/>
                    </a:lnTo>
                    <a:lnTo>
                      <a:pt x="35" y="2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57" name="Freeform 1159">
                <a:extLst>
                  <a:ext uri="{FF2B5EF4-FFF2-40B4-BE49-F238E27FC236}">
                    <a16:creationId xmlns:a16="http://schemas.microsoft.com/office/drawing/2014/main" id="{CD055E59-97BE-430D-AF4C-14616F40A5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" y="1805"/>
                <a:ext cx="25" cy="20"/>
              </a:xfrm>
              <a:custGeom>
                <a:avLst/>
                <a:gdLst>
                  <a:gd name="T0" fmla="*/ 0 w 25"/>
                  <a:gd name="T1" fmla="*/ 16 h 20"/>
                  <a:gd name="T2" fmla="*/ 2 w 25"/>
                  <a:gd name="T3" fmla="*/ 18 h 20"/>
                  <a:gd name="T4" fmla="*/ 6 w 25"/>
                  <a:gd name="T5" fmla="*/ 20 h 20"/>
                  <a:gd name="T6" fmla="*/ 14 w 25"/>
                  <a:gd name="T7" fmla="*/ 20 h 20"/>
                  <a:gd name="T8" fmla="*/ 17 w 25"/>
                  <a:gd name="T9" fmla="*/ 16 h 20"/>
                  <a:gd name="T10" fmla="*/ 19 w 25"/>
                  <a:gd name="T11" fmla="*/ 14 h 20"/>
                  <a:gd name="T12" fmla="*/ 21 w 25"/>
                  <a:gd name="T13" fmla="*/ 10 h 20"/>
                  <a:gd name="T14" fmla="*/ 25 w 25"/>
                  <a:gd name="T15" fmla="*/ 6 h 20"/>
                  <a:gd name="T16" fmla="*/ 25 w 25"/>
                  <a:gd name="T17" fmla="*/ 6 h 20"/>
                  <a:gd name="T18" fmla="*/ 25 w 25"/>
                  <a:gd name="T19" fmla="*/ 4 h 20"/>
                  <a:gd name="T20" fmla="*/ 25 w 25"/>
                  <a:gd name="T21" fmla="*/ 4 h 20"/>
                  <a:gd name="T22" fmla="*/ 25 w 25"/>
                  <a:gd name="T23" fmla="*/ 2 h 20"/>
                  <a:gd name="T24" fmla="*/ 17 w 25"/>
                  <a:gd name="T25" fmla="*/ 0 h 20"/>
                  <a:gd name="T26" fmla="*/ 12 w 25"/>
                  <a:gd name="T27" fmla="*/ 2 h 20"/>
                  <a:gd name="T28" fmla="*/ 6 w 25"/>
                  <a:gd name="T29" fmla="*/ 4 h 20"/>
                  <a:gd name="T30" fmla="*/ 0 w 25"/>
                  <a:gd name="T31" fmla="*/ 10 h 20"/>
                  <a:gd name="T32" fmla="*/ 2 w 25"/>
                  <a:gd name="T33" fmla="*/ 10 h 20"/>
                  <a:gd name="T34" fmla="*/ 2 w 25"/>
                  <a:gd name="T35" fmla="*/ 12 h 20"/>
                  <a:gd name="T36" fmla="*/ 2 w 25"/>
                  <a:gd name="T37" fmla="*/ 14 h 20"/>
                  <a:gd name="T38" fmla="*/ 0 w 25"/>
                  <a:gd name="T39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20">
                    <a:moveTo>
                      <a:pt x="0" y="16"/>
                    </a:moveTo>
                    <a:lnTo>
                      <a:pt x="2" y="18"/>
                    </a:lnTo>
                    <a:lnTo>
                      <a:pt x="6" y="20"/>
                    </a:lnTo>
                    <a:lnTo>
                      <a:pt x="14" y="20"/>
                    </a:lnTo>
                    <a:lnTo>
                      <a:pt x="17" y="16"/>
                    </a:lnTo>
                    <a:lnTo>
                      <a:pt x="19" y="14"/>
                    </a:lnTo>
                    <a:lnTo>
                      <a:pt x="21" y="10"/>
                    </a:lnTo>
                    <a:lnTo>
                      <a:pt x="25" y="6"/>
                    </a:lnTo>
                    <a:lnTo>
                      <a:pt x="25" y="6"/>
                    </a:lnTo>
                    <a:lnTo>
                      <a:pt x="25" y="4"/>
                    </a:lnTo>
                    <a:lnTo>
                      <a:pt x="25" y="4"/>
                    </a:lnTo>
                    <a:lnTo>
                      <a:pt x="25" y="2"/>
                    </a:lnTo>
                    <a:lnTo>
                      <a:pt x="17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58" name="Freeform 1160">
                <a:extLst>
                  <a:ext uri="{FF2B5EF4-FFF2-40B4-BE49-F238E27FC236}">
                    <a16:creationId xmlns:a16="http://schemas.microsoft.com/office/drawing/2014/main" id="{063FD0ED-0719-4D60-A698-529FCECDF6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" y="2016"/>
                <a:ext cx="17" cy="4"/>
              </a:xfrm>
              <a:custGeom>
                <a:avLst/>
                <a:gdLst>
                  <a:gd name="T0" fmla="*/ 4 w 17"/>
                  <a:gd name="T1" fmla="*/ 2 h 4"/>
                  <a:gd name="T2" fmla="*/ 7 w 17"/>
                  <a:gd name="T3" fmla="*/ 2 h 4"/>
                  <a:gd name="T4" fmla="*/ 13 w 17"/>
                  <a:gd name="T5" fmla="*/ 2 h 4"/>
                  <a:gd name="T6" fmla="*/ 15 w 17"/>
                  <a:gd name="T7" fmla="*/ 2 h 4"/>
                  <a:gd name="T8" fmla="*/ 17 w 17"/>
                  <a:gd name="T9" fmla="*/ 2 h 4"/>
                  <a:gd name="T10" fmla="*/ 13 w 17"/>
                  <a:gd name="T11" fmla="*/ 0 h 4"/>
                  <a:gd name="T12" fmla="*/ 9 w 17"/>
                  <a:gd name="T13" fmla="*/ 0 h 4"/>
                  <a:gd name="T14" fmla="*/ 7 w 17"/>
                  <a:gd name="T15" fmla="*/ 0 h 4"/>
                  <a:gd name="T16" fmla="*/ 4 w 17"/>
                  <a:gd name="T17" fmla="*/ 0 h 4"/>
                  <a:gd name="T18" fmla="*/ 2 w 17"/>
                  <a:gd name="T19" fmla="*/ 0 h 4"/>
                  <a:gd name="T20" fmla="*/ 0 w 17"/>
                  <a:gd name="T21" fmla="*/ 2 h 4"/>
                  <a:gd name="T22" fmla="*/ 4 w 17"/>
                  <a:gd name="T23" fmla="*/ 4 h 4"/>
                  <a:gd name="T24" fmla="*/ 4 w 17"/>
                  <a:gd name="T2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" h="4">
                    <a:moveTo>
                      <a:pt x="4" y="2"/>
                    </a:moveTo>
                    <a:lnTo>
                      <a:pt x="7" y="2"/>
                    </a:lnTo>
                    <a:lnTo>
                      <a:pt x="13" y="2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4" y="4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59" name="Freeform 1161">
                <a:extLst>
                  <a:ext uri="{FF2B5EF4-FFF2-40B4-BE49-F238E27FC236}">
                    <a16:creationId xmlns:a16="http://schemas.microsoft.com/office/drawing/2014/main" id="{98778513-5F58-4F1C-91BF-E04254E385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" y="2018"/>
                <a:ext cx="26" cy="8"/>
              </a:xfrm>
              <a:custGeom>
                <a:avLst/>
                <a:gdLst>
                  <a:gd name="T0" fmla="*/ 2 w 26"/>
                  <a:gd name="T1" fmla="*/ 8 h 8"/>
                  <a:gd name="T2" fmla="*/ 4 w 26"/>
                  <a:gd name="T3" fmla="*/ 8 h 8"/>
                  <a:gd name="T4" fmla="*/ 6 w 26"/>
                  <a:gd name="T5" fmla="*/ 4 h 8"/>
                  <a:gd name="T6" fmla="*/ 10 w 26"/>
                  <a:gd name="T7" fmla="*/ 8 h 8"/>
                  <a:gd name="T8" fmla="*/ 14 w 26"/>
                  <a:gd name="T9" fmla="*/ 8 h 8"/>
                  <a:gd name="T10" fmla="*/ 20 w 26"/>
                  <a:gd name="T11" fmla="*/ 6 h 8"/>
                  <a:gd name="T12" fmla="*/ 24 w 26"/>
                  <a:gd name="T13" fmla="*/ 2 h 8"/>
                  <a:gd name="T14" fmla="*/ 26 w 26"/>
                  <a:gd name="T15" fmla="*/ 2 h 8"/>
                  <a:gd name="T16" fmla="*/ 26 w 26"/>
                  <a:gd name="T17" fmla="*/ 0 h 8"/>
                  <a:gd name="T18" fmla="*/ 10 w 26"/>
                  <a:gd name="T19" fmla="*/ 0 h 8"/>
                  <a:gd name="T20" fmla="*/ 4 w 26"/>
                  <a:gd name="T21" fmla="*/ 2 h 8"/>
                  <a:gd name="T22" fmla="*/ 0 w 26"/>
                  <a:gd name="T23" fmla="*/ 8 h 8"/>
                  <a:gd name="T24" fmla="*/ 0 w 26"/>
                  <a:gd name="T25" fmla="*/ 8 h 8"/>
                  <a:gd name="T26" fmla="*/ 2 w 26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8">
                    <a:moveTo>
                      <a:pt x="2" y="8"/>
                    </a:moveTo>
                    <a:lnTo>
                      <a:pt x="4" y="8"/>
                    </a:lnTo>
                    <a:lnTo>
                      <a:pt x="6" y="4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20" y="6"/>
                    </a:lnTo>
                    <a:lnTo>
                      <a:pt x="24" y="2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60" name="Freeform 1162">
                <a:extLst>
                  <a:ext uri="{FF2B5EF4-FFF2-40B4-BE49-F238E27FC236}">
                    <a16:creationId xmlns:a16="http://schemas.microsoft.com/office/drawing/2014/main" id="{D30D2AEC-2773-4E87-BC77-E0E9259642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" y="1903"/>
                <a:ext cx="5" cy="4"/>
              </a:xfrm>
              <a:custGeom>
                <a:avLst/>
                <a:gdLst>
                  <a:gd name="T0" fmla="*/ 2 w 5"/>
                  <a:gd name="T1" fmla="*/ 2 h 4"/>
                  <a:gd name="T2" fmla="*/ 3 w 5"/>
                  <a:gd name="T3" fmla="*/ 2 h 4"/>
                  <a:gd name="T4" fmla="*/ 3 w 5"/>
                  <a:gd name="T5" fmla="*/ 2 h 4"/>
                  <a:gd name="T6" fmla="*/ 3 w 5"/>
                  <a:gd name="T7" fmla="*/ 4 h 4"/>
                  <a:gd name="T8" fmla="*/ 5 w 5"/>
                  <a:gd name="T9" fmla="*/ 4 h 4"/>
                  <a:gd name="T10" fmla="*/ 3 w 5"/>
                  <a:gd name="T11" fmla="*/ 0 h 4"/>
                  <a:gd name="T12" fmla="*/ 3 w 5"/>
                  <a:gd name="T13" fmla="*/ 0 h 4"/>
                  <a:gd name="T14" fmla="*/ 0 w 5"/>
                  <a:gd name="T15" fmla="*/ 0 h 4"/>
                  <a:gd name="T16" fmla="*/ 2 w 5"/>
                  <a:gd name="T17" fmla="*/ 0 h 4"/>
                  <a:gd name="T18" fmla="*/ 2 w 5"/>
                  <a:gd name="T1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4">
                    <a:moveTo>
                      <a:pt x="2" y="2"/>
                    </a:moveTo>
                    <a:lnTo>
                      <a:pt x="3" y="2"/>
                    </a:lnTo>
                    <a:lnTo>
                      <a:pt x="3" y="2"/>
                    </a:lnTo>
                    <a:lnTo>
                      <a:pt x="3" y="4"/>
                    </a:lnTo>
                    <a:lnTo>
                      <a:pt x="5" y="4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61" name="Freeform 1163">
                <a:extLst>
                  <a:ext uri="{FF2B5EF4-FFF2-40B4-BE49-F238E27FC236}">
                    <a16:creationId xmlns:a16="http://schemas.microsoft.com/office/drawing/2014/main" id="{43D3C837-CC04-4C8C-8FEE-BABA4CEC61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" y="2032"/>
                <a:ext cx="9" cy="3"/>
              </a:xfrm>
              <a:custGeom>
                <a:avLst/>
                <a:gdLst>
                  <a:gd name="T0" fmla="*/ 7 w 9"/>
                  <a:gd name="T1" fmla="*/ 3 h 3"/>
                  <a:gd name="T2" fmla="*/ 9 w 9"/>
                  <a:gd name="T3" fmla="*/ 3 h 3"/>
                  <a:gd name="T4" fmla="*/ 9 w 9"/>
                  <a:gd name="T5" fmla="*/ 3 h 3"/>
                  <a:gd name="T6" fmla="*/ 9 w 9"/>
                  <a:gd name="T7" fmla="*/ 1 h 3"/>
                  <a:gd name="T8" fmla="*/ 7 w 9"/>
                  <a:gd name="T9" fmla="*/ 1 h 3"/>
                  <a:gd name="T10" fmla="*/ 5 w 9"/>
                  <a:gd name="T11" fmla="*/ 0 h 3"/>
                  <a:gd name="T12" fmla="*/ 2 w 9"/>
                  <a:gd name="T13" fmla="*/ 0 h 3"/>
                  <a:gd name="T14" fmla="*/ 0 w 9"/>
                  <a:gd name="T15" fmla="*/ 1 h 3"/>
                  <a:gd name="T16" fmla="*/ 2 w 9"/>
                  <a:gd name="T17" fmla="*/ 1 h 3"/>
                  <a:gd name="T18" fmla="*/ 7 w 9"/>
                  <a:gd name="T1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3">
                    <a:moveTo>
                      <a:pt x="7" y="3"/>
                    </a:moveTo>
                    <a:lnTo>
                      <a:pt x="9" y="3"/>
                    </a:lnTo>
                    <a:lnTo>
                      <a:pt x="9" y="3"/>
                    </a:lnTo>
                    <a:lnTo>
                      <a:pt x="9" y="1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7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62" name="Freeform 1164">
                <a:extLst>
                  <a:ext uri="{FF2B5EF4-FFF2-40B4-BE49-F238E27FC236}">
                    <a16:creationId xmlns:a16="http://schemas.microsoft.com/office/drawing/2014/main" id="{898BB47C-2386-47F1-B2DC-DBF5212BC0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" y="2024"/>
                <a:ext cx="28" cy="11"/>
              </a:xfrm>
              <a:custGeom>
                <a:avLst/>
                <a:gdLst>
                  <a:gd name="T0" fmla="*/ 2 w 28"/>
                  <a:gd name="T1" fmla="*/ 11 h 11"/>
                  <a:gd name="T2" fmla="*/ 8 w 28"/>
                  <a:gd name="T3" fmla="*/ 9 h 11"/>
                  <a:gd name="T4" fmla="*/ 8 w 28"/>
                  <a:gd name="T5" fmla="*/ 6 h 11"/>
                  <a:gd name="T6" fmla="*/ 14 w 28"/>
                  <a:gd name="T7" fmla="*/ 4 h 11"/>
                  <a:gd name="T8" fmla="*/ 26 w 28"/>
                  <a:gd name="T9" fmla="*/ 4 h 11"/>
                  <a:gd name="T10" fmla="*/ 26 w 28"/>
                  <a:gd name="T11" fmla="*/ 4 h 11"/>
                  <a:gd name="T12" fmla="*/ 28 w 28"/>
                  <a:gd name="T13" fmla="*/ 4 h 11"/>
                  <a:gd name="T14" fmla="*/ 28 w 28"/>
                  <a:gd name="T15" fmla="*/ 4 h 11"/>
                  <a:gd name="T16" fmla="*/ 28 w 28"/>
                  <a:gd name="T17" fmla="*/ 2 h 11"/>
                  <a:gd name="T18" fmla="*/ 24 w 28"/>
                  <a:gd name="T19" fmla="*/ 0 h 11"/>
                  <a:gd name="T20" fmla="*/ 8 w 28"/>
                  <a:gd name="T21" fmla="*/ 2 h 11"/>
                  <a:gd name="T22" fmla="*/ 4 w 28"/>
                  <a:gd name="T23" fmla="*/ 2 h 11"/>
                  <a:gd name="T24" fmla="*/ 2 w 28"/>
                  <a:gd name="T25" fmla="*/ 2 h 11"/>
                  <a:gd name="T26" fmla="*/ 0 w 28"/>
                  <a:gd name="T27" fmla="*/ 6 h 11"/>
                  <a:gd name="T28" fmla="*/ 2 w 28"/>
                  <a:gd name="T29" fmla="*/ 9 h 11"/>
                  <a:gd name="T30" fmla="*/ 2 w 28"/>
                  <a:gd name="T3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" h="11">
                    <a:moveTo>
                      <a:pt x="2" y="11"/>
                    </a:moveTo>
                    <a:lnTo>
                      <a:pt x="8" y="9"/>
                    </a:lnTo>
                    <a:lnTo>
                      <a:pt x="8" y="6"/>
                    </a:lnTo>
                    <a:lnTo>
                      <a:pt x="14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24" y="0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9"/>
                    </a:lnTo>
                    <a:lnTo>
                      <a:pt x="2" y="1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63" name="Freeform 1165">
                <a:extLst>
                  <a:ext uri="{FF2B5EF4-FFF2-40B4-BE49-F238E27FC236}">
                    <a16:creationId xmlns:a16="http://schemas.microsoft.com/office/drawing/2014/main" id="{6204359B-062D-45C1-8759-1D79344FF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" y="3297"/>
                <a:ext cx="1276" cy="519"/>
              </a:xfrm>
              <a:custGeom>
                <a:avLst/>
                <a:gdLst>
                  <a:gd name="T0" fmla="*/ 1149 w 1276"/>
                  <a:gd name="T1" fmla="*/ 500 h 519"/>
                  <a:gd name="T2" fmla="*/ 1168 w 1276"/>
                  <a:gd name="T3" fmla="*/ 488 h 519"/>
                  <a:gd name="T4" fmla="*/ 1157 w 1276"/>
                  <a:gd name="T5" fmla="*/ 455 h 519"/>
                  <a:gd name="T6" fmla="*/ 1155 w 1276"/>
                  <a:gd name="T7" fmla="*/ 416 h 519"/>
                  <a:gd name="T8" fmla="*/ 1200 w 1276"/>
                  <a:gd name="T9" fmla="*/ 373 h 519"/>
                  <a:gd name="T10" fmla="*/ 1158 w 1276"/>
                  <a:gd name="T11" fmla="*/ 330 h 519"/>
                  <a:gd name="T12" fmla="*/ 1203 w 1276"/>
                  <a:gd name="T13" fmla="*/ 328 h 519"/>
                  <a:gd name="T14" fmla="*/ 1260 w 1276"/>
                  <a:gd name="T15" fmla="*/ 320 h 519"/>
                  <a:gd name="T16" fmla="*/ 1266 w 1276"/>
                  <a:gd name="T17" fmla="*/ 273 h 519"/>
                  <a:gd name="T18" fmla="*/ 1264 w 1276"/>
                  <a:gd name="T19" fmla="*/ 240 h 519"/>
                  <a:gd name="T20" fmla="*/ 1258 w 1276"/>
                  <a:gd name="T21" fmla="*/ 220 h 519"/>
                  <a:gd name="T22" fmla="*/ 1242 w 1276"/>
                  <a:gd name="T23" fmla="*/ 183 h 519"/>
                  <a:gd name="T24" fmla="*/ 1235 w 1276"/>
                  <a:gd name="T25" fmla="*/ 170 h 519"/>
                  <a:gd name="T26" fmla="*/ 1229 w 1276"/>
                  <a:gd name="T27" fmla="*/ 142 h 519"/>
                  <a:gd name="T28" fmla="*/ 1235 w 1276"/>
                  <a:gd name="T29" fmla="*/ 78 h 519"/>
                  <a:gd name="T30" fmla="*/ 1196 w 1276"/>
                  <a:gd name="T31" fmla="*/ 68 h 519"/>
                  <a:gd name="T32" fmla="*/ 1166 w 1276"/>
                  <a:gd name="T33" fmla="*/ 52 h 519"/>
                  <a:gd name="T34" fmla="*/ 1143 w 1276"/>
                  <a:gd name="T35" fmla="*/ 70 h 519"/>
                  <a:gd name="T36" fmla="*/ 1073 w 1276"/>
                  <a:gd name="T37" fmla="*/ 47 h 519"/>
                  <a:gd name="T38" fmla="*/ 1063 w 1276"/>
                  <a:gd name="T39" fmla="*/ 41 h 519"/>
                  <a:gd name="T40" fmla="*/ 1032 w 1276"/>
                  <a:gd name="T41" fmla="*/ 37 h 519"/>
                  <a:gd name="T42" fmla="*/ 965 w 1276"/>
                  <a:gd name="T43" fmla="*/ 8 h 519"/>
                  <a:gd name="T44" fmla="*/ 942 w 1276"/>
                  <a:gd name="T45" fmla="*/ 13 h 519"/>
                  <a:gd name="T46" fmla="*/ 912 w 1276"/>
                  <a:gd name="T47" fmla="*/ 2 h 519"/>
                  <a:gd name="T48" fmla="*/ 908 w 1276"/>
                  <a:gd name="T49" fmla="*/ 58 h 519"/>
                  <a:gd name="T50" fmla="*/ 881 w 1276"/>
                  <a:gd name="T51" fmla="*/ 64 h 519"/>
                  <a:gd name="T52" fmla="*/ 865 w 1276"/>
                  <a:gd name="T53" fmla="*/ 107 h 519"/>
                  <a:gd name="T54" fmla="*/ 850 w 1276"/>
                  <a:gd name="T55" fmla="*/ 103 h 519"/>
                  <a:gd name="T56" fmla="*/ 828 w 1276"/>
                  <a:gd name="T57" fmla="*/ 95 h 519"/>
                  <a:gd name="T58" fmla="*/ 760 w 1276"/>
                  <a:gd name="T59" fmla="*/ 105 h 519"/>
                  <a:gd name="T60" fmla="*/ 752 w 1276"/>
                  <a:gd name="T61" fmla="*/ 90 h 519"/>
                  <a:gd name="T62" fmla="*/ 752 w 1276"/>
                  <a:gd name="T63" fmla="*/ 84 h 519"/>
                  <a:gd name="T64" fmla="*/ 719 w 1276"/>
                  <a:gd name="T65" fmla="*/ 60 h 519"/>
                  <a:gd name="T66" fmla="*/ 711 w 1276"/>
                  <a:gd name="T67" fmla="*/ 113 h 519"/>
                  <a:gd name="T68" fmla="*/ 656 w 1276"/>
                  <a:gd name="T69" fmla="*/ 113 h 519"/>
                  <a:gd name="T70" fmla="*/ 633 w 1276"/>
                  <a:gd name="T71" fmla="*/ 174 h 519"/>
                  <a:gd name="T72" fmla="*/ 543 w 1276"/>
                  <a:gd name="T73" fmla="*/ 222 h 519"/>
                  <a:gd name="T74" fmla="*/ 567 w 1276"/>
                  <a:gd name="T75" fmla="*/ 269 h 519"/>
                  <a:gd name="T76" fmla="*/ 578 w 1276"/>
                  <a:gd name="T77" fmla="*/ 326 h 519"/>
                  <a:gd name="T78" fmla="*/ 590 w 1276"/>
                  <a:gd name="T79" fmla="*/ 363 h 519"/>
                  <a:gd name="T80" fmla="*/ 576 w 1276"/>
                  <a:gd name="T81" fmla="*/ 384 h 519"/>
                  <a:gd name="T82" fmla="*/ 543 w 1276"/>
                  <a:gd name="T83" fmla="*/ 336 h 519"/>
                  <a:gd name="T84" fmla="*/ 486 w 1276"/>
                  <a:gd name="T85" fmla="*/ 330 h 519"/>
                  <a:gd name="T86" fmla="*/ 453 w 1276"/>
                  <a:gd name="T87" fmla="*/ 322 h 519"/>
                  <a:gd name="T88" fmla="*/ 391 w 1276"/>
                  <a:gd name="T89" fmla="*/ 353 h 519"/>
                  <a:gd name="T90" fmla="*/ 324 w 1276"/>
                  <a:gd name="T91" fmla="*/ 377 h 519"/>
                  <a:gd name="T92" fmla="*/ 283 w 1276"/>
                  <a:gd name="T93" fmla="*/ 396 h 519"/>
                  <a:gd name="T94" fmla="*/ 229 w 1276"/>
                  <a:gd name="T95" fmla="*/ 375 h 519"/>
                  <a:gd name="T96" fmla="*/ 170 w 1276"/>
                  <a:gd name="T97" fmla="*/ 371 h 519"/>
                  <a:gd name="T98" fmla="*/ 150 w 1276"/>
                  <a:gd name="T99" fmla="*/ 365 h 519"/>
                  <a:gd name="T100" fmla="*/ 137 w 1276"/>
                  <a:gd name="T101" fmla="*/ 420 h 519"/>
                  <a:gd name="T102" fmla="*/ 115 w 1276"/>
                  <a:gd name="T103" fmla="*/ 414 h 519"/>
                  <a:gd name="T104" fmla="*/ 90 w 1276"/>
                  <a:gd name="T105" fmla="*/ 400 h 519"/>
                  <a:gd name="T106" fmla="*/ 68 w 1276"/>
                  <a:gd name="T107" fmla="*/ 369 h 519"/>
                  <a:gd name="T108" fmla="*/ 33 w 1276"/>
                  <a:gd name="T109" fmla="*/ 367 h 519"/>
                  <a:gd name="T110" fmla="*/ 12 w 1276"/>
                  <a:gd name="T111" fmla="*/ 379 h 519"/>
                  <a:gd name="T112" fmla="*/ 0 w 1276"/>
                  <a:gd name="T113" fmla="*/ 435 h 519"/>
                  <a:gd name="T114" fmla="*/ 14 w 1276"/>
                  <a:gd name="T115" fmla="*/ 468 h 519"/>
                  <a:gd name="T116" fmla="*/ 57 w 1276"/>
                  <a:gd name="T117" fmla="*/ 513 h 519"/>
                  <a:gd name="T118" fmla="*/ 145 w 1276"/>
                  <a:gd name="T119" fmla="*/ 502 h 519"/>
                  <a:gd name="T120" fmla="*/ 324 w 1276"/>
                  <a:gd name="T121" fmla="*/ 500 h 519"/>
                  <a:gd name="T122" fmla="*/ 358 w 1276"/>
                  <a:gd name="T123" fmla="*/ 502 h 519"/>
                  <a:gd name="T124" fmla="*/ 449 w 1276"/>
                  <a:gd name="T125" fmla="*/ 480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76" h="519">
                    <a:moveTo>
                      <a:pt x="1117" y="517"/>
                    </a:moveTo>
                    <a:lnTo>
                      <a:pt x="1121" y="515"/>
                    </a:lnTo>
                    <a:lnTo>
                      <a:pt x="1121" y="515"/>
                    </a:lnTo>
                    <a:lnTo>
                      <a:pt x="1123" y="513"/>
                    </a:lnTo>
                    <a:lnTo>
                      <a:pt x="1123" y="511"/>
                    </a:lnTo>
                    <a:lnTo>
                      <a:pt x="1123" y="509"/>
                    </a:lnTo>
                    <a:lnTo>
                      <a:pt x="1123" y="509"/>
                    </a:lnTo>
                    <a:lnTo>
                      <a:pt x="1125" y="507"/>
                    </a:lnTo>
                    <a:lnTo>
                      <a:pt x="1127" y="507"/>
                    </a:lnTo>
                    <a:lnTo>
                      <a:pt x="1127" y="505"/>
                    </a:lnTo>
                    <a:lnTo>
                      <a:pt x="1129" y="502"/>
                    </a:lnTo>
                    <a:lnTo>
                      <a:pt x="1129" y="500"/>
                    </a:lnTo>
                    <a:lnTo>
                      <a:pt x="1133" y="500"/>
                    </a:lnTo>
                    <a:lnTo>
                      <a:pt x="1139" y="500"/>
                    </a:lnTo>
                    <a:lnTo>
                      <a:pt x="1145" y="500"/>
                    </a:lnTo>
                    <a:lnTo>
                      <a:pt x="1149" y="500"/>
                    </a:lnTo>
                    <a:lnTo>
                      <a:pt x="1153" y="502"/>
                    </a:lnTo>
                    <a:lnTo>
                      <a:pt x="1153" y="503"/>
                    </a:lnTo>
                    <a:lnTo>
                      <a:pt x="1155" y="503"/>
                    </a:lnTo>
                    <a:lnTo>
                      <a:pt x="1155" y="503"/>
                    </a:lnTo>
                    <a:lnTo>
                      <a:pt x="1155" y="502"/>
                    </a:lnTo>
                    <a:lnTo>
                      <a:pt x="1158" y="502"/>
                    </a:lnTo>
                    <a:lnTo>
                      <a:pt x="1162" y="502"/>
                    </a:lnTo>
                    <a:lnTo>
                      <a:pt x="1166" y="502"/>
                    </a:lnTo>
                    <a:lnTo>
                      <a:pt x="1164" y="498"/>
                    </a:lnTo>
                    <a:lnTo>
                      <a:pt x="1162" y="496"/>
                    </a:lnTo>
                    <a:lnTo>
                      <a:pt x="1160" y="496"/>
                    </a:lnTo>
                    <a:lnTo>
                      <a:pt x="1155" y="494"/>
                    </a:lnTo>
                    <a:lnTo>
                      <a:pt x="1157" y="492"/>
                    </a:lnTo>
                    <a:lnTo>
                      <a:pt x="1164" y="490"/>
                    </a:lnTo>
                    <a:lnTo>
                      <a:pt x="1166" y="488"/>
                    </a:lnTo>
                    <a:lnTo>
                      <a:pt x="1168" y="488"/>
                    </a:lnTo>
                    <a:lnTo>
                      <a:pt x="1166" y="486"/>
                    </a:lnTo>
                    <a:lnTo>
                      <a:pt x="1164" y="484"/>
                    </a:lnTo>
                    <a:lnTo>
                      <a:pt x="1160" y="484"/>
                    </a:lnTo>
                    <a:lnTo>
                      <a:pt x="1160" y="480"/>
                    </a:lnTo>
                    <a:lnTo>
                      <a:pt x="1160" y="476"/>
                    </a:lnTo>
                    <a:lnTo>
                      <a:pt x="1164" y="474"/>
                    </a:lnTo>
                    <a:lnTo>
                      <a:pt x="1168" y="470"/>
                    </a:lnTo>
                    <a:lnTo>
                      <a:pt x="1170" y="466"/>
                    </a:lnTo>
                    <a:lnTo>
                      <a:pt x="1168" y="464"/>
                    </a:lnTo>
                    <a:lnTo>
                      <a:pt x="1164" y="462"/>
                    </a:lnTo>
                    <a:lnTo>
                      <a:pt x="1158" y="466"/>
                    </a:lnTo>
                    <a:lnTo>
                      <a:pt x="1157" y="464"/>
                    </a:lnTo>
                    <a:lnTo>
                      <a:pt x="1157" y="462"/>
                    </a:lnTo>
                    <a:lnTo>
                      <a:pt x="1158" y="459"/>
                    </a:lnTo>
                    <a:lnTo>
                      <a:pt x="1158" y="457"/>
                    </a:lnTo>
                    <a:lnTo>
                      <a:pt x="1157" y="455"/>
                    </a:lnTo>
                    <a:lnTo>
                      <a:pt x="1157" y="455"/>
                    </a:lnTo>
                    <a:lnTo>
                      <a:pt x="1155" y="455"/>
                    </a:lnTo>
                    <a:lnTo>
                      <a:pt x="1153" y="455"/>
                    </a:lnTo>
                    <a:lnTo>
                      <a:pt x="1153" y="451"/>
                    </a:lnTo>
                    <a:lnTo>
                      <a:pt x="1155" y="445"/>
                    </a:lnTo>
                    <a:lnTo>
                      <a:pt x="1155" y="441"/>
                    </a:lnTo>
                    <a:lnTo>
                      <a:pt x="1155" y="441"/>
                    </a:lnTo>
                    <a:lnTo>
                      <a:pt x="1160" y="437"/>
                    </a:lnTo>
                    <a:lnTo>
                      <a:pt x="1162" y="435"/>
                    </a:lnTo>
                    <a:lnTo>
                      <a:pt x="1164" y="433"/>
                    </a:lnTo>
                    <a:lnTo>
                      <a:pt x="1162" y="429"/>
                    </a:lnTo>
                    <a:lnTo>
                      <a:pt x="1158" y="418"/>
                    </a:lnTo>
                    <a:lnTo>
                      <a:pt x="1157" y="418"/>
                    </a:lnTo>
                    <a:lnTo>
                      <a:pt x="1157" y="418"/>
                    </a:lnTo>
                    <a:lnTo>
                      <a:pt x="1157" y="416"/>
                    </a:lnTo>
                    <a:lnTo>
                      <a:pt x="1155" y="416"/>
                    </a:lnTo>
                    <a:lnTo>
                      <a:pt x="1155" y="414"/>
                    </a:lnTo>
                    <a:lnTo>
                      <a:pt x="1157" y="414"/>
                    </a:lnTo>
                    <a:lnTo>
                      <a:pt x="1157" y="414"/>
                    </a:lnTo>
                    <a:lnTo>
                      <a:pt x="1157" y="412"/>
                    </a:lnTo>
                    <a:lnTo>
                      <a:pt x="1157" y="402"/>
                    </a:lnTo>
                    <a:lnTo>
                      <a:pt x="1158" y="400"/>
                    </a:lnTo>
                    <a:lnTo>
                      <a:pt x="1160" y="400"/>
                    </a:lnTo>
                    <a:lnTo>
                      <a:pt x="1162" y="400"/>
                    </a:lnTo>
                    <a:lnTo>
                      <a:pt x="1164" y="404"/>
                    </a:lnTo>
                    <a:lnTo>
                      <a:pt x="1182" y="396"/>
                    </a:lnTo>
                    <a:lnTo>
                      <a:pt x="1190" y="390"/>
                    </a:lnTo>
                    <a:lnTo>
                      <a:pt x="1192" y="388"/>
                    </a:lnTo>
                    <a:lnTo>
                      <a:pt x="1192" y="379"/>
                    </a:lnTo>
                    <a:lnTo>
                      <a:pt x="1192" y="377"/>
                    </a:lnTo>
                    <a:lnTo>
                      <a:pt x="1198" y="375"/>
                    </a:lnTo>
                    <a:lnTo>
                      <a:pt x="1200" y="373"/>
                    </a:lnTo>
                    <a:lnTo>
                      <a:pt x="1200" y="369"/>
                    </a:lnTo>
                    <a:lnTo>
                      <a:pt x="1198" y="365"/>
                    </a:lnTo>
                    <a:lnTo>
                      <a:pt x="1196" y="363"/>
                    </a:lnTo>
                    <a:lnTo>
                      <a:pt x="1194" y="361"/>
                    </a:lnTo>
                    <a:lnTo>
                      <a:pt x="1194" y="357"/>
                    </a:lnTo>
                    <a:lnTo>
                      <a:pt x="1192" y="351"/>
                    </a:lnTo>
                    <a:lnTo>
                      <a:pt x="1190" y="347"/>
                    </a:lnTo>
                    <a:lnTo>
                      <a:pt x="1186" y="345"/>
                    </a:lnTo>
                    <a:lnTo>
                      <a:pt x="1180" y="347"/>
                    </a:lnTo>
                    <a:lnTo>
                      <a:pt x="1170" y="341"/>
                    </a:lnTo>
                    <a:lnTo>
                      <a:pt x="1164" y="343"/>
                    </a:lnTo>
                    <a:lnTo>
                      <a:pt x="1155" y="339"/>
                    </a:lnTo>
                    <a:lnTo>
                      <a:pt x="1153" y="338"/>
                    </a:lnTo>
                    <a:lnTo>
                      <a:pt x="1155" y="336"/>
                    </a:lnTo>
                    <a:lnTo>
                      <a:pt x="1157" y="332"/>
                    </a:lnTo>
                    <a:lnTo>
                      <a:pt x="1158" y="330"/>
                    </a:lnTo>
                    <a:lnTo>
                      <a:pt x="1158" y="332"/>
                    </a:lnTo>
                    <a:lnTo>
                      <a:pt x="1160" y="332"/>
                    </a:lnTo>
                    <a:lnTo>
                      <a:pt x="1160" y="332"/>
                    </a:lnTo>
                    <a:lnTo>
                      <a:pt x="1160" y="332"/>
                    </a:lnTo>
                    <a:lnTo>
                      <a:pt x="1162" y="330"/>
                    </a:lnTo>
                    <a:lnTo>
                      <a:pt x="1170" y="326"/>
                    </a:lnTo>
                    <a:lnTo>
                      <a:pt x="1172" y="326"/>
                    </a:lnTo>
                    <a:lnTo>
                      <a:pt x="1172" y="324"/>
                    </a:lnTo>
                    <a:lnTo>
                      <a:pt x="1172" y="320"/>
                    </a:lnTo>
                    <a:lnTo>
                      <a:pt x="1172" y="318"/>
                    </a:lnTo>
                    <a:lnTo>
                      <a:pt x="1180" y="314"/>
                    </a:lnTo>
                    <a:lnTo>
                      <a:pt x="1186" y="316"/>
                    </a:lnTo>
                    <a:lnTo>
                      <a:pt x="1200" y="320"/>
                    </a:lnTo>
                    <a:lnTo>
                      <a:pt x="1201" y="322"/>
                    </a:lnTo>
                    <a:lnTo>
                      <a:pt x="1203" y="324"/>
                    </a:lnTo>
                    <a:lnTo>
                      <a:pt x="1203" y="328"/>
                    </a:lnTo>
                    <a:lnTo>
                      <a:pt x="1205" y="330"/>
                    </a:lnTo>
                    <a:lnTo>
                      <a:pt x="1207" y="332"/>
                    </a:lnTo>
                    <a:lnTo>
                      <a:pt x="1207" y="332"/>
                    </a:lnTo>
                    <a:lnTo>
                      <a:pt x="1217" y="334"/>
                    </a:lnTo>
                    <a:lnTo>
                      <a:pt x="1219" y="334"/>
                    </a:lnTo>
                    <a:lnTo>
                      <a:pt x="1221" y="332"/>
                    </a:lnTo>
                    <a:lnTo>
                      <a:pt x="1225" y="326"/>
                    </a:lnTo>
                    <a:lnTo>
                      <a:pt x="1227" y="326"/>
                    </a:lnTo>
                    <a:lnTo>
                      <a:pt x="1229" y="332"/>
                    </a:lnTo>
                    <a:lnTo>
                      <a:pt x="1235" y="332"/>
                    </a:lnTo>
                    <a:lnTo>
                      <a:pt x="1248" y="330"/>
                    </a:lnTo>
                    <a:lnTo>
                      <a:pt x="1260" y="328"/>
                    </a:lnTo>
                    <a:lnTo>
                      <a:pt x="1264" y="326"/>
                    </a:lnTo>
                    <a:lnTo>
                      <a:pt x="1262" y="324"/>
                    </a:lnTo>
                    <a:lnTo>
                      <a:pt x="1260" y="322"/>
                    </a:lnTo>
                    <a:lnTo>
                      <a:pt x="1260" y="320"/>
                    </a:lnTo>
                    <a:lnTo>
                      <a:pt x="1260" y="312"/>
                    </a:lnTo>
                    <a:lnTo>
                      <a:pt x="1258" y="306"/>
                    </a:lnTo>
                    <a:lnTo>
                      <a:pt x="1258" y="302"/>
                    </a:lnTo>
                    <a:lnTo>
                      <a:pt x="1260" y="300"/>
                    </a:lnTo>
                    <a:lnTo>
                      <a:pt x="1260" y="298"/>
                    </a:lnTo>
                    <a:lnTo>
                      <a:pt x="1258" y="295"/>
                    </a:lnTo>
                    <a:lnTo>
                      <a:pt x="1256" y="293"/>
                    </a:lnTo>
                    <a:lnTo>
                      <a:pt x="1252" y="291"/>
                    </a:lnTo>
                    <a:lnTo>
                      <a:pt x="1252" y="291"/>
                    </a:lnTo>
                    <a:lnTo>
                      <a:pt x="1252" y="287"/>
                    </a:lnTo>
                    <a:lnTo>
                      <a:pt x="1254" y="287"/>
                    </a:lnTo>
                    <a:lnTo>
                      <a:pt x="1260" y="285"/>
                    </a:lnTo>
                    <a:lnTo>
                      <a:pt x="1262" y="283"/>
                    </a:lnTo>
                    <a:lnTo>
                      <a:pt x="1264" y="281"/>
                    </a:lnTo>
                    <a:lnTo>
                      <a:pt x="1266" y="277"/>
                    </a:lnTo>
                    <a:lnTo>
                      <a:pt x="1266" y="273"/>
                    </a:lnTo>
                    <a:lnTo>
                      <a:pt x="1266" y="273"/>
                    </a:lnTo>
                    <a:lnTo>
                      <a:pt x="1264" y="271"/>
                    </a:lnTo>
                    <a:lnTo>
                      <a:pt x="1264" y="271"/>
                    </a:lnTo>
                    <a:lnTo>
                      <a:pt x="1264" y="271"/>
                    </a:lnTo>
                    <a:lnTo>
                      <a:pt x="1264" y="269"/>
                    </a:lnTo>
                    <a:lnTo>
                      <a:pt x="1266" y="269"/>
                    </a:lnTo>
                    <a:lnTo>
                      <a:pt x="1266" y="267"/>
                    </a:lnTo>
                    <a:lnTo>
                      <a:pt x="1266" y="265"/>
                    </a:lnTo>
                    <a:lnTo>
                      <a:pt x="1268" y="265"/>
                    </a:lnTo>
                    <a:lnTo>
                      <a:pt x="1268" y="263"/>
                    </a:lnTo>
                    <a:lnTo>
                      <a:pt x="1266" y="261"/>
                    </a:lnTo>
                    <a:lnTo>
                      <a:pt x="1276" y="252"/>
                    </a:lnTo>
                    <a:lnTo>
                      <a:pt x="1272" y="248"/>
                    </a:lnTo>
                    <a:lnTo>
                      <a:pt x="1268" y="246"/>
                    </a:lnTo>
                    <a:lnTo>
                      <a:pt x="1264" y="244"/>
                    </a:lnTo>
                    <a:lnTo>
                      <a:pt x="1264" y="240"/>
                    </a:lnTo>
                    <a:lnTo>
                      <a:pt x="1264" y="240"/>
                    </a:lnTo>
                    <a:lnTo>
                      <a:pt x="1262" y="238"/>
                    </a:lnTo>
                    <a:lnTo>
                      <a:pt x="1262" y="238"/>
                    </a:lnTo>
                    <a:lnTo>
                      <a:pt x="1262" y="238"/>
                    </a:lnTo>
                    <a:lnTo>
                      <a:pt x="1262" y="238"/>
                    </a:lnTo>
                    <a:lnTo>
                      <a:pt x="1262" y="234"/>
                    </a:lnTo>
                    <a:lnTo>
                      <a:pt x="1264" y="232"/>
                    </a:lnTo>
                    <a:lnTo>
                      <a:pt x="1264" y="232"/>
                    </a:lnTo>
                    <a:lnTo>
                      <a:pt x="1264" y="232"/>
                    </a:lnTo>
                    <a:lnTo>
                      <a:pt x="1264" y="230"/>
                    </a:lnTo>
                    <a:lnTo>
                      <a:pt x="1264" y="228"/>
                    </a:lnTo>
                    <a:lnTo>
                      <a:pt x="1262" y="226"/>
                    </a:lnTo>
                    <a:lnTo>
                      <a:pt x="1262" y="226"/>
                    </a:lnTo>
                    <a:lnTo>
                      <a:pt x="1260" y="220"/>
                    </a:lnTo>
                    <a:lnTo>
                      <a:pt x="1258" y="220"/>
                    </a:lnTo>
                    <a:lnTo>
                      <a:pt x="1258" y="220"/>
                    </a:lnTo>
                    <a:lnTo>
                      <a:pt x="1254" y="218"/>
                    </a:lnTo>
                    <a:lnTo>
                      <a:pt x="1254" y="218"/>
                    </a:lnTo>
                    <a:lnTo>
                      <a:pt x="1252" y="218"/>
                    </a:lnTo>
                    <a:lnTo>
                      <a:pt x="1248" y="213"/>
                    </a:lnTo>
                    <a:lnTo>
                      <a:pt x="1246" y="209"/>
                    </a:lnTo>
                    <a:lnTo>
                      <a:pt x="1246" y="205"/>
                    </a:lnTo>
                    <a:lnTo>
                      <a:pt x="1246" y="199"/>
                    </a:lnTo>
                    <a:lnTo>
                      <a:pt x="1244" y="191"/>
                    </a:lnTo>
                    <a:lnTo>
                      <a:pt x="1244" y="189"/>
                    </a:lnTo>
                    <a:lnTo>
                      <a:pt x="1244" y="187"/>
                    </a:lnTo>
                    <a:lnTo>
                      <a:pt x="1244" y="187"/>
                    </a:lnTo>
                    <a:lnTo>
                      <a:pt x="1244" y="185"/>
                    </a:lnTo>
                    <a:lnTo>
                      <a:pt x="1244" y="185"/>
                    </a:lnTo>
                    <a:lnTo>
                      <a:pt x="1242" y="185"/>
                    </a:lnTo>
                    <a:lnTo>
                      <a:pt x="1242" y="183"/>
                    </a:lnTo>
                    <a:lnTo>
                      <a:pt x="1242" y="183"/>
                    </a:lnTo>
                    <a:lnTo>
                      <a:pt x="1242" y="183"/>
                    </a:lnTo>
                    <a:lnTo>
                      <a:pt x="1241" y="183"/>
                    </a:lnTo>
                    <a:lnTo>
                      <a:pt x="1239" y="181"/>
                    </a:lnTo>
                    <a:lnTo>
                      <a:pt x="1237" y="181"/>
                    </a:lnTo>
                    <a:lnTo>
                      <a:pt x="1237" y="179"/>
                    </a:lnTo>
                    <a:lnTo>
                      <a:pt x="1237" y="177"/>
                    </a:lnTo>
                    <a:lnTo>
                      <a:pt x="1237" y="177"/>
                    </a:lnTo>
                    <a:lnTo>
                      <a:pt x="1237" y="175"/>
                    </a:lnTo>
                    <a:lnTo>
                      <a:pt x="1235" y="175"/>
                    </a:lnTo>
                    <a:lnTo>
                      <a:pt x="1235" y="175"/>
                    </a:lnTo>
                    <a:lnTo>
                      <a:pt x="1235" y="175"/>
                    </a:lnTo>
                    <a:lnTo>
                      <a:pt x="1235" y="174"/>
                    </a:lnTo>
                    <a:lnTo>
                      <a:pt x="1235" y="174"/>
                    </a:lnTo>
                    <a:lnTo>
                      <a:pt x="1235" y="172"/>
                    </a:lnTo>
                    <a:lnTo>
                      <a:pt x="1237" y="172"/>
                    </a:lnTo>
                    <a:lnTo>
                      <a:pt x="1235" y="170"/>
                    </a:lnTo>
                    <a:lnTo>
                      <a:pt x="1235" y="168"/>
                    </a:lnTo>
                    <a:lnTo>
                      <a:pt x="1233" y="168"/>
                    </a:lnTo>
                    <a:lnTo>
                      <a:pt x="1233" y="166"/>
                    </a:lnTo>
                    <a:lnTo>
                      <a:pt x="1231" y="166"/>
                    </a:lnTo>
                    <a:lnTo>
                      <a:pt x="1231" y="164"/>
                    </a:lnTo>
                    <a:lnTo>
                      <a:pt x="1227" y="164"/>
                    </a:lnTo>
                    <a:lnTo>
                      <a:pt x="1227" y="164"/>
                    </a:lnTo>
                    <a:lnTo>
                      <a:pt x="1227" y="164"/>
                    </a:lnTo>
                    <a:lnTo>
                      <a:pt x="1225" y="162"/>
                    </a:lnTo>
                    <a:lnTo>
                      <a:pt x="1225" y="160"/>
                    </a:lnTo>
                    <a:lnTo>
                      <a:pt x="1225" y="158"/>
                    </a:lnTo>
                    <a:lnTo>
                      <a:pt x="1227" y="158"/>
                    </a:lnTo>
                    <a:lnTo>
                      <a:pt x="1227" y="158"/>
                    </a:lnTo>
                    <a:lnTo>
                      <a:pt x="1227" y="156"/>
                    </a:lnTo>
                    <a:lnTo>
                      <a:pt x="1227" y="148"/>
                    </a:lnTo>
                    <a:lnTo>
                      <a:pt x="1229" y="142"/>
                    </a:lnTo>
                    <a:lnTo>
                      <a:pt x="1229" y="138"/>
                    </a:lnTo>
                    <a:lnTo>
                      <a:pt x="1229" y="138"/>
                    </a:lnTo>
                    <a:lnTo>
                      <a:pt x="1229" y="138"/>
                    </a:lnTo>
                    <a:lnTo>
                      <a:pt x="1231" y="136"/>
                    </a:lnTo>
                    <a:lnTo>
                      <a:pt x="1233" y="133"/>
                    </a:lnTo>
                    <a:lnTo>
                      <a:pt x="1235" y="129"/>
                    </a:lnTo>
                    <a:lnTo>
                      <a:pt x="1237" y="127"/>
                    </a:lnTo>
                    <a:lnTo>
                      <a:pt x="1237" y="123"/>
                    </a:lnTo>
                    <a:lnTo>
                      <a:pt x="1241" y="121"/>
                    </a:lnTo>
                    <a:lnTo>
                      <a:pt x="1242" y="119"/>
                    </a:lnTo>
                    <a:lnTo>
                      <a:pt x="1242" y="117"/>
                    </a:lnTo>
                    <a:lnTo>
                      <a:pt x="1244" y="113"/>
                    </a:lnTo>
                    <a:lnTo>
                      <a:pt x="1242" y="101"/>
                    </a:lnTo>
                    <a:lnTo>
                      <a:pt x="1237" y="95"/>
                    </a:lnTo>
                    <a:lnTo>
                      <a:pt x="1237" y="95"/>
                    </a:lnTo>
                    <a:lnTo>
                      <a:pt x="1235" y="78"/>
                    </a:lnTo>
                    <a:lnTo>
                      <a:pt x="1233" y="76"/>
                    </a:lnTo>
                    <a:lnTo>
                      <a:pt x="1231" y="74"/>
                    </a:lnTo>
                    <a:lnTo>
                      <a:pt x="1227" y="72"/>
                    </a:lnTo>
                    <a:lnTo>
                      <a:pt x="1227" y="74"/>
                    </a:lnTo>
                    <a:lnTo>
                      <a:pt x="1221" y="76"/>
                    </a:lnTo>
                    <a:lnTo>
                      <a:pt x="1219" y="76"/>
                    </a:lnTo>
                    <a:lnTo>
                      <a:pt x="1217" y="76"/>
                    </a:lnTo>
                    <a:lnTo>
                      <a:pt x="1215" y="74"/>
                    </a:lnTo>
                    <a:lnTo>
                      <a:pt x="1209" y="70"/>
                    </a:lnTo>
                    <a:lnTo>
                      <a:pt x="1205" y="70"/>
                    </a:lnTo>
                    <a:lnTo>
                      <a:pt x="1203" y="70"/>
                    </a:lnTo>
                    <a:lnTo>
                      <a:pt x="1200" y="70"/>
                    </a:lnTo>
                    <a:lnTo>
                      <a:pt x="1200" y="70"/>
                    </a:lnTo>
                    <a:lnTo>
                      <a:pt x="1198" y="70"/>
                    </a:lnTo>
                    <a:lnTo>
                      <a:pt x="1196" y="68"/>
                    </a:lnTo>
                    <a:lnTo>
                      <a:pt x="1196" y="68"/>
                    </a:lnTo>
                    <a:lnTo>
                      <a:pt x="1196" y="68"/>
                    </a:lnTo>
                    <a:lnTo>
                      <a:pt x="1194" y="66"/>
                    </a:lnTo>
                    <a:lnTo>
                      <a:pt x="1194" y="64"/>
                    </a:lnTo>
                    <a:lnTo>
                      <a:pt x="1194" y="60"/>
                    </a:lnTo>
                    <a:lnTo>
                      <a:pt x="1192" y="60"/>
                    </a:lnTo>
                    <a:lnTo>
                      <a:pt x="1192" y="58"/>
                    </a:lnTo>
                    <a:lnTo>
                      <a:pt x="1188" y="56"/>
                    </a:lnTo>
                    <a:lnTo>
                      <a:pt x="1186" y="56"/>
                    </a:lnTo>
                    <a:lnTo>
                      <a:pt x="1176" y="54"/>
                    </a:lnTo>
                    <a:lnTo>
                      <a:pt x="1172" y="52"/>
                    </a:lnTo>
                    <a:lnTo>
                      <a:pt x="1172" y="52"/>
                    </a:lnTo>
                    <a:lnTo>
                      <a:pt x="1170" y="51"/>
                    </a:lnTo>
                    <a:lnTo>
                      <a:pt x="1170" y="51"/>
                    </a:lnTo>
                    <a:lnTo>
                      <a:pt x="1170" y="51"/>
                    </a:lnTo>
                    <a:lnTo>
                      <a:pt x="1166" y="52"/>
                    </a:lnTo>
                    <a:lnTo>
                      <a:pt x="1166" y="52"/>
                    </a:lnTo>
                    <a:lnTo>
                      <a:pt x="1166" y="52"/>
                    </a:lnTo>
                    <a:lnTo>
                      <a:pt x="1166" y="52"/>
                    </a:lnTo>
                    <a:lnTo>
                      <a:pt x="1166" y="52"/>
                    </a:lnTo>
                    <a:lnTo>
                      <a:pt x="1164" y="52"/>
                    </a:lnTo>
                    <a:lnTo>
                      <a:pt x="1160" y="52"/>
                    </a:lnTo>
                    <a:lnTo>
                      <a:pt x="1160" y="52"/>
                    </a:lnTo>
                    <a:lnTo>
                      <a:pt x="1157" y="54"/>
                    </a:lnTo>
                    <a:lnTo>
                      <a:pt x="1149" y="68"/>
                    </a:lnTo>
                    <a:lnTo>
                      <a:pt x="1149" y="68"/>
                    </a:lnTo>
                    <a:lnTo>
                      <a:pt x="1149" y="68"/>
                    </a:lnTo>
                    <a:lnTo>
                      <a:pt x="1147" y="70"/>
                    </a:lnTo>
                    <a:lnTo>
                      <a:pt x="1147" y="70"/>
                    </a:lnTo>
                    <a:lnTo>
                      <a:pt x="1147" y="70"/>
                    </a:lnTo>
                    <a:lnTo>
                      <a:pt x="1147" y="70"/>
                    </a:lnTo>
                    <a:lnTo>
                      <a:pt x="1145" y="70"/>
                    </a:lnTo>
                    <a:lnTo>
                      <a:pt x="1143" y="70"/>
                    </a:lnTo>
                    <a:lnTo>
                      <a:pt x="1143" y="70"/>
                    </a:lnTo>
                    <a:lnTo>
                      <a:pt x="1141" y="68"/>
                    </a:lnTo>
                    <a:lnTo>
                      <a:pt x="1139" y="70"/>
                    </a:lnTo>
                    <a:lnTo>
                      <a:pt x="1137" y="70"/>
                    </a:lnTo>
                    <a:lnTo>
                      <a:pt x="1137" y="70"/>
                    </a:lnTo>
                    <a:lnTo>
                      <a:pt x="1127" y="68"/>
                    </a:lnTo>
                    <a:lnTo>
                      <a:pt x="1114" y="66"/>
                    </a:lnTo>
                    <a:lnTo>
                      <a:pt x="1098" y="66"/>
                    </a:lnTo>
                    <a:lnTo>
                      <a:pt x="1092" y="64"/>
                    </a:lnTo>
                    <a:lnTo>
                      <a:pt x="1090" y="64"/>
                    </a:lnTo>
                    <a:lnTo>
                      <a:pt x="1084" y="60"/>
                    </a:lnTo>
                    <a:lnTo>
                      <a:pt x="1073" y="51"/>
                    </a:lnTo>
                    <a:lnTo>
                      <a:pt x="1073" y="51"/>
                    </a:lnTo>
                    <a:lnTo>
                      <a:pt x="1073" y="51"/>
                    </a:lnTo>
                    <a:lnTo>
                      <a:pt x="1073" y="49"/>
                    </a:lnTo>
                    <a:lnTo>
                      <a:pt x="1073" y="47"/>
                    </a:lnTo>
                    <a:lnTo>
                      <a:pt x="1071" y="47"/>
                    </a:lnTo>
                    <a:lnTo>
                      <a:pt x="1069" y="49"/>
                    </a:lnTo>
                    <a:lnTo>
                      <a:pt x="1069" y="49"/>
                    </a:lnTo>
                    <a:lnTo>
                      <a:pt x="1069" y="49"/>
                    </a:lnTo>
                    <a:lnTo>
                      <a:pt x="1069" y="47"/>
                    </a:lnTo>
                    <a:lnTo>
                      <a:pt x="1069" y="45"/>
                    </a:lnTo>
                    <a:lnTo>
                      <a:pt x="1069" y="45"/>
                    </a:lnTo>
                    <a:lnTo>
                      <a:pt x="1067" y="45"/>
                    </a:lnTo>
                    <a:lnTo>
                      <a:pt x="1065" y="45"/>
                    </a:lnTo>
                    <a:lnTo>
                      <a:pt x="1065" y="45"/>
                    </a:lnTo>
                    <a:lnTo>
                      <a:pt x="1063" y="45"/>
                    </a:lnTo>
                    <a:lnTo>
                      <a:pt x="1063" y="45"/>
                    </a:lnTo>
                    <a:lnTo>
                      <a:pt x="1063" y="45"/>
                    </a:lnTo>
                    <a:lnTo>
                      <a:pt x="1065" y="43"/>
                    </a:lnTo>
                    <a:lnTo>
                      <a:pt x="1063" y="43"/>
                    </a:lnTo>
                    <a:lnTo>
                      <a:pt x="1063" y="41"/>
                    </a:lnTo>
                    <a:lnTo>
                      <a:pt x="1061" y="41"/>
                    </a:lnTo>
                    <a:lnTo>
                      <a:pt x="1061" y="41"/>
                    </a:lnTo>
                    <a:lnTo>
                      <a:pt x="1057" y="41"/>
                    </a:lnTo>
                    <a:lnTo>
                      <a:pt x="1057" y="39"/>
                    </a:lnTo>
                    <a:lnTo>
                      <a:pt x="1055" y="39"/>
                    </a:lnTo>
                    <a:lnTo>
                      <a:pt x="1055" y="37"/>
                    </a:lnTo>
                    <a:lnTo>
                      <a:pt x="1055" y="35"/>
                    </a:lnTo>
                    <a:lnTo>
                      <a:pt x="1053" y="35"/>
                    </a:lnTo>
                    <a:lnTo>
                      <a:pt x="1051" y="35"/>
                    </a:lnTo>
                    <a:lnTo>
                      <a:pt x="1049" y="35"/>
                    </a:lnTo>
                    <a:lnTo>
                      <a:pt x="1049" y="35"/>
                    </a:lnTo>
                    <a:lnTo>
                      <a:pt x="1047" y="35"/>
                    </a:lnTo>
                    <a:lnTo>
                      <a:pt x="1041" y="37"/>
                    </a:lnTo>
                    <a:lnTo>
                      <a:pt x="1039" y="39"/>
                    </a:lnTo>
                    <a:lnTo>
                      <a:pt x="1035" y="39"/>
                    </a:lnTo>
                    <a:lnTo>
                      <a:pt x="1032" y="37"/>
                    </a:lnTo>
                    <a:lnTo>
                      <a:pt x="1026" y="35"/>
                    </a:lnTo>
                    <a:lnTo>
                      <a:pt x="1018" y="31"/>
                    </a:lnTo>
                    <a:lnTo>
                      <a:pt x="1012" y="29"/>
                    </a:lnTo>
                    <a:lnTo>
                      <a:pt x="1008" y="27"/>
                    </a:lnTo>
                    <a:lnTo>
                      <a:pt x="1006" y="25"/>
                    </a:lnTo>
                    <a:lnTo>
                      <a:pt x="1004" y="25"/>
                    </a:lnTo>
                    <a:lnTo>
                      <a:pt x="1004" y="25"/>
                    </a:lnTo>
                    <a:lnTo>
                      <a:pt x="1004" y="25"/>
                    </a:lnTo>
                    <a:lnTo>
                      <a:pt x="1004" y="25"/>
                    </a:lnTo>
                    <a:lnTo>
                      <a:pt x="996" y="17"/>
                    </a:lnTo>
                    <a:lnTo>
                      <a:pt x="992" y="15"/>
                    </a:lnTo>
                    <a:lnTo>
                      <a:pt x="985" y="13"/>
                    </a:lnTo>
                    <a:lnTo>
                      <a:pt x="985" y="13"/>
                    </a:lnTo>
                    <a:lnTo>
                      <a:pt x="977" y="10"/>
                    </a:lnTo>
                    <a:lnTo>
                      <a:pt x="973" y="8"/>
                    </a:lnTo>
                    <a:lnTo>
                      <a:pt x="965" y="8"/>
                    </a:lnTo>
                    <a:lnTo>
                      <a:pt x="965" y="8"/>
                    </a:lnTo>
                    <a:lnTo>
                      <a:pt x="963" y="6"/>
                    </a:lnTo>
                    <a:lnTo>
                      <a:pt x="963" y="6"/>
                    </a:lnTo>
                    <a:lnTo>
                      <a:pt x="963" y="6"/>
                    </a:lnTo>
                    <a:lnTo>
                      <a:pt x="961" y="6"/>
                    </a:lnTo>
                    <a:lnTo>
                      <a:pt x="961" y="6"/>
                    </a:lnTo>
                    <a:lnTo>
                      <a:pt x="961" y="6"/>
                    </a:lnTo>
                    <a:lnTo>
                      <a:pt x="961" y="10"/>
                    </a:lnTo>
                    <a:lnTo>
                      <a:pt x="959" y="11"/>
                    </a:lnTo>
                    <a:lnTo>
                      <a:pt x="957" y="13"/>
                    </a:lnTo>
                    <a:lnTo>
                      <a:pt x="957" y="13"/>
                    </a:lnTo>
                    <a:lnTo>
                      <a:pt x="957" y="13"/>
                    </a:lnTo>
                    <a:lnTo>
                      <a:pt x="944" y="17"/>
                    </a:lnTo>
                    <a:lnTo>
                      <a:pt x="940" y="17"/>
                    </a:lnTo>
                    <a:lnTo>
                      <a:pt x="942" y="15"/>
                    </a:lnTo>
                    <a:lnTo>
                      <a:pt x="942" y="13"/>
                    </a:lnTo>
                    <a:lnTo>
                      <a:pt x="942" y="11"/>
                    </a:lnTo>
                    <a:lnTo>
                      <a:pt x="942" y="11"/>
                    </a:lnTo>
                    <a:lnTo>
                      <a:pt x="942" y="8"/>
                    </a:lnTo>
                    <a:lnTo>
                      <a:pt x="940" y="6"/>
                    </a:lnTo>
                    <a:lnTo>
                      <a:pt x="940" y="4"/>
                    </a:lnTo>
                    <a:lnTo>
                      <a:pt x="928" y="2"/>
                    </a:lnTo>
                    <a:lnTo>
                      <a:pt x="926" y="2"/>
                    </a:lnTo>
                    <a:lnTo>
                      <a:pt x="926" y="2"/>
                    </a:lnTo>
                    <a:lnTo>
                      <a:pt x="926" y="2"/>
                    </a:lnTo>
                    <a:lnTo>
                      <a:pt x="926" y="2"/>
                    </a:lnTo>
                    <a:lnTo>
                      <a:pt x="918" y="0"/>
                    </a:lnTo>
                    <a:lnTo>
                      <a:pt x="914" y="0"/>
                    </a:lnTo>
                    <a:lnTo>
                      <a:pt x="914" y="0"/>
                    </a:lnTo>
                    <a:lnTo>
                      <a:pt x="912" y="0"/>
                    </a:lnTo>
                    <a:lnTo>
                      <a:pt x="912" y="2"/>
                    </a:lnTo>
                    <a:lnTo>
                      <a:pt x="912" y="2"/>
                    </a:lnTo>
                    <a:lnTo>
                      <a:pt x="912" y="4"/>
                    </a:lnTo>
                    <a:lnTo>
                      <a:pt x="912" y="6"/>
                    </a:lnTo>
                    <a:lnTo>
                      <a:pt x="910" y="10"/>
                    </a:lnTo>
                    <a:lnTo>
                      <a:pt x="910" y="15"/>
                    </a:lnTo>
                    <a:lnTo>
                      <a:pt x="910" y="21"/>
                    </a:lnTo>
                    <a:lnTo>
                      <a:pt x="912" y="23"/>
                    </a:lnTo>
                    <a:lnTo>
                      <a:pt x="912" y="31"/>
                    </a:lnTo>
                    <a:lnTo>
                      <a:pt x="908" y="47"/>
                    </a:lnTo>
                    <a:lnTo>
                      <a:pt x="906" y="51"/>
                    </a:lnTo>
                    <a:lnTo>
                      <a:pt x="906" y="51"/>
                    </a:lnTo>
                    <a:lnTo>
                      <a:pt x="906" y="52"/>
                    </a:lnTo>
                    <a:lnTo>
                      <a:pt x="906" y="52"/>
                    </a:lnTo>
                    <a:lnTo>
                      <a:pt x="908" y="56"/>
                    </a:lnTo>
                    <a:lnTo>
                      <a:pt x="908" y="56"/>
                    </a:lnTo>
                    <a:lnTo>
                      <a:pt x="908" y="58"/>
                    </a:lnTo>
                    <a:lnTo>
                      <a:pt x="908" y="58"/>
                    </a:lnTo>
                    <a:lnTo>
                      <a:pt x="906" y="62"/>
                    </a:lnTo>
                    <a:lnTo>
                      <a:pt x="905" y="62"/>
                    </a:lnTo>
                    <a:lnTo>
                      <a:pt x="903" y="62"/>
                    </a:lnTo>
                    <a:lnTo>
                      <a:pt x="903" y="62"/>
                    </a:lnTo>
                    <a:lnTo>
                      <a:pt x="903" y="62"/>
                    </a:lnTo>
                    <a:lnTo>
                      <a:pt x="903" y="62"/>
                    </a:lnTo>
                    <a:lnTo>
                      <a:pt x="895" y="58"/>
                    </a:lnTo>
                    <a:lnTo>
                      <a:pt x="889" y="58"/>
                    </a:lnTo>
                    <a:lnTo>
                      <a:pt x="887" y="58"/>
                    </a:lnTo>
                    <a:lnTo>
                      <a:pt x="885" y="58"/>
                    </a:lnTo>
                    <a:lnTo>
                      <a:pt x="883" y="58"/>
                    </a:lnTo>
                    <a:lnTo>
                      <a:pt x="883" y="60"/>
                    </a:lnTo>
                    <a:lnTo>
                      <a:pt x="883" y="60"/>
                    </a:lnTo>
                    <a:lnTo>
                      <a:pt x="881" y="64"/>
                    </a:lnTo>
                    <a:lnTo>
                      <a:pt x="881" y="64"/>
                    </a:lnTo>
                    <a:lnTo>
                      <a:pt x="881" y="64"/>
                    </a:lnTo>
                    <a:lnTo>
                      <a:pt x="881" y="64"/>
                    </a:lnTo>
                    <a:lnTo>
                      <a:pt x="881" y="66"/>
                    </a:lnTo>
                    <a:lnTo>
                      <a:pt x="879" y="72"/>
                    </a:lnTo>
                    <a:lnTo>
                      <a:pt x="879" y="72"/>
                    </a:lnTo>
                    <a:lnTo>
                      <a:pt x="873" y="78"/>
                    </a:lnTo>
                    <a:lnTo>
                      <a:pt x="871" y="80"/>
                    </a:lnTo>
                    <a:lnTo>
                      <a:pt x="867" y="84"/>
                    </a:lnTo>
                    <a:lnTo>
                      <a:pt x="867" y="88"/>
                    </a:lnTo>
                    <a:lnTo>
                      <a:pt x="867" y="92"/>
                    </a:lnTo>
                    <a:lnTo>
                      <a:pt x="867" y="99"/>
                    </a:lnTo>
                    <a:lnTo>
                      <a:pt x="867" y="99"/>
                    </a:lnTo>
                    <a:lnTo>
                      <a:pt x="867" y="99"/>
                    </a:lnTo>
                    <a:lnTo>
                      <a:pt x="865" y="105"/>
                    </a:lnTo>
                    <a:lnTo>
                      <a:pt x="865" y="105"/>
                    </a:lnTo>
                    <a:lnTo>
                      <a:pt x="865" y="105"/>
                    </a:lnTo>
                    <a:lnTo>
                      <a:pt x="865" y="107"/>
                    </a:lnTo>
                    <a:lnTo>
                      <a:pt x="865" y="107"/>
                    </a:lnTo>
                    <a:lnTo>
                      <a:pt x="865" y="107"/>
                    </a:lnTo>
                    <a:lnTo>
                      <a:pt x="865" y="107"/>
                    </a:lnTo>
                    <a:lnTo>
                      <a:pt x="865" y="107"/>
                    </a:lnTo>
                    <a:lnTo>
                      <a:pt x="864" y="109"/>
                    </a:lnTo>
                    <a:lnTo>
                      <a:pt x="862" y="109"/>
                    </a:lnTo>
                    <a:lnTo>
                      <a:pt x="860" y="109"/>
                    </a:lnTo>
                    <a:lnTo>
                      <a:pt x="860" y="109"/>
                    </a:lnTo>
                    <a:lnTo>
                      <a:pt x="858" y="107"/>
                    </a:lnTo>
                    <a:lnTo>
                      <a:pt x="858" y="105"/>
                    </a:lnTo>
                    <a:lnTo>
                      <a:pt x="856" y="103"/>
                    </a:lnTo>
                    <a:lnTo>
                      <a:pt x="856" y="103"/>
                    </a:lnTo>
                    <a:lnTo>
                      <a:pt x="854" y="103"/>
                    </a:lnTo>
                    <a:lnTo>
                      <a:pt x="852" y="103"/>
                    </a:lnTo>
                    <a:lnTo>
                      <a:pt x="852" y="103"/>
                    </a:lnTo>
                    <a:lnTo>
                      <a:pt x="850" y="103"/>
                    </a:lnTo>
                    <a:lnTo>
                      <a:pt x="850" y="103"/>
                    </a:lnTo>
                    <a:lnTo>
                      <a:pt x="850" y="103"/>
                    </a:lnTo>
                    <a:lnTo>
                      <a:pt x="850" y="101"/>
                    </a:lnTo>
                    <a:lnTo>
                      <a:pt x="850" y="99"/>
                    </a:lnTo>
                    <a:lnTo>
                      <a:pt x="850" y="99"/>
                    </a:lnTo>
                    <a:lnTo>
                      <a:pt x="850" y="97"/>
                    </a:lnTo>
                    <a:lnTo>
                      <a:pt x="848" y="97"/>
                    </a:lnTo>
                    <a:lnTo>
                      <a:pt x="846" y="97"/>
                    </a:lnTo>
                    <a:lnTo>
                      <a:pt x="842" y="99"/>
                    </a:lnTo>
                    <a:lnTo>
                      <a:pt x="842" y="101"/>
                    </a:lnTo>
                    <a:lnTo>
                      <a:pt x="840" y="101"/>
                    </a:lnTo>
                    <a:lnTo>
                      <a:pt x="838" y="101"/>
                    </a:lnTo>
                    <a:lnTo>
                      <a:pt x="838" y="101"/>
                    </a:lnTo>
                    <a:lnTo>
                      <a:pt x="836" y="101"/>
                    </a:lnTo>
                    <a:lnTo>
                      <a:pt x="830" y="97"/>
                    </a:lnTo>
                    <a:lnTo>
                      <a:pt x="828" y="95"/>
                    </a:lnTo>
                    <a:lnTo>
                      <a:pt x="826" y="92"/>
                    </a:lnTo>
                    <a:lnTo>
                      <a:pt x="826" y="93"/>
                    </a:lnTo>
                    <a:lnTo>
                      <a:pt x="824" y="93"/>
                    </a:lnTo>
                    <a:lnTo>
                      <a:pt x="821" y="103"/>
                    </a:lnTo>
                    <a:lnTo>
                      <a:pt x="819" y="105"/>
                    </a:lnTo>
                    <a:lnTo>
                      <a:pt x="817" y="107"/>
                    </a:lnTo>
                    <a:lnTo>
                      <a:pt x="809" y="111"/>
                    </a:lnTo>
                    <a:lnTo>
                      <a:pt x="805" y="113"/>
                    </a:lnTo>
                    <a:lnTo>
                      <a:pt x="805" y="113"/>
                    </a:lnTo>
                    <a:lnTo>
                      <a:pt x="805" y="113"/>
                    </a:lnTo>
                    <a:lnTo>
                      <a:pt x="803" y="113"/>
                    </a:lnTo>
                    <a:lnTo>
                      <a:pt x="785" y="107"/>
                    </a:lnTo>
                    <a:lnTo>
                      <a:pt x="762" y="105"/>
                    </a:lnTo>
                    <a:lnTo>
                      <a:pt x="762" y="105"/>
                    </a:lnTo>
                    <a:lnTo>
                      <a:pt x="762" y="105"/>
                    </a:lnTo>
                    <a:lnTo>
                      <a:pt x="760" y="105"/>
                    </a:lnTo>
                    <a:lnTo>
                      <a:pt x="756" y="103"/>
                    </a:lnTo>
                    <a:lnTo>
                      <a:pt x="754" y="101"/>
                    </a:lnTo>
                    <a:lnTo>
                      <a:pt x="752" y="97"/>
                    </a:lnTo>
                    <a:lnTo>
                      <a:pt x="752" y="97"/>
                    </a:lnTo>
                    <a:lnTo>
                      <a:pt x="752" y="97"/>
                    </a:lnTo>
                    <a:lnTo>
                      <a:pt x="752" y="97"/>
                    </a:lnTo>
                    <a:lnTo>
                      <a:pt x="752" y="97"/>
                    </a:lnTo>
                    <a:lnTo>
                      <a:pt x="750" y="93"/>
                    </a:lnTo>
                    <a:lnTo>
                      <a:pt x="750" y="93"/>
                    </a:lnTo>
                    <a:lnTo>
                      <a:pt x="750" y="93"/>
                    </a:lnTo>
                    <a:lnTo>
                      <a:pt x="750" y="93"/>
                    </a:lnTo>
                    <a:lnTo>
                      <a:pt x="750" y="92"/>
                    </a:lnTo>
                    <a:lnTo>
                      <a:pt x="752" y="92"/>
                    </a:lnTo>
                    <a:lnTo>
                      <a:pt x="752" y="90"/>
                    </a:lnTo>
                    <a:lnTo>
                      <a:pt x="752" y="90"/>
                    </a:lnTo>
                    <a:lnTo>
                      <a:pt x="752" y="90"/>
                    </a:lnTo>
                    <a:lnTo>
                      <a:pt x="752" y="90"/>
                    </a:lnTo>
                    <a:lnTo>
                      <a:pt x="752" y="90"/>
                    </a:lnTo>
                    <a:lnTo>
                      <a:pt x="754" y="90"/>
                    </a:lnTo>
                    <a:lnTo>
                      <a:pt x="754" y="90"/>
                    </a:lnTo>
                    <a:lnTo>
                      <a:pt x="754" y="90"/>
                    </a:lnTo>
                    <a:lnTo>
                      <a:pt x="754" y="90"/>
                    </a:lnTo>
                    <a:lnTo>
                      <a:pt x="754" y="90"/>
                    </a:lnTo>
                    <a:lnTo>
                      <a:pt x="756" y="88"/>
                    </a:lnTo>
                    <a:lnTo>
                      <a:pt x="756" y="88"/>
                    </a:lnTo>
                    <a:lnTo>
                      <a:pt x="754" y="86"/>
                    </a:lnTo>
                    <a:lnTo>
                      <a:pt x="754" y="86"/>
                    </a:lnTo>
                    <a:lnTo>
                      <a:pt x="754" y="86"/>
                    </a:lnTo>
                    <a:lnTo>
                      <a:pt x="754" y="86"/>
                    </a:lnTo>
                    <a:lnTo>
                      <a:pt x="752" y="86"/>
                    </a:lnTo>
                    <a:lnTo>
                      <a:pt x="752" y="84"/>
                    </a:lnTo>
                    <a:lnTo>
                      <a:pt x="752" y="84"/>
                    </a:lnTo>
                    <a:lnTo>
                      <a:pt x="752" y="84"/>
                    </a:lnTo>
                    <a:lnTo>
                      <a:pt x="752" y="84"/>
                    </a:lnTo>
                    <a:lnTo>
                      <a:pt x="752" y="84"/>
                    </a:lnTo>
                    <a:lnTo>
                      <a:pt x="750" y="82"/>
                    </a:lnTo>
                    <a:lnTo>
                      <a:pt x="748" y="78"/>
                    </a:lnTo>
                    <a:lnTo>
                      <a:pt x="746" y="76"/>
                    </a:lnTo>
                    <a:lnTo>
                      <a:pt x="742" y="74"/>
                    </a:lnTo>
                    <a:lnTo>
                      <a:pt x="735" y="70"/>
                    </a:lnTo>
                    <a:lnTo>
                      <a:pt x="735" y="68"/>
                    </a:lnTo>
                    <a:lnTo>
                      <a:pt x="733" y="66"/>
                    </a:lnTo>
                    <a:lnTo>
                      <a:pt x="729" y="64"/>
                    </a:lnTo>
                    <a:lnTo>
                      <a:pt x="729" y="64"/>
                    </a:lnTo>
                    <a:lnTo>
                      <a:pt x="729" y="64"/>
                    </a:lnTo>
                    <a:lnTo>
                      <a:pt x="725" y="62"/>
                    </a:lnTo>
                    <a:lnTo>
                      <a:pt x="721" y="62"/>
                    </a:lnTo>
                    <a:lnTo>
                      <a:pt x="719" y="60"/>
                    </a:lnTo>
                    <a:lnTo>
                      <a:pt x="719" y="60"/>
                    </a:lnTo>
                    <a:lnTo>
                      <a:pt x="713" y="72"/>
                    </a:lnTo>
                    <a:lnTo>
                      <a:pt x="713" y="74"/>
                    </a:lnTo>
                    <a:lnTo>
                      <a:pt x="715" y="74"/>
                    </a:lnTo>
                    <a:lnTo>
                      <a:pt x="715" y="78"/>
                    </a:lnTo>
                    <a:lnTo>
                      <a:pt x="717" y="78"/>
                    </a:lnTo>
                    <a:lnTo>
                      <a:pt x="719" y="80"/>
                    </a:lnTo>
                    <a:lnTo>
                      <a:pt x="717" y="82"/>
                    </a:lnTo>
                    <a:lnTo>
                      <a:pt x="717" y="84"/>
                    </a:lnTo>
                    <a:lnTo>
                      <a:pt x="717" y="92"/>
                    </a:lnTo>
                    <a:lnTo>
                      <a:pt x="717" y="97"/>
                    </a:lnTo>
                    <a:lnTo>
                      <a:pt x="717" y="99"/>
                    </a:lnTo>
                    <a:lnTo>
                      <a:pt x="715" y="103"/>
                    </a:lnTo>
                    <a:lnTo>
                      <a:pt x="713" y="109"/>
                    </a:lnTo>
                    <a:lnTo>
                      <a:pt x="711" y="111"/>
                    </a:lnTo>
                    <a:lnTo>
                      <a:pt x="711" y="113"/>
                    </a:lnTo>
                    <a:lnTo>
                      <a:pt x="709" y="113"/>
                    </a:lnTo>
                    <a:lnTo>
                      <a:pt x="705" y="113"/>
                    </a:lnTo>
                    <a:lnTo>
                      <a:pt x="705" y="113"/>
                    </a:lnTo>
                    <a:lnTo>
                      <a:pt x="703" y="117"/>
                    </a:lnTo>
                    <a:lnTo>
                      <a:pt x="701" y="123"/>
                    </a:lnTo>
                    <a:lnTo>
                      <a:pt x="701" y="123"/>
                    </a:lnTo>
                    <a:lnTo>
                      <a:pt x="696" y="119"/>
                    </a:lnTo>
                    <a:lnTo>
                      <a:pt x="692" y="115"/>
                    </a:lnTo>
                    <a:lnTo>
                      <a:pt x="690" y="113"/>
                    </a:lnTo>
                    <a:lnTo>
                      <a:pt x="686" y="111"/>
                    </a:lnTo>
                    <a:lnTo>
                      <a:pt x="670" y="107"/>
                    </a:lnTo>
                    <a:lnTo>
                      <a:pt x="664" y="107"/>
                    </a:lnTo>
                    <a:lnTo>
                      <a:pt x="658" y="109"/>
                    </a:lnTo>
                    <a:lnTo>
                      <a:pt x="656" y="111"/>
                    </a:lnTo>
                    <a:lnTo>
                      <a:pt x="656" y="113"/>
                    </a:lnTo>
                    <a:lnTo>
                      <a:pt x="656" y="113"/>
                    </a:lnTo>
                    <a:lnTo>
                      <a:pt x="656" y="115"/>
                    </a:lnTo>
                    <a:lnTo>
                      <a:pt x="656" y="119"/>
                    </a:lnTo>
                    <a:lnTo>
                      <a:pt x="658" y="123"/>
                    </a:lnTo>
                    <a:lnTo>
                      <a:pt x="658" y="125"/>
                    </a:lnTo>
                    <a:lnTo>
                      <a:pt x="658" y="127"/>
                    </a:lnTo>
                    <a:lnTo>
                      <a:pt x="656" y="131"/>
                    </a:lnTo>
                    <a:lnTo>
                      <a:pt x="656" y="134"/>
                    </a:lnTo>
                    <a:lnTo>
                      <a:pt x="654" y="136"/>
                    </a:lnTo>
                    <a:lnTo>
                      <a:pt x="656" y="142"/>
                    </a:lnTo>
                    <a:lnTo>
                      <a:pt x="654" y="146"/>
                    </a:lnTo>
                    <a:lnTo>
                      <a:pt x="654" y="148"/>
                    </a:lnTo>
                    <a:lnTo>
                      <a:pt x="654" y="148"/>
                    </a:lnTo>
                    <a:lnTo>
                      <a:pt x="653" y="150"/>
                    </a:lnTo>
                    <a:lnTo>
                      <a:pt x="653" y="156"/>
                    </a:lnTo>
                    <a:lnTo>
                      <a:pt x="651" y="160"/>
                    </a:lnTo>
                    <a:lnTo>
                      <a:pt x="633" y="174"/>
                    </a:lnTo>
                    <a:lnTo>
                      <a:pt x="629" y="177"/>
                    </a:lnTo>
                    <a:lnTo>
                      <a:pt x="606" y="181"/>
                    </a:lnTo>
                    <a:lnTo>
                      <a:pt x="588" y="187"/>
                    </a:lnTo>
                    <a:lnTo>
                      <a:pt x="584" y="189"/>
                    </a:lnTo>
                    <a:lnTo>
                      <a:pt x="578" y="195"/>
                    </a:lnTo>
                    <a:lnTo>
                      <a:pt x="572" y="199"/>
                    </a:lnTo>
                    <a:lnTo>
                      <a:pt x="570" y="201"/>
                    </a:lnTo>
                    <a:lnTo>
                      <a:pt x="570" y="201"/>
                    </a:lnTo>
                    <a:lnTo>
                      <a:pt x="563" y="203"/>
                    </a:lnTo>
                    <a:lnTo>
                      <a:pt x="559" y="205"/>
                    </a:lnTo>
                    <a:lnTo>
                      <a:pt x="557" y="207"/>
                    </a:lnTo>
                    <a:lnTo>
                      <a:pt x="555" y="211"/>
                    </a:lnTo>
                    <a:lnTo>
                      <a:pt x="553" y="213"/>
                    </a:lnTo>
                    <a:lnTo>
                      <a:pt x="545" y="218"/>
                    </a:lnTo>
                    <a:lnTo>
                      <a:pt x="545" y="218"/>
                    </a:lnTo>
                    <a:lnTo>
                      <a:pt x="543" y="222"/>
                    </a:lnTo>
                    <a:lnTo>
                      <a:pt x="541" y="222"/>
                    </a:lnTo>
                    <a:lnTo>
                      <a:pt x="541" y="222"/>
                    </a:lnTo>
                    <a:lnTo>
                      <a:pt x="539" y="224"/>
                    </a:lnTo>
                    <a:lnTo>
                      <a:pt x="539" y="224"/>
                    </a:lnTo>
                    <a:lnTo>
                      <a:pt x="537" y="228"/>
                    </a:lnTo>
                    <a:lnTo>
                      <a:pt x="539" y="232"/>
                    </a:lnTo>
                    <a:lnTo>
                      <a:pt x="541" y="234"/>
                    </a:lnTo>
                    <a:lnTo>
                      <a:pt x="541" y="238"/>
                    </a:lnTo>
                    <a:lnTo>
                      <a:pt x="555" y="250"/>
                    </a:lnTo>
                    <a:lnTo>
                      <a:pt x="557" y="256"/>
                    </a:lnTo>
                    <a:lnTo>
                      <a:pt x="557" y="257"/>
                    </a:lnTo>
                    <a:lnTo>
                      <a:pt x="557" y="257"/>
                    </a:lnTo>
                    <a:lnTo>
                      <a:pt x="559" y="261"/>
                    </a:lnTo>
                    <a:lnTo>
                      <a:pt x="559" y="263"/>
                    </a:lnTo>
                    <a:lnTo>
                      <a:pt x="563" y="265"/>
                    </a:lnTo>
                    <a:lnTo>
                      <a:pt x="567" y="269"/>
                    </a:lnTo>
                    <a:lnTo>
                      <a:pt x="569" y="269"/>
                    </a:lnTo>
                    <a:lnTo>
                      <a:pt x="570" y="273"/>
                    </a:lnTo>
                    <a:lnTo>
                      <a:pt x="576" y="285"/>
                    </a:lnTo>
                    <a:lnTo>
                      <a:pt x="580" y="291"/>
                    </a:lnTo>
                    <a:lnTo>
                      <a:pt x="580" y="291"/>
                    </a:lnTo>
                    <a:lnTo>
                      <a:pt x="570" y="308"/>
                    </a:lnTo>
                    <a:lnTo>
                      <a:pt x="569" y="310"/>
                    </a:lnTo>
                    <a:lnTo>
                      <a:pt x="569" y="312"/>
                    </a:lnTo>
                    <a:lnTo>
                      <a:pt x="569" y="314"/>
                    </a:lnTo>
                    <a:lnTo>
                      <a:pt x="569" y="316"/>
                    </a:lnTo>
                    <a:lnTo>
                      <a:pt x="567" y="318"/>
                    </a:lnTo>
                    <a:lnTo>
                      <a:pt x="567" y="318"/>
                    </a:lnTo>
                    <a:lnTo>
                      <a:pt x="565" y="322"/>
                    </a:lnTo>
                    <a:lnTo>
                      <a:pt x="567" y="326"/>
                    </a:lnTo>
                    <a:lnTo>
                      <a:pt x="576" y="326"/>
                    </a:lnTo>
                    <a:lnTo>
                      <a:pt x="578" y="326"/>
                    </a:lnTo>
                    <a:lnTo>
                      <a:pt x="582" y="324"/>
                    </a:lnTo>
                    <a:lnTo>
                      <a:pt x="586" y="326"/>
                    </a:lnTo>
                    <a:lnTo>
                      <a:pt x="588" y="326"/>
                    </a:lnTo>
                    <a:lnTo>
                      <a:pt x="590" y="330"/>
                    </a:lnTo>
                    <a:lnTo>
                      <a:pt x="594" y="334"/>
                    </a:lnTo>
                    <a:lnTo>
                      <a:pt x="594" y="338"/>
                    </a:lnTo>
                    <a:lnTo>
                      <a:pt x="594" y="341"/>
                    </a:lnTo>
                    <a:lnTo>
                      <a:pt x="594" y="343"/>
                    </a:lnTo>
                    <a:lnTo>
                      <a:pt x="594" y="347"/>
                    </a:lnTo>
                    <a:lnTo>
                      <a:pt x="594" y="347"/>
                    </a:lnTo>
                    <a:lnTo>
                      <a:pt x="592" y="353"/>
                    </a:lnTo>
                    <a:lnTo>
                      <a:pt x="592" y="353"/>
                    </a:lnTo>
                    <a:lnTo>
                      <a:pt x="590" y="357"/>
                    </a:lnTo>
                    <a:lnTo>
                      <a:pt x="588" y="357"/>
                    </a:lnTo>
                    <a:lnTo>
                      <a:pt x="588" y="363"/>
                    </a:lnTo>
                    <a:lnTo>
                      <a:pt x="590" y="363"/>
                    </a:lnTo>
                    <a:lnTo>
                      <a:pt x="588" y="363"/>
                    </a:lnTo>
                    <a:lnTo>
                      <a:pt x="588" y="367"/>
                    </a:lnTo>
                    <a:lnTo>
                      <a:pt x="586" y="367"/>
                    </a:lnTo>
                    <a:lnTo>
                      <a:pt x="586" y="371"/>
                    </a:lnTo>
                    <a:lnTo>
                      <a:pt x="586" y="373"/>
                    </a:lnTo>
                    <a:lnTo>
                      <a:pt x="588" y="375"/>
                    </a:lnTo>
                    <a:lnTo>
                      <a:pt x="588" y="377"/>
                    </a:lnTo>
                    <a:lnTo>
                      <a:pt x="588" y="377"/>
                    </a:lnTo>
                    <a:lnTo>
                      <a:pt x="588" y="379"/>
                    </a:lnTo>
                    <a:lnTo>
                      <a:pt x="584" y="384"/>
                    </a:lnTo>
                    <a:lnTo>
                      <a:pt x="582" y="386"/>
                    </a:lnTo>
                    <a:lnTo>
                      <a:pt x="580" y="386"/>
                    </a:lnTo>
                    <a:lnTo>
                      <a:pt x="580" y="384"/>
                    </a:lnTo>
                    <a:lnTo>
                      <a:pt x="578" y="384"/>
                    </a:lnTo>
                    <a:lnTo>
                      <a:pt x="576" y="384"/>
                    </a:lnTo>
                    <a:lnTo>
                      <a:pt x="576" y="384"/>
                    </a:lnTo>
                    <a:lnTo>
                      <a:pt x="574" y="384"/>
                    </a:lnTo>
                    <a:lnTo>
                      <a:pt x="572" y="384"/>
                    </a:lnTo>
                    <a:lnTo>
                      <a:pt x="570" y="384"/>
                    </a:lnTo>
                    <a:lnTo>
                      <a:pt x="563" y="379"/>
                    </a:lnTo>
                    <a:lnTo>
                      <a:pt x="555" y="369"/>
                    </a:lnTo>
                    <a:lnTo>
                      <a:pt x="553" y="369"/>
                    </a:lnTo>
                    <a:lnTo>
                      <a:pt x="551" y="367"/>
                    </a:lnTo>
                    <a:lnTo>
                      <a:pt x="549" y="367"/>
                    </a:lnTo>
                    <a:lnTo>
                      <a:pt x="545" y="363"/>
                    </a:lnTo>
                    <a:lnTo>
                      <a:pt x="545" y="357"/>
                    </a:lnTo>
                    <a:lnTo>
                      <a:pt x="547" y="351"/>
                    </a:lnTo>
                    <a:lnTo>
                      <a:pt x="551" y="349"/>
                    </a:lnTo>
                    <a:lnTo>
                      <a:pt x="547" y="347"/>
                    </a:lnTo>
                    <a:lnTo>
                      <a:pt x="543" y="343"/>
                    </a:lnTo>
                    <a:lnTo>
                      <a:pt x="541" y="341"/>
                    </a:lnTo>
                    <a:lnTo>
                      <a:pt x="543" y="336"/>
                    </a:lnTo>
                    <a:lnTo>
                      <a:pt x="539" y="338"/>
                    </a:lnTo>
                    <a:lnTo>
                      <a:pt x="529" y="334"/>
                    </a:lnTo>
                    <a:lnTo>
                      <a:pt x="524" y="334"/>
                    </a:lnTo>
                    <a:lnTo>
                      <a:pt x="518" y="336"/>
                    </a:lnTo>
                    <a:lnTo>
                      <a:pt x="516" y="338"/>
                    </a:lnTo>
                    <a:lnTo>
                      <a:pt x="510" y="343"/>
                    </a:lnTo>
                    <a:lnTo>
                      <a:pt x="508" y="343"/>
                    </a:lnTo>
                    <a:lnTo>
                      <a:pt x="504" y="345"/>
                    </a:lnTo>
                    <a:lnTo>
                      <a:pt x="502" y="345"/>
                    </a:lnTo>
                    <a:lnTo>
                      <a:pt x="498" y="345"/>
                    </a:lnTo>
                    <a:lnTo>
                      <a:pt x="496" y="345"/>
                    </a:lnTo>
                    <a:lnTo>
                      <a:pt x="490" y="339"/>
                    </a:lnTo>
                    <a:lnTo>
                      <a:pt x="488" y="339"/>
                    </a:lnTo>
                    <a:lnTo>
                      <a:pt x="488" y="338"/>
                    </a:lnTo>
                    <a:lnTo>
                      <a:pt x="486" y="332"/>
                    </a:lnTo>
                    <a:lnTo>
                      <a:pt x="486" y="330"/>
                    </a:lnTo>
                    <a:lnTo>
                      <a:pt x="483" y="330"/>
                    </a:lnTo>
                    <a:lnTo>
                      <a:pt x="477" y="332"/>
                    </a:lnTo>
                    <a:lnTo>
                      <a:pt x="473" y="332"/>
                    </a:lnTo>
                    <a:lnTo>
                      <a:pt x="463" y="330"/>
                    </a:lnTo>
                    <a:lnTo>
                      <a:pt x="461" y="332"/>
                    </a:lnTo>
                    <a:lnTo>
                      <a:pt x="457" y="334"/>
                    </a:lnTo>
                    <a:lnTo>
                      <a:pt x="455" y="334"/>
                    </a:lnTo>
                    <a:lnTo>
                      <a:pt x="453" y="332"/>
                    </a:lnTo>
                    <a:lnTo>
                      <a:pt x="451" y="330"/>
                    </a:lnTo>
                    <a:lnTo>
                      <a:pt x="453" y="328"/>
                    </a:lnTo>
                    <a:lnTo>
                      <a:pt x="453" y="326"/>
                    </a:lnTo>
                    <a:lnTo>
                      <a:pt x="455" y="324"/>
                    </a:lnTo>
                    <a:lnTo>
                      <a:pt x="455" y="322"/>
                    </a:lnTo>
                    <a:lnTo>
                      <a:pt x="455" y="320"/>
                    </a:lnTo>
                    <a:lnTo>
                      <a:pt x="455" y="320"/>
                    </a:lnTo>
                    <a:lnTo>
                      <a:pt x="453" y="322"/>
                    </a:lnTo>
                    <a:lnTo>
                      <a:pt x="451" y="322"/>
                    </a:lnTo>
                    <a:lnTo>
                      <a:pt x="447" y="326"/>
                    </a:lnTo>
                    <a:lnTo>
                      <a:pt x="445" y="326"/>
                    </a:lnTo>
                    <a:lnTo>
                      <a:pt x="445" y="328"/>
                    </a:lnTo>
                    <a:lnTo>
                      <a:pt x="445" y="330"/>
                    </a:lnTo>
                    <a:lnTo>
                      <a:pt x="447" y="332"/>
                    </a:lnTo>
                    <a:lnTo>
                      <a:pt x="447" y="334"/>
                    </a:lnTo>
                    <a:lnTo>
                      <a:pt x="449" y="334"/>
                    </a:lnTo>
                    <a:lnTo>
                      <a:pt x="449" y="336"/>
                    </a:lnTo>
                    <a:lnTo>
                      <a:pt x="449" y="341"/>
                    </a:lnTo>
                    <a:lnTo>
                      <a:pt x="449" y="343"/>
                    </a:lnTo>
                    <a:lnTo>
                      <a:pt x="449" y="345"/>
                    </a:lnTo>
                    <a:lnTo>
                      <a:pt x="443" y="351"/>
                    </a:lnTo>
                    <a:lnTo>
                      <a:pt x="443" y="351"/>
                    </a:lnTo>
                    <a:lnTo>
                      <a:pt x="404" y="349"/>
                    </a:lnTo>
                    <a:lnTo>
                      <a:pt x="391" y="353"/>
                    </a:lnTo>
                    <a:lnTo>
                      <a:pt x="389" y="353"/>
                    </a:lnTo>
                    <a:lnTo>
                      <a:pt x="387" y="359"/>
                    </a:lnTo>
                    <a:lnTo>
                      <a:pt x="385" y="359"/>
                    </a:lnTo>
                    <a:lnTo>
                      <a:pt x="375" y="357"/>
                    </a:lnTo>
                    <a:lnTo>
                      <a:pt x="361" y="357"/>
                    </a:lnTo>
                    <a:lnTo>
                      <a:pt x="354" y="355"/>
                    </a:lnTo>
                    <a:lnTo>
                      <a:pt x="352" y="355"/>
                    </a:lnTo>
                    <a:lnTo>
                      <a:pt x="352" y="355"/>
                    </a:lnTo>
                    <a:lnTo>
                      <a:pt x="346" y="361"/>
                    </a:lnTo>
                    <a:lnTo>
                      <a:pt x="346" y="363"/>
                    </a:lnTo>
                    <a:lnTo>
                      <a:pt x="344" y="369"/>
                    </a:lnTo>
                    <a:lnTo>
                      <a:pt x="342" y="371"/>
                    </a:lnTo>
                    <a:lnTo>
                      <a:pt x="340" y="375"/>
                    </a:lnTo>
                    <a:lnTo>
                      <a:pt x="336" y="375"/>
                    </a:lnTo>
                    <a:lnTo>
                      <a:pt x="328" y="377"/>
                    </a:lnTo>
                    <a:lnTo>
                      <a:pt x="324" y="377"/>
                    </a:lnTo>
                    <a:lnTo>
                      <a:pt x="320" y="375"/>
                    </a:lnTo>
                    <a:lnTo>
                      <a:pt x="317" y="377"/>
                    </a:lnTo>
                    <a:lnTo>
                      <a:pt x="309" y="384"/>
                    </a:lnTo>
                    <a:lnTo>
                      <a:pt x="311" y="386"/>
                    </a:lnTo>
                    <a:lnTo>
                      <a:pt x="313" y="386"/>
                    </a:lnTo>
                    <a:lnTo>
                      <a:pt x="313" y="388"/>
                    </a:lnTo>
                    <a:lnTo>
                      <a:pt x="313" y="390"/>
                    </a:lnTo>
                    <a:lnTo>
                      <a:pt x="309" y="392"/>
                    </a:lnTo>
                    <a:lnTo>
                      <a:pt x="301" y="392"/>
                    </a:lnTo>
                    <a:lnTo>
                      <a:pt x="299" y="394"/>
                    </a:lnTo>
                    <a:lnTo>
                      <a:pt x="295" y="396"/>
                    </a:lnTo>
                    <a:lnTo>
                      <a:pt x="293" y="400"/>
                    </a:lnTo>
                    <a:lnTo>
                      <a:pt x="291" y="402"/>
                    </a:lnTo>
                    <a:lnTo>
                      <a:pt x="287" y="404"/>
                    </a:lnTo>
                    <a:lnTo>
                      <a:pt x="283" y="404"/>
                    </a:lnTo>
                    <a:lnTo>
                      <a:pt x="283" y="396"/>
                    </a:lnTo>
                    <a:lnTo>
                      <a:pt x="279" y="394"/>
                    </a:lnTo>
                    <a:lnTo>
                      <a:pt x="275" y="396"/>
                    </a:lnTo>
                    <a:lnTo>
                      <a:pt x="266" y="404"/>
                    </a:lnTo>
                    <a:lnTo>
                      <a:pt x="262" y="404"/>
                    </a:lnTo>
                    <a:lnTo>
                      <a:pt x="244" y="404"/>
                    </a:lnTo>
                    <a:lnTo>
                      <a:pt x="242" y="404"/>
                    </a:lnTo>
                    <a:lnTo>
                      <a:pt x="240" y="400"/>
                    </a:lnTo>
                    <a:lnTo>
                      <a:pt x="240" y="400"/>
                    </a:lnTo>
                    <a:lnTo>
                      <a:pt x="240" y="398"/>
                    </a:lnTo>
                    <a:lnTo>
                      <a:pt x="242" y="396"/>
                    </a:lnTo>
                    <a:lnTo>
                      <a:pt x="242" y="396"/>
                    </a:lnTo>
                    <a:lnTo>
                      <a:pt x="240" y="394"/>
                    </a:lnTo>
                    <a:lnTo>
                      <a:pt x="233" y="384"/>
                    </a:lnTo>
                    <a:lnTo>
                      <a:pt x="225" y="380"/>
                    </a:lnTo>
                    <a:lnTo>
                      <a:pt x="223" y="379"/>
                    </a:lnTo>
                    <a:lnTo>
                      <a:pt x="229" y="375"/>
                    </a:lnTo>
                    <a:lnTo>
                      <a:pt x="229" y="375"/>
                    </a:lnTo>
                    <a:lnTo>
                      <a:pt x="227" y="371"/>
                    </a:lnTo>
                    <a:lnTo>
                      <a:pt x="225" y="371"/>
                    </a:lnTo>
                    <a:lnTo>
                      <a:pt x="221" y="371"/>
                    </a:lnTo>
                    <a:lnTo>
                      <a:pt x="219" y="371"/>
                    </a:lnTo>
                    <a:lnTo>
                      <a:pt x="213" y="373"/>
                    </a:lnTo>
                    <a:lnTo>
                      <a:pt x="207" y="375"/>
                    </a:lnTo>
                    <a:lnTo>
                      <a:pt x="205" y="375"/>
                    </a:lnTo>
                    <a:lnTo>
                      <a:pt x="205" y="373"/>
                    </a:lnTo>
                    <a:lnTo>
                      <a:pt x="205" y="371"/>
                    </a:lnTo>
                    <a:lnTo>
                      <a:pt x="203" y="371"/>
                    </a:lnTo>
                    <a:lnTo>
                      <a:pt x="182" y="363"/>
                    </a:lnTo>
                    <a:lnTo>
                      <a:pt x="178" y="363"/>
                    </a:lnTo>
                    <a:lnTo>
                      <a:pt x="176" y="363"/>
                    </a:lnTo>
                    <a:lnTo>
                      <a:pt x="172" y="369"/>
                    </a:lnTo>
                    <a:lnTo>
                      <a:pt x="170" y="371"/>
                    </a:lnTo>
                    <a:lnTo>
                      <a:pt x="168" y="371"/>
                    </a:lnTo>
                    <a:lnTo>
                      <a:pt x="160" y="369"/>
                    </a:lnTo>
                    <a:lnTo>
                      <a:pt x="158" y="369"/>
                    </a:lnTo>
                    <a:lnTo>
                      <a:pt x="156" y="367"/>
                    </a:lnTo>
                    <a:lnTo>
                      <a:pt x="156" y="367"/>
                    </a:lnTo>
                    <a:lnTo>
                      <a:pt x="156" y="363"/>
                    </a:lnTo>
                    <a:lnTo>
                      <a:pt x="156" y="363"/>
                    </a:lnTo>
                    <a:lnTo>
                      <a:pt x="158" y="361"/>
                    </a:lnTo>
                    <a:lnTo>
                      <a:pt x="158" y="361"/>
                    </a:lnTo>
                    <a:lnTo>
                      <a:pt x="156" y="357"/>
                    </a:lnTo>
                    <a:lnTo>
                      <a:pt x="156" y="357"/>
                    </a:lnTo>
                    <a:lnTo>
                      <a:pt x="154" y="357"/>
                    </a:lnTo>
                    <a:lnTo>
                      <a:pt x="152" y="359"/>
                    </a:lnTo>
                    <a:lnTo>
                      <a:pt x="150" y="359"/>
                    </a:lnTo>
                    <a:lnTo>
                      <a:pt x="150" y="361"/>
                    </a:lnTo>
                    <a:lnTo>
                      <a:pt x="150" y="365"/>
                    </a:lnTo>
                    <a:lnTo>
                      <a:pt x="152" y="367"/>
                    </a:lnTo>
                    <a:lnTo>
                      <a:pt x="152" y="369"/>
                    </a:lnTo>
                    <a:lnTo>
                      <a:pt x="150" y="379"/>
                    </a:lnTo>
                    <a:lnTo>
                      <a:pt x="152" y="380"/>
                    </a:lnTo>
                    <a:lnTo>
                      <a:pt x="154" y="382"/>
                    </a:lnTo>
                    <a:lnTo>
                      <a:pt x="154" y="384"/>
                    </a:lnTo>
                    <a:lnTo>
                      <a:pt x="156" y="386"/>
                    </a:lnTo>
                    <a:lnTo>
                      <a:pt x="156" y="392"/>
                    </a:lnTo>
                    <a:lnTo>
                      <a:pt x="154" y="398"/>
                    </a:lnTo>
                    <a:lnTo>
                      <a:pt x="152" y="404"/>
                    </a:lnTo>
                    <a:lnTo>
                      <a:pt x="149" y="406"/>
                    </a:lnTo>
                    <a:lnTo>
                      <a:pt x="149" y="408"/>
                    </a:lnTo>
                    <a:lnTo>
                      <a:pt x="145" y="410"/>
                    </a:lnTo>
                    <a:lnTo>
                      <a:pt x="143" y="410"/>
                    </a:lnTo>
                    <a:lnTo>
                      <a:pt x="141" y="412"/>
                    </a:lnTo>
                    <a:lnTo>
                      <a:pt x="137" y="420"/>
                    </a:lnTo>
                    <a:lnTo>
                      <a:pt x="135" y="423"/>
                    </a:lnTo>
                    <a:lnTo>
                      <a:pt x="131" y="425"/>
                    </a:lnTo>
                    <a:lnTo>
                      <a:pt x="123" y="431"/>
                    </a:lnTo>
                    <a:lnTo>
                      <a:pt x="121" y="431"/>
                    </a:lnTo>
                    <a:lnTo>
                      <a:pt x="109" y="433"/>
                    </a:lnTo>
                    <a:lnTo>
                      <a:pt x="107" y="433"/>
                    </a:lnTo>
                    <a:lnTo>
                      <a:pt x="106" y="433"/>
                    </a:lnTo>
                    <a:lnTo>
                      <a:pt x="107" y="431"/>
                    </a:lnTo>
                    <a:lnTo>
                      <a:pt x="109" y="429"/>
                    </a:lnTo>
                    <a:lnTo>
                      <a:pt x="109" y="429"/>
                    </a:lnTo>
                    <a:lnTo>
                      <a:pt x="111" y="427"/>
                    </a:lnTo>
                    <a:lnTo>
                      <a:pt x="111" y="427"/>
                    </a:lnTo>
                    <a:lnTo>
                      <a:pt x="113" y="425"/>
                    </a:lnTo>
                    <a:lnTo>
                      <a:pt x="113" y="423"/>
                    </a:lnTo>
                    <a:lnTo>
                      <a:pt x="111" y="421"/>
                    </a:lnTo>
                    <a:lnTo>
                      <a:pt x="115" y="414"/>
                    </a:lnTo>
                    <a:lnTo>
                      <a:pt x="115" y="410"/>
                    </a:lnTo>
                    <a:lnTo>
                      <a:pt x="111" y="408"/>
                    </a:lnTo>
                    <a:lnTo>
                      <a:pt x="106" y="408"/>
                    </a:lnTo>
                    <a:lnTo>
                      <a:pt x="104" y="412"/>
                    </a:lnTo>
                    <a:lnTo>
                      <a:pt x="102" y="412"/>
                    </a:lnTo>
                    <a:lnTo>
                      <a:pt x="102" y="412"/>
                    </a:lnTo>
                    <a:lnTo>
                      <a:pt x="100" y="410"/>
                    </a:lnTo>
                    <a:lnTo>
                      <a:pt x="98" y="410"/>
                    </a:lnTo>
                    <a:lnTo>
                      <a:pt x="96" y="412"/>
                    </a:lnTo>
                    <a:lnTo>
                      <a:pt x="96" y="412"/>
                    </a:lnTo>
                    <a:lnTo>
                      <a:pt x="94" y="412"/>
                    </a:lnTo>
                    <a:lnTo>
                      <a:pt x="92" y="410"/>
                    </a:lnTo>
                    <a:lnTo>
                      <a:pt x="92" y="408"/>
                    </a:lnTo>
                    <a:lnTo>
                      <a:pt x="92" y="406"/>
                    </a:lnTo>
                    <a:lnTo>
                      <a:pt x="92" y="404"/>
                    </a:lnTo>
                    <a:lnTo>
                      <a:pt x="90" y="400"/>
                    </a:lnTo>
                    <a:lnTo>
                      <a:pt x="94" y="398"/>
                    </a:lnTo>
                    <a:lnTo>
                      <a:pt x="94" y="396"/>
                    </a:lnTo>
                    <a:lnTo>
                      <a:pt x="92" y="392"/>
                    </a:lnTo>
                    <a:lnTo>
                      <a:pt x="84" y="380"/>
                    </a:lnTo>
                    <a:lnTo>
                      <a:pt x="82" y="380"/>
                    </a:lnTo>
                    <a:lnTo>
                      <a:pt x="80" y="382"/>
                    </a:lnTo>
                    <a:lnTo>
                      <a:pt x="80" y="382"/>
                    </a:lnTo>
                    <a:lnTo>
                      <a:pt x="78" y="382"/>
                    </a:lnTo>
                    <a:lnTo>
                      <a:pt x="76" y="380"/>
                    </a:lnTo>
                    <a:lnTo>
                      <a:pt x="76" y="380"/>
                    </a:lnTo>
                    <a:lnTo>
                      <a:pt x="76" y="379"/>
                    </a:lnTo>
                    <a:lnTo>
                      <a:pt x="76" y="377"/>
                    </a:lnTo>
                    <a:lnTo>
                      <a:pt x="74" y="375"/>
                    </a:lnTo>
                    <a:lnTo>
                      <a:pt x="72" y="371"/>
                    </a:lnTo>
                    <a:lnTo>
                      <a:pt x="70" y="367"/>
                    </a:lnTo>
                    <a:lnTo>
                      <a:pt x="68" y="369"/>
                    </a:lnTo>
                    <a:lnTo>
                      <a:pt x="66" y="369"/>
                    </a:lnTo>
                    <a:lnTo>
                      <a:pt x="63" y="369"/>
                    </a:lnTo>
                    <a:lnTo>
                      <a:pt x="57" y="367"/>
                    </a:lnTo>
                    <a:lnTo>
                      <a:pt x="57" y="367"/>
                    </a:lnTo>
                    <a:lnTo>
                      <a:pt x="53" y="369"/>
                    </a:lnTo>
                    <a:lnTo>
                      <a:pt x="53" y="369"/>
                    </a:lnTo>
                    <a:lnTo>
                      <a:pt x="49" y="367"/>
                    </a:lnTo>
                    <a:lnTo>
                      <a:pt x="49" y="365"/>
                    </a:lnTo>
                    <a:lnTo>
                      <a:pt x="49" y="361"/>
                    </a:lnTo>
                    <a:lnTo>
                      <a:pt x="49" y="359"/>
                    </a:lnTo>
                    <a:lnTo>
                      <a:pt x="47" y="357"/>
                    </a:lnTo>
                    <a:lnTo>
                      <a:pt x="43" y="355"/>
                    </a:lnTo>
                    <a:lnTo>
                      <a:pt x="41" y="355"/>
                    </a:lnTo>
                    <a:lnTo>
                      <a:pt x="39" y="357"/>
                    </a:lnTo>
                    <a:lnTo>
                      <a:pt x="35" y="361"/>
                    </a:lnTo>
                    <a:lnTo>
                      <a:pt x="33" y="367"/>
                    </a:lnTo>
                    <a:lnTo>
                      <a:pt x="35" y="369"/>
                    </a:lnTo>
                    <a:lnTo>
                      <a:pt x="37" y="373"/>
                    </a:lnTo>
                    <a:lnTo>
                      <a:pt x="31" y="373"/>
                    </a:lnTo>
                    <a:lnTo>
                      <a:pt x="27" y="373"/>
                    </a:lnTo>
                    <a:lnTo>
                      <a:pt x="27" y="373"/>
                    </a:lnTo>
                    <a:lnTo>
                      <a:pt x="27" y="377"/>
                    </a:lnTo>
                    <a:lnTo>
                      <a:pt x="25" y="379"/>
                    </a:lnTo>
                    <a:lnTo>
                      <a:pt x="25" y="379"/>
                    </a:lnTo>
                    <a:lnTo>
                      <a:pt x="22" y="379"/>
                    </a:lnTo>
                    <a:lnTo>
                      <a:pt x="20" y="377"/>
                    </a:lnTo>
                    <a:lnTo>
                      <a:pt x="20" y="375"/>
                    </a:lnTo>
                    <a:lnTo>
                      <a:pt x="20" y="375"/>
                    </a:lnTo>
                    <a:lnTo>
                      <a:pt x="18" y="375"/>
                    </a:lnTo>
                    <a:lnTo>
                      <a:pt x="16" y="377"/>
                    </a:lnTo>
                    <a:lnTo>
                      <a:pt x="14" y="379"/>
                    </a:lnTo>
                    <a:lnTo>
                      <a:pt x="12" y="379"/>
                    </a:lnTo>
                    <a:lnTo>
                      <a:pt x="10" y="377"/>
                    </a:lnTo>
                    <a:lnTo>
                      <a:pt x="8" y="377"/>
                    </a:lnTo>
                    <a:lnTo>
                      <a:pt x="6" y="375"/>
                    </a:lnTo>
                    <a:lnTo>
                      <a:pt x="6" y="375"/>
                    </a:lnTo>
                    <a:lnTo>
                      <a:pt x="10" y="382"/>
                    </a:lnTo>
                    <a:lnTo>
                      <a:pt x="18" y="384"/>
                    </a:lnTo>
                    <a:lnTo>
                      <a:pt x="22" y="390"/>
                    </a:lnTo>
                    <a:lnTo>
                      <a:pt x="22" y="400"/>
                    </a:lnTo>
                    <a:lnTo>
                      <a:pt x="20" y="404"/>
                    </a:lnTo>
                    <a:lnTo>
                      <a:pt x="14" y="412"/>
                    </a:lnTo>
                    <a:lnTo>
                      <a:pt x="14" y="414"/>
                    </a:lnTo>
                    <a:lnTo>
                      <a:pt x="12" y="418"/>
                    </a:lnTo>
                    <a:lnTo>
                      <a:pt x="12" y="420"/>
                    </a:lnTo>
                    <a:lnTo>
                      <a:pt x="6" y="427"/>
                    </a:lnTo>
                    <a:lnTo>
                      <a:pt x="0" y="435"/>
                    </a:lnTo>
                    <a:lnTo>
                      <a:pt x="0" y="435"/>
                    </a:lnTo>
                    <a:lnTo>
                      <a:pt x="0" y="435"/>
                    </a:lnTo>
                    <a:lnTo>
                      <a:pt x="2" y="439"/>
                    </a:lnTo>
                    <a:lnTo>
                      <a:pt x="4" y="441"/>
                    </a:lnTo>
                    <a:lnTo>
                      <a:pt x="4" y="441"/>
                    </a:lnTo>
                    <a:lnTo>
                      <a:pt x="4" y="445"/>
                    </a:lnTo>
                    <a:lnTo>
                      <a:pt x="4" y="447"/>
                    </a:lnTo>
                    <a:lnTo>
                      <a:pt x="4" y="447"/>
                    </a:lnTo>
                    <a:lnTo>
                      <a:pt x="6" y="449"/>
                    </a:lnTo>
                    <a:lnTo>
                      <a:pt x="6" y="451"/>
                    </a:lnTo>
                    <a:lnTo>
                      <a:pt x="8" y="453"/>
                    </a:lnTo>
                    <a:lnTo>
                      <a:pt x="8" y="453"/>
                    </a:lnTo>
                    <a:lnTo>
                      <a:pt x="6" y="455"/>
                    </a:lnTo>
                    <a:lnTo>
                      <a:pt x="6" y="457"/>
                    </a:lnTo>
                    <a:lnTo>
                      <a:pt x="6" y="459"/>
                    </a:lnTo>
                    <a:lnTo>
                      <a:pt x="10" y="462"/>
                    </a:lnTo>
                    <a:lnTo>
                      <a:pt x="14" y="468"/>
                    </a:lnTo>
                    <a:lnTo>
                      <a:pt x="16" y="472"/>
                    </a:lnTo>
                    <a:lnTo>
                      <a:pt x="16" y="474"/>
                    </a:lnTo>
                    <a:lnTo>
                      <a:pt x="16" y="480"/>
                    </a:lnTo>
                    <a:lnTo>
                      <a:pt x="10" y="486"/>
                    </a:lnTo>
                    <a:lnTo>
                      <a:pt x="14" y="488"/>
                    </a:lnTo>
                    <a:lnTo>
                      <a:pt x="22" y="486"/>
                    </a:lnTo>
                    <a:lnTo>
                      <a:pt x="25" y="486"/>
                    </a:lnTo>
                    <a:lnTo>
                      <a:pt x="57" y="496"/>
                    </a:lnTo>
                    <a:lnTo>
                      <a:pt x="57" y="500"/>
                    </a:lnTo>
                    <a:lnTo>
                      <a:pt x="57" y="500"/>
                    </a:lnTo>
                    <a:lnTo>
                      <a:pt x="59" y="500"/>
                    </a:lnTo>
                    <a:lnTo>
                      <a:pt x="59" y="500"/>
                    </a:lnTo>
                    <a:lnTo>
                      <a:pt x="59" y="502"/>
                    </a:lnTo>
                    <a:lnTo>
                      <a:pt x="59" y="503"/>
                    </a:lnTo>
                    <a:lnTo>
                      <a:pt x="57" y="509"/>
                    </a:lnTo>
                    <a:lnTo>
                      <a:pt x="57" y="513"/>
                    </a:lnTo>
                    <a:lnTo>
                      <a:pt x="57" y="515"/>
                    </a:lnTo>
                    <a:lnTo>
                      <a:pt x="59" y="517"/>
                    </a:lnTo>
                    <a:lnTo>
                      <a:pt x="61" y="519"/>
                    </a:lnTo>
                    <a:lnTo>
                      <a:pt x="119" y="519"/>
                    </a:lnTo>
                    <a:lnTo>
                      <a:pt x="119" y="519"/>
                    </a:lnTo>
                    <a:lnTo>
                      <a:pt x="123" y="519"/>
                    </a:lnTo>
                    <a:lnTo>
                      <a:pt x="125" y="519"/>
                    </a:lnTo>
                    <a:lnTo>
                      <a:pt x="129" y="519"/>
                    </a:lnTo>
                    <a:lnTo>
                      <a:pt x="129" y="515"/>
                    </a:lnTo>
                    <a:lnTo>
                      <a:pt x="133" y="509"/>
                    </a:lnTo>
                    <a:lnTo>
                      <a:pt x="137" y="503"/>
                    </a:lnTo>
                    <a:lnTo>
                      <a:pt x="143" y="502"/>
                    </a:lnTo>
                    <a:lnTo>
                      <a:pt x="143" y="502"/>
                    </a:lnTo>
                    <a:lnTo>
                      <a:pt x="145" y="502"/>
                    </a:lnTo>
                    <a:lnTo>
                      <a:pt x="145" y="502"/>
                    </a:lnTo>
                    <a:lnTo>
                      <a:pt x="145" y="502"/>
                    </a:lnTo>
                    <a:lnTo>
                      <a:pt x="147" y="503"/>
                    </a:lnTo>
                    <a:lnTo>
                      <a:pt x="150" y="509"/>
                    </a:lnTo>
                    <a:lnTo>
                      <a:pt x="156" y="513"/>
                    </a:lnTo>
                    <a:lnTo>
                      <a:pt x="156" y="515"/>
                    </a:lnTo>
                    <a:lnTo>
                      <a:pt x="158" y="519"/>
                    </a:lnTo>
                    <a:lnTo>
                      <a:pt x="266" y="519"/>
                    </a:lnTo>
                    <a:lnTo>
                      <a:pt x="274" y="511"/>
                    </a:lnTo>
                    <a:lnTo>
                      <a:pt x="277" y="509"/>
                    </a:lnTo>
                    <a:lnTo>
                      <a:pt x="289" y="505"/>
                    </a:lnTo>
                    <a:lnTo>
                      <a:pt x="301" y="503"/>
                    </a:lnTo>
                    <a:lnTo>
                      <a:pt x="307" y="505"/>
                    </a:lnTo>
                    <a:lnTo>
                      <a:pt x="311" y="507"/>
                    </a:lnTo>
                    <a:lnTo>
                      <a:pt x="317" y="507"/>
                    </a:lnTo>
                    <a:lnTo>
                      <a:pt x="322" y="502"/>
                    </a:lnTo>
                    <a:lnTo>
                      <a:pt x="324" y="500"/>
                    </a:lnTo>
                    <a:lnTo>
                      <a:pt x="324" y="500"/>
                    </a:lnTo>
                    <a:lnTo>
                      <a:pt x="326" y="498"/>
                    </a:lnTo>
                    <a:lnTo>
                      <a:pt x="330" y="500"/>
                    </a:lnTo>
                    <a:lnTo>
                      <a:pt x="330" y="500"/>
                    </a:lnTo>
                    <a:lnTo>
                      <a:pt x="332" y="502"/>
                    </a:lnTo>
                    <a:lnTo>
                      <a:pt x="332" y="502"/>
                    </a:lnTo>
                    <a:lnTo>
                      <a:pt x="334" y="503"/>
                    </a:lnTo>
                    <a:lnTo>
                      <a:pt x="336" y="503"/>
                    </a:lnTo>
                    <a:lnTo>
                      <a:pt x="336" y="503"/>
                    </a:lnTo>
                    <a:lnTo>
                      <a:pt x="338" y="502"/>
                    </a:lnTo>
                    <a:lnTo>
                      <a:pt x="338" y="502"/>
                    </a:lnTo>
                    <a:lnTo>
                      <a:pt x="344" y="500"/>
                    </a:lnTo>
                    <a:lnTo>
                      <a:pt x="348" y="500"/>
                    </a:lnTo>
                    <a:lnTo>
                      <a:pt x="356" y="502"/>
                    </a:lnTo>
                    <a:lnTo>
                      <a:pt x="356" y="502"/>
                    </a:lnTo>
                    <a:lnTo>
                      <a:pt x="356" y="502"/>
                    </a:lnTo>
                    <a:lnTo>
                      <a:pt x="358" y="502"/>
                    </a:lnTo>
                    <a:lnTo>
                      <a:pt x="359" y="502"/>
                    </a:lnTo>
                    <a:lnTo>
                      <a:pt x="361" y="502"/>
                    </a:lnTo>
                    <a:lnTo>
                      <a:pt x="367" y="505"/>
                    </a:lnTo>
                    <a:lnTo>
                      <a:pt x="371" y="507"/>
                    </a:lnTo>
                    <a:lnTo>
                      <a:pt x="373" y="507"/>
                    </a:lnTo>
                    <a:lnTo>
                      <a:pt x="375" y="503"/>
                    </a:lnTo>
                    <a:lnTo>
                      <a:pt x="377" y="503"/>
                    </a:lnTo>
                    <a:lnTo>
                      <a:pt x="385" y="502"/>
                    </a:lnTo>
                    <a:lnTo>
                      <a:pt x="391" y="498"/>
                    </a:lnTo>
                    <a:lnTo>
                      <a:pt x="399" y="494"/>
                    </a:lnTo>
                    <a:lnTo>
                      <a:pt x="406" y="492"/>
                    </a:lnTo>
                    <a:lnTo>
                      <a:pt x="418" y="490"/>
                    </a:lnTo>
                    <a:lnTo>
                      <a:pt x="434" y="482"/>
                    </a:lnTo>
                    <a:lnTo>
                      <a:pt x="438" y="480"/>
                    </a:lnTo>
                    <a:lnTo>
                      <a:pt x="445" y="480"/>
                    </a:lnTo>
                    <a:lnTo>
                      <a:pt x="449" y="480"/>
                    </a:lnTo>
                    <a:lnTo>
                      <a:pt x="449" y="484"/>
                    </a:lnTo>
                    <a:lnTo>
                      <a:pt x="449" y="488"/>
                    </a:lnTo>
                    <a:lnTo>
                      <a:pt x="445" y="492"/>
                    </a:lnTo>
                    <a:lnTo>
                      <a:pt x="436" y="498"/>
                    </a:lnTo>
                    <a:lnTo>
                      <a:pt x="434" y="502"/>
                    </a:lnTo>
                    <a:lnTo>
                      <a:pt x="434" y="503"/>
                    </a:lnTo>
                    <a:lnTo>
                      <a:pt x="436" y="507"/>
                    </a:lnTo>
                    <a:lnTo>
                      <a:pt x="436" y="513"/>
                    </a:lnTo>
                    <a:lnTo>
                      <a:pt x="438" y="515"/>
                    </a:lnTo>
                    <a:lnTo>
                      <a:pt x="438" y="517"/>
                    </a:lnTo>
                    <a:lnTo>
                      <a:pt x="438" y="519"/>
                    </a:lnTo>
                    <a:lnTo>
                      <a:pt x="1114" y="519"/>
                    </a:lnTo>
                    <a:lnTo>
                      <a:pt x="1117" y="51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64" name="Freeform 1166">
                <a:extLst>
                  <a:ext uri="{FF2B5EF4-FFF2-40B4-BE49-F238E27FC236}">
                    <a16:creationId xmlns:a16="http://schemas.microsoft.com/office/drawing/2014/main" id="{DE201D1E-4C10-41C8-96EA-4F1C0F36E3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0" y="3472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65" name="Rectangle 1167">
                <a:extLst>
                  <a:ext uri="{FF2B5EF4-FFF2-40B4-BE49-F238E27FC236}">
                    <a16:creationId xmlns:a16="http://schemas.microsoft.com/office/drawing/2014/main" id="{E8533E2D-27C8-4211-A182-A57D023EFC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7" y="348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66" name="Freeform 1168">
                <a:extLst>
                  <a:ext uri="{FF2B5EF4-FFF2-40B4-BE49-F238E27FC236}">
                    <a16:creationId xmlns:a16="http://schemas.microsoft.com/office/drawing/2014/main" id="{23D52B39-004E-48DB-BB17-6632D1AD63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" y="3445"/>
                <a:ext cx="0" cy="10"/>
              </a:xfrm>
              <a:custGeom>
                <a:avLst/>
                <a:gdLst>
                  <a:gd name="T0" fmla="*/ 0 h 10"/>
                  <a:gd name="T1" fmla="*/ 8 h 10"/>
                  <a:gd name="T2" fmla="*/ 10 h 10"/>
                  <a:gd name="T3" fmla="*/ 8 h 10"/>
                  <a:gd name="T4" fmla="*/ 0 h 1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0">
                    <a:moveTo>
                      <a:pt x="0" y="0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67" name="Freeform 1169">
                <a:extLst>
                  <a:ext uri="{FF2B5EF4-FFF2-40B4-BE49-F238E27FC236}">
                    <a16:creationId xmlns:a16="http://schemas.microsoft.com/office/drawing/2014/main" id="{89897890-6E98-4980-8169-88EB579D4B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0" y="3465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68" name="Freeform 1170">
                <a:extLst>
                  <a:ext uri="{FF2B5EF4-FFF2-40B4-BE49-F238E27FC236}">
                    <a16:creationId xmlns:a16="http://schemas.microsoft.com/office/drawing/2014/main" id="{82468052-2435-4035-91E5-1705A2C07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7" y="353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0 w 2"/>
                  <a:gd name="T5" fmla="*/ 0 h 2"/>
                  <a:gd name="T6" fmla="*/ 2 w 2"/>
                  <a:gd name="T7" fmla="*/ 2 h 2"/>
                  <a:gd name="T8" fmla="*/ 0 w 2"/>
                  <a:gd name="T9" fmla="*/ 0 h 2"/>
                  <a:gd name="T10" fmla="*/ 0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69" name="Freeform 1171">
                <a:extLst>
                  <a:ext uri="{FF2B5EF4-FFF2-40B4-BE49-F238E27FC236}">
                    <a16:creationId xmlns:a16="http://schemas.microsoft.com/office/drawing/2014/main" id="{7AC9A296-B59E-4D8F-AB30-72B8D8A4B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9" y="3482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70" name="Freeform 1172">
                <a:extLst>
                  <a:ext uri="{FF2B5EF4-FFF2-40B4-BE49-F238E27FC236}">
                    <a16:creationId xmlns:a16="http://schemas.microsoft.com/office/drawing/2014/main" id="{056C145B-B67C-4D25-8B39-926FC6329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9" y="3515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0 w 4"/>
                  <a:gd name="T3" fmla="*/ 0 h 2"/>
                  <a:gd name="T4" fmla="*/ 4 w 4"/>
                  <a:gd name="T5" fmla="*/ 2 h 2"/>
                  <a:gd name="T6" fmla="*/ 0 w 4"/>
                  <a:gd name="T7" fmla="*/ 0 h 2"/>
                  <a:gd name="T8" fmla="*/ 0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71" name="Freeform 1173">
                <a:extLst>
                  <a:ext uri="{FF2B5EF4-FFF2-40B4-BE49-F238E27FC236}">
                    <a16:creationId xmlns:a16="http://schemas.microsoft.com/office/drawing/2014/main" id="{FB17CB80-3968-43B6-883C-4C9D3F029C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9" y="3527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72" name="Freeform 1174">
                <a:extLst>
                  <a:ext uri="{FF2B5EF4-FFF2-40B4-BE49-F238E27FC236}">
                    <a16:creationId xmlns:a16="http://schemas.microsoft.com/office/drawing/2014/main" id="{D7703B85-B82E-4815-9C72-B014EA4DC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" y="3461"/>
                <a:ext cx="6" cy="2"/>
              </a:xfrm>
              <a:custGeom>
                <a:avLst/>
                <a:gdLst>
                  <a:gd name="T0" fmla="*/ 4 w 6"/>
                  <a:gd name="T1" fmla="*/ 0 h 2"/>
                  <a:gd name="T2" fmla="*/ 0 w 6"/>
                  <a:gd name="T3" fmla="*/ 0 h 2"/>
                  <a:gd name="T4" fmla="*/ 0 w 6"/>
                  <a:gd name="T5" fmla="*/ 0 h 2"/>
                  <a:gd name="T6" fmla="*/ 0 w 6"/>
                  <a:gd name="T7" fmla="*/ 0 h 2"/>
                  <a:gd name="T8" fmla="*/ 4 w 6"/>
                  <a:gd name="T9" fmla="*/ 0 h 2"/>
                  <a:gd name="T10" fmla="*/ 4 w 6"/>
                  <a:gd name="T11" fmla="*/ 2 h 2"/>
                  <a:gd name="T12" fmla="*/ 6 w 6"/>
                  <a:gd name="T13" fmla="*/ 2 h 2"/>
                  <a:gd name="T14" fmla="*/ 4 w 6"/>
                  <a:gd name="T15" fmla="*/ 2 h 2"/>
                  <a:gd name="T16" fmla="*/ 4 w 6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73" name="Freeform 1175">
                <a:extLst>
                  <a:ext uri="{FF2B5EF4-FFF2-40B4-BE49-F238E27FC236}">
                    <a16:creationId xmlns:a16="http://schemas.microsoft.com/office/drawing/2014/main" id="{9B3D1F51-6C50-42DE-9612-87BAD565FE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4" y="3430"/>
                <a:ext cx="4" cy="5"/>
              </a:xfrm>
              <a:custGeom>
                <a:avLst/>
                <a:gdLst>
                  <a:gd name="T0" fmla="*/ 4 w 4"/>
                  <a:gd name="T1" fmla="*/ 0 h 5"/>
                  <a:gd name="T2" fmla="*/ 2 w 4"/>
                  <a:gd name="T3" fmla="*/ 3 h 5"/>
                  <a:gd name="T4" fmla="*/ 0 w 4"/>
                  <a:gd name="T5" fmla="*/ 5 h 5"/>
                  <a:gd name="T6" fmla="*/ 0 w 4"/>
                  <a:gd name="T7" fmla="*/ 5 h 5"/>
                  <a:gd name="T8" fmla="*/ 2 w 4"/>
                  <a:gd name="T9" fmla="*/ 3 h 5"/>
                  <a:gd name="T10" fmla="*/ 4 w 4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4" y="0"/>
                    </a:moveTo>
                    <a:lnTo>
                      <a:pt x="2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74" name="Freeform 1176">
                <a:extLst>
                  <a:ext uri="{FF2B5EF4-FFF2-40B4-BE49-F238E27FC236}">
                    <a16:creationId xmlns:a16="http://schemas.microsoft.com/office/drawing/2014/main" id="{5BBF9130-47F6-4D57-A8CA-2BD5EEE283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3416"/>
                <a:ext cx="1" cy="2"/>
              </a:xfrm>
              <a:custGeom>
                <a:avLst/>
                <a:gdLst>
                  <a:gd name="T0" fmla="*/ 1 w 1"/>
                  <a:gd name="T1" fmla="*/ 0 h 2"/>
                  <a:gd name="T2" fmla="*/ 1 w 1"/>
                  <a:gd name="T3" fmla="*/ 0 h 2"/>
                  <a:gd name="T4" fmla="*/ 0 w 1"/>
                  <a:gd name="T5" fmla="*/ 2 h 2"/>
                  <a:gd name="T6" fmla="*/ 0 w 1"/>
                  <a:gd name="T7" fmla="*/ 2 h 2"/>
                  <a:gd name="T8" fmla="*/ 1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75" name="Freeform 1177">
                <a:extLst>
                  <a:ext uri="{FF2B5EF4-FFF2-40B4-BE49-F238E27FC236}">
                    <a16:creationId xmlns:a16="http://schemas.microsoft.com/office/drawing/2014/main" id="{EC91B245-9FD3-4A86-A10E-827C44198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" y="3769"/>
                <a:ext cx="6" cy="14"/>
              </a:xfrm>
              <a:custGeom>
                <a:avLst/>
                <a:gdLst>
                  <a:gd name="T0" fmla="*/ 6 w 6"/>
                  <a:gd name="T1" fmla="*/ 8 h 14"/>
                  <a:gd name="T2" fmla="*/ 0 w 6"/>
                  <a:gd name="T3" fmla="*/ 14 h 14"/>
                  <a:gd name="T4" fmla="*/ 0 w 6"/>
                  <a:gd name="T5" fmla="*/ 14 h 14"/>
                  <a:gd name="T6" fmla="*/ 6 w 6"/>
                  <a:gd name="T7" fmla="*/ 8 h 14"/>
                  <a:gd name="T8" fmla="*/ 6 w 6"/>
                  <a:gd name="T9" fmla="*/ 2 h 14"/>
                  <a:gd name="T10" fmla="*/ 6 w 6"/>
                  <a:gd name="T11" fmla="*/ 0 h 14"/>
                  <a:gd name="T12" fmla="*/ 6 w 6"/>
                  <a:gd name="T13" fmla="*/ 2 h 14"/>
                  <a:gd name="T14" fmla="*/ 6 w 6"/>
                  <a:gd name="T15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4">
                    <a:moveTo>
                      <a:pt x="6" y="8"/>
                    </a:moveTo>
                    <a:lnTo>
                      <a:pt x="0" y="14"/>
                    </a:lnTo>
                    <a:lnTo>
                      <a:pt x="0" y="14"/>
                    </a:lnTo>
                    <a:lnTo>
                      <a:pt x="6" y="8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76" name="Freeform 1178">
                <a:extLst>
                  <a:ext uri="{FF2B5EF4-FFF2-40B4-BE49-F238E27FC236}">
                    <a16:creationId xmlns:a16="http://schemas.microsoft.com/office/drawing/2014/main" id="{FB29FD5E-C8EC-4BED-84D4-8C0FC9CEEE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" y="3752"/>
                <a:ext cx="0" cy="4"/>
              </a:xfrm>
              <a:custGeom>
                <a:avLst/>
                <a:gdLst>
                  <a:gd name="T0" fmla="*/ 4 h 4"/>
                  <a:gd name="T1" fmla="*/ 4 h 4"/>
                  <a:gd name="T2" fmla="*/ 2 h 4"/>
                  <a:gd name="T3" fmla="*/ 0 h 4"/>
                  <a:gd name="T4" fmla="*/ 2 h 4"/>
                  <a:gd name="T5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77" name="Freeform 1179">
                <a:extLst>
                  <a:ext uri="{FF2B5EF4-FFF2-40B4-BE49-F238E27FC236}">
                    <a16:creationId xmlns:a16="http://schemas.microsoft.com/office/drawing/2014/main" id="{37F1283A-0F50-4A2E-8A80-14CF3AFB23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" y="3732"/>
                <a:ext cx="4" cy="6"/>
              </a:xfrm>
              <a:custGeom>
                <a:avLst/>
                <a:gdLst>
                  <a:gd name="T0" fmla="*/ 4 w 4"/>
                  <a:gd name="T1" fmla="*/ 6 h 6"/>
                  <a:gd name="T2" fmla="*/ 2 w 4"/>
                  <a:gd name="T3" fmla="*/ 4 h 6"/>
                  <a:gd name="T4" fmla="*/ 0 w 4"/>
                  <a:gd name="T5" fmla="*/ 0 h 6"/>
                  <a:gd name="T6" fmla="*/ 0 w 4"/>
                  <a:gd name="T7" fmla="*/ 0 h 6"/>
                  <a:gd name="T8" fmla="*/ 2 w 4"/>
                  <a:gd name="T9" fmla="*/ 4 h 6"/>
                  <a:gd name="T10" fmla="*/ 4 w 4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78" name="Freeform 1180">
                <a:extLst>
                  <a:ext uri="{FF2B5EF4-FFF2-40B4-BE49-F238E27FC236}">
                    <a16:creationId xmlns:a16="http://schemas.microsoft.com/office/drawing/2014/main" id="{89291379-EBFA-4F49-9A57-11E37CCE88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" y="3744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2 h 4"/>
                  <a:gd name="T4" fmla="*/ 0 w 2"/>
                  <a:gd name="T5" fmla="*/ 0 h 4"/>
                  <a:gd name="T6" fmla="*/ 2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79" name="Freeform 1181">
                <a:extLst>
                  <a:ext uri="{FF2B5EF4-FFF2-40B4-BE49-F238E27FC236}">
                    <a16:creationId xmlns:a16="http://schemas.microsoft.com/office/drawing/2014/main" id="{F9B65561-3B08-4ADC-8F97-BE456F7721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9" y="3357"/>
                <a:ext cx="8" cy="4"/>
              </a:xfrm>
              <a:custGeom>
                <a:avLst/>
                <a:gdLst>
                  <a:gd name="T0" fmla="*/ 0 w 8"/>
                  <a:gd name="T1" fmla="*/ 0 h 4"/>
                  <a:gd name="T2" fmla="*/ 6 w 8"/>
                  <a:gd name="T3" fmla="*/ 4 h 4"/>
                  <a:gd name="T4" fmla="*/ 8 w 8"/>
                  <a:gd name="T5" fmla="*/ 4 h 4"/>
                  <a:gd name="T6" fmla="*/ 6 w 8"/>
                  <a:gd name="T7" fmla="*/ 4 h 4"/>
                  <a:gd name="T8" fmla="*/ 0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0" y="0"/>
                    </a:moveTo>
                    <a:lnTo>
                      <a:pt x="6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80" name="Freeform 1182">
                <a:extLst>
                  <a:ext uri="{FF2B5EF4-FFF2-40B4-BE49-F238E27FC236}">
                    <a16:creationId xmlns:a16="http://schemas.microsoft.com/office/drawing/2014/main" id="{4092EDF7-EC00-4950-BC41-81D44C8974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4" y="335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81" name="Rectangle 1183">
                <a:extLst>
                  <a:ext uri="{FF2B5EF4-FFF2-40B4-BE49-F238E27FC236}">
                    <a16:creationId xmlns:a16="http://schemas.microsoft.com/office/drawing/2014/main" id="{E4CA25B9-E8FD-4C6B-8C82-084347C5D8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7" y="339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82" name="Freeform 1184">
                <a:extLst>
                  <a:ext uri="{FF2B5EF4-FFF2-40B4-BE49-F238E27FC236}">
                    <a16:creationId xmlns:a16="http://schemas.microsoft.com/office/drawing/2014/main" id="{4C7120BF-3D8A-43EB-AA64-E73DE1DF2E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" y="3394"/>
                <a:ext cx="0" cy="6"/>
              </a:xfrm>
              <a:custGeom>
                <a:avLst/>
                <a:gdLst>
                  <a:gd name="T0" fmla="*/ 2 h 6"/>
                  <a:gd name="T1" fmla="*/ 2 h 6"/>
                  <a:gd name="T2" fmla="*/ 0 h 6"/>
                  <a:gd name="T3" fmla="*/ 0 h 6"/>
                  <a:gd name="T4" fmla="*/ 2 h 6"/>
                  <a:gd name="T5" fmla="*/ 2 h 6"/>
                  <a:gd name="T6" fmla="*/ 4 h 6"/>
                  <a:gd name="T7" fmla="*/ 6 h 6"/>
                  <a:gd name="T8" fmla="*/ 6 h 6"/>
                  <a:gd name="T9" fmla="*/ 4 h 6"/>
                  <a:gd name="T10" fmla="*/ 2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  <a:cxn ang="0">
                    <a:pos x="0" y="T10"/>
                  </a:cxn>
                </a:cxnLst>
                <a:rect l="0" t="0" r="r" b="b"/>
                <a:pathLst>
                  <a:path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83" name="Freeform 1185">
                <a:extLst>
                  <a:ext uri="{FF2B5EF4-FFF2-40B4-BE49-F238E27FC236}">
                    <a16:creationId xmlns:a16="http://schemas.microsoft.com/office/drawing/2014/main" id="{23A0FDD6-929E-43A4-AE0A-C0527C9BA1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2" y="3303"/>
                <a:ext cx="4" cy="7"/>
              </a:xfrm>
              <a:custGeom>
                <a:avLst/>
                <a:gdLst>
                  <a:gd name="T0" fmla="*/ 4 w 4"/>
                  <a:gd name="T1" fmla="*/ 4 h 7"/>
                  <a:gd name="T2" fmla="*/ 2 w 4"/>
                  <a:gd name="T3" fmla="*/ 5 h 7"/>
                  <a:gd name="T4" fmla="*/ 0 w 4"/>
                  <a:gd name="T5" fmla="*/ 7 h 7"/>
                  <a:gd name="T6" fmla="*/ 0 w 4"/>
                  <a:gd name="T7" fmla="*/ 7 h 7"/>
                  <a:gd name="T8" fmla="*/ 0 w 4"/>
                  <a:gd name="T9" fmla="*/ 7 h 7"/>
                  <a:gd name="T10" fmla="*/ 2 w 4"/>
                  <a:gd name="T11" fmla="*/ 5 h 7"/>
                  <a:gd name="T12" fmla="*/ 4 w 4"/>
                  <a:gd name="T13" fmla="*/ 4 h 7"/>
                  <a:gd name="T14" fmla="*/ 4 w 4"/>
                  <a:gd name="T15" fmla="*/ 0 h 7"/>
                  <a:gd name="T16" fmla="*/ 4 w 4"/>
                  <a:gd name="T17" fmla="*/ 0 h 7"/>
                  <a:gd name="T18" fmla="*/ 4 w 4"/>
                  <a:gd name="T19" fmla="*/ 0 h 7"/>
                  <a:gd name="T20" fmla="*/ 4 w 4"/>
                  <a:gd name="T21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7">
                    <a:moveTo>
                      <a:pt x="4" y="4"/>
                    </a:moveTo>
                    <a:lnTo>
                      <a:pt x="2" y="5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84" name="Freeform 1186">
                <a:extLst>
                  <a:ext uri="{FF2B5EF4-FFF2-40B4-BE49-F238E27FC236}">
                    <a16:creationId xmlns:a16="http://schemas.microsoft.com/office/drawing/2014/main" id="{4E6C8CF2-F95F-4E90-9842-D14CE2176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" y="3400"/>
                <a:ext cx="4" cy="6"/>
              </a:xfrm>
              <a:custGeom>
                <a:avLst/>
                <a:gdLst>
                  <a:gd name="T0" fmla="*/ 2 w 4"/>
                  <a:gd name="T1" fmla="*/ 2 h 6"/>
                  <a:gd name="T2" fmla="*/ 0 w 4"/>
                  <a:gd name="T3" fmla="*/ 0 h 6"/>
                  <a:gd name="T4" fmla="*/ 2 w 4"/>
                  <a:gd name="T5" fmla="*/ 2 h 6"/>
                  <a:gd name="T6" fmla="*/ 2 w 4"/>
                  <a:gd name="T7" fmla="*/ 4 h 6"/>
                  <a:gd name="T8" fmla="*/ 4 w 4"/>
                  <a:gd name="T9" fmla="*/ 6 h 6"/>
                  <a:gd name="T10" fmla="*/ 2 w 4"/>
                  <a:gd name="T11" fmla="*/ 4 h 6"/>
                  <a:gd name="T12" fmla="*/ 2 w 4"/>
                  <a:gd name="T1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2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85" name="Rectangle 1187">
                <a:extLst>
                  <a:ext uri="{FF2B5EF4-FFF2-40B4-BE49-F238E27FC236}">
                    <a16:creationId xmlns:a16="http://schemas.microsoft.com/office/drawing/2014/main" id="{836CFF13-315D-45BA-8FFA-9D442511A7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5" y="339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86" name="Freeform 1188">
                <a:extLst>
                  <a:ext uri="{FF2B5EF4-FFF2-40B4-BE49-F238E27FC236}">
                    <a16:creationId xmlns:a16="http://schemas.microsoft.com/office/drawing/2014/main" id="{06E710AC-6701-416D-AB46-0AD0582B71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7" y="3400"/>
                <a:ext cx="4" cy="0"/>
              </a:xfrm>
              <a:custGeom>
                <a:avLst/>
                <a:gdLst>
                  <a:gd name="T0" fmla="*/ 2 w 4"/>
                  <a:gd name="T1" fmla="*/ 0 w 4"/>
                  <a:gd name="T2" fmla="*/ 0 w 4"/>
                  <a:gd name="T3" fmla="*/ 0 w 4"/>
                  <a:gd name="T4" fmla="*/ 2 w 4"/>
                  <a:gd name="T5" fmla="*/ 4 w 4"/>
                  <a:gd name="T6" fmla="*/ 4 w 4"/>
                  <a:gd name="T7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87" name="Freeform 1189">
                <a:extLst>
                  <a:ext uri="{FF2B5EF4-FFF2-40B4-BE49-F238E27FC236}">
                    <a16:creationId xmlns:a16="http://schemas.microsoft.com/office/drawing/2014/main" id="{82957434-8C0F-4BC1-8CA9-7B37B83B57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5" y="3402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88" name="Rectangle 1190">
                <a:extLst>
                  <a:ext uri="{FF2B5EF4-FFF2-40B4-BE49-F238E27FC236}">
                    <a16:creationId xmlns:a16="http://schemas.microsoft.com/office/drawing/2014/main" id="{4A69A988-2A0B-46DD-B151-DFC72A5073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33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89" name="Freeform 1191">
                <a:extLst>
                  <a:ext uri="{FF2B5EF4-FFF2-40B4-BE49-F238E27FC236}">
                    <a16:creationId xmlns:a16="http://schemas.microsoft.com/office/drawing/2014/main" id="{5CA9BC76-480D-400F-B561-480C9AA833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367"/>
                <a:ext cx="6" cy="0"/>
              </a:xfrm>
              <a:custGeom>
                <a:avLst/>
                <a:gdLst>
                  <a:gd name="T0" fmla="*/ 2 w 6"/>
                  <a:gd name="T1" fmla="*/ 0 w 6"/>
                  <a:gd name="T2" fmla="*/ 2 w 6"/>
                  <a:gd name="T3" fmla="*/ 6 w 6"/>
                  <a:gd name="T4" fmla="*/ 6 w 6"/>
                  <a:gd name="T5" fmla="*/ 2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90" name="Rectangle 1192">
                <a:extLst>
                  <a:ext uri="{FF2B5EF4-FFF2-40B4-BE49-F238E27FC236}">
                    <a16:creationId xmlns:a16="http://schemas.microsoft.com/office/drawing/2014/main" id="{3FD40215-5FDB-4824-8145-E695802922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8" y="330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91" name="Freeform 1193">
                <a:extLst>
                  <a:ext uri="{FF2B5EF4-FFF2-40B4-BE49-F238E27FC236}">
                    <a16:creationId xmlns:a16="http://schemas.microsoft.com/office/drawing/2014/main" id="{FEB673FD-5B12-4323-AB47-AE6848F8EF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8" y="3359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92" name="Freeform 1194">
                <a:extLst>
                  <a:ext uri="{FF2B5EF4-FFF2-40B4-BE49-F238E27FC236}">
                    <a16:creationId xmlns:a16="http://schemas.microsoft.com/office/drawing/2014/main" id="{0B40573B-EB17-4002-8E3E-BB20630AA8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7" y="3308"/>
                <a:ext cx="0" cy="4"/>
              </a:xfrm>
              <a:custGeom>
                <a:avLst/>
                <a:gdLst>
                  <a:gd name="T0" fmla="*/ 0 h 4"/>
                  <a:gd name="T1" fmla="*/ 2 h 4"/>
                  <a:gd name="T2" fmla="*/ 4 h 4"/>
                  <a:gd name="T3" fmla="*/ 2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93" name="Freeform 1195">
                <a:extLst>
                  <a:ext uri="{FF2B5EF4-FFF2-40B4-BE49-F238E27FC236}">
                    <a16:creationId xmlns:a16="http://schemas.microsoft.com/office/drawing/2014/main" id="{C4D6E9E0-CF9C-448E-9B74-6A79B2A466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7" y="3357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0 w 2"/>
                  <a:gd name="T3" fmla="*/ 0 h 6"/>
                  <a:gd name="T4" fmla="*/ 2 w 2"/>
                  <a:gd name="T5" fmla="*/ 0 h 6"/>
                  <a:gd name="T6" fmla="*/ 2 w 2"/>
                  <a:gd name="T7" fmla="*/ 4 h 6"/>
                  <a:gd name="T8" fmla="*/ 2 w 2"/>
                  <a:gd name="T9" fmla="*/ 6 h 6"/>
                  <a:gd name="T10" fmla="*/ 2 w 2"/>
                  <a:gd name="T11" fmla="*/ 4 h 6"/>
                  <a:gd name="T12" fmla="*/ 2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94" name="Freeform 1196">
                <a:extLst>
                  <a:ext uri="{FF2B5EF4-FFF2-40B4-BE49-F238E27FC236}">
                    <a16:creationId xmlns:a16="http://schemas.microsoft.com/office/drawing/2014/main" id="{756FAF4C-60D0-4DBE-AFF8-83B4B87248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3" y="3398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95" name="Freeform 1197">
                <a:extLst>
                  <a:ext uri="{FF2B5EF4-FFF2-40B4-BE49-F238E27FC236}">
                    <a16:creationId xmlns:a16="http://schemas.microsoft.com/office/drawing/2014/main" id="{81F638FF-A952-4826-B917-E3F0590458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1" y="3365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0 w 4"/>
                  <a:gd name="T3" fmla="*/ 0 h 2"/>
                  <a:gd name="T4" fmla="*/ 2 w 4"/>
                  <a:gd name="T5" fmla="*/ 2 h 2"/>
                  <a:gd name="T6" fmla="*/ 4 w 4"/>
                  <a:gd name="T7" fmla="*/ 2 h 2"/>
                  <a:gd name="T8" fmla="*/ 2 w 4"/>
                  <a:gd name="T9" fmla="*/ 2 h 2"/>
                  <a:gd name="T10" fmla="*/ 0 w 4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96" name="Rectangle 1198">
                <a:extLst>
                  <a:ext uri="{FF2B5EF4-FFF2-40B4-BE49-F238E27FC236}">
                    <a16:creationId xmlns:a16="http://schemas.microsoft.com/office/drawing/2014/main" id="{054ECBE7-726A-4A48-AEC3-F0B823936F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7" y="338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97" name="Freeform 1199">
                <a:extLst>
                  <a:ext uri="{FF2B5EF4-FFF2-40B4-BE49-F238E27FC236}">
                    <a16:creationId xmlns:a16="http://schemas.microsoft.com/office/drawing/2014/main" id="{F47760F3-52CF-4690-A3A1-E5F1DBF653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1" y="3389"/>
                <a:ext cx="2" cy="3"/>
              </a:xfrm>
              <a:custGeom>
                <a:avLst/>
                <a:gdLst>
                  <a:gd name="T0" fmla="*/ 0 w 2"/>
                  <a:gd name="T1" fmla="*/ 1 h 3"/>
                  <a:gd name="T2" fmla="*/ 0 w 2"/>
                  <a:gd name="T3" fmla="*/ 0 h 3"/>
                  <a:gd name="T4" fmla="*/ 2 w 2"/>
                  <a:gd name="T5" fmla="*/ 3 h 3"/>
                  <a:gd name="T6" fmla="*/ 0 w 2"/>
                  <a:gd name="T7" fmla="*/ 0 h 3"/>
                  <a:gd name="T8" fmla="*/ 0 w 2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0" y="1"/>
                    </a:moveTo>
                    <a:lnTo>
                      <a:pt x="0" y="0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98" name="Freeform 1200">
                <a:extLst>
                  <a:ext uri="{FF2B5EF4-FFF2-40B4-BE49-F238E27FC236}">
                    <a16:creationId xmlns:a16="http://schemas.microsoft.com/office/drawing/2014/main" id="{F7E2FD2B-3D9D-4C49-AEDE-5632D9FBC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0" y="3402"/>
                <a:ext cx="14" cy="8"/>
              </a:xfrm>
              <a:custGeom>
                <a:avLst/>
                <a:gdLst>
                  <a:gd name="T0" fmla="*/ 4 w 14"/>
                  <a:gd name="T1" fmla="*/ 6 h 8"/>
                  <a:gd name="T2" fmla="*/ 0 w 14"/>
                  <a:gd name="T3" fmla="*/ 8 h 8"/>
                  <a:gd name="T4" fmla="*/ 0 w 14"/>
                  <a:gd name="T5" fmla="*/ 8 h 8"/>
                  <a:gd name="T6" fmla="*/ 0 w 14"/>
                  <a:gd name="T7" fmla="*/ 8 h 8"/>
                  <a:gd name="T8" fmla="*/ 4 w 14"/>
                  <a:gd name="T9" fmla="*/ 6 h 8"/>
                  <a:gd name="T10" fmla="*/ 12 w 14"/>
                  <a:gd name="T11" fmla="*/ 2 h 8"/>
                  <a:gd name="T12" fmla="*/ 14 w 14"/>
                  <a:gd name="T13" fmla="*/ 0 h 8"/>
                  <a:gd name="T14" fmla="*/ 12 w 14"/>
                  <a:gd name="T15" fmla="*/ 2 h 8"/>
                  <a:gd name="T16" fmla="*/ 4 w 14"/>
                  <a:gd name="T17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8">
                    <a:moveTo>
                      <a:pt x="4" y="6"/>
                    </a:move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12" y="2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899" name="Rectangle 1201">
                <a:extLst>
                  <a:ext uri="{FF2B5EF4-FFF2-40B4-BE49-F238E27FC236}">
                    <a16:creationId xmlns:a16="http://schemas.microsoft.com/office/drawing/2014/main" id="{68F2C4D9-CE0A-42A9-AA91-24C0AAA157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9" y="338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00" name="Freeform 1202">
                <a:extLst>
                  <a:ext uri="{FF2B5EF4-FFF2-40B4-BE49-F238E27FC236}">
                    <a16:creationId xmlns:a16="http://schemas.microsoft.com/office/drawing/2014/main" id="{3602898D-CDCB-46FE-BD94-7F2A6581A3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3" y="3375"/>
                <a:ext cx="4" cy="6"/>
              </a:xfrm>
              <a:custGeom>
                <a:avLst/>
                <a:gdLst>
                  <a:gd name="T0" fmla="*/ 0 w 4"/>
                  <a:gd name="T1" fmla="*/ 0 h 6"/>
                  <a:gd name="T2" fmla="*/ 0 w 4"/>
                  <a:gd name="T3" fmla="*/ 0 h 6"/>
                  <a:gd name="T4" fmla="*/ 2 w 4"/>
                  <a:gd name="T5" fmla="*/ 4 h 6"/>
                  <a:gd name="T6" fmla="*/ 4 w 4"/>
                  <a:gd name="T7" fmla="*/ 6 h 6"/>
                  <a:gd name="T8" fmla="*/ 2 w 4"/>
                  <a:gd name="T9" fmla="*/ 4 h 6"/>
                  <a:gd name="T10" fmla="*/ 0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0" y="0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01" name="Rectangle 1203">
                <a:extLst>
                  <a:ext uri="{FF2B5EF4-FFF2-40B4-BE49-F238E27FC236}">
                    <a16:creationId xmlns:a16="http://schemas.microsoft.com/office/drawing/2014/main" id="{D05EE59A-DDC0-401C-A555-F5D6E5D888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7" y="338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02" name="Freeform 1204">
                <a:extLst>
                  <a:ext uri="{FF2B5EF4-FFF2-40B4-BE49-F238E27FC236}">
                    <a16:creationId xmlns:a16="http://schemas.microsoft.com/office/drawing/2014/main" id="{47DC209C-F5E0-4195-8B8D-34FFB19063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9" y="3385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03" name="Freeform 1205">
                <a:extLst>
                  <a:ext uri="{FF2B5EF4-FFF2-40B4-BE49-F238E27FC236}">
                    <a16:creationId xmlns:a16="http://schemas.microsoft.com/office/drawing/2014/main" id="{67F103BC-056D-43A1-A4E7-69CEA25F73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3340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04" name="Freeform 1206">
                <a:extLst>
                  <a:ext uri="{FF2B5EF4-FFF2-40B4-BE49-F238E27FC236}">
                    <a16:creationId xmlns:a16="http://schemas.microsoft.com/office/drawing/2014/main" id="{03A27734-E115-48D2-AFB4-A08DEF12D5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0" y="3365"/>
                <a:ext cx="7" cy="6"/>
              </a:xfrm>
              <a:custGeom>
                <a:avLst/>
                <a:gdLst>
                  <a:gd name="T0" fmla="*/ 0 w 7"/>
                  <a:gd name="T1" fmla="*/ 0 h 6"/>
                  <a:gd name="T2" fmla="*/ 0 w 7"/>
                  <a:gd name="T3" fmla="*/ 2 h 6"/>
                  <a:gd name="T4" fmla="*/ 7 w 7"/>
                  <a:gd name="T5" fmla="*/ 6 h 6"/>
                  <a:gd name="T6" fmla="*/ 0 w 7"/>
                  <a:gd name="T7" fmla="*/ 2 h 6"/>
                  <a:gd name="T8" fmla="*/ 0 w 7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lnTo>
                      <a:pt x="0" y="2"/>
                    </a:lnTo>
                    <a:lnTo>
                      <a:pt x="7" y="6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05" name="Rectangle 1207">
                <a:extLst>
                  <a:ext uri="{FF2B5EF4-FFF2-40B4-BE49-F238E27FC236}">
                    <a16:creationId xmlns:a16="http://schemas.microsoft.com/office/drawing/2014/main" id="{C917C8CC-798C-4C59-8F7A-61FFCE68E2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4" y="33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06" name="Freeform 1208">
                <a:extLst>
                  <a:ext uri="{FF2B5EF4-FFF2-40B4-BE49-F238E27FC236}">
                    <a16:creationId xmlns:a16="http://schemas.microsoft.com/office/drawing/2014/main" id="{74984C8A-3312-4FB3-B6D7-C2F66553E1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4" y="3365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0 w 4"/>
                  <a:gd name="T3" fmla="*/ 2 h 2"/>
                  <a:gd name="T4" fmla="*/ 2 w 4"/>
                  <a:gd name="T5" fmla="*/ 0 h 2"/>
                  <a:gd name="T6" fmla="*/ 4 w 4"/>
                  <a:gd name="T7" fmla="*/ 2 h 2"/>
                  <a:gd name="T8" fmla="*/ 4 w 4"/>
                  <a:gd name="T9" fmla="*/ 2 h 2"/>
                  <a:gd name="T10" fmla="*/ 4 w 4"/>
                  <a:gd name="T11" fmla="*/ 2 h 2"/>
                  <a:gd name="T12" fmla="*/ 2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907" name="Freeform 1209">
                <a:extLst>
                  <a:ext uri="{FF2B5EF4-FFF2-40B4-BE49-F238E27FC236}">
                    <a16:creationId xmlns:a16="http://schemas.microsoft.com/office/drawing/2014/main" id="{8FA2EECA-E2EC-4A78-9521-668B50579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3394"/>
                <a:ext cx="6" cy="2"/>
              </a:xfrm>
              <a:custGeom>
                <a:avLst/>
                <a:gdLst>
                  <a:gd name="T0" fmla="*/ 0 w 6"/>
                  <a:gd name="T1" fmla="*/ 2 h 2"/>
                  <a:gd name="T2" fmla="*/ 4 w 6"/>
                  <a:gd name="T3" fmla="*/ 0 h 2"/>
                  <a:gd name="T4" fmla="*/ 6 w 6"/>
                  <a:gd name="T5" fmla="*/ 0 h 2"/>
                  <a:gd name="T6" fmla="*/ 4 w 6"/>
                  <a:gd name="T7" fmla="*/ 0 h 2"/>
                  <a:gd name="T8" fmla="*/ 0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0" y="2"/>
                    </a:move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</p:grpSp>
        <p:grpSp>
          <p:nvGrpSpPr>
            <p:cNvPr id="347" name="Group 1411">
              <a:extLst>
                <a:ext uri="{FF2B5EF4-FFF2-40B4-BE49-F238E27FC236}">
                  <a16:creationId xmlns:a16="http://schemas.microsoft.com/office/drawing/2014/main" id="{A85B448E-0781-4BBF-9912-F8FB8CFD937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729" y="1108952"/>
              <a:ext cx="5705483" cy="4943444"/>
              <a:chOff x="10" y="702"/>
              <a:chExt cx="3594" cy="3114"/>
            </a:xfrm>
            <a:grpFill/>
          </p:grpSpPr>
          <p:sp>
            <p:nvSpPr>
              <p:cNvPr id="508" name="Freeform 1211">
                <a:extLst>
                  <a:ext uri="{FF2B5EF4-FFF2-40B4-BE49-F238E27FC236}">
                    <a16:creationId xmlns:a16="http://schemas.microsoft.com/office/drawing/2014/main" id="{97544CD3-3C2A-49CA-91FB-9453F5974F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7" y="3404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2 w 3"/>
                  <a:gd name="T3" fmla="*/ 2 h 2"/>
                  <a:gd name="T4" fmla="*/ 3 w 3"/>
                  <a:gd name="T5" fmla="*/ 0 h 2"/>
                  <a:gd name="T6" fmla="*/ 2 w 3"/>
                  <a:gd name="T7" fmla="*/ 2 h 2"/>
                  <a:gd name="T8" fmla="*/ 0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2" y="2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09" name="Freeform 1212">
                <a:extLst>
                  <a:ext uri="{FF2B5EF4-FFF2-40B4-BE49-F238E27FC236}">
                    <a16:creationId xmlns:a16="http://schemas.microsoft.com/office/drawing/2014/main" id="{B9752CE5-C850-4C0C-917C-DC91E53201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4" y="3351"/>
                <a:ext cx="8" cy="14"/>
              </a:xfrm>
              <a:custGeom>
                <a:avLst/>
                <a:gdLst>
                  <a:gd name="T0" fmla="*/ 0 w 8"/>
                  <a:gd name="T1" fmla="*/ 14 h 14"/>
                  <a:gd name="T2" fmla="*/ 0 w 8"/>
                  <a:gd name="T3" fmla="*/ 14 h 14"/>
                  <a:gd name="T4" fmla="*/ 8 w 8"/>
                  <a:gd name="T5" fmla="*/ 0 h 14"/>
                  <a:gd name="T6" fmla="*/ 8 w 8"/>
                  <a:gd name="T7" fmla="*/ 0 h 14"/>
                  <a:gd name="T8" fmla="*/ 0 w 8"/>
                  <a:gd name="T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4">
                    <a:moveTo>
                      <a:pt x="0" y="14"/>
                    </a:moveTo>
                    <a:lnTo>
                      <a:pt x="0" y="1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10" name="Freeform 1213">
                <a:extLst>
                  <a:ext uri="{FF2B5EF4-FFF2-40B4-BE49-F238E27FC236}">
                    <a16:creationId xmlns:a16="http://schemas.microsoft.com/office/drawing/2014/main" id="{D91D3B9D-2CAF-4A47-8663-6335423559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7" y="3297"/>
                <a:ext cx="2" cy="6"/>
              </a:xfrm>
              <a:custGeom>
                <a:avLst/>
                <a:gdLst>
                  <a:gd name="T0" fmla="*/ 0 w 2"/>
                  <a:gd name="T1" fmla="*/ 2 h 6"/>
                  <a:gd name="T2" fmla="*/ 0 w 2"/>
                  <a:gd name="T3" fmla="*/ 2 h 6"/>
                  <a:gd name="T4" fmla="*/ 0 w 2"/>
                  <a:gd name="T5" fmla="*/ 4 h 6"/>
                  <a:gd name="T6" fmla="*/ 0 w 2"/>
                  <a:gd name="T7" fmla="*/ 6 h 6"/>
                  <a:gd name="T8" fmla="*/ 0 w 2"/>
                  <a:gd name="T9" fmla="*/ 4 h 6"/>
                  <a:gd name="T10" fmla="*/ 0 w 2"/>
                  <a:gd name="T11" fmla="*/ 2 h 6"/>
                  <a:gd name="T12" fmla="*/ 0 w 2"/>
                  <a:gd name="T13" fmla="*/ 2 h 6"/>
                  <a:gd name="T14" fmla="*/ 0 w 2"/>
                  <a:gd name="T15" fmla="*/ 0 h 6"/>
                  <a:gd name="T16" fmla="*/ 2 w 2"/>
                  <a:gd name="T17" fmla="*/ 0 h 6"/>
                  <a:gd name="T18" fmla="*/ 0 w 2"/>
                  <a:gd name="T19" fmla="*/ 0 h 6"/>
                  <a:gd name="T20" fmla="*/ 0 w 2"/>
                  <a:gd name="T21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11" name="Rectangle 1214">
                <a:extLst>
                  <a:ext uri="{FF2B5EF4-FFF2-40B4-BE49-F238E27FC236}">
                    <a16:creationId xmlns:a16="http://schemas.microsoft.com/office/drawing/2014/main" id="{B32FA49E-EC34-4EFD-ACF5-31F8E2822C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" y="340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12" name="Freeform 1215">
                <a:extLst>
                  <a:ext uri="{FF2B5EF4-FFF2-40B4-BE49-F238E27FC236}">
                    <a16:creationId xmlns:a16="http://schemas.microsoft.com/office/drawing/2014/main" id="{F8F26015-60F3-4292-81FB-184DD6FF65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0" y="3396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2 w 2"/>
                  <a:gd name="T3" fmla="*/ 0 h 6"/>
                  <a:gd name="T4" fmla="*/ 2 w 2"/>
                  <a:gd name="T5" fmla="*/ 0 h 6"/>
                  <a:gd name="T6" fmla="*/ 0 w 2"/>
                  <a:gd name="T7" fmla="*/ 6 h 6"/>
                  <a:gd name="T8" fmla="*/ 0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13" name="Freeform 1216">
                <a:extLst>
                  <a:ext uri="{FF2B5EF4-FFF2-40B4-BE49-F238E27FC236}">
                    <a16:creationId xmlns:a16="http://schemas.microsoft.com/office/drawing/2014/main" id="{3D336231-ED54-40B2-B031-2A30234FBE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0" y="3310"/>
                <a:ext cx="19" cy="12"/>
              </a:xfrm>
              <a:custGeom>
                <a:avLst/>
                <a:gdLst>
                  <a:gd name="T0" fmla="*/ 7 w 19"/>
                  <a:gd name="T1" fmla="*/ 2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7 w 19"/>
                  <a:gd name="T9" fmla="*/ 2 h 12"/>
                  <a:gd name="T10" fmla="*/ 11 w 19"/>
                  <a:gd name="T11" fmla="*/ 4 h 12"/>
                  <a:gd name="T12" fmla="*/ 19 w 19"/>
                  <a:gd name="T13" fmla="*/ 12 h 12"/>
                  <a:gd name="T14" fmla="*/ 11 w 19"/>
                  <a:gd name="T15" fmla="*/ 4 h 12"/>
                  <a:gd name="T16" fmla="*/ 7 w 19"/>
                  <a:gd name="T1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2">
                    <a:moveTo>
                      <a:pt x="7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7" y="2"/>
                    </a:lnTo>
                    <a:lnTo>
                      <a:pt x="11" y="4"/>
                    </a:lnTo>
                    <a:lnTo>
                      <a:pt x="19" y="12"/>
                    </a:lnTo>
                    <a:lnTo>
                      <a:pt x="11" y="4"/>
                    </a:lnTo>
                    <a:lnTo>
                      <a:pt x="7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14" name="Freeform 1217">
                <a:extLst>
                  <a:ext uri="{FF2B5EF4-FFF2-40B4-BE49-F238E27FC236}">
                    <a16:creationId xmlns:a16="http://schemas.microsoft.com/office/drawing/2014/main" id="{8D33348D-A278-4FEA-95C1-66CFA4D6AF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8" y="3369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6 w 6"/>
                  <a:gd name="T3" fmla="*/ 0 h 6"/>
                  <a:gd name="T4" fmla="*/ 6 w 6"/>
                  <a:gd name="T5" fmla="*/ 0 h 6"/>
                  <a:gd name="T6" fmla="*/ 6 w 6"/>
                  <a:gd name="T7" fmla="*/ 0 h 6"/>
                  <a:gd name="T8" fmla="*/ 0 w 6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15" name="Freeform 1218">
                <a:extLst>
                  <a:ext uri="{FF2B5EF4-FFF2-40B4-BE49-F238E27FC236}">
                    <a16:creationId xmlns:a16="http://schemas.microsoft.com/office/drawing/2014/main" id="{95A8CF10-8BBD-44A7-9CBA-96482DD738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4" y="3332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16" name="Freeform 1219">
                <a:extLst>
                  <a:ext uri="{FF2B5EF4-FFF2-40B4-BE49-F238E27FC236}">
                    <a16:creationId xmlns:a16="http://schemas.microsoft.com/office/drawing/2014/main" id="{2AEEE192-FD20-45B0-A7B0-4CF452CBE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7" y="3387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17" name="Freeform 1220">
                <a:extLst>
                  <a:ext uri="{FF2B5EF4-FFF2-40B4-BE49-F238E27FC236}">
                    <a16:creationId xmlns:a16="http://schemas.microsoft.com/office/drawing/2014/main" id="{32AF1ED6-ACED-44B2-8D60-933A9EE562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1" y="3348"/>
                <a:ext cx="2" cy="7"/>
              </a:xfrm>
              <a:custGeom>
                <a:avLst/>
                <a:gdLst>
                  <a:gd name="T0" fmla="*/ 0 w 2"/>
                  <a:gd name="T1" fmla="*/ 1 h 7"/>
                  <a:gd name="T2" fmla="*/ 0 w 2"/>
                  <a:gd name="T3" fmla="*/ 1 h 7"/>
                  <a:gd name="T4" fmla="*/ 2 w 2"/>
                  <a:gd name="T5" fmla="*/ 5 h 7"/>
                  <a:gd name="T6" fmla="*/ 2 w 2"/>
                  <a:gd name="T7" fmla="*/ 5 h 7"/>
                  <a:gd name="T8" fmla="*/ 2 w 2"/>
                  <a:gd name="T9" fmla="*/ 7 h 7"/>
                  <a:gd name="T10" fmla="*/ 2 w 2"/>
                  <a:gd name="T11" fmla="*/ 5 h 7"/>
                  <a:gd name="T12" fmla="*/ 2 w 2"/>
                  <a:gd name="T13" fmla="*/ 5 h 7"/>
                  <a:gd name="T14" fmla="*/ 0 w 2"/>
                  <a:gd name="T15" fmla="*/ 1 h 7"/>
                  <a:gd name="T16" fmla="*/ 0 w 2"/>
                  <a:gd name="T17" fmla="*/ 1 h 7"/>
                  <a:gd name="T18" fmla="*/ 0 w 2"/>
                  <a:gd name="T19" fmla="*/ 0 h 7"/>
                  <a:gd name="T20" fmla="*/ 0 w 2"/>
                  <a:gd name="T21" fmla="*/ 0 h 7"/>
                  <a:gd name="T22" fmla="*/ 0 w 2"/>
                  <a:gd name="T23" fmla="*/ 0 h 7"/>
                  <a:gd name="T24" fmla="*/ 0 w 2"/>
                  <a:gd name="T2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7">
                    <a:moveTo>
                      <a:pt x="0" y="1"/>
                    </a:moveTo>
                    <a:lnTo>
                      <a:pt x="0" y="1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18" name="Freeform 1221">
                <a:extLst>
                  <a:ext uri="{FF2B5EF4-FFF2-40B4-BE49-F238E27FC236}">
                    <a16:creationId xmlns:a16="http://schemas.microsoft.com/office/drawing/2014/main" id="{CFDF3926-0EEA-4E8E-8504-E5705CD81F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2" y="3365"/>
                <a:ext cx="10" cy="2"/>
              </a:xfrm>
              <a:custGeom>
                <a:avLst/>
                <a:gdLst>
                  <a:gd name="T0" fmla="*/ 10 w 10"/>
                  <a:gd name="T1" fmla="*/ 2 h 2"/>
                  <a:gd name="T2" fmla="*/ 0 w 10"/>
                  <a:gd name="T3" fmla="*/ 0 h 2"/>
                  <a:gd name="T4" fmla="*/ 10 w 10"/>
                  <a:gd name="T5" fmla="*/ 2 h 2"/>
                  <a:gd name="T6" fmla="*/ 10 w 10"/>
                  <a:gd name="T7" fmla="*/ 2 h 2"/>
                  <a:gd name="T8" fmla="*/ 10 w 10"/>
                  <a:gd name="T9" fmla="*/ 2 h 2"/>
                  <a:gd name="T10" fmla="*/ 10 w 10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2">
                    <a:moveTo>
                      <a:pt x="10" y="2"/>
                    </a:moveTo>
                    <a:lnTo>
                      <a:pt x="0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19" name="Freeform 1222">
                <a:extLst>
                  <a:ext uri="{FF2B5EF4-FFF2-40B4-BE49-F238E27FC236}">
                    <a16:creationId xmlns:a16="http://schemas.microsoft.com/office/drawing/2014/main" id="{09F6D0E1-0EFE-4C06-B6FA-5F1B17438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4" y="3344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20" name="Freeform 1223">
                <a:extLst>
                  <a:ext uri="{FF2B5EF4-FFF2-40B4-BE49-F238E27FC236}">
                    <a16:creationId xmlns:a16="http://schemas.microsoft.com/office/drawing/2014/main" id="{FF9AA092-2C06-4529-A3AA-AC0EB55580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5" y="3349"/>
                <a:ext cx="6" cy="0"/>
              </a:xfrm>
              <a:custGeom>
                <a:avLst/>
                <a:gdLst>
                  <a:gd name="T0" fmla="*/ 0 w 6"/>
                  <a:gd name="T1" fmla="*/ 0 w 6"/>
                  <a:gd name="T2" fmla="*/ 0 w 6"/>
                  <a:gd name="T3" fmla="*/ 4 w 6"/>
                  <a:gd name="T4" fmla="*/ 6 w 6"/>
                  <a:gd name="T5" fmla="*/ 4 w 6"/>
                  <a:gd name="T6" fmla="*/ 0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6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21" name="Freeform 1224">
                <a:extLst>
                  <a:ext uri="{FF2B5EF4-FFF2-40B4-BE49-F238E27FC236}">
                    <a16:creationId xmlns:a16="http://schemas.microsoft.com/office/drawing/2014/main" id="{0CDD4CA7-A725-4A80-9BB5-7E094EB775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" y="3307"/>
                <a:ext cx="0" cy="11"/>
              </a:xfrm>
              <a:custGeom>
                <a:avLst/>
                <a:gdLst>
                  <a:gd name="T0" fmla="*/ 5 h 11"/>
                  <a:gd name="T1" fmla="*/ 11 h 11"/>
                  <a:gd name="T2" fmla="*/ 5 h 11"/>
                  <a:gd name="T3" fmla="*/ 0 h 11"/>
                  <a:gd name="T4" fmla="*/ 0 h 11"/>
                  <a:gd name="T5" fmla="*/ 5 h 1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11">
                    <a:moveTo>
                      <a:pt x="0" y="5"/>
                    </a:moveTo>
                    <a:lnTo>
                      <a:pt x="0" y="11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22" name="Freeform 1225">
                <a:extLst>
                  <a:ext uri="{FF2B5EF4-FFF2-40B4-BE49-F238E27FC236}">
                    <a16:creationId xmlns:a16="http://schemas.microsoft.com/office/drawing/2014/main" id="{FD64DD16-D962-4209-93FD-1FBCC928DD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4" y="3355"/>
                <a:ext cx="14" cy="4"/>
              </a:xfrm>
              <a:custGeom>
                <a:avLst/>
                <a:gdLst>
                  <a:gd name="T0" fmla="*/ 0 w 14"/>
                  <a:gd name="T1" fmla="*/ 0 h 4"/>
                  <a:gd name="T2" fmla="*/ 6 w 14"/>
                  <a:gd name="T3" fmla="*/ 0 h 4"/>
                  <a:gd name="T4" fmla="*/ 14 w 14"/>
                  <a:gd name="T5" fmla="*/ 4 h 4"/>
                  <a:gd name="T6" fmla="*/ 6 w 14"/>
                  <a:gd name="T7" fmla="*/ 0 h 4"/>
                  <a:gd name="T8" fmla="*/ 0 w 1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4">
                    <a:moveTo>
                      <a:pt x="0" y="0"/>
                    </a:moveTo>
                    <a:lnTo>
                      <a:pt x="6" y="0"/>
                    </a:lnTo>
                    <a:lnTo>
                      <a:pt x="14" y="4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23" name="Rectangle 1226">
                <a:extLst>
                  <a:ext uri="{FF2B5EF4-FFF2-40B4-BE49-F238E27FC236}">
                    <a16:creationId xmlns:a16="http://schemas.microsoft.com/office/drawing/2014/main" id="{A7726236-219D-4F75-BC87-54A7D8235E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1" y="329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24" name="Freeform 1227">
                <a:extLst>
                  <a:ext uri="{FF2B5EF4-FFF2-40B4-BE49-F238E27FC236}">
                    <a16:creationId xmlns:a16="http://schemas.microsoft.com/office/drawing/2014/main" id="{B32100DC-656E-4435-93D4-78D6219D7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0" y="3334"/>
                <a:ext cx="6" cy="4"/>
              </a:xfrm>
              <a:custGeom>
                <a:avLst/>
                <a:gdLst>
                  <a:gd name="T0" fmla="*/ 2 w 6"/>
                  <a:gd name="T1" fmla="*/ 4 h 4"/>
                  <a:gd name="T2" fmla="*/ 2 w 6"/>
                  <a:gd name="T3" fmla="*/ 2 h 4"/>
                  <a:gd name="T4" fmla="*/ 0 w 6"/>
                  <a:gd name="T5" fmla="*/ 2 h 4"/>
                  <a:gd name="T6" fmla="*/ 0 w 6"/>
                  <a:gd name="T7" fmla="*/ 0 h 4"/>
                  <a:gd name="T8" fmla="*/ 0 w 6"/>
                  <a:gd name="T9" fmla="*/ 2 h 4"/>
                  <a:gd name="T10" fmla="*/ 2 w 6"/>
                  <a:gd name="T11" fmla="*/ 2 h 4"/>
                  <a:gd name="T12" fmla="*/ 2 w 6"/>
                  <a:gd name="T13" fmla="*/ 4 h 4"/>
                  <a:gd name="T14" fmla="*/ 6 w 6"/>
                  <a:gd name="T15" fmla="*/ 4 h 4"/>
                  <a:gd name="T16" fmla="*/ 6 w 6"/>
                  <a:gd name="T17" fmla="*/ 4 h 4"/>
                  <a:gd name="T18" fmla="*/ 6 w 6"/>
                  <a:gd name="T19" fmla="*/ 4 h 4"/>
                  <a:gd name="T20" fmla="*/ 2 w 6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25" name="Freeform 1228">
                <a:extLst>
                  <a:ext uri="{FF2B5EF4-FFF2-40B4-BE49-F238E27FC236}">
                    <a16:creationId xmlns:a16="http://schemas.microsoft.com/office/drawing/2014/main" id="{EEF157DB-8075-4D4F-98F8-3454938D11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8" y="335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26" name="Freeform 1229">
                <a:extLst>
                  <a:ext uri="{FF2B5EF4-FFF2-40B4-BE49-F238E27FC236}">
                    <a16:creationId xmlns:a16="http://schemas.microsoft.com/office/drawing/2014/main" id="{131CA8BA-C0C7-4CD5-A08D-C38D12E4A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2" y="3377"/>
                <a:ext cx="4" cy="8"/>
              </a:xfrm>
              <a:custGeom>
                <a:avLst/>
                <a:gdLst>
                  <a:gd name="T0" fmla="*/ 0 w 4"/>
                  <a:gd name="T1" fmla="*/ 4 h 8"/>
                  <a:gd name="T2" fmla="*/ 0 w 4"/>
                  <a:gd name="T3" fmla="*/ 8 h 8"/>
                  <a:gd name="T4" fmla="*/ 0 w 4"/>
                  <a:gd name="T5" fmla="*/ 4 h 8"/>
                  <a:gd name="T6" fmla="*/ 4 w 4"/>
                  <a:gd name="T7" fmla="*/ 0 h 8"/>
                  <a:gd name="T8" fmla="*/ 4 w 4"/>
                  <a:gd name="T9" fmla="*/ 0 h 8"/>
                  <a:gd name="T10" fmla="*/ 0 w 4"/>
                  <a:gd name="T1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0" y="4"/>
                    </a:moveTo>
                    <a:lnTo>
                      <a:pt x="0" y="8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27" name="Freeform 1230">
                <a:extLst>
                  <a:ext uri="{FF2B5EF4-FFF2-40B4-BE49-F238E27FC236}">
                    <a16:creationId xmlns:a16="http://schemas.microsoft.com/office/drawing/2014/main" id="{F8F63116-381B-4154-9593-C3B925BEC9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8" y="3373"/>
                <a:ext cx="4" cy="19"/>
              </a:xfrm>
              <a:custGeom>
                <a:avLst/>
                <a:gdLst>
                  <a:gd name="T0" fmla="*/ 0 w 4"/>
                  <a:gd name="T1" fmla="*/ 0 h 19"/>
                  <a:gd name="T2" fmla="*/ 2 w 4"/>
                  <a:gd name="T3" fmla="*/ 2 h 19"/>
                  <a:gd name="T4" fmla="*/ 4 w 4"/>
                  <a:gd name="T5" fmla="*/ 19 h 19"/>
                  <a:gd name="T6" fmla="*/ 2 w 4"/>
                  <a:gd name="T7" fmla="*/ 2 h 19"/>
                  <a:gd name="T8" fmla="*/ 0 w 4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9">
                    <a:moveTo>
                      <a:pt x="0" y="0"/>
                    </a:moveTo>
                    <a:lnTo>
                      <a:pt x="2" y="2"/>
                    </a:lnTo>
                    <a:lnTo>
                      <a:pt x="4" y="19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28" name="Freeform 1231">
                <a:extLst>
                  <a:ext uri="{FF2B5EF4-FFF2-40B4-BE49-F238E27FC236}">
                    <a16:creationId xmlns:a16="http://schemas.microsoft.com/office/drawing/2014/main" id="{63FFF31F-18AA-49AC-A8C7-94BC6C6BB8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5" y="3348"/>
                <a:ext cx="2" cy="1"/>
              </a:xfrm>
              <a:custGeom>
                <a:avLst/>
                <a:gdLst>
                  <a:gd name="T0" fmla="*/ 0 w 2"/>
                  <a:gd name="T1" fmla="*/ 0 h 1"/>
                  <a:gd name="T2" fmla="*/ 0 w 2"/>
                  <a:gd name="T3" fmla="*/ 0 h 1"/>
                  <a:gd name="T4" fmla="*/ 2 w 2"/>
                  <a:gd name="T5" fmla="*/ 1 h 1"/>
                  <a:gd name="T6" fmla="*/ 0 w 2"/>
                  <a:gd name="T7" fmla="*/ 0 h 1"/>
                  <a:gd name="T8" fmla="*/ 0 w 2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0" y="0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29" name="Rectangle 1232">
                <a:extLst>
                  <a:ext uri="{FF2B5EF4-FFF2-40B4-BE49-F238E27FC236}">
                    <a16:creationId xmlns:a16="http://schemas.microsoft.com/office/drawing/2014/main" id="{A67E91BB-0582-4595-B83D-F3CBC20A5A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11" y="334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30" name="Freeform 1233">
                <a:extLst>
                  <a:ext uri="{FF2B5EF4-FFF2-40B4-BE49-F238E27FC236}">
                    <a16:creationId xmlns:a16="http://schemas.microsoft.com/office/drawing/2014/main" id="{29751034-95AF-4286-8D34-032DCCD5C5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4" y="3371"/>
                <a:ext cx="8" cy="2"/>
              </a:xfrm>
              <a:custGeom>
                <a:avLst/>
                <a:gdLst>
                  <a:gd name="T0" fmla="*/ 0 w 8"/>
                  <a:gd name="T1" fmla="*/ 2 h 2"/>
                  <a:gd name="T2" fmla="*/ 2 w 8"/>
                  <a:gd name="T3" fmla="*/ 2 h 2"/>
                  <a:gd name="T4" fmla="*/ 8 w 8"/>
                  <a:gd name="T5" fmla="*/ 0 h 2"/>
                  <a:gd name="T6" fmla="*/ 2 w 8"/>
                  <a:gd name="T7" fmla="*/ 2 h 2"/>
                  <a:gd name="T8" fmla="*/ 0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lnTo>
                      <a:pt x="2" y="2"/>
                    </a:lnTo>
                    <a:lnTo>
                      <a:pt x="8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31" name="Freeform 1234">
                <a:extLst>
                  <a:ext uri="{FF2B5EF4-FFF2-40B4-BE49-F238E27FC236}">
                    <a16:creationId xmlns:a16="http://schemas.microsoft.com/office/drawing/2014/main" id="{5D7C6368-2483-45C6-8C1C-6DBC091D9E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3" y="3299"/>
                <a:ext cx="12" cy="4"/>
              </a:xfrm>
              <a:custGeom>
                <a:avLst/>
                <a:gdLst>
                  <a:gd name="T0" fmla="*/ 0 w 12"/>
                  <a:gd name="T1" fmla="*/ 0 h 4"/>
                  <a:gd name="T2" fmla="*/ 12 w 12"/>
                  <a:gd name="T3" fmla="*/ 2 h 4"/>
                  <a:gd name="T4" fmla="*/ 12 w 12"/>
                  <a:gd name="T5" fmla="*/ 4 h 4"/>
                  <a:gd name="T6" fmla="*/ 12 w 12"/>
                  <a:gd name="T7" fmla="*/ 2 h 4"/>
                  <a:gd name="T8" fmla="*/ 0 w 1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">
                    <a:moveTo>
                      <a:pt x="0" y="0"/>
                    </a:moveTo>
                    <a:lnTo>
                      <a:pt x="12" y="2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32" name="Freeform 1235">
                <a:extLst>
                  <a:ext uri="{FF2B5EF4-FFF2-40B4-BE49-F238E27FC236}">
                    <a16:creationId xmlns:a16="http://schemas.microsoft.com/office/drawing/2014/main" id="{9184955C-869C-4852-ACAA-2DA791371B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6" y="3344"/>
                <a:ext cx="2" cy="4"/>
              </a:xfrm>
              <a:custGeom>
                <a:avLst/>
                <a:gdLst>
                  <a:gd name="T0" fmla="*/ 2 w 2"/>
                  <a:gd name="T1" fmla="*/ 2 h 4"/>
                  <a:gd name="T2" fmla="*/ 2 w 2"/>
                  <a:gd name="T3" fmla="*/ 0 h 4"/>
                  <a:gd name="T4" fmla="*/ 0 w 2"/>
                  <a:gd name="T5" fmla="*/ 0 h 4"/>
                  <a:gd name="T6" fmla="*/ 2 w 2"/>
                  <a:gd name="T7" fmla="*/ 0 h 4"/>
                  <a:gd name="T8" fmla="*/ 2 w 2"/>
                  <a:gd name="T9" fmla="*/ 2 h 4"/>
                  <a:gd name="T10" fmla="*/ 2 w 2"/>
                  <a:gd name="T11" fmla="*/ 4 h 4"/>
                  <a:gd name="T12" fmla="*/ 2 w 2"/>
                  <a:gd name="T13" fmla="*/ 4 h 4"/>
                  <a:gd name="T14" fmla="*/ 2 w 2"/>
                  <a:gd name="T15" fmla="*/ 4 h 4"/>
                  <a:gd name="T16" fmla="*/ 2 w 2"/>
                  <a:gd name="T1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33" name="Freeform 1236">
                <a:extLst>
                  <a:ext uri="{FF2B5EF4-FFF2-40B4-BE49-F238E27FC236}">
                    <a16:creationId xmlns:a16="http://schemas.microsoft.com/office/drawing/2014/main" id="{3E65AD1D-8AA7-49DB-9AAC-B14671426E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9" y="3322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34" name="Rectangle 1237">
                <a:extLst>
                  <a:ext uri="{FF2B5EF4-FFF2-40B4-BE49-F238E27FC236}">
                    <a16:creationId xmlns:a16="http://schemas.microsoft.com/office/drawing/2014/main" id="{B8A9379B-61EE-4DBE-AF59-34A185096E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10" y="334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35" name="Rectangle 1238">
                <a:extLst>
                  <a:ext uri="{FF2B5EF4-FFF2-40B4-BE49-F238E27FC236}">
                    <a16:creationId xmlns:a16="http://schemas.microsoft.com/office/drawing/2014/main" id="{996B3176-1B9F-46E6-99D3-21EA218C47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2" y="336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36" name="Freeform 1239">
                <a:extLst>
                  <a:ext uri="{FF2B5EF4-FFF2-40B4-BE49-F238E27FC236}">
                    <a16:creationId xmlns:a16="http://schemas.microsoft.com/office/drawing/2014/main" id="{DDD73506-052C-45CC-AC23-FA209A567E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3326"/>
                <a:ext cx="14" cy="6"/>
              </a:xfrm>
              <a:custGeom>
                <a:avLst/>
                <a:gdLst>
                  <a:gd name="T0" fmla="*/ 0 w 14"/>
                  <a:gd name="T1" fmla="*/ 0 h 6"/>
                  <a:gd name="T2" fmla="*/ 6 w 14"/>
                  <a:gd name="T3" fmla="*/ 2 h 6"/>
                  <a:gd name="T4" fmla="*/ 14 w 14"/>
                  <a:gd name="T5" fmla="*/ 6 h 6"/>
                  <a:gd name="T6" fmla="*/ 6 w 14"/>
                  <a:gd name="T7" fmla="*/ 2 h 6"/>
                  <a:gd name="T8" fmla="*/ 0 w 1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6">
                    <a:moveTo>
                      <a:pt x="0" y="0"/>
                    </a:moveTo>
                    <a:lnTo>
                      <a:pt x="6" y="2"/>
                    </a:lnTo>
                    <a:lnTo>
                      <a:pt x="14" y="6"/>
                    </a:lnTo>
                    <a:lnTo>
                      <a:pt x="6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37" name="Freeform 1240">
                <a:extLst>
                  <a:ext uri="{FF2B5EF4-FFF2-40B4-BE49-F238E27FC236}">
                    <a16:creationId xmlns:a16="http://schemas.microsoft.com/office/drawing/2014/main" id="{D29679DA-DB47-4D44-AC8B-BF0207240E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2" y="3342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38" name="Freeform 1241">
                <a:extLst>
                  <a:ext uri="{FF2B5EF4-FFF2-40B4-BE49-F238E27FC236}">
                    <a16:creationId xmlns:a16="http://schemas.microsoft.com/office/drawing/2014/main" id="{0BD322F5-B9EA-4F56-869F-B7BB6FE3A3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3180"/>
                <a:ext cx="314" cy="636"/>
              </a:xfrm>
              <a:custGeom>
                <a:avLst/>
                <a:gdLst>
                  <a:gd name="T0" fmla="*/ 62 w 314"/>
                  <a:gd name="T1" fmla="*/ 599 h 636"/>
                  <a:gd name="T2" fmla="*/ 70 w 314"/>
                  <a:gd name="T3" fmla="*/ 587 h 636"/>
                  <a:gd name="T4" fmla="*/ 105 w 314"/>
                  <a:gd name="T5" fmla="*/ 558 h 636"/>
                  <a:gd name="T6" fmla="*/ 115 w 314"/>
                  <a:gd name="T7" fmla="*/ 538 h 636"/>
                  <a:gd name="T8" fmla="*/ 117 w 314"/>
                  <a:gd name="T9" fmla="*/ 529 h 636"/>
                  <a:gd name="T10" fmla="*/ 95 w 314"/>
                  <a:gd name="T11" fmla="*/ 521 h 636"/>
                  <a:gd name="T12" fmla="*/ 111 w 314"/>
                  <a:gd name="T13" fmla="*/ 505 h 636"/>
                  <a:gd name="T14" fmla="*/ 115 w 314"/>
                  <a:gd name="T15" fmla="*/ 496 h 636"/>
                  <a:gd name="T16" fmla="*/ 137 w 314"/>
                  <a:gd name="T17" fmla="*/ 497 h 636"/>
                  <a:gd name="T18" fmla="*/ 144 w 314"/>
                  <a:gd name="T19" fmla="*/ 511 h 636"/>
                  <a:gd name="T20" fmla="*/ 154 w 314"/>
                  <a:gd name="T21" fmla="*/ 515 h 636"/>
                  <a:gd name="T22" fmla="*/ 181 w 314"/>
                  <a:gd name="T23" fmla="*/ 509 h 636"/>
                  <a:gd name="T24" fmla="*/ 183 w 314"/>
                  <a:gd name="T25" fmla="*/ 499 h 636"/>
                  <a:gd name="T26" fmla="*/ 189 w 314"/>
                  <a:gd name="T27" fmla="*/ 499 h 636"/>
                  <a:gd name="T28" fmla="*/ 195 w 314"/>
                  <a:gd name="T29" fmla="*/ 496 h 636"/>
                  <a:gd name="T30" fmla="*/ 195 w 314"/>
                  <a:gd name="T31" fmla="*/ 490 h 636"/>
                  <a:gd name="T32" fmla="*/ 193 w 314"/>
                  <a:gd name="T33" fmla="*/ 484 h 636"/>
                  <a:gd name="T34" fmla="*/ 213 w 314"/>
                  <a:gd name="T35" fmla="*/ 470 h 636"/>
                  <a:gd name="T36" fmla="*/ 205 w 314"/>
                  <a:gd name="T37" fmla="*/ 456 h 636"/>
                  <a:gd name="T38" fmla="*/ 199 w 314"/>
                  <a:gd name="T39" fmla="*/ 441 h 636"/>
                  <a:gd name="T40" fmla="*/ 205 w 314"/>
                  <a:gd name="T41" fmla="*/ 414 h 636"/>
                  <a:gd name="T42" fmla="*/ 207 w 314"/>
                  <a:gd name="T43" fmla="*/ 402 h 636"/>
                  <a:gd name="T44" fmla="*/ 211 w 314"/>
                  <a:gd name="T45" fmla="*/ 394 h 636"/>
                  <a:gd name="T46" fmla="*/ 217 w 314"/>
                  <a:gd name="T47" fmla="*/ 371 h 636"/>
                  <a:gd name="T48" fmla="*/ 213 w 314"/>
                  <a:gd name="T49" fmla="*/ 333 h 636"/>
                  <a:gd name="T50" fmla="*/ 230 w 314"/>
                  <a:gd name="T51" fmla="*/ 302 h 636"/>
                  <a:gd name="T52" fmla="*/ 240 w 314"/>
                  <a:gd name="T53" fmla="*/ 281 h 636"/>
                  <a:gd name="T54" fmla="*/ 238 w 314"/>
                  <a:gd name="T55" fmla="*/ 259 h 636"/>
                  <a:gd name="T56" fmla="*/ 246 w 314"/>
                  <a:gd name="T57" fmla="*/ 244 h 636"/>
                  <a:gd name="T58" fmla="*/ 256 w 314"/>
                  <a:gd name="T59" fmla="*/ 205 h 636"/>
                  <a:gd name="T60" fmla="*/ 271 w 314"/>
                  <a:gd name="T61" fmla="*/ 191 h 636"/>
                  <a:gd name="T62" fmla="*/ 283 w 314"/>
                  <a:gd name="T63" fmla="*/ 179 h 636"/>
                  <a:gd name="T64" fmla="*/ 287 w 314"/>
                  <a:gd name="T65" fmla="*/ 173 h 636"/>
                  <a:gd name="T66" fmla="*/ 305 w 314"/>
                  <a:gd name="T67" fmla="*/ 144 h 636"/>
                  <a:gd name="T68" fmla="*/ 269 w 314"/>
                  <a:gd name="T69" fmla="*/ 111 h 636"/>
                  <a:gd name="T70" fmla="*/ 234 w 314"/>
                  <a:gd name="T71" fmla="*/ 109 h 636"/>
                  <a:gd name="T72" fmla="*/ 222 w 314"/>
                  <a:gd name="T73" fmla="*/ 109 h 636"/>
                  <a:gd name="T74" fmla="*/ 211 w 314"/>
                  <a:gd name="T75" fmla="*/ 101 h 636"/>
                  <a:gd name="T76" fmla="*/ 193 w 314"/>
                  <a:gd name="T77" fmla="*/ 85 h 636"/>
                  <a:gd name="T78" fmla="*/ 181 w 314"/>
                  <a:gd name="T79" fmla="*/ 76 h 636"/>
                  <a:gd name="T80" fmla="*/ 170 w 314"/>
                  <a:gd name="T81" fmla="*/ 84 h 636"/>
                  <a:gd name="T82" fmla="*/ 160 w 314"/>
                  <a:gd name="T83" fmla="*/ 91 h 636"/>
                  <a:gd name="T84" fmla="*/ 135 w 314"/>
                  <a:gd name="T85" fmla="*/ 87 h 636"/>
                  <a:gd name="T86" fmla="*/ 125 w 314"/>
                  <a:gd name="T87" fmla="*/ 87 h 636"/>
                  <a:gd name="T88" fmla="*/ 101 w 314"/>
                  <a:gd name="T89" fmla="*/ 66 h 636"/>
                  <a:gd name="T90" fmla="*/ 86 w 314"/>
                  <a:gd name="T91" fmla="*/ 74 h 636"/>
                  <a:gd name="T92" fmla="*/ 66 w 314"/>
                  <a:gd name="T93" fmla="*/ 78 h 636"/>
                  <a:gd name="T94" fmla="*/ 60 w 314"/>
                  <a:gd name="T95" fmla="*/ 66 h 636"/>
                  <a:gd name="T96" fmla="*/ 56 w 314"/>
                  <a:gd name="T97" fmla="*/ 56 h 636"/>
                  <a:gd name="T98" fmla="*/ 53 w 314"/>
                  <a:gd name="T99" fmla="*/ 50 h 636"/>
                  <a:gd name="T100" fmla="*/ 43 w 314"/>
                  <a:gd name="T101" fmla="*/ 29 h 636"/>
                  <a:gd name="T102" fmla="*/ 33 w 314"/>
                  <a:gd name="T103" fmla="*/ 13 h 636"/>
                  <a:gd name="T104" fmla="*/ 8 w 314"/>
                  <a:gd name="T105" fmla="*/ 2 h 636"/>
                  <a:gd name="T106" fmla="*/ 19 w 314"/>
                  <a:gd name="T107" fmla="*/ 636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14" h="636">
                    <a:moveTo>
                      <a:pt x="27" y="626"/>
                    </a:moveTo>
                    <a:lnTo>
                      <a:pt x="47" y="620"/>
                    </a:lnTo>
                    <a:lnTo>
                      <a:pt x="56" y="613"/>
                    </a:lnTo>
                    <a:lnTo>
                      <a:pt x="60" y="607"/>
                    </a:lnTo>
                    <a:lnTo>
                      <a:pt x="58" y="603"/>
                    </a:lnTo>
                    <a:lnTo>
                      <a:pt x="62" y="599"/>
                    </a:lnTo>
                    <a:lnTo>
                      <a:pt x="62" y="597"/>
                    </a:lnTo>
                    <a:lnTo>
                      <a:pt x="66" y="595"/>
                    </a:lnTo>
                    <a:lnTo>
                      <a:pt x="68" y="593"/>
                    </a:lnTo>
                    <a:lnTo>
                      <a:pt x="68" y="593"/>
                    </a:lnTo>
                    <a:lnTo>
                      <a:pt x="70" y="591"/>
                    </a:lnTo>
                    <a:lnTo>
                      <a:pt x="70" y="587"/>
                    </a:lnTo>
                    <a:lnTo>
                      <a:pt x="76" y="585"/>
                    </a:lnTo>
                    <a:lnTo>
                      <a:pt x="86" y="576"/>
                    </a:lnTo>
                    <a:lnTo>
                      <a:pt x="86" y="576"/>
                    </a:lnTo>
                    <a:lnTo>
                      <a:pt x="90" y="570"/>
                    </a:lnTo>
                    <a:lnTo>
                      <a:pt x="95" y="566"/>
                    </a:lnTo>
                    <a:lnTo>
                      <a:pt x="105" y="558"/>
                    </a:lnTo>
                    <a:lnTo>
                      <a:pt x="105" y="550"/>
                    </a:lnTo>
                    <a:lnTo>
                      <a:pt x="107" y="546"/>
                    </a:lnTo>
                    <a:lnTo>
                      <a:pt x="109" y="542"/>
                    </a:lnTo>
                    <a:lnTo>
                      <a:pt x="111" y="542"/>
                    </a:lnTo>
                    <a:lnTo>
                      <a:pt x="111" y="542"/>
                    </a:lnTo>
                    <a:lnTo>
                      <a:pt x="115" y="538"/>
                    </a:lnTo>
                    <a:lnTo>
                      <a:pt x="117" y="538"/>
                    </a:lnTo>
                    <a:lnTo>
                      <a:pt x="117" y="537"/>
                    </a:lnTo>
                    <a:lnTo>
                      <a:pt x="119" y="537"/>
                    </a:lnTo>
                    <a:lnTo>
                      <a:pt x="121" y="535"/>
                    </a:lnTo>
                    <a:lnTo>
                      <a:pt x="119" y="531"/>
                    </a:lnTo>
                    <a:lnTo>
                      <a:pt x="117" y="529"/>
                    </a:lnTo>
                    <a:lnTo>
                      <a:pt x="113" y="527"/>
                    </a:lnTo>
                    <a:lnTo>
                      <a:pt x="111" y="529"/>
                    </a:lnTo>
                    <a:lnTo>
                      <a:pt x="92" y="531"/>
                    </a:lnTo>
                    <a:lnTo>
                      <a:pt x="92" y="527"/>
                    </a:lnTo>
                    <a:lnTo>
                      <a:pt x="94" y="523"/>
                    </a:lnTo>
                    <a:lnTo>
                      <a:pt x="95" y="521"/>
                    </a:lnTo>
                    <a:lnTo>
                      <a:pt x="101" y="517"/>
                    </a:lnTo>
                    <a:lnTo>
                      <a:pt x="101" y="513"/>
                    </a:lnTo>
                    <a:lnTo>
                      <a:pt x="105" y="511"/>
                    </a:lnTo>
                    <a:lnTo>
                      <a:pt x="107" y="511"/>
                    </a:lnTo>
                    <a:lnTo>
                      <a:pt x="111" y="509"/>
                    </a:lnTo>
                    <a:lnTo>
                      <a:pt x="111" y="505"/>
                    </a:lnTo>
                    <a:lnTo>
                      <a:pt x="111" y="503"/>
                    </a:lnTo>
                    <a:lnTo>
                      <a:pt x="109" y="499"/>
                    </a:lnTo>
                    <a:lnTo>
                      <a:pt x="109" y="497"/>
                    </a:lnTo>
                    <a:lnTo>
                      <a:pt x="111" y="496"/>
                    </a:lnTo>
                    <a:lnTo>
                      <a:pt x="113" y="496"/>
                    </a:lnTo>
                    <a:lnTo>
                      <a:pt x="115" y="496"/>
                    </a:lnTo>
                    <a:lnTo>
                      <a:pt x="117" y="496"/>
                    </a:lnTo>
                    <a:lnTo>
                      <a:pt x="119" y="496"/>
                    </a:lnTo>
                    <a:lnTo>
                      <a:pt x="123" y="497"/>
                    </a:lnTo>
                    <a:lnTo>
                      <a:pt x="131" y="496"/>
                    </a:lnTo>
                    <a:lnTo>
                      <a:pt x="135" y="496"/>
                    </a:lnTo>
                    <a:lnTo>
                      <a:pt x="137" y="497"/>
                    </a:lnTo>
                    <a:lnTo>
                      <a:pt x="137" y="497"/>
                    </a:lnTo>
                    <a:lnTo>
                      <a:pt x="138" y="497"/>
                    </a:lnTo>
                    <a:lnTo>
                      <a:pt x="144" y="497"/>
                    </a:lnTo>
                    <a:lnTo>
                      <a:pt x="140" y="505"/>
                    </a:lnTo>
                    <a:lnTo>
                      <a:pt x="142" y="509"/>
                    </a:lnTo>
                    <a:lnTo>
                      <a:pt x="144" y="511"/>
                    </a:lnTo>
                    <a:lnTo>
                      <a:pt x="150" y="511"/>
                    </a:lnTo>
                    <a:lnTo>
                      <a:pt x="150" y="513"/>
                    </a:lnTo>
                    <a:lnTo>
                      <a:pt x="152" y="513"/>
                    </a:lnTo>
                    <a:lnTo>
                      <a:pt x="152" y="515"/>
                    </a:lnTo>
                    <a:lnTo>
                      <a:pt x="152" y="515"/>
                    </a:lnTo>
                    <a:lnTo>
                      <a:pt x="154" y="515"/>
                    </a:lnTo>
                    <a:lnTo>
                      <a:pt x="160" y="511"/>
                    </a:lnTo>
                    <a:lnTo>
                      <a:pt x="166" y="511"/>
                    </a:lnTo>
                    <a:lnTo>
                      <a:pt x="170" y="511"/>
                    </a:lnTo>
                    <a:lnTo>
                      <a:pt x="178" y="511"/>
                    </a:lnTo>
                    <a:lnTo>
                      <a:pt x="178" y="511"/>
                    </a:lnTo>
                    <a:lnTo>
                      <a:pt x="181" y="509"/>
                    </a:lnTo>
                    <a:lnTo>
                      <a:pt x="183" y="507"/>
                    </a:lnTo>
                    <a:lnTo>
                      <a:pt x="185" y="505"/>
                    </a:lnTo>
                    <a:lnTo>
                      <a:pt x="185" y="503"/>
                    </a:lnTo>
                    <a:lnTo>
                      <a:pt x="185" y="501"/>
                    </a:lnTo>
                    <a:lnTo>
                      <a:pt x="183" y="501"/>
                    </a:lnTo>
                    <a:lnTo>
                      <a:pt x="183" y="499"/>
                    </a:lnTo>
                    <a:lnTo>
                      <a:pt x="183" y="497"/>
                    </a:lnTo>
                    <a:lnTo>
                      <a:pt x="183" y="497"/>
                    </a:lnTo>
                    <a:lnTo>
                      <a:pt x="185" y="496"/>
                    </a:lnTo>
                    <a:lnTo>
                      <a:pt x="187" y="497"/>
                    </a:lnTo>
                    <a:lnTo>
                      <a:pt x="187" y="497"/>
                    </a:lnTo>
                    <a:lnTo>
                      <a:pt x="189" y="499"/>
                    </a:lnTo>
                    <a:lnTo>
                      <a:pt x="191" y="499"/>
                    </a:lnTo>
                    <a:lnTo>
                      <a:pt x="193" y="497"/>
                    </a:lnTo>
                    <a:lnTo>
                      <a:pt x="195" y="496"/>
                    </a:lnTo>
                    <a:lnTo>
                      <a:pt x="195" y="496"/>
                    </a:lnTo>
                    <a:lnTo>
                      <a:pt x="195" y="496"/>
                    </a:lnTo>
                    <a:lnTo>
                      <a:pt x="195" y="496"/>
                    </a:lnTo>
                    <a:lnTo>
                      <a:pt x="195" y="494"/>
                    </a:lnTo>
                    <a:lnTo>
                      <a:pt x="193" y="492"/>
                    </a:lnTo>
                    <a:lnTo>
                      <a:pt x="193" y="492"/>
                    </a:lnTo>
                    <a:lnTo>
                      <a:pt x="193" y="492"/>
                    </a:lnTo>
                    <a:lnTo>
                      <a:pt x="193" y="490"/>
                    </a:lnTo>
                    <a:lnTo>
                      <a:pt x="195" y="490"/>
                    </a:lnTo>
                    <a:lnTo>
                      <a:pt x="197" y="490"/>
                    </a:lnTo>
                    <a:lnTo>
                      <a:pt x="197" y="490"/>
                    </a:lnTo>
                    <a:lnTo>
                      <a:pt x="197" y="486"/>
                    </a:lnTo>
                    <a:lnTo>
                      <a:pt x="197" y="486"/>
                    </a:lnTo>
                    <a:lnTo>
                      <a:pt x="195" y="484"/>
                    </a:lnTo>
                    <a:lnTo>
                      <a:pt x="193" y="484"/>
                    </a:lnTo>
                    <a:lnTo>
                      <a:pt x="201" y="478"/>
                    </a:lnTo>
                    <a:lnTo>
                      <a:pt x="201" y="478"/>
                    </a:lnTo>
                    <a:lnTo>
                      <a:pt x="205" y="476"/>
                    </a:lnTo>
                    <a:lnTo>
                      <a:pt x="211" y="474"/>
                    </a:lnTo>
                    <a:lnTo>
                      <a:pt x="211" y="474"/>
                    </a:lnTo>
                    <a:lnTo>
                      <a:pt x="213" y="470"/>
                    </a:lnTo>
                    <a:lnTo>
                      <a:pt x="213" y="470"/>
                    </a:lnTo>
                    <a:lnTo>
                      <a:pt x="213" y="468"/>
                    </a:lnTo>
                    <a:lnTo>
                      <a:pt x="211" y="466"/>
                    </a:lnTo>
                    <a:lnTo>
                      <a:pt x="211" y="466"/>
                    </a:lnTo>
                    <a:lnTo>
                      <a:pt x="209" y="464"/>
                    </a:lnTo>
                    <a:lnTo>
                      <a:pt x="205" y="456"/>
                    </a:lnTo>
                    <a:lnTo>
                      <a:pt x="203" y="455"/>
                    </a:lnTo>
                    <a:lnTo>
                      <a:pt x="201" y="453"/>
                    </a:lnTo>
                    <a:lnTo>
                      <a:pt x="199" y="451"/>
                    </a:lnTo>
                    <a:lnTo>
                      <a:pt x="199" y="449"/>
                    </a:lnTo>
                    <a:lnTo>
                      <a:pt x="199" y="443"/>
                    </a:lnTo>
                    <a:lnTo>
                      <a:pt x="199" y="441"/>
                    </a:lnTo>
                    <a:lnTo>
                      <a:pt x="203" y="439"/>
                    </a:lnTo>
                    <a:lnTo>
                      <a:pt x="203" y="437"/>
                    </a:lnTo>
                    <a:lnTo>
                      <a:pt x="203" y="433"/>
                    </a:lnTo>
                    <a:lnTo>
                      <a:pt x="201" y="425"/>
                    </a:lnTo>
                    <a:lnTo>
                      <a:pt x="201" y="421"/>
                    </a:lnTo>
                    <a:lnTo>
                      <a:pt x="205" y="414"/>
                    </a:lnTo>
                    <a:lnTo>
                      <a:pt x="205" y="412"/>
                    </a:lnTo>
                    <a:lnTo>
                      <a:pt x="207" y="410"/>
                    </a:lnTo>
                    <a:lnTo>
                      <a:pt x="207" y="408"/>
                    </a:lnTo>
                    <a:lnTo>
                      <a:pt x="207" y="404"/>
                    </a:lnTo>
                    <a:lnTo>
                      <a:pt x="207" y="402"/>
                    </a:lnTo>
                    <a:lnTo>
                      <a:pt x="207" y="402"/>
                    </a:lnTo>
                    <a:lnTo>
                      <a:pt x="207" y="400"/>
                    </a:lnTo>
                    <a:lnTo>
                      <a:pt x="207" y="400"/>
                    </a:lnTo>
                    <a:lnTo>
                      <a:pt x="207" y="398"/>
                    </a:lnTo>
                    <a:lnTo>
                      <a:pt x="209" y="398"/>
                    </a:lnTo>
                    <a:lnTo>
                      <a:pt x="209" y="396"/>
                    </a:lnTo>
                    <a:lnTo>
                      <a:pt x="211" y="394"/>
                    </a:lnTo>
                    <a:lnTo>
                      <a:pt x="211" y="392"/>
                    </a:lnTo>
                    <a:lnTo>
                      <a:pt x="211" y="388"/>
                    </a:lnTo>
                    <a:lnTo>
                      <a:pt x="211" y="386"/>
                    </a:lnTo>
                    <a:lnTo>
                      <a:pt x="217" y="380"/>
                    </a:lnTo>
                    <a:lnTo>
                      <a:pt x="217" y="378"/>
                    </a:lnTo>
                    <a:lnTo>
                      <a:pt x="217" y="371"/>
                    </a:lnTo>
                    <a:lnTo>
                      <a:pt x="209" y="357"/>
                    </a:lnTo>
                    <a:lnTo>
                      <a:pt x="209" y="347"/>
                    </a:lnTo>
                    <a:lnTo>
                      <a:pt x="211" y="341"/>
                    </a:lnTo>
                    <a:lnTo>
                      <a:pt x="211" y="337"/>
                    </a:lnTo>
                    <a:lnTo>
                      <a:pt x="213" y="335"/>
                    </a:lnTo>
                    <a:lnTo>
                      <a:pt x="213" y="333"/>
                    </a:lnTo>
                    <a:lnTo>
                      <a:pt x="215" y="332"/>
                    </a:lnTo>
                    <a:lnTo>
                      <a:pt x="215" y="330"/>
                    </a:lnTo>
                    <a:lnTo>
                      <a:pt x="217" y="326"/>
                    </a:lnTo>
                    <a:lnTo>
                      <a:pt x="226" y="310"/>
                    </a:lnTo>
                    <a:lnTo>
                      <a:pt x="228" y="308"/>
                    </a:lnTo>
                    <a:lnTo>
                      <a:pt x="230" y="302"/>
                    </a:lnTo>
                    <a:lnTo>
                      <a:pt x="230" y="298"/>
                    </a:lnTo>
                    <a:lnTo>
                      <a:pt x="230" y="292"/>
                    </a:lnTo>
                    <a:lnTo>
                      <a:pt x="234" y="291"/>
                    </a:lnTo>
                    <a:lnTo>
                      <a:pt x="236" y="289"/>
                    </a:lnTo>
                    <a:lnTo>
                      <a:pt x="238" y="285"/>
                    </a:lnTo>
                    <a:lnTo>
                      <a:pt x="240" y="281"/>
                    </a:lnTo>
                    <a:lnTo>
                      <a:pt x="238" y="279"/>
                    </a:lnTo>
                    <a:lnTo>
                      <a:pt x="238" y="275"/>
                    </a:lnTo>
                    <a:lnTo>
                      <a:pt x="236" y="273"/>
                    </a:lnTo>
                    <a:lnTo>
                      <a:pt x="236" y="269"/>
                    </a:lnTo>
                    <a:lnTo>
                      <a:pt x="238" y="261"/>
                    </a:lnTo>
                    <a:lnTo>
                      <a:pt x="238" y="259"/>
                    </a:lnTo>
                    <a:lnTo>
                      <a:pt x="240" y="257"/>
                    </a:lnTo>
                    <a:lnTo>
                      <a:pt x="242" y="255"/>
                    </a:lnTo>
                    <a:lnTo>
                      <a:pt x="242" y="253"/>
                    </a:lnTo>
                    <a:lnTo>
                      <a:pt x="242" y="248"/>
                    </a:lnTo>
                    <a:lnTo>
                      <a:pt x="244" y="246"/>
                    </a:lnTo>
                    <a:lnTo>
                      <a:pt x="246" y="244"/>
                    </a:lnTo>
                    <a:lnTo>
                      <a:pt x="250" y="240"/>
                    </a:lnTo>
                    <a:lnTo>
                      <a:pt x="250" y="238"/>
                    </a:lnTo>
                    <a:lnTo>
                      <a:pt x="248" y="234"/>
                    </a:lnTo>
                    <a:lnTo>
                      <a:pt x="248" y="224"/>
                    </a:lnTo>
                    <a:lnTo>
                      <a:pt x="250" y="216"/>
                    </a:lnTo>
                    <a:lnTo>
                      <a:pt x="256" y="205"/>
                    </a:lnTo>
                    <a:lnTo>
                      <a:pt x="258" y="205"/>
                    </a:lnTo>
                    <a:lnTo>
                      <a:pt x="262" y="203"/>
                    </a:lnTo>
                    <a:lnTo>
                      <a:pt x="263" y="201"/>
                    </a:lnTo>
                    <a:lnTo>
                      <a:pt x="267" y="195"/>
                    </a:lnTo>
                    <a:lnTo>
                      <a:pt x="269" y="195"/>
                    </a:lnTo>
                    <a:lnTo>
                      <a:pt x="271" y="191"/>
                    </a:lnTo>
                    <a:lnTo>
                      <a:pt x="273" y="189"/>
                    </a:lnTo>
                    <a:lnTo>
                      <a:pt x="275" y="187"/>
                    </a:lnTo>
                    <a:lnTo>
                      <a:pt x="275" y="183"/>
                    </a:lnTo>
                    <a:lnTo>
                      <a:pt x="275" y="181"/>
                    </a:lnTo>
                    <a:lnTo>
                      <a:pt x="277" y="179"/>
                    </a:lnTo>
                    <a:lnTo>
                      <a:pt x="283" y="179"/>
                    </a:lnTo>
                    <a:lnTo>
                      <a:pt x="283" y="179"/>
                    </a:lnTo>
                    <a:lnTo>
                      <a:pt x="285" y="179"/>
                    </a:lnTo>
                    <a:lnTo>
                      <a:pt x="285" y="177"/>
                    </a:lnTo>
                    <a:lnTo>
                      <a:pt x="285" y="175"/>
                    </a:lnTo>
                    <a:lnTo>
                      <a:pt x="287" y="173"/>
                    </a:lnTo>
                    <a:lnTo>
                      <a:pt x="287" y="173"/>
                    </a:lnTo>
                    <a:lnTo>
                      <a:pt x="287" y="171"/>
                    </a:lnTo>
                    <a:lnTo>
                      <a:pt x="289" y="171"/>
                    </a:lnTo>
                    <a:lnTo>
                      <a:pt x="295" y="169"/>
                    </a:lnTo>
                    <a:lnTo>
                      <a:pt x="297" y="168"/>
                    </a:lnTo>
                    <a:lnTo>
                      <a:pt x="299" y="164"/>
                    </a:lnTo>
                    <a:lnTo>
                      <a:pt x="305" y="144"/>
                    </a:lnTo>
                    <a:lnTo>
                      <a:pt x="310" y="134"/>
                    </a:lnTo>
                    <a:lnTo>
                      <a:pt x="314" y="128"/>
                    </a:lnTo>
                    <a:lnTo>
                      <a:pt x="314" y="128"/>
                    </a:lnTo>
                    <a:lnTo>
                      <a:pt x="312" y="128"/>
                    </a:lnTo>
                    <a:lnTo>
                      <a:pt x="297" y="125"/>
                    </a:lnTo>
                    <a:lnTo>
                      <a:pt x="269" y="111"/>
                    </a:lnTo>
                    <a:lnTo>
                      <a:pt x="265" y="109"/>
                    </a:lnTo>
                    <a:lnTo>
                      <a:pt x="258" y="111"/>
                    </a:lnTo>
                    <a:lnTo>
                      <a:pt x="242" y="107"/>
                    </a:lnTo>
                    <a:lnTo>
                      <a:pt x="240" y="107"/>
                    </a:lnTo>
                    <a:lnTo>
                      <a:pt x="236" y="109"/>
                    </a:lnTo>
                    <a:lnTo>
                      <a:pt x="234" y="109"/>
                    </a:lnTo>
                    <a:lnTo>
                      <a:pt x="234" y="109"/>
                    </a:lnTo>
                    <a:lnTo>
                      <a:pt x="230" y="109"/>
                    </a:lnTo>
                    <a:lnTo>
                      <a:pt x="228" y="107"/>
                    </a:lnTo>
                    <a:lnTo>
                      <a:pt x="226" y="109"/>
                    </a:lnTo>
                    <a:lnTo>
                      <a:pt x="224" y="109"/>
                    </a:lnTo>
                    <a:lnTo>
                      <a:pt x="222" y="109"/>
                    </a:lnTo>
                    <a:lnTo>
                      <a:pt x="221" y="109"/>
                    </a:lnTo>
                    <a:lnTo>
                      <a:pt x="219" y="109"/>
                    </a:lnTo>
                    <a:lnTo>
                      <a:pt x="219" y="107"/>
                    </a:lnTo>
                    <a:lnTo>
                      <a:pt x="217" y="105"/>
                    </a:lnTo>
                    <a:lnTo>
                      <a:pt x="215" y="103"/>
                    </a:lnTo>
                    <a:lnTo>
                      <a:pt x="211" y="101"/>
                    </a:lnTo>
                    <a:lnTo>
                      <a:pt x="205" y="99"/>
                    </a:lnTo>
                    <a:lnTo>
                      <a:pt x="201" y="97"/>
                    </a:lnTo>
                    <a:lnTo>
                      <a:pt x="199" y="95"/>
                    </a:lnTo>
                    <a:lnTo>
                      <a:pt x="195" y="89"/>
                    </a:lnTo>
                    <a:lnTo>
                      <a:pt x="191" y="85"/>
                    </a:lnTo>
                    <a:lnTo>
                      <a:pt x="193" y="85"/>
                    </a:lnTo>
                    <a:lnTo>
                      <a:pt x="193" y="85"/>
                    </a:lnTo>
                    <a:lnTo>
                      <a:pt x="193" y="84"/>
                    </a:lnTo>
                    <a:lnTo>
                      <a:pt x="193" y="80"/>
                    </a:lnTo>
                    <a:lnTo>
                      <a:pt x="189" y="80"/>
                    </a:lnTo>
                    <a:lnTo>
                      <a:pt x="183" y="80"/>
                    </a:lnTo>
                    <a:lnTo>
                      <a:pt x="181" y="76"/>
                    </a:lnTo>
                    <a:lnTo>
                      <a:pt x="179" y="76"/>
                    </a:lnTo>
                    <a:lnTo>
                      <a:pt x="176" y="76"/>
                    </a:lnTo>
                    <a:lnTo>
                      <a:pt x="176" y="78"/>
                    </a:lnTo>
                    <a:lnTo>
                      <a:pt x="172" y="78"/>
                    </a:lnTo>
                    <a:lnTo>
                      <a:pt x="172" y="80"/>
                    </a:lnTo>
                    <a:lnTo>
                      <a:pt x="170" y="84"/>
                    </a:lnTo>
                    <a:lnTo>
                      <a:pt x="170" y="85"/>
                    </a:lnTo>
                    <a:lnTo>
                      <a:pt x="168" y="85"/>
                    </a:lnTo>
                    <a:lnTo>
                      <a:pt x="164" y="85"/>
                    </a:lnTo>
                    <a:lnTo>
                      <a:pt x="164" y="85"/>
                    </a:lnTo>
                    <a:lnTo>
                      <a:pt x="162" y="87"/>
                    </a:lnTo>
                    <a:lnTo>
                      <a:pt x="160" y="91"/>
                    </a:lnTo>
                    <a:lnTo>
                      <a:pt x="160" y="91"/>
                    </a:lnTo>
                    <a:lnTo>
                      <a:pt x="158" y="91"/>
                    </a:lnTo>
                    <a:lnTo>
                      <a:pt x="154" y="89"/>
                    </a:lnTo>
                    <a:lnTo>
                      <a:pt x="138" y="89"/>
                    </a:lnTo>
                    <a:lnTo>
                      <a:pt x="137" y="89"/>
                    </a:lnTo>
                    <a:lnTo>
                      <a:pt x="135" y="87"/>
                    </a:lnTo>
                    <a:lnTo>
                      <a:pt x="127" y="84"/>
                    </a:lnTo>
                    <a:lnTo>
                      <a:pt x="127" y="84"/>
                    </a:lnTo>
                    <a:lnTo>
                      <a:pt x="125" y="84"/>
                    </a:lnTo>
                    <a:lnTo>
                      <a:pt x="125" y="85"/>
                    </a:lnTo>
                    <a:lnTo>
                      <a:pt x="127" y="87"/>
                    </a:lnTo>
                    <a:lnTo>
                      <a:pt x="125" y="87"/>
                    </a:lnTo>
                    <a:lnTo>
                      <a:pt x="121" y="91"/>
                    </a:lnTo>
                    <a:lnTo>
                      <a:pt x="117" y="89"/>
                    </a:lnTo>
                    <a:lnTo>
                      <a:pt x="115" y="82"/>
                    </a:lnTo>
                    <a:lnTo>
                      <a:pt x="115" y="72"/>
                    </a:lnTo>
                    <a:lnTo>
                      <a:pt x="111" y="72"/>
                    </a:lnTo>
                    <a:lnTo>
                      <a:pt x="101" y="66"/>
                    </a:lnTo>
                    <a:lnTo>
                      <a:pt x="99" y="66"/>
                    </a:lnTo>
                    <a:lnTo>
                      <a:pt x="94" y="66"/>
                    </a:lnTo>
                    <a:lnTo>
                      <a:pt x="88" y="66"/>
                    </a:lnTo>
                    <a:lnTo>
                      <a:pt x="86" y="66"/>
                    </a:lnTo>
                    <a:lnTo>
                      <a:pt x="84" y="70"/>
                    </a:lnTo>
                    <a:lnTo>
                      <a:pt x="86" y="74"/>
                    </a:lnTo>
                    <a:lnTo>
                      <a:pt x="86" y="78"/>
                    </a:lnTo>
                    <a:lnTo>
                      <a:pt x="84" y="82"/>
                    </a:lnTo>
                    <a:lnTo>
                      <a:pt x="82" y="82"/>
                    </a:lnTo>
                    <a:lnTo>
                      <a:pt x="74" y="80"/>
                    </a:lnTo>
                    <a:lnTo>
                      <a:pt x="68" y="80"/>
                    </a:lnTo>
                    <a:lnTo>
                      <a:pt x="66" y="78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2" y="64"/>
                    </a:lnTo>
                    <a:lnTo>
                      <a:pt x="60" y="66"/>
                    </a:lnTo>
                    <a:lnTo>
                      <a:pt x="60" y="66"/>
                    </a:lnTo>
                    <a:lnTo>
                      <a:pt x="60" y="66"/>
                    </a:lnTo>
                    <a:lnTo>
                      <a:pt x="58" y="64"/>
                    </a:lnTo>
                    <a:lnTo>
                      <a:pt x="58" y="62"/>
                    </a:lnTo>
                    <a:lnTo>
                      <a:pt x="58" y="62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4" y="54"/>
                    </a:lnTo>
                    <a:lnTo>
                      <a:pt x="53" y="54"/>
                    </a:lnTo>
                    <a:lnTo>
                      <a:pt x="53" y="54"/>
                    </a:lnTo>
                    <a:lnTo>
                      <a:pt x="53" y="50"/>
                    </a:lnTo>
                    <a:lnTo>
                      <a:pt x="53" y="50"/>
                    </a:lnTo>
                    <a:lnTo>
                      <a:pt x="43" y="39"/>
                    </a:lnTo>
                    <a:lnTo>
                      <a:pt x="39" y="35"/>
                    </a:lnTo>
                    <a:lnTo>
                      <a:pt x="39" y="33"/>
                    </a:lnTo>
                    <a:lnTo>
                      <a:pt x="39" y="31"/>
                    </a:lnTo>
                    <a:lnTo>
                      <a:pt x="43" y="31"/>
                    </a:lnTo>
                    <a:lnTo>
                      <a:pt x="43" y="29"/>
                    </a:lnTo>
                    <a:lnTo>
                      <a:pt x="43" y="27"/>
                    </a:lnTo>
                    <a:lnTo>
                      <a:pt x="35" y="17"/>
                    </a:lnTo>
                    <a:lnTo>
                      <a:pt x="33" y="15"/>
                    </a:lnTo>
                    <a:lnTo>
                      <a:pt x="33" y="15"/>
                    </a:lnTo>
                    <a:lnTo>
                      <a:pt x="33" y="15"/>
                    </a:lnTo>
                    <a:lnTo>
                      <a:pt x="33" y="13"/>
                    </a:lnTo>
                    <a:lnTo>
                      <a:pt x="31" y="11"/>
                    </a:lnTo>
                    <a:lnTo>
                      <a:pt x="29" y="7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36"/>
                    </a:lnTo>
                    <a:lnTo>
                      <a:pt x="19" y="636"/>
                    </a:lnTo>
                    <a:lnTo>
                      <a:pt x="19" y="630"/>
                    </a:lnTo>
                    <a:lnTo>
                      <a:pt x="27" y="62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39" name="Freeform 1242">
                <a:extLst>
                  <a:ext uri="{FF2B5EF4-FFF2-40B4-BE49-F238E27FC236}">
                    <a16:creationId xmlns:a16="http://schemas.microsoft.com/office/drawing/2014/main" id="{3496DF5D-4BB3-4D95-81B1-C2BCBBED26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" y="3599"/>
                <a:ext cx="577" cy="217"/>
              </a:xfrm>
              <a:custGeom>
                <a:avLst/>
                <a:gdLst>
                  <a:gd name="T0" fmla="*/ 575 w 577"/>
                  <a:gd name="T1" fmla="*/ 201 h 217"/>
                  <a:gd name="T2" fmla="*/ 573 w 577"/>
                  <a:gd name="T3" fmla="*/ 198 h 217"/>
                  <a:gd name="T4" fmla="*/ 526 w 577"/>
                  <a:gd name="T5" fmla="*/ 184 h 217"/>
                  <a:gd name="T6" fmla="*/ 512 w 577"/>
                  <a:gd name="T7" fmla="*/ 184 h 217"/>
                  <a:gd name="T8" fmla="*/ 510 w 577"/>
                  <a:gd name="T9" fmla="*/ 178 h 217"/>
                  <a:gd name="T10" fmla="*/ 514 w 577"/>
                  <a:gd name="T11" fmla="*/ 166 h 217"/>
                  <a:gd name="T12" fmla="*/ 510 w 577"/>
                  <a:gd name="T13" fmla="*/ 149 h 217"/>
                  <a:gd name="T14" fmla="*/ 514 w 577"/>
                  <a:gd name="T15" fmla="*/ 139 h 217"/>
                  <a:gd name="T16" fmla="*/ 530 w 577"/>
                  <a:gd name="T17" fmla="*/ 112 h 217"/>
                  <a:gd name="T18" fmla="*/ 534 w 577"/>
                  <a:gd name="T19" fmla="*/ 82 h 217"/>
                  <a:gd name="T20" fmla="*/ 516 w 577"/>
                  <a:gd name="T21" fmla="*/ 77 h 217"/>
                  <a:gd name="T22" fmla="*/ 493 w 577"/>
                  <a:gd name="T23" fmla="*/ 57 h 217"/>
                  <a:gd name="T24" fmla="*/ 459 w 577"/>
                  <a:gd name="T25" fmla="*/ 34 h 217"/>
                  <a:gd name="T26" fmla="*/ 420 w 577"/>
                  <a:gd name="T27" fmla="*/ 37 h 217"/>
                  <a:gd name="T28" fmla="*/ 403 w 577"/>
                  <a:gd name="T29" fmla="*/ 32 h 217"/>
                  <a:gd name="T30" fmla="*/ 391 w 577"/>
                  <a:gd name="T31" fmla="*/ 20 h 217"/>
                  <a:gd name="T32" fmla="*/ 381 w 577"/>
                  <a:gd name="T33" fmla="*/ 24 h 217"/>
                  <a:gd name="T34" fmla="*/ 381 w 577"/>
                  <a:gd name="T35" fmla="*/ 14 h 217"/>
                  <a:gd name="T36" fmla="*/ 375 w 577"/>
                  <a:gd name="T37" fmla="*/ 10 h 217"/>
                  <a:gd name="T38" fmla="*/ 368 w 577"/>
                  <a:gd name="T39" fmla="*/ 10 h 217"/>
                  <a:gd name="T40" fmla="*/ 362 w 577"/>
                  <a:gd name="T41" fmla="*/ 2 h 217"/>
                  <a:gd name="T42" fmla="*/ 352 w 577"/>
                  <a:gd name="T43" fmla="*/ 8 h 217"/>
                  <a:gd name="T44" fmla="*/ 336 w 577"/>
                  <a:gd name="T45" fmla="*/ 16 h 217"/>
                  <a:gd name="T46" fmla="*/ 327 w 577"/>
                  <a:gd name="T47" fmla="*/ 28 h 217"/>
                  <a:gd name="T48" fmla="*/ 330 w 577"/>
                  <a:gd name="T49" fmla="*/ 36 h 217"/>
                  <a:gd name="T50" fmla="*/ 346 w 577"/>
                  <a:gd name="T51" fmla="*/ 37 h 217"/>
                  <a:gd name="T52" fmla="*/ 362 w 577"/>
                  <a:gd name="T53" fmla="*/ 37 h 217"/>
                  <a:gd name="T54" fmla="*/ 362 w 577"/>
                  <a:gd name="T55" fmla="*/ 39 h 217"/>
                  <a:gd name="T56" fmla="*/ 358 w 577"/>
                  <a:gd name="T57" fmla="*/ 43 h 217"/>
                  <a:gd name="T58" fmla="*/ 358 w 577"/>
                  <a:gd name="T59" fmla="*/ 51 h 217"/>
                  <a:gd name="T60" fmla="*/ 354 w 577"/>
                  <a:gd name="T61" fmla="*/ 51 h 217"/>
                  <a:gd name="T62" fmla="*/ 336 w 577"/>
                  <a:gd name="T63" fmla="*/ 53 h 217"/>
                  <a:gd name="T64" fmla="*/ 315 w 577"/>
                  <a:gd name="T65" fmla="*/ 53 h 217"/>
                  <a:gd name="T66" fmla="*/ 307 w 577"/>
                  <a:gd name="T67" fmla="*/ 47 h 217"/>
                  <a:gd name="T68" fmla="*/ 289 w 577"/>
                  <a:gd name="T69" fmla="*/ 49 h 217"/>
                  <a:gd name="T70" fmla="*/ 280 w 577"/>
                  <a:gd name="T71" fmla="*/ 55 h 217"/>
                  <a:gd name="T72" fmla="*/ 246 w 577"/>
                  <a:gd name="T73" fmla="*/ 61 h 217"/>
                  <a:gd name="T74" fmla="*/ 235 w 577"/>
                  <a:gd name="T75" fmla="*/ 53 h 217"/>
                  <a:gd name="T76" fmla="*/ 215 w 577"/>
                  <a:gd name="T77" fmla="*/ 63 h 217"/>
                  <a:gd name="T78" fmla="*/ 198 w 577"/>
                  <a:gd name="T79" fmla="*/ 59 h 217"/>
                  <a:gd name="T80" fmla="*/ 192 w 577"/>
                  <a:gd name="T81" fmla="*/ 55 h 217"/>
                  <a:gd name="T82" fmla="*/ 174 w 577"/>
                  <a:gd name="T83" fmla="*/ 65 h 217"/>
                  <a:gd name="T84" fmla="*/ 178 w 577"/>
                  <a:gd name="T85" fmla="*/ 71 h 217"/>
                  <a:gd name="T86" fmla="*/ 174 w 577"/>
                  <a:gd name="T87" fmla="*/ 73 h 217"/>
                  <a:gd name="T88" fmla="*/ 176 w 577"/>
                  <a:gd name="T89" fmla="*/ 77 h 217"/>
                  <a:gd name="T90" fmla="*/ 168 w 577"/>
                  <a:gd name="T91" fmla="*/ 78 h 217"/>
                  <a:gd name="T92" fmla="*/ 164 w 577"/>
                  <a:gd name="T93" fmla="*/ 82 h 217"/>
                  <a:gd name="T94" fmla="*/ 162 w 577"/>
                  <a:gd name="T95" fmla="*/ 90 h 217"/>
                  <a:gd name="T96" fmla="*/ 141 w 577"/>
                  <a:gd name="T97" fmla="*/ 92 h 217"/>
                  <a:gd name="T98" fmla="*/ 131 w 577"/>
                  <a:gd name="T99" fmla="*/ 94 h 217"/>
                  <a:gd name="T100" fmla="*/ 125 w 577"/>
                  <a:gd name="T101" fmla="*/ 78 h 217"/>
                  <a:gd name="T102" fmla="*/ 112 w 577"/>
                  <a:gd name="T103" fmla="*/ 77 h 217"/>
                  <a:gd name="T104" fmla="*/ 94 w 577"/>
                  <a:gd name="T105" fmla="*/ 77 h 217"/>
                  <a:gd name="T106" fmla="*/ 92 w 577"/>
                  <a:gd name="T107" fmla="*/ 86 h 217"/>
                  <a:gd name="T108" fmla="*/ 82 w 577"/>
                  <a:gd name="T109" fmla="*/ 98 h 217"/>
                  <a:gd name="T110" fmla="*/ 92 w 577"/>
                  <a:gd name="T111" fmla="*/ 110 h 217"/>
                  <a:gd name="T112" fmla="*/ 100 w 577"/>
                  <a:gd name="T113" fmla="*/ 118 h 217"/>
                  <a:gd name="T114" fmla="*/ 92 w 577"/>
                  <a:gd name="T115" fmla="*/ 123 h 217"/>
                  <a:gd name="T116" fmla="*/ 76 w 577"/>
                  <a:gd name="T117" fmla="*/ 147 h 217"/>
                  <a:gd name="T118" fmla="*/ 51 w 577"/>
                  <a:gd name="T119" fmla="*/ 168 h 217"/>
                  <a:gd name="T120" fmla="*/ 43 w 577"/>
                  <a:gd name="T121" fmla="*/ 178 h 217"/>
                  <a:gd name="T122" fmla="*/ 28 w 577"/>
                  <a:gd name="T123" fmla="*/ 201 h 217"/>
                  <a:gd name="T124" fmla="*/ 575 w 577"/>
                  <a:gd name="T125" fmla="*/ 215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7" h="217">
                    <a:moveTo>
                      <a:pt x="575" y="215"/>
                    </a:moveTo>
                    <a:lnTo>
                      <a:pt x="573" y="213"/>
                    </a:lnTo>
                    <a:lnTo>
                      <a:pt x="573" y="211"/>
                    </a:lnTo>
                    <a:lnTo>
                      <a:pt x="573" y="207"/>
                    </a:lnTo>
                    <a:lnTo>
                      <a:pt x="575" y="201"/>
                    </a:lnTo>
                    <a:lnTo>
                      <a:pt x="575" y="200"/>
                    </a:lnTo>
                    <a:lnTo>
                      <a:pt x="575" y="198"/>
                    </a:lnTo>
                    <a:lnTo>
                      <a:pt x="575" y="198"/>
                    </a:lnTo>
                    <a:lnTo>
                      <a:pt x="573" y="198"/>
                    </a:lnTo>
                    <a:lnTo>
                      <a:pt x="573" y="198"/>
                    </a:lnTo>
                    <a:lnTo>
                      <a:pt x="573" y="194"/>
                    </a:lnTo>
                    <a:lnTo>
                      <a:pt x="541" y="184"/>
                    </a:lnTo>
                    <a:lnTo>
                      <a:pt x="538" y="184"/>
                    </a:lnTo>
                    <a:lnTo>
                      <a:pt x="530" y="186"/>
                    </a:lnTo>
                    <a:lnTo>
                      <a:pt x="526" y="184"/>
                    </a:lnTo>
                    <a:lnTo>
                      <a:pt x="526" y="184"/>
                    </a:lnTo>
                    <a:lnTo>
                      <a:pt x="524" y="186"/>
                    </a:lnTo>
                    <a:lnTo>
                      <a:pt x="522" y="186"/>
                    </a:lnTo>
                    <a:lnTo>
                      <a:pt x="512" y="184"/>
                    </a:lnTo>
                    <a:lnTo>
                      <a:pt x="512" y="184"/>
                    </a:lnTo>
                    <a:lnTo>
                      <a:pt x="508" y="182"/>
                    </a:lnTo>
                    <a:lnTo>
                      <a:pt x="508" y="182"/>
                    </a:lnTo>
                    <a:lnTo>
                      <a:pt x="508" y="182"/>
                    </a:lnTo>
                    <a:lnTo>
                      <a:pt x="508" y="180"/>
                    </a:lnTo>
                    <a:lnTo>
                      <a:pt x="510" y="178"/>
                    </a:lnTo>
                    <a:lnTo>
                      <a:pt x="512" y="176"/>
                    </a:lnTo>
                    <a:lnTo>
                      <a:pt x="514" y="174"/>
                    </a:lnTo>
                    <a:lnTo>
                      <a:pt x="514" y="172"/>
                    </a:lnTo>
                    <a:lnTo>
                      <a:pt x="514" y="168"/>
                    </a:lnTo>
                    <a:lnTo>
                      <a:pt x="514" y="166"/>
                    </a:lnTo>
                    <a:lnTo>
                      <a:pt x="514" y="162"/>
                    </a:lnTo>
                    <a:lnTo>
                      <a:pt x="512" y="159"/>
                    </a:lnTo>
                    <a:lnTo>
                      <a:pt x="510" y="159"/>
                    </a:lnTo>
                    <a:lnTo>
                      <a:pt x="510" y="155"/>
                    </a:lnTo>
                    <a:lnTo>
                      <a:pt x="510" y="149"/>
                    </a:lnTo>
                    <a:lnTo>
                      <a:pt x="510" y="147"/>
                    </a:lnTo>
                    <a:lnTo>
                      <a:pt x="510" y="147"/>
                    </a:lnTo>
                    <a:lnTo>
                      <a:pt x="510" y="147"/>
                    </a:lnTo>
                    <a:lnTo>
                      <a:pt x="510" y="145"/>
                    </a:lnTo>
                    <a:lnTo>
                      <a:pt x="514" y="139"/>
                    </a:lnTo>
                    <a:lnTo>
                      <a:pt x="516" y="133"/>
                    </a:lnTo>
                    <a:lnTo>
                      <a:pt x="522" y="125"/>
                    </a:lnTo>
                    <a:lnTo>
                      <a:pt x="528" y="118"/>
                    </a:lnTo>
                    <a:lnTo>
                      <a:pt x="528" y="116"/>
                    </a:lnTo>
                    <a:lnTo>
                      <a:pt x="530" y="112"/>
                    </a:lnTo>
                    <a:lnTo>
                      <a:pt x="530" y="110"/>
                    </a:lnTo>
                    <a:lnTo>
                      <a:pt x="536" y="102"/>
                    </a:lnTo>
                    <a:lnTo>
                      <a:pt x="538" y="98"/>
                    </a:lnTo>
                    <a:lnTo>
                      <a:pt x="538" y="88"/>
                    </a:lnTo>
                    <a:lnTo>
                      <a:pt x="534" y="82"/>
                    </a:lnTo>
                    <a:lnTo>
                      <a:pt x="526" y="80"/>
                    </a:lnTo>
                    <a:lnTo>
                      <a:pt x="522" y="73"/>
                    </a:lnTo>
                    <a:lnTo>
                      <a:pt x="522" y="73"/>
                    </a:lnTo>
                    <a:lnTo>
                      <a:pt x="522" y="73"/>
                    </a:lnTo>
                    <a:lnTo>
                      <a:pt x="516" y="77"/>
                    </a:lnTo>
                    <a:lnTo>
                      <a:pt x="512" y="78"/>
                    </a:lnTo>
                    <a:lnTo>
                      <a:pt x="497" y="65"/>
                    </a:lnTo>
                    <a:lnTo>
                      <a:pt x="495" y="65"/>
                    </a:lnTo>
                    <a:lnTo>
                      <a:pt x="493" y="59"/>
                    </a:lnTo>
                    <a:lnTo>
                      <a:pt x="493" y="57"/>
                    </a:lnTo>
                    <a:lnTo>
                      <a:pt x="491" y="55"/>
                    </a:lnTo>
                    <a:lnTo>
                      <a:pt x="463" y="39"/>
                    </a:lnTo>
                    <a:lnTo>
                      <a:pt x="461" y="37"/>
                    </a:lnTo>
                    <a:lnTo>
                      <a:pt x="461" y="37"/>
                    </a:lnTo>
                    <a:lnTo>
                      <a:pt x="459" y="34"/>
                    </a:lnTo>
                    <a:lnTo>
                      <a:pt x="450" y="34"/>
                    </a:lnTo>
                    <a:lnTo>
                      <a:pt x="432" y="32"/>
                    </a:lnTo>
                    <a:lnTo>
                      <a:pt x="428" y="32"/>
                    </a:lnTo>
                    <a:lnTo>
                      <a:pt x="426" y="36"/>
                    </a:lnTo>
                    <a:lnTo>
                      <a:pt x="420" y="37"/>
                    </a:lnTo>
                    <a:lnTo>
                      <a:pt x="413" y="37"/>
                    </a:lnTo>
                    <a:lnTo>
                      <a:pt x="409" y="37"/>
                    </a:lnTo>
                    <a:lnTo>
                      <a:pt x="405" y="34"/>
                    </a:lnTo>
                    <a:lnTo>
                      <a:pt x="405" y="34"/>
                    </a:lnTo>
                    <a:lnTo>
                      <a:pt x="403" y="32"/>
                    </a:lnTo>
                    <a:lnTo>
                      <a:pt x="403" y="30"/>
                    </a:lnTo>
                    <a:lnTo>
                      <a:pt x="405" y="28"/>
                    </a:lnTo>
                    <a:lnTo>
                      <a:pt x="401" y="24"/>
                    </a:lnTo>
                    <a:lnTo>
                      <a:pt x="395" y="22"/>
                    </a:lnTo>
                    <a:lnTo>
                      <a:pt x="391" y="20"/>
                    </a:lnTo>
                    <a:lnTo>
                      <a:pt x="389" y="26"/>
                    </a:lnTo>
                    <a:lnTo>
                      <a:pt x="391" y="28"/>
                    </a:lnTo>
                    <a:lnTo>
                      <a:pt x="381" y="28"/>
                    </a:lnTo>
                    <a:lnTo>
                      <a:pt x="381" y="26"/>
                    </a:lnTo>
                    <a:lnTo>
                      <a:pt x="381" y="24"/>
                    </a:lnTo>
                    <a:lnTo>
                      <a:pt x="379" y="22"/>
                    </a:lnTo>
                    <a:lnTo>
                      <a:pt x="379" y="20"/>
                    </a:lnTo>
                    <a:lnTo>
                      <a:pt x="379" y="18"/>
                    </a:lnTo>
                    <a:lnTo>
                      <a:pt x="381" y="16"/>
                    </a:lnTo>
                    <a:lnTo>
                      <a:pt x="381" y="14"/>
                    </a:lnTo>
                    <a:lnTo>
                      <a:pt x="381" y="12"/>
                    </a:lnTo>
                    <a:lnTo>
                      <a:pt x="379" y="12"/>
                    </a:lnTo>
                    <a:lnTo>
                      <a:pt x="377" y="12"/>
                    </a:lnTo>
                    <a:lnTo>
                      <a:pt x="375" y="12"/>
                    </a:lnTo>
                    <a:lnTo>
                      <a:pt x="375" y="10"/>
                    </a:lnTo>
                    <a:lnTo>
                      <a:pt x="373" y="6"/>
                    </a:lnTo>
                    <a:lnTo>
                      <a:pt x="371" y="4"/>
                    </a:lnTo>
                    <a:lnTo>
                      <a:pt x="370" y="4"/>
                    </a:lnTo>
                    <a:lnTo>
                      <a:pt x="368" y="4"/>
                    </a:lnTo>
                    <a:lnTo>
                      <a:pt x="368" y="10"/>
                    </a:lnTo>
                    <a:lnTo>
                      <a:pt x="366" y="12"/>
                    </a:lnTo>
                    <a:lnTo>
                      <a:pt x="364" y="10"/>
                    </a:lnTo>
                    <a:lnTo>
                      <a:pt x="364" y="8"/>
                    </a:lnTo>
                    <a:lnTo>
                      <a:pt x="362" y="4"/>
                    </a:lnTo>
                    <a:lnTo>
                      <a:pt x="362" y="2"/>
                    </a:lnTo>
                    <a:lnTo>
                      <a:pt x="360" y="0"/>
                    </a:lnTo>
                    <a:lnTo>
                      <a:pt x="356" y="0"/>
                    </a:lnTo>
                    <a:lnTo>
                      <a:pt x="352" y="2"/>
                    </a:lnTo>
                    <a:lnTo>
                      <a:pt x="354" y="6"/>
                    </a:lnTo>
                    <a:lnTo>
                      <a:pt x="352" y="8"/>
                    </a:lnTo>
                    <a:lnTo>
                      <a:pt x="342" y="10"/>
                    </a:lnTo>
                    <a:lnTo>
                      <a:pt x="340" y="10"/>
                    </a:lnTo>
                    <a:lnTo>
                      <a:pt x="338" y="10"/>
                    </a:lnTo>
                    <a:lnTo>
                      <a:pt x="336" y="14"/>
                    </a:lnTo>
                    <a:lnTo>
                      <a:pt x="336" y="16"/>
                    </a:lnTo>
                    <a:lnTo>
                      <a:pt x="334" y="20"/>
                    </a:lnTo>
                    <a:lnTo>
                      <a:pt x="332" y="22"/>
                    </a:lnTo>
                    <a:lnTo>
                      <a:pt x="328" y="24"/>
                    </a:lnTo>
                    <a:lnTo>
                      <a:pt x="327" y="26"/>
                    </a:lnTo>
                    <a:lnTo>
                      <a:pt x="327" y="28"/>
                    </a:lnTo>
                    <a:lnTo>
                      <a:pt x="328" y="30"/>
                    </a:lnTo>
                    <a:lnTo>
                      <a:pt x="328" y="32"/>
                    </a:lnTo>
                    <a:lnTo>
                      <a:pt x="327" y="36"/>
                    </a:lnTo>
                    <a:lnTo>
                      <a:pt x="330" y="36"/>
                    </a:lnTo>
                    <a:lnTo>
                      <a:pt x="330" y="36"/>
                    </a:lnTo>
                    <a:lnTo>
                      <a:pt x="334" y="39"/>
                    </a:lnTo>
                    <a:lnTo>
                      <a:pt x="338" y="41"/>
                    </a:lnTo>
                    <a:lnTo>
                      <a:pt x="342" y="41"/>
                    </a:lnTo>
                    <a:lnTo>
                      <a:pt x="344" y="39"/>
                    </a:lnTo>
                    <a:lnTo>
                      <a:pt x="346" y="37"/>
                    </a:lnTo>
                    <a:lnTo>
                      <a:pt x="348" y="37"/>
                    </a:lnTo>
                    <a:lnTo>
                      <a:pt x="356" y="36"/>
                    </a:lnTo>
                    <a:lnTo>
                      <a:pt x="360" y="36"/>
                    </a:lnTo>
                    <a:lnTo>
                      <a:pt x="362" y="36"/>
                    </a:lnTo>
                    <a:lnTo>
                      <a:pt x="362" y="37"/>
                    </a:lnTo>
                    <a:lnTo>
                      <a:pt x="364" y="37"/>
                    </a:lnTo>
                    <a:lnTo>
                      <a:pt x="362" y="43"/>
                    </a:lnTo>
                    <a:lnTo>
                      <a:pt x="362" y="41"/>
                    </a:lnTo>
                    <a:lnTo>
                      <a:pt x="362" y="41"/>
                    </a:lnTo>
                    <a:lnTo>
                      <a:pt x="362" y="39"/>
                    </a:lnTo>
                    <a:lnTo>
                      <a:pt x="360" y="39"/>
                    </a:lnTo>
                    <a:lnTo>
                      <a:pt x="360" y="41"/>
                    </a:lnTo>
                    <a:lnTo>
                      <a:pt x="358" y="41"/>
                    </a:lnTo>
                    <a:lnTo>
                      <a:pt x="358" y="43"/>
                    </a:lnTo>
                    <a:lnTo>
                      <a:pt x="358" y="43"/>
                    </a:lnTo>
                    <a:lnTo>
                      <a:pt x="360" y="45"/>
                    </a:lnTo>
                    <a:lnTo>
                      <a:pt x="360" y="45"/>
                    </a:lnTo>
                    <a:lnTo>
                      <a:pt x="360" y="47"/>
                    </a:lnTo>
                    <a:lnTo>
                      <a:pt x="360" y="49"/>
                    </a:lnTo>
                    <a:lnTo>
                      <a:pt x="358" y="51"/>
                    </a:lnTo>
                    <a:lnTo>
                      <a:pt x="358" y="51"/>
                    </a:lnTo>
                    <a:lnTo>
                      <a:pt x="358" y="53"/>
                    </a:lnTo>
                    <a:lnTo>
                      <a:pt x="356" y="53"/>
                    </a:lnTo>
                    <a:lnTo>
                      <a:pt x="354" y="51"/>
                    </a:lnTo>
                    <a:lnTo>
                      <a:pt x="354" y="51"/>
                    </a:lnTo>
                    <a:lnTo>
                      <a:pt x="352" y="47"/>
                    </a:lnTo>
                    <a:lnTo>
                      <a:pt x="350" y="45"/>
                    </a:lnTo>
                    <a:lnTo>
                      <a:pt x="344" y="45"/>
                    </a:lnTo>
                    <a:lnTo>
                      <a:pt x="338" y="49"/>
                    </a:lnTo>
                    <a:lnTo>
                      <a:pt x="336" y="53"/>
                    </a:lnTo>
                    <a:lnTo>
                      <a:pt x="336" y="55"/>
                    </a:lnTo>
                    <a:lnTo>
                      <a:pt x="332" y="55"/>
                    </a:lnTo>
                    <a:lnTo>
                      <a:pt x="332" y="55"/>
                    </a:lnTo>
                    <a:lnTo>
                      <a:pt x="321" y="55"/>
                    </a:lnTo>
                    <a:lnTo>
                      <a:pt x="315" y="53"/>
                    </a:lnTo>
                    <a:lnTo>
                      <a:pt x="313" y="53"/>
                    </a:lnTo>
                    <a:lnTo>
                      <a:pt x="311" y="51"/>
                    </a:lnTo>
                    <a:lnTo>
                      <a:pt x="311" y="47"/>
                    </a:lnTo>
                    <a:lnTo>
                      <a:pt x="309" y="47"/>
                    </a:lnTo>
                    <a:lnTo>
                      <a:pt x="307" y="47"/>
                    </a:lnTo>
                    <a:lnTo>
                      <a:pt x="303" y="45"/>
                    </a:lnTo>
                    <a:lnTo>
                      <a:pt x="301" y="45"/>
                    </a:lnTo>
                    <a:lnTo>
                      <a:pt x="291" y="47"/>
                    </a:lnTo>
                    <a:lnTo>
                      <a:pt x="291" y="47"/>
                    </a:lnTo>
                    <a:lnTo>
                      <a:pt x="289" y="49"/>
                    </a:lnTo>
                    <a:lnTo>
                      <a:pt x="289" y="49"/>
                    </a:lnTo>
                    <a:lnTo>
                      <a:pt x="286" y="51"/>
                    </a:lnTo>
                    <a:lnTo>
                      <a:pt x="282" y="53"/>
                    </a:lnTo>
                    <a:lnTo>
                      <a:pt x="282" y="53"/>
                    </a:lnTo>
                    <a:lnTo>
                      <a:pt x="280" y="55"/>
                    </a:lnTo>
                    <a:lnTo>
                      <a:pt x="278" y="57"/>
                    </a:lnTo>
                    <a:lnTo>
                      <a:pt x="278" y="57"/>
                    </a:lnTo>
                    <a:lnTo>
                      <a:pt x="276" y="59"/>
                    </a:lnTo>
                    <a:lnTo>
                      <a:pt x="268" y="61"/>
                    </a:lnTo>
                    <a:lnTo>
                      <a:pt x="246" y="61"/>
                    </a:lnTo>
                    <a:lnTo>
                      <a:pt x="246" y="59"/>
                    </a:lnTo>
                    <a:lnTo>
                      <a:pt x="246" y="57"/>
                    </a:lnTo>
                    <a:lnTo>
                      <a:pt x="246" y="55"/>
                    </a:lnTo>
                    <a:lnTo>
                      <a:pt x="244" y="53"/>
                    </a:lnTo>
                    <a:lnTo>
                      <a:pt x="235" y="53"/>
                    </a:lnTo>
                    <a:lnTo>
                      <a:pt x="231" y="51"/>
                    </a:lnTo>
                    <a:lnTo>
                      <a:pt x="229" y="57"/>
                    </a:lnTo>
                    <a:lnTo>
                      <a:pt x="225" y="59"/>
                    </a:lnTo>
                    <a:lnTo>
                      <a:pt x="223" y="61"/>
                    </a:lnTo>
                    <a:lnTo>
                      <a:pt x="215" y="63"/>
                    </a:lnTo>
                    <a:lnTo>
                      <a:pt x="209" y="65"/>
                    </a:lnTo>
                    <a:lnTo>
                      <a:pt x="205" y="65"/>
                    </a:lnTo>
                    <a:lnTo>
                      <a:pt x="203" y="63"/>
                    </a:lnTo>
                    <a:lnTo>
                      <a:pt x="196" y="59"/>
                    </a:lnTo>
                    <a:lnTo>
                      <a:pt x="198" y="59"/>
                    </a:lnTo>
                    <a:lnTo>
                      <a:pt x="202" y="59"/>
                    </a:lnTo>
                    <a:lnTo>
                      <a:pt x="202" y="57"/>
                    </a:lnTo>
                    <a:lnTo>
                      <a:pt x="205" y="51"/>
                    </a:lnTo>
                    <a:lnTo>
                      <a:pt x="202" y="51"/>
                    </a:lnTo>
                    <a:lnTo>
                      <a:pt x="192" y="55"/>
                    </a:lnTo>
                    <a:lnTo>
                      <a:pt x="192" y="55"/>
                    </a:lnTo>
                    <a:lnTo>
                      <a:pt x="186" y="57"/>
                    </a:lnTo>
                    <a:lnTo>
                      <a:pt x="182" y="59"/>
                    </a:lnTo>
                    <a:lnTo>
                      <a:pt x="182" y="59"/>
                    </a:lnTo>
                    <a:lnTo>
                      <a:pt x="174" y="65"/>
                    </a:lnTo>
                    <a:lnTo>
                      <a:pt x="176" y="65"/>
                    </a:lnTo>
                    <a:lnTo>
                      <a:pt x="178" y="67"/>
                    </a:lnTo>
                    <a:lnTo>
                      <a:pt x="178" y="67"/>
                    </a:lnTo>
                    <a:lnTo>
                      <a:pt x="178" y="71"/>
                    </a:lnTo>
                    <a:lnTo>
                      <a:pt x="178" y="71"/>
                    </a:lnTo>
                    <a:lnTo>
                      <a:pt x="176" y="71"/>
                    </a:lnTo>
                    <a:lnTo>
                      <a:pt x="174" y="71"/>
                    </a:lnTo>
                    <a:lnTo>
                      <a:pt x="174" y="73"/>
                    </a:lnTo>
                    <a:lnTo>
                      <a:pt x="174" y="73"/>
                    </a:lnTo>
                    <a:lnTo>
                      <a:pt x="174" y="73"/>
                    </a:lnTo>
                    <a:lnTo>
                      <a:pt x="176" y="75"/>
                    </a:lnTo>
                    <a:lnTo>
                      <a:pt x="176" y="77"/>
                    </a:lnTo>
                    <a:lnTo>
                      <a:pt x="176" y="77"/>
                    </a:lnTo>
                    <a:lnTo>
                      <a:pt x="176" y="77"/>
                    </a:lnTo>
                    <a:lnTo>
                      <a:pt x="176" y="77"/>
                    </a:lnTo>
                    <a:lnTo>
                      <a:pt x="174" y="78"/>
                    </a:lnTo>
                    <a:lnTo>
                      <a:pt x="172" y="80"/>
                    </a:lnTo>
                    <a:lnTo>
                      <a:pt x="170" y="80"/>
                    </a:lnTo>
                    <a:lnTo>
                      <a:pt x="168" y="78"/>
                    </a:lnTo>
                    <a:lnTo>
                      <a:pt x="168" y="78"/>
                    </a:lnTo>
                    <a:lnTo>
                      <a:pt x="166" y="77"/>
                    </a:lnTo>
                    <a:lnTo>
                      <a:pt x="164" y="78"/>
                    </a:lnTo>
                    <a:lnTo>
                      <a:pt x="164" y="78"/>
                    </a:lnTo>
                    <a:lnTo>
                      <a:pt x="164" y="80"/>
                    </a:lnTo>
                    <a:lnTo>
                      <a:pt x="164" y="82"/>
                    </a:lnTo>
                    <a:lnTo>
                      <a:pt x="166" y="82"/>
                    </a:lnTo>
                    <a:lnTo>
                      <a:pt x="166" y="84"/>
                    </a:lnTo>
                    <a:lnTo>
                      <a:pt x="166" y="86"/>
                    </a:lnTo>
                    <a:lnTo>
                      <a:pt x="164" y="88"/>
                    </a:lnTo>
                    <a:lnTo>
                      <a:pt x="162" y="90"/>
                    </a:lnTo>
                    <a:lnTo>
                      <a:pt x="159" y="92"/>
                    </a:lnTo>
                    <a:lnTo>
                      <a:pt x="159" y="92"/>
                    </a:lnTo>
                    <a:lnTo>
                      <a:pt x="151" y="92"/>
                    </a:lnTo>
                    <a:lnTo>
                      <a:pt x="147" y="92"/>
                    </a:lnTo>
                    <a:lnTo>
                      <a:pt x="141" y="92"/>
                    </a:lnTo>
                    <a:lnTo>
                      <a:pt x="135" y="96"/>
                    </a:lnTo>
                    <a:lnTo>
                      <a:pt x="133" y="96"/>
                    </a:lnTo>
                    <a:lnTo>
                      <a:pt x="133" y="96"/>
                    </a:lnTo>
                    <a:lnTo>
                      <a:pt x="133" y="94"/>
                    </a:lnTo>
                    <a:lnTo>
                      <a:pt x="131" y="94"/>
                    </a:lnTo>
                    <a:lnTo>
                      <a:pt x="131" y="92"/>
                    </a:lnTo>
                    <a:lnTo>
                      <a:pt x="125" y="92"/>
                    </a:lnTo>
                    <a:lnTo>
                      <a:pt x="123" y="90"/>
                    </a:lnTo>
                    <a:lnTo>
                      <a:pt x="121" y="86"/>
                    </a:lnTo>
                    <a:lnTo>
                      <a:pt x="125" y="78"/>
                    </a:lnTo>
                    <a:lnTo>
                      <a:pt x="119" y="78"/>
                    </a:lnTo>
                    <a:lnTo>
                      <a:pt x="118" y="78"/>
                    </a:lnTo>
                    <a:lnTo>
                      <a:pt x="118" y="78"/>
                    </a:lnTo>
                    <a:lnTo>
                      <a:pt x="116" y="77"/>
                    </a:lnTo>
                    <a:lnTo>
                      <a:pt x="112" y="77"/>
                    </a:lnTo>
                    <a:lnTo>
                      <a:pt x="104" y="78"/>
                    </a:lnTo>
                    <a:lnTo>
                      <a:pt x="100" y="77"/>
                    </a:lnTo>
                    <a:lnTo>
                      <a:pt x="98" y="77"/>
                    </a:lnTo>
                    <a:lnTo>
                      <a:pt x="96" y="77"/>
                    </a:lnTo>
                    <a:lnTo>
                      <a:pt x="94" y="77"/>
                    </a:lnTo>
                    <a:lnTo>
                      <a:pt x="92" y="77"/>
                    </a:lnTo>
                    <a:lnTo>
                      <a:pt x="90" y="78"/>
                    </a:lnTo>
                    <a:lnTo>
                      <a:pt x="90" y="80"/>
                    </a:lnTo>
                    <a:lnTo>
                      <a:pt x="92" y="84"/>
                    </a:lnTo>
                    <a:lnTo>
                      <a:pt x="92" y="86"/>
                    </a:lnTo>
                    <a:lnTo>
                      <a:pt x="92" y="90"/>
                    </a:lnTo>
                    <a:lnTo>
                      <a:pt x="88" y="92"/>
                    </a:lnTo>
                    <a:lnTo>
                      <a:pt x="86" y="92"/>
                    </a:lnTo>
                    <a:lnTo>
                      <a:pt x="82" y="94"/>
                    </a:lnTo>
                    <a:lnTo>
                      <a:pt x="82" y="98"/>
                    </a:lnTo>
                    <a:lnTo>
                      <a:pt x="76" y="102"/>
                    </a:lnTo>
                    <a:lnTo>
                      <a:pt x="75" y="104"/>
                    </a:lnTo>
                    <a:lnTo>
                      <a:pt x="73" y="108"/>
                    </a:lnTo>
                    <a:lnTo>
                      <a:pt x="73" y="112"/>
                    </a:lnTo>
                    <a:lnTo>
                      <a:pt x="92" y="110"/>
                    </a:lnTo>
                    <a:lnTo>
                      <a:pt x="94" y="108"/>
                    </a:lnTo>
                    <a:lnTo>
                      <a:pt x="98" y="110"/>
                    </a:lnTo>
                    <a:lnTo>
                      <a:pt x="100" y="112"/>
                    </a:lnTo>
                    <a:lnTo>
                      <a:pt x="102" y="116"/>
                    </a:lnTo>
                    <a:lnTo>
                      <a:pt x="100" y="118"/>
                    </a:lnTo>
                    <a:lnTo>
                      <a:pt x="98" y="118"/>
                    </a:lnTo>
                    <a:lnTo>
                      <a:pt x="98" y="119"/>
                    </a:lnTo>
                    <a:lnTo>
                      <a:pt x="96" y="119"/>
                    </a:lnTo>
                    <a:lnTo>
                      <a:pt x="92" y="123"/>
                    </a:lnTo>
                    <a:lnTo>
                      <a:pt x="92" y="123"/>
                    </a:lnTo>
                    <a:lnTo>
                      <a:pt x="90" y="123"/>
                    </a:lnTo>
                    <a:lnTo>
                      <a:pt x="88" y="127"/>
                    </a:lnTo>
                    <a:lnTo>
                      <a:pt x="86" y="131"/>
                    </a:lnTo>
                    <a:lnTo>
                      <a:pt x="86" y="139"/>
                    </a:lnTo>
                    <a:lnTo>
                      <a:pt x="76" y="147"/>
                    </a:lnTo>
                    <a:lnTo>
                      <a:pt x="71" y="151"/>
                    </a:lnTo>
                    <a:lnTo>
                      <a:pt x="67" y="157"/>
                    </a:lnTo>
                    <a:lnTo>
                      <a:pt x="67" y="157"/>
                    </a:lnTo>
                    <a:lnTo>
                      <a:pt x="57" y="166"/>
                    </a:lnTo>
                    <a:lnTo>
                      <a:pt x="51" y="168"/>
                    </a:lnTo>
                    <a:lnTo>
                      <a:pt x="51" y="172"/>
                    </a:lnTo>
                    <a:lnTo>
                      <a:pt x="49" y="174"/>
                    </a:lnTo>
                    <a:lnTo>
                      <a:pt x="49" y="174"/>
                    </a:lnTo>
                    <a:lnTo>
                      <a:pt x="47" y="176"/>
                    </a:lnTo>
                    <a:lnTo>
                      <a:pt x="43" y="178"/>
                    </a:lnTo>
                    <a:lnTo>
                      <a:pt x="43" y="180"/>
                    </a:lnTo>
                    <a:lnTo>
                      <a:pt x="39" y="184"/>
                    </a:lnTo>
                    <a:lnTo>
                      <a:pt x="41" y="188"/>
                    </a:lnTo>
                    <a:lnTo>
                      <a:pt x="37" y="194"/>
                    </a:lnTo>
                    <a:lnTo>
                      <a:pt x="28" y="201"/>
                    </a:lnTo>
                    <a:lnTo>
                      <a:pt x="8" y="207"/>
                    </a:lnTo>
                    <a:lnTo>
                      <a:pt x="0" y="211"/>
                    </a:lnTo>
                    <a:lnTo>
                      <a:pt x="0" y="217"/>
                    </a:lnTo>
                    <a:lnTo>
                      <a:pt x="577" y="217"/>
                    </a:lnTo>
                    <a:lnTo>
                      <a:pt x="575" y="21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40" name="Freeform 1243">
                <a:extLst>
                  <a:ext uri="{FF2B5EF4-FFF2-40B4-BE49-F238E27FC236}">
                    <a16:creationId xmlns:a16="http://schemas.microsoft.com/office/drawing/2014/main" id="{0F2A7337-BE62-4028-A7F4-323037CDD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" y="3799"/>
                <a:ext cx="39" cy="17"/>
              </a:xfrm>
              <a:custGeom>
                <a:avLst/>
                <a:gdLst>
                  <a:gd name="T0" fmla="*/ 37 w 39"/>
                  <a:gd name="T1" fmla="*/ 13 h 17"/>
                  <a:gd name="T2" fmla="*/ 37 w 39"/>
                  <a:gd name="T3" fmla="*/ 11 h 17"/>
                  <a:gd name="T4" fmla="*/ 31 w 39"/>
                  <a:gd name="T5" fmla="*/ 7 h 17"/>
                  <a:gd name="T6" fmla="*/ 28 w 39"/>
                  <a:gd name="T7" fmla="*/ 1 h 17"/>
                  <a:gd name="T8" fmla="*/ 26 w 39"/>
                  <a:gd name="T9" fmla="*/ 0 h 17"/>
                  <a:gd name="T10" fmla="*/ 26 w 39"/>
                  <a:gd name="T11" fmla="*/ 0 h 17"/>
                  <a:gd name="T12" fmla="*/ 26 w 39"/>
                  <a:gd name="T13" fmla="*/ 0 h 17"/>
                  <a:gd name="T14" fmla="*/ 24 w 39"/>
                  <a:gd name="T15" fmla="*/ 0 h 17"/>
                  <a:gd name="T16" fmla="*/ 24 w 39"/>
                  <a:gd name="T17" fmla="*/ 0 h 17"/>
                  <a:gd name="T18" fmla="*/ 18 w 39"/>
                  <a:gd name="T19" fmla="*/ 1 h 17"/>
                  <a:gd name="T20" fmla="*/ 14 w 39"/>
                  <a:gd name="T21" fmla="*/ 7 h 17"/>
                  <a:gd name="T22" fmla="*/ 10 w 39"/>
                  <a:gd name="T23" fmla="*/ 13 h 17"/>
                  <a:gd name="T24" fmla="*/ 10 w 39"/>
                  <a:gd name="T25" fmla="*/ 17 h 17"/>
                  <a:gd name="T26" fmla="*/ 6 w 39"/>
                  <a:gd name="T27" fmla="*/ 17 h 17"/>
                  <a:gd name="T28" fmla="*/ 4 w 39"/>
                  <a:gd name="T29" fmla="*/ 17 h 17"/>
                  <a:gd name="T30" fmla="*/ 0 w 39"/>
                  <a:gd name="T31" fmla="*/ 17 h 17"/>
                  <a:gd name="T32" fmla="*/ 0 w 39"/>
                  <a:gd name="T33" fmla="*/ 17 h 17"/>
                  <a:gd name="T34" fmla="*/ 39 w 39"/>
                  <a:gd name="T35" fmla="*/ 17 h 17"/>
                  <a:gd name="T36" fmla="*/ 37 w 39"/>
                  <a:gd name="T37" fmla="*/ 1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9" h="17">
                    <a:moveTo>
                      <a:pt x="37" y="13"/>
                    </a:moveTo>
                    <a:lnTo>
                      <a:pt x="37" y="11"/>
                    </a:lnTo>
                    <a:lnTo>
                      <a:pt x="31" y="7"/>
                    </a:lnTo>
                    <a:lnTo>
                      <a:pt x="28" y="1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1"/>
                    </a:lnTo>
                    <a:lnTo>
                      <a:pt x="14" y="7"/>
                    </a:lnTo>
                    <a:lnTo>
                      <a:pt x="10" y="13"/>
                    </a:lnTo>
                    <a:lnTo>
                      <a:pt x="10" y="17"/>
                    </a:lnTo>
                    <a:lnTo>
                      <a:pt x="6" y="17"/>
                    </a:lnTo>
                    <a:lnTo>
                      <a:pt x="4" y="17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39" y="17"/>
                    </a:lnTo>
                    <a:lnTo>
                      <a:pt x="37" y="1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41" name="Freeform 1244">
                <a:extLst>
                  <a:ext uri="{FF2B5EF4-FFF2-40B4-BE49-F238E27FC236}">
                    <a16:creationId xmlns:a16="http://schemas.microsoft.com/office/drawing/2014/main" id="{902D010C-BDD8-44D0-8767-7E0C7158A8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3748"/>
                <a:ext cx="0" cy="10"/>
              </a:xfrm>
              <a:custGeom>
                <a:avLst/>
                <a:gdLst>
                  <a:gd name="T0" fmla="*/ 0 h 10"/>
                  <a:gd name="T1" fmla="*/ 6 h 10"/>
                  <a:gd name="T2" fmla="*/ 10 h 10"/>
                  <a:gd name="T3" fmla="*/ 6 h 10"/>
                  <a:gd name="T4" fmla="*/ 0 h 1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0">
                    <a:moveTo>
                      <a:pt x="0" y="0"/>
                    </a:moveTo>
                    <a:lnTo>
                      <a:pt x="0" y="6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42" name="Freeform 1245">
                <a:extLst>
                  <a:ext uri="{FF2B5EF4-FFF2-40B4-BE49-F238E27FC236}">
                    <a16:creationId xmlns:a16="http://schemas.microsoft.com/office/drawing/2014/main" id="{CF22FD4C-DCE8-4088-BD36-448406E13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3783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2 w 2"/>
                  <a:gd name="T5" fmla="*/ 0 h 2"/>
                  <a:gd name="T6" fmla="*/ 2 w 2"/>
                  <a:gd name="T7" fmla="*/ 0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43" name="Freeform 1246">
                <a:extLst>
                  <a:ext uri="{FF2B5EF4-FFF2-40B4-BE49-F238E27FC236}">
                    <a16:creationId xmlns:a16="http://schemas.microsoft.com/office/drawing/2014/main" id="{47409E52-7BCC-4399-A101-276DCA0ADA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" y="3781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4 w 4"/>
                  <a:gd name="T3" fmla="*/ 2 h 2"/>
                  <a:gd name="T4" fmla="*/ 0 w 4"/>
                  <a:gd name="T5" fmla="*/ 0 h 2"/>
                  <a:gd name="T6" fmla="*/ 0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44" name="Freeform 1247">
                <a:extLst>
                  <a:ext uri="{FF2B5EF4-FFF2-40B4-BE49-F238E27FC236}">
                    <a16:creationId xmlns:a16="http://schemas.microsoft.com/office/drawing/2014/main" id="{0DA12192-2BE8-4801-BC5A-908AD7C2F8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" y="3767"/>
                <a:ext cx="0" cy="6"/>
              </a:xfrm>
              <a:custGeom>
                <a:avLst/>
                <a:gdLst>
                  <a:gd name="T0" fmla="*/ 0 h 6"/>
                  <a:gd name="T1" fmla="*/ 4 h 6"/>
                  <a:gd name="T2" fmla="*/ 6 h 6"/>
                  <a:gd name="T3" fmla="*/ 4 h 6"/>
                  <a:gd name="T4" fmla="*/ 0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45" name="Freeform 1248">
                <a:extLst>
                  <a:ext uri="{FF2B5EF4-FFF2-40B4-BE49-F238E27FC236}">
                    <a16:creationId xmlns:a16="http://schemas.microsoft.com/office/drawing/2014/main" id="{D25C5F43-C023-4611-A2FE-B81AE9D140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3744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46" name="Freeform 1249">
                <a:extLst>
                  <a:ext uri="{FF2B5EF4-FFF2-40B4-BE49-F238E27FC236}">
                    <a16:creationId xmlns:a16="http://schemas.microsoft.com/office/drawing/2014/main" id="{B550FCB1-1424-4E50-B288-F62404AD3D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096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0 h 2"/>
                  <a:gd name="T4" fmla="*/ 0 w 4"/>
                  <a:gd name="T5" fmla="*/ 0 h 2"/>
                  <a:gd name="T6" fmla="*/ 0 w 4"/>
                  <a:gd name="T7" fmla="*/ 2 h 2"/>
                  <a:gd name="T8" fmla="*/ 0 w 4"/>
                  <a:gd name="T9" fmla="*/ 2 h 2"/>
                  <a:gd name="T10" fmla="*/ 4 w 4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47" name="Freeform 1250">
                <a:extLst>
                  <a:ext uri="{FF2B5EF4-FFF2-40B4-BE49-F238E27FC236}">
                    <a16:creationId xmlns:a16="http://schemas.microsoft.com/office/drawing/2014/main" id="{5158AF05-5D23-4D4F-94BF-E4EB94ACF4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" y="2082"/>
                <a:ext cx="12" cy="6"/>
              </a:xfrm>
              <a:custGeom>
                <a:avLst/>
                <a:gdLst>
                  <a:gd name="T0" fmla="*/ 4 w 12"/>
                  <a:gd name="T1" fmla="*/ 4 h 6"/>
                  <a:gd name="T2" fmla="*/ 10 w 12"/>
                  <a:gd name="T3" fmla="*/ 6 h 6"/>
                  <a:gd name="T4" fmla="*/ 10 w 12"/>
                  <a:gd name="T5" fmla="*/ 6 h 6"/>
                  <a:gd name="T6" fmla="*/ 10 w 12"/>
                  <a:gd name="T7" fmla="*/ 4 h 6"/>
                  <a:gd name="T8" fmla="*/ 12 w 12"/>
                  <a:gd name="T9" fmla="*/ 4 h 6"/>
                  <a:gd name="T10" fmla="*/ 12 w 12"/>
                  <a:gd name="T11" fmla="*/ 4 h 6"/>
                  <a:gd name="T12" fmla="*/ 2 w 12"/>
                  <a:gd name="T13" fmla="*/ 0 h 6"/>
                  <a:gd name="T14" fmla="*/ 0 w 12"/>
                  <a:gd name="T15" fmla="*/ 0 h 6"/>
                  <a:gd name="T16" fmla="*/ 0 w 12"/>
                  <a:gd name="T17" fmla="*/ 2 h 6"/>
                  <a:gd name="T18" fmla="*/ 4 w 12"/>
                  <a:gd name="T1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6">
                    <a:moveTo>
                      <a:pt x="4" y="4"/>
                    </a:moveTo>
                    <a:lnTo>
                      <a:pt x="10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48" name="Freeform 1251">
                <a:extLst>
                  <a:ext uri="{FF2B5EF4-FFF2-40B4-BE49-F238E27FC236}">
                    <a16:creationId xmlns:a16="http://schemas.microsoft.com/office/drawing/2014/main" id="{DA5CA55D-C06F-4C03-BC74-1DE5147FCF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110"/>
                <a:ext cx="146" cy="451"/>
              </a:xfrm>
              <a:custGeom>
                <a:avLst/>
                <a:gdLst>
                  <a:gd name="T0" fmla="*/ 4 w 146"/>
                  <a:gd name="T1" fmla="*/ 451 h 451"/>
                  <a:gd name="T2" fmla="*/ 10 w 146"/>
                  <a:gd name="T3" fmla="*/ 439 h 451"/>
                  <a:gd name="T4" fmla="*/ 27 w 146"/>
                  <a:gd name="T5" fmla="*/ 441 h 451"/>
                  <a:gd name="T6" fmla="*/ 66 w 146"/>
                  <a:gd name="T7" fmla="*/ 429 h 451"/>
                  <a:gd name="T8" fmla="*/ 78 w 146"/>
                  <a:gd name="T9" fmla="*/ 416 h 451"/>
                  <a:gd name="T10" fmla="*/ 82 w 146"/>
                  <a:gd name="T11" fmla="*/ 412 h 451"/>
                  <a:gd name="T12" fmla="*/ 80 w 146"/>
                  <a:gd name="T13" fmla="*/ 406 h 451"/>
                  <a:gd name="T14" fmla="*/ 62 w 146"/>
                  <a:gd name="T15" fmla="*/ 394 h 451"/>
                  <a:gd name="T16" fmla="*/ 60 w 146"/>
                  <a:gd name="T17" fmla="*/ 386 h 451"/>
                  <a:gd name="T18" fmla="*/ 64 w 146"/>
                  <a:gd name="T19" fmla="*/ 384 h 451"/>
                  <a:gd name="T20" fmla="*/ 68 w 146"/>
                  <a:gd name="T21" fmla="*/ 376 h 451"/>
                  <a:gd name="T22" fmla="*/ 76 w 146"/>
                  <a:gd name="T23" fmla="*/ 373 h 451"/>
                  <a:gd name="T24" fmla="*/ 92 w 146"/>
                  <a:gd name="T25" fmla="*/ 361 h 451"/>
                  <a:gd name="T26" fmla="*/ 105 w 146"/>
                  <a:gd name="T27" fmla="*/ 353 h 451"/>
                  <a:gd name="T28" fmla="*/ 117 w 146"/>
                  <a:gd name="T29" fmla="*/ 339 h 451"/>
                  <a:gd name="T30" fmla="*/ 117 w 146"/>
                  <a:gd name="T31" fmla="*/ 335 h 451"/>
                  <a:gd name="T32" fmla="*/ 117 w 146"/>
                  <a:gd name="T33" fmla="*/ 320 h 451"/>
                  <a:gd name="T34" fmla="*/ 119 w 146"/>
                  <a:gd name="T35" fmla="*/ 296 h 451"/>
                  <a:gd name="T36" fmla="*/ 107 w 146"/>
                  <a:gd name="T37" fmla="*/ 281 h 451"/>
                  <a:gd name="T38" fmla="*/ 97 w 146"/>
                  <a:gd name="T39" fmla="*/ 285 h 451"/>
                  <a:gd name="T40" fmla="*/ 70 w 146"/>
                  <a:gd name="T41" fmla="*/ 279 h 451"/>
                  <a:gd name="T42" fmla="*/ 60 w 146"/>
                  <a:gd name="T43" fmla="*/ 269 h 451"/>
                  <a:gd name="T44" fmla="*/ 58 w 146"/>
                  <a:gd name="T45" fmla="*/ 253 h 451"/>
                  <a:gd name="T46" fmla="*/ 64 w 146"/>
                  <a:gd name="T47" fmla="*/ 244 h 451"/>
                  <a:gd name="T48" fmla="*/ 64 w 146"/>
                  <a:gd name="T49" fmla="*/ 238 h 451"/>
                  <a:gd name="T50" fmla="*/ 66 w 146"/>
                  <a:gd name="T51" fmla="*/ 230 h 451"/>
                  <a:gd name="T52" fmla="*/ 92 w 146"/>
                  <a:gd name="T53" fmla="*/ 226 h 451"/>
                  <a:gd name="T54" fmla="*/ 111 w 146"/>
                  <a:gd name="T55" fmla="*/ 230 h 451"/>
                  <a:gd name="T56" fmla="*/ 121 w 146"/>
                  <a:gd name="T57" fmla="*/ 216 h 451"/>
                  <a:gd name="T58" fmla="*/ 125 w 146"/>
                  <a:gd name="T59" fmla="*/ 171 h 451"/>
                  <a:gd name="T60" fmla="*/ 144 w 146"/>
                  <a:gd name="T61" fmla="*/ 136 h 451"/>
                  <a:gd name="T62" fmla="*/ 144 w 146"/>
                  <a:gd name="T63" fmla="*/ 99 h 451"/>
                  <a:gd name="T64" fmla="*/ 142 w 146"/>
                  <a:gd name="T65" fmla="*/ 93 h 451"/>
                  <a:gd name="T66" fmla="*/ 144 w 146"/>
                  <a:gd name="T67" fmla="*/ 82 h 451"/>
                  <a:gd name="T68" fmla="*/ 146 w 146"/>
                  <a:gd name="T69" fmla="*/ 68 h 451"/>
                  <a:gd name="T70" fmla="*/ 133 w 146"/>
                  <a:gd name="T71" fmla="*/ 56 h 451"/>
                  <a:gd name="T72" fmla="*/ 125 w 146"/>
                  <a:gd name="T73" fmla="*/ 46 h 451"/>
                  <a:gd name="T74" fmla="*/ 127 w 146"/>
                  <a:gd name="T75" fmla="*/ 45 h 451"/>
                  <a:gd name="T76" fmla="*/ 125 w 146"/>
                  <a:gd name="T77" fmla="*/ 43 h 451"/>
                  <a:gd name="T78" fmla="*/ 119 w 146"/>
                  <a:gd name="T79" fmla="*/ 43 h 451"/>
                  <a:gd name="T80" fmla="*/ 105 w 146"/>
                  <a:gd name="T81" fmla="*/ 37 h 451"/>
                  <a:gd name="T82" fmla="*/ 101 w 146"/>
                  <a:gd name="T83" fmla="*/ 35 h 451"/>
                  <a:gd name="T84" fmla="*/ 97 w 146"/>
                  <a:gd name="T85" fmla="*/ 31 h 451"/>
                  <a:gd name="T86" fmla="*/ 84 w 146"/>
                  <a:gd name="T87" fmla="*/ 2 h 451"/>
                  <a:gd name="T88" fmla="*/ 4 w 146"/>
                  <a:gd name="T89" fmla="*/ 13 h 451"/>
                  <a:gd name="T90" fmla="*/ 0 w 146"/>
                  <a:gd name="T91" fmla="*/ 445 h 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46" h="451">
                    <a:moveTo>
                      <a:pt x="0" y="445"/>
                    </a:moveTo>
                    <a:lnTo>
                      <a:pt x="4" y="447"/>
                    </a:lnTo>
                    <a:lnTo>
                      <a:pt x="4" y="451"/>
                    </a:lnTo>
                    <a:lnTo>
                      <a:pt x="10" y="449"/>
                    </a:lnTo>
                    <a:lnTo>
                      <a:pt x="11" y="447"/>
                    </a:lnTo>
                    <a:lnTo>
                      <a:pt x="10" y="439"/>
                    </a:lnTo>
                    <a:lnTo>
                      <a:pt x="19" y="443"/>
                    </a:lnTo>
                    <a:lnTo>
                      <a:pt x="23" y="443"/>
                    </a:lnTo>
                    <a:lnTo>
                      <a:pt x="27" y="441"/>
                    </a:lnTo>
                    <a:lnTo>
                      <a:pt x="35" y="435"/>
                    </a:lnTo>
                    <a:lnTo>
                      <a:pt x="51" y="429"/>
                    </a:lnTo>
                    <a:lnTo>
                      <a:pt x="66" y="429"/>
                    </a:lnTo>
                    <a:lnTo>
                      <a:pt x="70" y="427"/>
                    </a:lnTo>
                    <a:lnTo>
                      <a:pt x="74" y="421"/>
                    </a:lnTo>
                    <a:lnTo>
                      <a:pt x="78" y="416"/>
                    </a:lnTo>
                    <a:lnTo>
                      <a:pt x="80" y="414"/>
                    </a:lnTo>
                    <a:lnTo>
                      <a:pt x="80" y="414"/>
                    </a:lnTo>
                    <a:lnTo>
                      <a:pt x="82" y="412"/>
                    </a:lnTo>
                    <a:lnTo>
                      <a:pt x="82" y="410"/>
                    </a:lnTo>
                    <a:lnTo>
                      <a:pt x="82" y="408"/>
                    </a:lnTo>
                    <a:lnTo>
                      <a:pt x="80" y="406"/>
                    </a:lnTo>
                    <a:lnTo>
                      <a:pt x="76" y="402"/>
                    </a:lnTo>
                    <a:lnTo>
                      <a:pt x="64" y="396"/>
                    </a:lnTo>
                    <a:lnTo>
                      <a:pt x="62" y="394"/>
                    </a:lnTo>
                    <a:lnTo>
                      <a:pt x="58" y="392"/>
                    </a:lnTo>
                    <a:lnTo>
                      <a:pt x="58" y="388"/>
                    </a:lnTo>
                    <a:lnTo>
                      <a:pt x="60" y="386"/>
                    </a:lnTo>
                    <a:lnTo>
                      <a:pt x="60" y="384"/>
                    </a:lnTo>
                    <a:lnTo>
                      <a:pt x="62" y="384"/>
                    </a:lnTo>
                    <a:lnTo>
                      <a:pt x="64" y="384"/>
                    </a:lnTo>
                    <a:lnTo>
                      <a:pt x="66" y="382"/>
                    </a:lnTo>
                    <a:lnTo>
                      <a:pt x="68" y="378"/>
                    </a:lnTo>
                    <a:lnTo>
                      <a:pt x="68" y="376"/>
                    </a:lnTo>
                    <a:lnTo>
                      <a:pt x="72" y="375"/>
                    </a:lnTo>
                    <a:lnTo>
                      <a:pt x="74" y="373"/>
                    </a:lnTo>
                    <a:lnTo>
                      <a:pt x="76" y="373"/>
                    </a:lnTo>
                    <a:lnTo>
                      <a:pt x="86" y="371"/>
                    </a:lnTo>
                    <a:lnTo>
                      <a:pt x="88" y="369"/>
                    </a:lnTo>
                    <a:lnTo>
                      <a:pt x="92" y="361"/>
                    </a:lnTo>
                    <a:lnTo>
                      <a:pt x="94" y="359"/>
                    </a:lnTo>
                    <a:lnTo>
                      <a:pt x="101" y="355"/>
                    </a:lnTo>
                    <a:lnTo>
                      <a:pt x="105" y="353"/>
                    </a:lnTo>
                    <a:lnTo>
                      <a:pt x="109" y="345"/>
                    </a:lnTo>
                    <a:lnTo>
                      <a:pt x="111" y="343"/>
                    </a:lnTo>
                    <a:lnTo>
                      <a:pt x="117" y="339"/>
                    </a:lnTo>
                    <a:lnTo>
                      <a:pt x="119" y="337"/>
                    </a:lnTo>
                    <a:lnTo>
                      <a:pt x="117" y="337"/>
                    </a:lnTo>
                    <a:lnTo>
                      <a:pt x="117" y="335"/>
                    </a:lnTo>
                    <a:lnTo>
                      <a:pt x="115" y="330"/>
                    </a:lnTo>
                    <a:lnTo>
                      <a:pt x="115" y="324"/>
                    </a:lnTo>
                    <a:lnTo>
                      <a:pt x="117" y="320"/>
                    </a:lnTo>
                    <a:lnTo>
                      <a:pt x="121" y="312"/>
                    </a:lnTo>
                    <a:lnTo>
                      <a:pt x="121" y="302"/>
                    </a:lnTo>
                    <a:lnTo>
                      <a:pt x="119" y="296"/>
                    </a:lnTo>
                    <a:lnTo>
                      <a:pt x="109" y="279"/>
                    </a:lnTo>
                    <a:lnTo>
                      <a:pt x="107" y="279"/>
                    </a:lnTo>
                    <a:lnTo>
                      <a:pt x="107" y="281"/>
                    </a:lnTo>
                    <a:lnTo>
                      <a:pt x="105" y="283"/>
                    </a:lnTo>
                    <a:lnTo>
                      <a:pt x="101" y="285"/>
                    </a:lnTo>
                    <a:lnTo>
                      <a:pt x="97" y="285"/>
                    </a:lnTo>
                    <a:lnTo>
                      <a:pt x="92" y="283"/>
                    </a:lnTo>
                    <a:lnTo>
                      <a:pt x="84" y="281"/>
                    </a:lnTo>
                    <a:lnTo>
                      <a:pt x="70" y="279"/>
                    </a:lnTo>
                    <a:lnTo>
                      <a:pt x="66" y="277"/>
                    </a:lnTo>
                    <a:lnTo>
                      <a:pt x="62" y="273"/>
                    </a:lnTo>
                    <a:lnTo>
                      <a:pt x="60" y="269"/>
                    </a:lnTo>
                    <a:lnTo>
                      <a:pt x="60" y="263"/>
                    </a:lnTo>
                    <a:lnTo>
                      <a:pt x="60" y="259"/>
                    </a:lnTo>
                    <a:lnTo>
                      <a:pt x="58" y="253"/>
                    </a:lnTo>
                    <a:lnTo>
                      <a:pt x="60" y="253"/>
                    </a:lnTo>
                    <a:lnTo>
                      <a:pt x="70" y="250"/>
                    </a:lnTo>
                    <a:lnTo>
                      <a:pt x="64" y="244"/>
                    </a:lnTo>
                    <a:lnTo>
                      <a:pt x="64" y="244"/>
                    </a:lnTo>
                    <a:lnTo>
                      <a:pt x="64" y="240"/>
                    </a:lnTo>
                    <a:lnTo>
                      <a:pt x="64" y="238"/>
                    </a:lnTo>
                    <a:lnTo>
                      <a:pt x="64" y="236"/>
                    </a:lnTo>
                    <a:lnTo>
                      <a:pt x="64" y="234"/>
                    </a:lnTo>
                    <a:lnTo>
                      <a:pt x="66" y="230"/>
                    </a:lnTo>
                    <a:lnTo>
                      <a:pt x="70" y="228"/>
                    </a:lnTo>
                    <a:lnTo>
                      <a:pt x="74" y="226"/>
                    </a:lnTo>
                    <a:lnTo>
                      <a:pt x="92" y="226"/>
                    </a:lnTo>
                    <a:lnTo>
                      <a:pt x="99" y="230"/>
                    </a:lnTo>
                    <a:lnTo>
                      <a:pt x="107" y="228"/>
                    </a:lnTo>
                    <a:lnTo>
                      <a:pt x="111" y="230"/>
                    </a:lnTo>
                    <a:lnTo>
                      <a:pt x="117" y="232"/>
                    </a:lnTo>
                    <a:lnTo>
                      <a:pt x="119" y="226"/>
                    </a:lnTo>
                    <a:lnTo>
                      <a:pt x="121" y="216"/>
                    </a:lnTo>
                    <a:lnTo>
                      <a:pt x="123" y="185"/>
                    </a:lnTo>
                    <a:lnTo>
                      <a:pt x="123" y="177"/>
                    </a:lnTo>
                    <a:lnTo>
                      <a:pt x="125" y="171"/>
                    </a:lnTo>
                    <a:lnTo>
                      <a:pt x="127" y="168"/>
                    </a:lnTo>
                    <a:lnTo>
                      <a:pt x="140" y="146"/>
                    </a:lnTo>
                    <a:lnTo>
                      <a:pt x="144" y="136"/>
                    </a:lnTo>
                    <a:lnTo>
                      <a:pt x="146" y="128"/>
                    </a:lnTo>
                    <a:lnTo>
                      <a:pt x="146" y="119"/>
                    </a:lnTo>
                    <a:lnTo>
                      <a:pt x="144" y="99"/>
                    </a:lnTo>
                    <a:lnTo>
                      <a:pt x="144" y="95"/>
                    </a:lnTo>
                    <a:lnTo>
                      <a:pt x="142" y="95"/>
                    </a:lnTo>
                    <a:lnTo>
                      <a:pt x="142" y="93"/>
                    </a:lnTo>
                    <a:lnTo>
                      <a:pt x="142" y="89"/>
                    </a:lnTo>
                    <a:lnTo>
                      <a:pt x="142" y="87"/>
                    </a:lnTo>
                    <a:lnTo>
                      <a:pt x="144" y="82"/>
                    </a:lnTo>
                    <a:lnTo>
                      <a:pt x="146" y="76"/>
                    </a:lnTo>
                    <a:lnTo>
                      <a:pt x="146" y="72"/>
                    </a:lnTo>
                    <a:lnTo>
                      <a:pt x="146" y="68"/>
                    </a:lnTo>
                    <a:lnTo>
                      <a:pt x="146" y="60"/>
                    </a:lnTo>
                    <a:lnTo>
                      <a:pt x="144" y="60"/>
                    </a:lnTo>
                    <a:lnTo>
                      <a:pt x="133" y="56"/>
                    </a:lnTo>
                    <a:lnTo>
                      <a:pt x="127" y="54"/>
                    </a:lnTo>
                    <a:lnTo>
                      <a:pt x="127" y="48"/>
                    </a:lnTo>
                    <a:lnTo>
                      <a:pt x="125" y="46"/>
                    </a:lnTo>
                    <a:lnTo>
                      <a:pt x="125" y="46"/>
                    </a:lnTo>
                    <a:lnTo>
                      <a:pt x="127" y="45"/>
                    </a:lnTo>
                    <a:lnTo>
                      <a:pt x="127" y="45"/>
                    </a:lnTo>
                    <a:lnTo>
                      <a:pt x="127" y="43"/>
                    </a:lnTo>
                    <a:lnTo>
                      <a:pt x="127" y="43"/>
                    </a:lnTo>
                    <a:lnTo>
                      <a:pt x="125" y="43"/>
                    </a:lnTo>
                    <a:lnTo>
                      <a:pt x="123" y="45"/>
                    </a:lnTo>
                    <a:lnTo>
                      <a:pt x="121" y="43"/>
                    </a:lnTo>
                    <a:lnTo>
                      <a:pt x="119" y="43"/>
                    </a:lnTo>
                    <a:lnTo>
                      <a:pt x="117" y="43"/>
                    </a:lnTo>
                    <a:lnTo>
                      <a:pt x="109" y="39"/>
                    </a:lnTo>
                    <a:lnTo>
                      <a:pt x="105" y="37"/>
                    </a:lnTo>
                    <a:lnTo>
                      <a:pt x="103" y="37"/>
                    </a:lnTo>
                    <a:lnTo>
                      <a:pt x="103" y="35"/>
                    </a:lnTo>
                    <a:lnTo>
                      <a:pt x="101" y="35"/>
                    </a:lnTo>
                    <a:lnTo>
                      <a:pt x="101" y="33"/>
                    </a:lnTo>
                    <a:lnTo>
                      <a:pt x="97" y="31"/>
                    </a:lnTo>
                    <a:lnTo>
                      <a:pt x="97" y="31"/>
                    </a:lnTo>
                    <a:lnTo>
                      <a:pt x="92" y="7"/>
                    </a:lnTo>
                    <a:lnTo>
                      <a:pt x="88" y="4"/>
                    </a:lnTo>
                    <a:lnTo>
                      <a:pt x="84" y="2"/>
                    </a:lnTo>
                    <a:lnTo>
                      <a:pt x="68" y="0"/>
                    </a:lnTo>
                    <a:lnTo>
                      <a:pt x="29" y="5"/>
                    </a:lnTo>
                    <a:lnTo>
                      <a:pt x="4" y="13"/>
                    </a:lnTo>
                    <a:lnTo>
                      <a:pt x="0" y="15"/>
                    </a:lnTo>
                    <a:lnTo>
                      <a:pt x="0" y="445"/>
                    </a:lnTo>
                    <a:lnTo>
                      <a:pt x="0" y="44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49" name="Freeform 1252">
                <a:extLst>
                  <a:ext uri="{FF2B5EF4-FFF2-40B4-BE49-F238E27FC236}">
                    <a16:creationId xmlns:a16="http://schemas.microsoft.com/office/drawing/2014/main" id="{FA55307D-040D-4F2F-B041-124376860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7" y="766"/>
                <a:ext cx="51" cy="45"/>
              </a:xfrm>
              <a:custGeom>
                <a:avLst/>
                <a:gdLst>
                  <a:gd name="T0" fmla="*/ 8 w 51"/>
                  <a:gd name="T1" fmla="*/ 41 h 45"/>
                  <a:gd name="T2" fmla="*/ 10 w 51"/>
                  <a:gd name="T3" fmla="*/ 43 h 45"/>
                  <a:gd name="T4" fmla="*/ 14 w 51"/>
                  <a:gd name="T5" fmla="*/ 43 h 45"/>
                  <a:gd name="T6" fmla="*/ 16 w 51"/>
                  <a:gd name="T7" fmla="*/ 45 h 45"/>
                  <a:gd name="T8" fmla="*/ 16 w 51"/>
                  <a:gd name="T9" fmla="*/ 43 h 45"/>
                  <a:gd name="T10" fmla="*/ 22 w 51"/>
                  <a:gd name="T11" fmla="*/ 34 h 45"/>
                  <a:gd name="T12" fmla="*/ 22 w 51"/>
                  <a:gd name="T13" fmla="*/ 32 h 45"/>
                  <a:gd name="T14" fmla="*/ 22 w 51"/>
                  <a:gd name="T15" fmla="*/ 30 h 45"/>
                  <a:gd name="T16" fmla="*/ 20 w 51"/>
                  <a:gd name="T17" fmla="*/ 28 h 45"/>
                  <a:gd name="T18" fmla="*/ 18 w 51"/>
                  <a:gd name="T19" fmla="*/ 26 h 45"/>
                  <a:gd name="T20" fmla="*/ 22 w 51"/>
                  <a:gd name="T21" fmla="*/ 20 h 45"/>
                  <a:gd name="T22" fmla="*/ 28 w 51"/>
                  <a:gd name="T23" fmla="*/ 16 h 45"/>
                  <a:gd name="T24" fmla="*/ 31 w 51"/>
                  <a:gd name="T25" fmla="*/ 14 h 45"/>
                  <a:gd name="T26" fmla="*/ 35 w 51"/>
                  <a:gd name="T27" fmla="*/ 12 h 45"/>
                  <a:gd name="T28" fmla="*/ 43 w 51"/>
                  <a:gd name="T29" fmla="*/ 14 h 45"/>
                  <a:gd name="T30" fmla="*/ 47 w 51"/>
                  <a:gd name="T31" fmla="*/ 10 h 45"/>
                  <a:gd name="T32" fmla="*/ 47 w 51"/>
                  <a:gd name="T33" fmla="*/ 10 h 45"/>
                  <a:gd name="T34" fmla="*/ 49 w 51"/>
                  <a:gd name="T35" fmla="*/ 10 h 45"/>
                  <a:gd name="T36" fmla="*/ 49 w 51"/>
                  <a:gd name="T37" fmla="*/ 10 h 45"/>
                  <a:gd name="T38" fmla="*/ 51 w 51"/>
                  <a:gd name="T39" fmla="*/ 8 h 45"/>
                  <a:gd name="T40" fmla="*/ 47 w 51"/>
                  <a:gd name="T41" fmla="*/ 4 h 45"/>
                  <a:gd name="T42" fmla="*/ 45 w 51"/>
                  <a:gd name="T43" fmla="*/ 4 h 45"/>
                  <a:gd name="T44" fmla="*/ 39 w 51"/>
                  <a:gd name="T45" fmla="*/ 4 h 45"/>
                  <a:gd name="T46" fmla="*/ 33 w 51"/>
                  <a:gd name="T47" fmla="*/ 6 h 45"/>
                  <a:gd name="T48" fmla="*/ 31 w 51"/>
                  <a:gd name="T49" fmla="*/ 4 h 45"/>
                  <a:gd name="T50" fmla="*/ 31 w 51"/>
                  <a:gd name="T51" fmla="*/ 0 h 45"/>
                  <a:gd name="T52" fmla="*/ 29 w 51"/>
                  <a:gd name="T53" fmla="*/ 2 h 45"/>
                  <a:gd name="T54" fmla="*/ 26 w 51"/>
                  <a:gd name="T55" fmla="*/ 0 h 45"/>
                  <a:gd name="T56" fmla="*/ 24 w 51"/>
                  <a:gd name="T57" fmla="*/ 0 h 45"/>
                  <a:gd name="T58" fmla="*/ 22 w 51"/>
                  <a:gd name="T59" fmla="*/ 0 h 45"/>
                  <a:gd name="T60" fmla="*/ 20 w 51"/>
                  <a:gd name="T61" fmla="*/ 2 h 45"/>
                  <a:gd name="T62" fmla="*/ 14 w 51"/>
                  <a:gd name="T63" fmla="*/ 2 h 45"/>
                  <a:gd name="T64" fmla="*/ 10 w 51"/>
                  <a:gd name="T65" fmla="*/ 4 h 45"/>
                  <a:gd name="T66" fmla="*/ 8 w 51"/>
                  <a:gd name="T67" fmla="*/ 6 h 45"/>
                  <a:gd name="T68" fmla="*/ 8 w 51"/>
                  <a:gd name="T69" fmla="*/ 10 h 45"/>
                  <a:gd name="T70" fmla="*/ 6 w 51"/>
                  <a:gd name="T71" fmla="*/ 12 h 45"/>
                  <a:gd name="T72" fmla="*/ 6 w 51"/>
                  <a:gd name="T73" fmla="*/ 16 h 45"/>
                  <a:gd name="T74" fmla="*/ 2 w 51"/>
                  <a:gd name="T75" fmla="*/ 20 h 45"/>
                  <a:gd name="T76" fmla="*/ 0 w 51"/>
                  <a:gd name="T77" fmla="*/ 22 h 45"/>
                  <a:gd name="T78" fmla="*/ 0 w 51"/>
                  <a:gd name="T79" fmla="*/ 26 h 45"/>
                  <a:gd name="T80" fmla="*/ 6 w 51"/>
                  <a:gd name="T81" fmla="*/ 37 h 45"/>
                  <a:gd name="T82" fmla="*/ 8 w 51"/>
                  <a:gd name="T83" fmla="*/ 41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1" h="45">
                    <a:moveTo>
                      <a:pt x="8" y="41"/>
                    </a:moveTo>
                    <a:lnTo>
                      <a:pt x="10" y="43"/>
                    </a:lnTo>
                    <a:lnTo>
                      <a:pt x="14" y="43"/>
                    </a:lnTo>
                    <a:lnTo>
                      <a:pt x="16" y="45"/>
                    </a:lnTo>
                    <a:lnTo>
                      <a:pt x="16" y="43"/>
                    </a:lnTo>
                    <a:lnTo>
                      <a:pt x="22" y="34"/>
                    </a:lnTo>
                    <a:lnTo>
                      <a:pt x="22" y="32"/>
                    </a:lnTo>
                    <a:lnTo>
                      <a:pt x="22" y="30"/>
                    </a:lnTo>
                    <a:lnTo>
                      <a:pt x="20" y="28"/>
                    </a:lnTo>
                    <a:lnTo>
                      <a:pt x="18" y="26"/>
                    </a:lnTo>
                    <a:lnTo>
                      <a:pt x="22" y="20"/>
                    </a:lnTo>
                    <a:lnTo>
                      <a:pt x="28" y="16"/>
                    </a:lnTo>
                    <a:lnTo>
                      <a:pt x="31" y="14"/>
                    </a:lnTo>
                    <a:lnTo>
                      <a:pt x="35" y="12"/>
                    </a:lnTo>
                    <a:lnTo>
                      <a:pt x="43" y="14"/>
                    </a:lnTo>
                    <a:lnTo>
                      <a:pt x="47" y="10"/>
                    </a:lnTo>
                    <a:lnTo>
                      <a:pt x="47" y="10"/>
                    </a:lnTo>
                    <a:lnTo>
                      <a:pt x="49" y="10"/>
                    </a:lnTo>
                    <a:lnTo>
                      <a:pt x="49" y="10"/>
                    </a:lnTo>
                    <a:lnTo>
                      <a:pt x="51" y="8"/>
                    </a:lnTo>
                    <a:lnTo>
                      <a:pt x="47" y="4"/>
                    </a:lnTo>
                    <a:lnTo>
                      <a:pt x="45" y="4"/>
                    </a:lnTo>
                    <a:lnTo>
                      <a:pt x="39" y="4"/>
                    </a:lnTo>
                    <a:lnTo>
                      <a:pt x="33" y="6"/>
                    </a:lnTo>
                    <a:lnTo>
                      <a:pt x="31" y="4"/>
                    </a:lnTo>
                    <a:lnTo>
                      <a:pt x="31" y="0"/>
                    </a:lnTo>
                    <a:lnTo>
                      <a:pt x="29" y="2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0" y="2"/>
                    </a:lnTo>
                    <a:lnTo>
                      <a:pt x="14" y="2"/>
                    </a:lnTo>
                    <a:lnTo>
                      <a:pt x="10" y="4"/>
                    </a:lnTo>
                    <a:lnTo>
                      <a:pt x="8" y="6"/>
                    </a:lnTo>
                    <a:lnTo>
                      <a:pt x="8" y="10"/>
                    </a:lnTo>
                    <a:lnTo>
                      <a:pt x="6" y="12"/>
                    </a:lnTo>
                    <a:lnTo>
                      <a:pt x="6" y="16"/>
                    </a:lnTo>
                    <a:lnTo>
                      <a:pt x="2" y="20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6" y="37"/>
                    </a:lnTo>
                    <a:lnTo>
                      <a:pt x="8" y="4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50" name="Freeform 1253">
                <a:extLst>
                  <a:ext uri="{FF2B5EF4-FFF2-40B4-BE49-F238E27FC236}">
                    <a16:creationId xmlns:a16="http://schemas.microsoft.com/office/drawing/2014/main" id="{E2F8623F-A71E-4E0A-9F1A-58197D1B5F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964"/>
                <a:ext cx="121" cy="347"/>
              </a:xfrm>
              <a:custGeom>
                <a:avLst/>
                <a:gdLst>
                  <a:gd name="T0" fmla="*/ 2 w 121"/>
                  <a:gd name="T1" fmla="*/ 294 h 347"/>
                  <a:gd name="T2" fmla="*/ 0 w 121"/>
                  <a:gd name="T3" fmla="*/ 322 h 347"/>
                  <a:gd name="T4" fmla="*/ 2 w 121"/>
                  <a:gd name="T5" fmla="*/ 339 h 347"/>
                  <a:gd name="T6" fmla="*/ 9 w 121"/>
                  <a:gd name="T7" fmla="*/ 345 h 347"/>
                  <a:gd name="T8" fmla="*/ 23 w 121"/>
                  <a:gd name="T9" fmla="*/ 320 h 347"/>
                  <a:gd name="T10" fmla="*/ 27 w 121"/>
                  <a:gd name="T11" fmla="*/ 308 h 347"/>
                  <a:gd name="T12" fmla="*/ 29 w 121"/>
                  <a:gd name="T13" fmla="*/ 294 h 347"/>
                  <a:gd name="T14" fmla="*/ 33 w 121"/>
                  <a:gd name="T15" fmla="*/ 277 h 347"/>
                  <a:gd name="T16" fmla="*/ 37 w 121"/>
                  <a:gd name="T17" fmla="*/ 265 h 347"/>
                  <a:gd name="T18" fmla="*/ 39 w 121"/>
                  <a:gd name="T19" fmla="*/ 255 h 347"/>
                  <a:gd name="T20" fmla="*/ 39 w 121"/>
                  <a:gd name="T21" fmla="*/ 251 h 347"/>
                  <a:gd name="T22" fmla="*/ 41 w 121"/>
                  <a:gd name="T23" fmla="*/ 240 h 347"/>
                  <a:gd name="T24" fmla="*/ 47 w 121"/>
                  <a:gd name="T25" fmla="*/ 236 h 347"/>
                  <a:gd name="T26" fmla="*/ 49 w 121"/>
                  <a:gd name="T27" fmla="*/ 224 h 347"/>
                  <a:gd name="T28" fmla="*/ 60 w 121"/>
                  <a:gd name="T29" fmla="*/ 179 h 347"/>
                  <a:gd name="T30" fmla="*/ 62 w 121"/>
                  <a:gd name="T31" fmla="*/ 171 h 347"/>
                  <a:gd name="T32" fmla="*/ 72 w 121"/>
                  <a:gd name="T33" fmla="*/ 162 h 347"/>
                  <a:gd name="T34" fmla="*/ 76 w 121"/>
                  <a:gd name="T35" fmla="*/ 140 h 347"/>
                  <a:gd name="T36" fmla="*/ 82 w 121"/>
                  <a:gd name="T37" fmla="*/ 128 h 347"/>
                  <a:gd name="T38" fmla="*/ 84 w 121"/>
                  <a:gd name="T39" fmla="*/ 111 h 347"/>
                  <a:gd name="T40" fmla="*/ 88 w 121"/>
                  <a:gd name="T41" fmla="*/ 103 h 347"/>
                  <a:gd name="T42" fmla="*/ 84 w 121"/>
                  <a:gd name="T43" fmla="*/ 97 h 347"/>
                  <a:gd name="T44" fmla="*/ 93 w 121"/>
                  <a:gd name="T45" fmla="*/ 89 h 347"/>
                  <a:gd name="T46" fmla="*/ 103 w 121"/>
                  <a:gd name="T47" fmla="*/ 64 h 347"/>
                  <a:gd name="T48" fmla="*/ 105 w 121"/>
                  <a:gd name="T49" fmla="*/ 54 h 347"/>
                  <a:gd name="T50" fmla="*/ 109 w 121"/>
                  <a:gd name="T51" fmla="*/ 50 h 347"/>
                  <a:gd name="T52" fmla="*/ 111 w 121"/>
                  <a:gd name="T53" fmla="*/ 39 h 347"/>
                  <a:gd name="T54" fmla="*/ 113 w 121"/>
                  <a:gd name="T55" fmla="*/ 15 h 347"/>
                  <a:gd name="T56" fmla="*/ 121 w 121"/>
                  <a:gd name="T57" fmla="*/ 9 h 347"/>
                  <a:gd name="T58" fmla="*/ 119 w 121"/>
                  <a:gd name="T59" fmla="*/ 5 h 347"/>
                  <a:gd name="T60" fmla="*/ 119 w 121"/>
                  <a:gd name="T61" fmla="*/ 1 h 347"/>
                  <a:gd name="T62" fmla="*/ 115 w 121"/>
                  <a:gd name="T63" fmla="*/ 3 h 347"/>
                  <a:gd name="T64" fmla="*/ 111 w 121"/>
                  <a:gd name="T65" fmla="*/ 0 h 347"/>
                  <a:gd name="T66" fmla="*/ 103 w 121"/>
                  <a:gd name="T67" fmla="*/ 3 h 347"/>
                  <a:gd name="T68" fmla="*/ 93 w 121"/>
                  <a:gd name="T69" fmla="*/ 21 h 347"/>
                  <a:gd name="T70" fmla="*/ 91 w 121"/>
                  <a:gd name="T71" fmla="*/ 44 h 347"/>
                  <a:gd name="T72" fmla="*/ 86 w 121"/>
                  <a:gd name="T73" fmla="*/ 50 h 347"/>
                  <a:gd name="T74" fmla="*/ 66 w 121"/>
                  <a:gd name="T75" fmla="*/ 107 h 347"/>
                  <a:gd name="T76" fmla="*/ 52 w 121"/>
                  <a:gd name="T77" fmla="*/ 142 h 347"/>
                  <a:gd name="T78" fmla="*/ 41 w 121"/>
                  <a:gd name="T79" fmla="*/ 144 h 347"/>
                  <a:gd name="T80" fmla="*/ 7 w 121"/>
                  <a:gd name="T81" fmla="*/ 226 h 347"/>
                  <a:gd name="T82" fmla="*/ 0 w 121"/>
                  <a:gd name="T83" fmla="*/ 246 h 347"/>
                  <a:gd name="T84" fmla="*/ 0 w 121"/>
                  <a:gd name="T85" fmla="*/ 27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1" h="347">
                    <a:moveTo>
                      <a:pt x="2" y="285"/>
                    </a:moveTo>
                    <a:lnTo>
                      <a:pt x="2" y="290"/>
                    </a:lnTo>
                    <a:lnTo>
                      <a:pt x="2" y="294"/>
                    </a:lnTo>
                    <a:lnTo>
                      <a:pt x="2" y="308"/>
                    </a:lnTo>
                    <a:lnTo>
                      <a:pt x="2" y="316"/>
                    </a:lnTo>
                    <a:lnTo>
                      <a:pt x="0" y="322"/>
                    </a:lnTo>
                    <a:lnTo>
                      <a:pt x="2" y="330"/>
                    </a:lnTo>
                    <a:lnTo>
                      <a:pt x="2" y="333"/>
                    </a:lnTo>
                    <a:lnTo>
                      <a:pt x="2" y="339"/>
                    </a:lnTo>
                    <a:lnTo>
                      <a:pt x="2" y="343"/>
                    </a:lnTo>
                    <a:lnTo>
                      <a:pt x="6" y="347"/>
                    </a:lnTo>
                    <a:lnTo>
                      <a:pt x="9" y="345"/>
                    </a:lnTo>
                    <a:lnTo>
                      <a:pt x="11" y="343"/>
                    </a:lnTo>
                    <a:lnTo>
                      <a:pt x="15" y="339"/>
                    </a:lnTo>
                    <a:lnTo>
                      <a:pt x="23" y="320"/>
                    </a:lnTo>
                    <a:lnTo>
                      <a:pt x="25" y="314"/>
                    </a:lnTo>
                    <a:lnTo>
                      <a:pt x="25" y="312"/>
                    </a:lnTo>
                    <a:lnTo>
                      <a:pt x="27" y="308"/>
                    </a:lnTo>
                    <a:lnTo>
                      <a:pt x="29" y="304"/>
                    </a:lnTo>
                    <a:lnTo>
                      <a:pt x="29" y="298"/>
                    </a:lnTo>
                    <a:lnTo>
                      <a:pt x="29" y="294"/>
                    </a:lnTo>
                    <a:lnTo>
                      <a:pt x="29" y="290"/>
                    </a:lnTo>
                    <a:lnTo>
                      <a:pt x="31" y="283"/>
                    </a:lnTo>
                    <a:lnTo>
                      <a:pt x="33" y="277"/>
                    </a:lnTo>
                    <a:lnTo>
                      <a:pt x="37" y="271"/>
                    </a:lnTo>
                    <a:lnTo>
                      <a:pt x="37" y="269"/>
                    </a:lnTo>
                    <a:lnTo>
                      <a:pt x="37" y="265"/>
                    </a:lnTo>
                    <a:lnTo>
                      <a:pt x="37" y="259"/>
                    </a:lnTo>
                    <a:lnTo>
                      <a:pt x="39" y="259"/>
                    </a:lnTo>
                    <a:lnTo>
                      <a:pt x="39" y="255"/>
                    </a:lnTo>
                    <a:lnTo>
                      <a:pt x="41" y="253"/>
                    </a:lnTo>
                    <a:lnTo>
                      <a:pt x="41" y="251"/>
                    </a:lnTo>
                    <a:lnTo>
                      <a:pt x="39" y="251"/>
                    </a:lnTo>
                    <a:lnTo>
                      <a:pt x="39" y="249"/>
                    </a:lnTo>
                    <a:lnTo>
                      <a:pt x="41" y="244"/>
                    </a:lnTo>
                    <a:lnTo>
                      <a:pt x="41" y="240"/>
                    </a:lnTo>
                    <a:lnTo>
                      <a:pt x="43" y="240"/>
                    </a:lnTo>
                    <a:lnTo>
                      <a:pt x="45" y="238"/>
                    </a:lnTo>
                    <a:lnTo>
                      <a:pt x="47" y="236"/>
                    </a:lnTo>
                    <a:lnTo>
                      <a:pt x="47" y="234"/>
                    </a:lnTo>
                    <a:lnTo>
                      <a:pt x="49" y="230"/>
                    </a:lnTo>
                    <a:lnTo>
                      <a:pt x="49" y="224"/>
                    </a:lnTo>
                    <a:lnTo>
                      <a:pt x="50" y="216"/>
                    </a:lnTo>
                    <a:lnTo>
                      <a:pt x="60" y="187"/>
                    </a:lnTo>
                    <a:lnTo>
                      <a:pt x="60" y="179"/>
                    </a:lnTo>
                    <a:lnTo>
                      <a:pt x="60" y="177"/>
                    </a:lnTo>
                    <a:lnTo>
                      <a:pt x="60" y="173"/>
                    </a:lnTo>
                    <a:lnTo>
                      <a:pt x="62" y="171"/>
                    </a:lnTo>
                    <a:lnTo>
                      <a:pt x="62" y="169"/>
                    </a:lnTo>
                    <a:lnTo>
                      <a:pt x="64" y="167"/>
                    </a:lnTo>
                    <a:lnTo>
                      <a:pt x="72" y="162"/>
                    </a:lnTo>
                    <a:lnTo>
                      <a:pt x="72" y="162"/>
                    </a:lnTo>
                    <a:lnTo>
                      <a:pt x="74" y="158"/>
                    </a:lnTo>
                    <a:lnTo>
                      <a:pt x="76" y="140"/>
                    </a:lnTo>
                    <a:lnTo>
                      <a:pt x="78" y="138"/>
                    </a:lnTo>
                    <a:lnTo>
                      <a:pt x="82" y="134"/>
                    </a:lnTo>
                    <a:lnTo>
                      <a:pt x="82" y="128"/>
                    </a:lnTo>
                    <a:lnTo>
                      <a:pt x="80" y="123"/>
                    </a:lnTo>
                    <a:lnTo>
                      <a:pt x="80" y="119"/>
                    </a:lnTo>
                    <a:lnTo>
                      <a:pt x="84" y="111"/>
                    </a:lnTo>
                    <a:lnTo>
                      <a:pt x="86" y="107"/>
                    </a:lnTo>
                    <a:lnTo>
                      <a:pt x="90" y="103"/>
                    </a:lnTo>
                    <a:lnTo>
                      <a:pt x="88" y="103"/>
                    </a:lnTo>
                    <a:lnTo>
                      <a:pt x="86" y="101"/>
                    </a:lnTo>
                    <a:lnTo>
                      <a:pt x="84" y="99"/>
                    </a:lnTo>
                    <a:lnTo>
                      <a:pt x="84" y="97"/>
                    </a:lnTo>
                    <a:lnTo>
                      <a:pt x="88" y="95"/>
                    </a:lnTo>
                    <a:lnTo>
                      <a:pt x="91" y="93"/>
                    </a:lnTo>
                    <a:lnTo>
                      <a:pt x="93" y="89"/>
                    </a:lnTo>
                    <a:lnTo>
                      <a:pt x="95" y="82"/>
                    </a:lnTo>
                    <a:lnTo>
                      <a:pt x="95" y="78"/>
                    </a:lnTo>
                    <a:lnTo>
                      <a:pt x="103" y="64"/>
                    </a:lnTo>
                    <a:lnTo>
                      <a:pt x="103" y="60"/>
                    </a:lnTo>
                    <a:lnTo>
                      <a:pt x="105" y="56"/>
                    </a:lnTo>
                    <a:lnTo>
                      <a:pt x="105" y="54"/>
                    </a:lnTo>
                    <a:lnTo>
                      <a:pt x="105" y="52"/>
                    </a:lnTo>
                    <a:lnTo>
                      <a:pt x="109" y="52"/>
                    </a:lnTo>
                    <a:lnTo>
                      <a:pt x="109" y="50"/>
                    </a:lnTo>
                    <a:lnTo>
                      <a:pt x="109" y="50"/>
                    </a:lnTo>
                    <a:lnTo>
                      <a:pt x="109" y="46"/>
                    </a:lnTo>
                    <a:lnTo>
                      <a:pt x="111" y="39"/>
                    </a:lnTo>
                    <a:lnTo>
                      <a:pt x="111" y="35"/>
                    </a:lnTo>
                    <a:lnTo>
                      <a:pt x="107" y="25"/>
                    </a:lnTo>
                    <a:lnTo>
                      <a:pt x="113" y="15"/>
                    </a:lnTo>
                    <a:lnTo>
                      <a:pt x="117" y="11"/>
                    </a:lnTo>
                    <a:lnTo>
                      <a:pt x="121" y="11"/>
                    </a:lnTo>
                    <a:lnTo>
                      <a:pt x="121" y="9"/>
                    </a:lnTo>
                    <a:lnTo>
                      <a:pt x="121" y="7"/>
                    </a:lnTo>
                    <a:lnTo>
                      <a:pt x="121" y="5"/>
                    </a:lnTo>
                    <a:lnTo>
                      <a:pt x="119" y="5"/>
                    </a:lnTo>
                    <a:lnTo>
                      <a:pt x="119" y="3"/>
                    </a:lnTo>
                    <a:lnTo>
                      <a:pt x="119" y="3"/>
                    </a:lnTo>
                    <a:lnTo>
                      <a:pt x="119" y="1"/>
                    </a:lnTo>
                    <a:lnTo>
                      <a:pt x="119" y="0"/>
                    </a:lnTo>
                    <a:lnTo>
                      <a:pt x="117" y="0"/>
                    </a:lnTo>
                    <a:lnTo>
                      <a:pt x="115" y="3"/>
                    </a:lnTo>
                    <a:lnTo>
                      <a:pt x="115" y="3"/>
                    </a:lnTo>
                    <a:lnTo>
                      <a:pt x="113" y="3"/>
                    </a:lnTo>
                    <a:lnTo>
                      <a:pt x="111" y="0"/>
                    </a:lnTo>
                    <a:lnTo>
                      <a:pt x="109" y="0"/>
                    </a:lnTo>
                    <a:lnTo>
                      <a:pt x="107" y="0"/>
                    </a:lnTo>
                    <a:lnTo>
                      <a:pt x="103" y="3"/>
                    </a:lnTo>
                    <a:lnTo>
                      <a:pt x="99" y="11"/>
                    </a:lnTo>
                    <a:lnTo>
                      <a:pt x="95" y="15"/>
                    </a:lnTo>
                    <a:lnTo>
                      <a:pt x="93" y="21"/>
                    </a:lnTo>
                    <a:lnTo>
                      <a:pt x="93" y="39"/>
                    </a:lnTo>
                    <a:lnTo>
                      <a:pt x="93" y="41"/>
                    </a:lnTo>
                    <a:lnTo>
                      <a:pt x="91" y="44"/>
                    </a:lnTo>
                    <a:lnTo>
                      <a:pt x="88" y="44"/>
                    </a:lnTo>
                    <a:lnTo>
                      <a:pt x="86" y="46"/>
                    </a:lnTo>
                    <a:lnTo>
                      <a:pt x="86" y="50"/>
                    </a:lnTo>
                    <a:lnTo>
                      <a:pt x="82" y="72"/>
                    </a:lnTo>
                    <a:lnTo>
                      <a:pt x="74" y="91"/>
                    </a:lnTo>
                    <a:lnTo>
                      <a:pt x="66" y="107"/>
                    </a:lnTo>
                    <a:lnTo>
                      <a:pt x="58" y="126"/>
                    </a:lnTo>
                    <a:lnTo>
                      <a:pt x="56" y="138"/>
                    </a:lnTo>
                    <a:lnTo>
                      <a:pt x="52" y="142"/>
                    </a:lnTo>
                    <a:lnTo>
                      <a:pt x="49" y="144"/>
                    </a:lnTo>
                    <a:lnTo>
                      <a:pt x="43" y="144"/>
                    </a:lnTo>
                    <a:lnTo>
                      <a:pt x="41" y="144"/>
                    </a:lnTo>
                    <a:lnTo>
                      <a:pt x="37" y="148"/>
                    </a:lnTo>
                    <a:lnTo>
                      <a:pt x="9" y="220"/>
                    </a:lnTo>
                    <a:lnTo>
                      <a:pt x="7" y="226"/>
                    </a:lnTo>
                    <a:lnTo>
                      <a:pt x="7" y="228"/>
                    </a:lnTo>
                    <a:lnTo>
                      <a:pt x="4" y="236"/>
                    </a:lnTo>
                    <a:lnTo>
                      <a:pt x="0" y="246"/>
                    </a:lnTo>
                    <a:lnTo>
                      <a:pt x="0" y="247"/>
                    </a:lnTo>
                    <a:lnTo>
                      <a:pt x="0" y="273"/>
                    </a:lnTo>
                    <a:lnTo>
                      <a:pt x="0" y="279"/>
                    </a:lnTo>
                    <a:lnTo>
                      <a:pt x="2" y="28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51" name="Freeform 1254">
                <a:extLst>
                  <a:ext uri="{FF2B5EF4-FFF2-40B4-BE49-F238E27FC236}">
                    <a16:creationId xmlns:a16="http://schemas.microsoft.com/office/drawing/2014/main" id="{4A4F6C86-0991-4179-8175-988D23B95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2" y="702"/>
                <a:ext cx="68" cy="37"/>
              </a:xfrm>
              <a:custGeom>
                <a:avLst/>
                <a:gdLst>
                  <a:gd name="T0" fmla="*/ 1 w 68"/>
                  <a:gd name="T1" fmla="*/ 10 h 37"/>
                  <a:gd name="T2" fmla="*/ 0 w 68"/>
                  <a:gd name="T3" fmla="*/ 14 h 37"/>
                  <a:gd name="T4" fmla="*/ 0 w 68"/>
                  <a:gd name="T5" fmla="*/ 19 h 37"/>
                  <a:gd name="T6" fmla="*/ 0 w 68"/>
                  <a:gd name="T7" fmla="*/ 21 h 37"/>
                  <a:gd name="T8" fmla="*/ 5 w 68"/>
                  <a:gd name="T9" fmla="*/ 27 h 37"/>
                  <a:gd name="T10" fmla="*/ 5 w 68"/>
                  <a:gd name="T11" fmla="*/ 29 h 37"/>
                  <a:gd name="T12" fmla="*/ 7 w 68"/>
                  <a:gd name="T13" fmla="*/ 37 h 37"/>
                  <a:gd name="T14" fmla="*/ 7 w 68"/>
                  <a:gd name="T15" fmla="*/ 37 h 37"/>
                  <a:gd name="T16" fmla="*/ 7 w 68"/>
                  <a:gd name="T17" fmla="*/ 27 h 37"/>
                  <a:gd name="T18" fmla="*/ 13 w 68"/>
                  <a:gd name="T19" fmla="*/ 31 h 37"/>
                  <a:gd name="T20" fmla="*/ 15 w 68"/>
                  <a:gd name="T21" fmla="*/ 33 h 37"/>
                  <a:gd name="T22" fmla="*/ 17 w 68"/>
                  <a:gd name="T23" fmla="*/ 33 h 37"/>
                  <a:gd name="T24" fmla="*/ 17 w 68"/>
                  <a:gd name="T25" fmla="*/ 33 h 37"/>
                  <a:gd name="T26" fmla="*/ 19 w 68"/>
                  <a:gd name="T27" fmla="*/ 29 h 37"/>
                  <a:gd name="T28" fmla="*/ 19 w 68"/>
                  <a:gd name="T29" fmla="*/ 27 h 37"/>
                  <a:gd name="T30" fmla="*/ 23 w 68"/>
                  <a:gd name="T31" fmla="*/ 23 h 37"/>
                  <a:gd name="T32" fmla="*/ 29 w 68"/>
                  <a:gd name="T33" fmla="*/ 21 h 37"/>
                  <a:gd name="T34" fmla="*/ 33 w 68"/>
                  <a:gd name="T35" fmla="*/ 23 h 37"/>
                  <a:gd name="T36" fmla="*/ 37 w 68"/>
                  <a:gd name="T37" fmla="*/ 29 h 37"/>
                  <a:gd name="T38" fmla="*/ 41 w 68"/>
                  <a:gd name="T39" fmla="*/ 27 h 37"/>
                  <a:gd name="T40" fmla="*/ 48 w 68"/>
                  <a:gd name="T41" fmla="*/ 29 h 37"/>
                  <a:gd name="T42" fmla="*/ 58 w 68"/>
                  <a:gd name="T43" fmla="*/ 23 h 37"/>
                  <a:gd name="T44" fmla="*/ 62 w 68"/>
                  <a:gd name="T45" fmla="*/ 23 h 37"/>
                  <a:gd name="T46" fmla="*/ 66 w 68"/>
                  <a:gd name="T47" fmla="*/ 21 h 37"/>
                  <a:gd name="T48" fmla="*/ 66 w 68"/>
                  <a:gd name="T49" fmla="*/ 16 h 37"/>
                  <a:gd name="T50" fmla="*/ 68 w 68"/>
                  <a:gd name="T51" fmla="*/ 0 h 37"/>
                  <a:gd name="T52" fmla="*/ 68 w 68"/>
                  <a:gd name="T53" fmla="*/ 0 h 37"/>
                  <a:gd name="T54" fmla="*/ 11 w 68"/>
                  <a:gd name="T55" fmla="*/ 0 h 37"/>
                  <a:gd name="T56" fmla="*/ 1 w 68"/>
                  <a:gd name="T57" fmla="*/ 1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8" h="37">
                    <a:moveTo>
                      <a:pt x="1" y="10"/>
                    </a:moveTo>
                    <a:lnTo>
                      <a:pt x="0" y="14"/>
                    </a:lnTo>
                    <a:lnTo>
                      <a:pt x="0" y="19"/>
                    </a:lnTo>
                    <a:lnTo>
                      <a:pt x="0" y="21"/>
                    </a:lnTo>
                    <a:lnTo>
                      <a:pt x="5" y="27"/>
                    </a:lnTo>
                    <a:lnTo>
                      <a:pt x="5" y="29"/>
                    </a:lnTo>
                    <a:lnTo>
                      <a:pt x="7" y="37"/>
                    </a:lnTo>
                    <a:lnTo>
                      <a:pt x="7" y="37"/>
                    </a:lnTo>
                    <a:lnTo>
                      <a:pt x="7" y="27"/>
                    </a:lnTo>
                    <a:lnTo>
                      <a:pt x="13" y="31"/>
                    </a:lnTo>
                    <a:lnTo>
                      <a:pt x="15" y="33"/>
                    </a:lnTo>
                    <a:lnTo>
                      <a:pt x="17" y="33"/>
                    </a:lnTo>
                    <a:lnTo>
                      <a:pt x="17" y="33"/>
                    </a:lnTo>
                    <a:lnTo>
                      <a:pt x="19" y="29"/>
                    </a:lnTo>
                    <a:lnTo>
                      <a:pt x="19" y="27"/>
                    </a:lnTo>
                    <a:lnTo>
                      <a:pt x="23" y="23"/>
                    </a:lnTo>
                    <a:lnTo>
                      <a:pt x="29" y="21"/>
                    </a:lnTo>
                    <a:lnTo>
                      <a:pt x="33" y="23"/>
                    </a:lnTo>
                    <a:lnTo>
                      <a:pt x="37" y="29"/>
                    </a:lnTo>
                    <a:lnTo>
                      <a:pt x="41" y="27"/>
                    </a:lnTo>
                    <a:lnTo>
                      <a:pt x="48" y="29"/>
                    </a:lnTo>
                    <a:lnTo>
                      <a:pt x="58" y="23"/>
                    </a:lnTo>
                    <a:lnTo>
                      <a:pt x="62" y="23"/>
                    </a:lnTo>
                    <a:lnTo>
                      <a:pt x="66" y="21"/>
                    </a:lnTo>
                    <a:lnTo>
                      <a:pt x="66" y="16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11" y="0"/>
                    </a:lnTo>
                    <a:lnTo>
                      <a:pt x="1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52" name="Freeform 1255">
                <a:extLst>
                  <a:ext uri="{FF2B5EF4-FFF2-40B4-BE49-F238E27FC236}">
                    <a16:creationId xmlns:a16="http://schemas.microsoft.com/office/drawing/2014/main" id="{0E2DB9BA-C930-4002-A893-D3C63CBAAF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5" y="743"/>
                <a:ext cx="43" cy="39"/>
              </a:xfrm>
              <a:custGeom>
                <a:avLst/>
                <a:gdLst>
                  <a:gd name="T0" fmla="*/ 6 w 43"/>
                  <a:gd name="T1" fmla="*/ 16 h 39"/>
                  <a:gd name="T2" fmla="*/ 10 w 43"/>
                  <a:gd name="T3" fmla="*/ 16 h 39"/>
                  <a:gd name="T4" fmla="*/ 12 w 43"/>
                  <a:gd name="T5" fmla="*/ 17 h 39"/>
                  <a:gd name="T6" fmla="*/ 10 w 43"/>
                  <a:gd name="T7" fmla="*/ 19 h 39"/>
                  <a:gd name="T8" fmla="*/ 6 w 43"/>
                  <a:gd name="T9" fmla="*/ 17 h 39"/>
                  <a:gd name="T10" fmla="*/ 4 w 43"/>
                  <a:gd name="T11" fmla="*/ 19 h 39"/>
                  <a:gd name="T12" fmla="*/ 4 w 43"/>
                  <a:gd name="T13" fmla="*/ 21 h 39"/>
                  <a:gd name="T14" fmla="*/ 4 w 43"/>
                  <a:gd name="T15" fmla="*/ 25 h 39"/>
                  <a:gd name="T16" fmla="*/ 4 w 43"/>
                  <a:gd name="T17" fmla="*/ 27 h 39"/>
                  <a:gd name="T18" fmla="*/ 6 w 43"/>
                  <a:gd name="T19" fmla="*/ 29 h 39"/>
                  <a:gd name="T20" fmla="*/ 6 w 43"/>
                  <a:gd name="T21" fmla="*/ 33 h 39"/>
                  <a:gd name="T22" fmla="*/ 6 w 43"/>
                  <a:gd name="T23" fmla="*/ 35 h 39"/>
                  <a:gd name="T24" fmla="*/ 12 w 43"/>
                  <a:gd name="T25" fmla="*/ 35 h 39"/>
                  <a:gd name="T26" fmla="*/ 12 w 43"/>
                  <a:gd name="T27" fmla="*/ 37 h 39"/>
                  <a:gd name="T28" fmla="*/ 14 w 43"/>
                  <a:gd name="T29" fmla="*/ 39 h 39"/>
                  <a:gd name="T30" fmla="*/ 16 w 43"/>
                  <a:gd name="T31" fmla="*/ 39 h 39"/>
                  <a:gd name="T32" fmla="*/ 18 w 43"/>
                  <a:gd name="T33" fmla="*/ 39 h 39"/>
                  <a:gd name="T34" fmla="*/ 18 w 43"/>
                  <a:gd name="T35" fmla="*/ 39 h 39"/>
                  <a:gd name="T36" fmla="*/ 20 w 43"/>
                  <a:gd name="T37" fmla="*/ 35 h 39"/>
                  <a:gd name="T38" fmla="*/ 22 w 43"/>
                  <a:gd name="T39" fmla="*/ 33 h 39"/>
                  <a:gd name="T40" fmla="*/ 24 w 43"/>
                  <a:gd name="T41" fmla="*/ 35 h 39"/>
                  <a:gd name="T42" fmla="*/ 26 w 43"/>
                  <a:gd name="T43" fmla="*/ 33 h 39"/>
                  <a:gd name="T44" fmla="*/ 28 w 43"/>
                  <a:gd name="T45" fmla="*/ 31 h 39"/>
                  <a:gd name="T46" fmla="*/ 29 w 43"/>
                  <a:gd name="T47" fmla="*/ 23 h 39"/>
                  <a:gd name="T48" fmla="*/ 31 w 43"/>
                  <a:gd name="T49" fmla="*/ 17 h 39"/>
                  <a:gd name="T50" fmla="*/ 33 w 43"/>
                  <a:gd name="T51" fmla="*/ 16 h 39"/>
                  <a:gd name="T52" fmla="*/ 37 w 43"/>
                  <a:gd name="T53" fmla="*/ 16 h 39"/>
                  <a:gd name="T54" fmla="*/ 35 w 43"/>
                  <a:gd name="T55" fmla="*/ 19 h 39"/>
                  <a:gd name="T56" fmla="*/ 37 w 43"/>
                  <a:gd name="T57" fmla="*/ 21 h 39"/>
                  <a:gd name="T58" fmla="*/ 37 w 43"/>
                  <a:gd name="T59" fmla="*/ 21 h 39"/>
                  <a:gd name="T60" fmla="*/ 39 w 43"/>
                  <a:gd name="T61" fmla="*/ 19 h 39"/>
                  <a:gd name="T62" fmla="*/ 41 w 43"/>
                  <a:gd name="T63" fmla="*/ 17 h 39"/>
                  <a:gd name="T64" fmla="*/ 43 w 43"/>
                  <a:gd name="T65" fmla="*/ 10 h 39"/>
                  <a:gd name="T66" fmla="*/ 41 w 43"/>
                  <a:gd name="T67" fmla="*/ 8 h 39"/>
                  <a:gd name="T68" fmla="*/ 41 w 43"/>
                  <a:gd name="T69" fmla="*/ 6 h 39"/>
                  <a:gd name="T70" fmla="*/ 41 w 43"/>
                  <a:gd name="T71" fmla="*/ 2 h 39"/>
                  <a:gd name="T72" fmla="*/ 37 w 43"/>
                  <a:gd name="T73" fmla="*/ 0 h 39"/>
                  <a:gd name="T74" fmla="*/ 35 w 43"/>
                  <a:gd name="T75" fmla="*/ 0 h 39"/>
                  <a:gd name="T76" fmla="*/ 31 w 43"/>
                  <a:gd name="T77" fmla="*/ 4 h 39"/>
                  <a:gd name="T78" fmla="*/ 28 w 43"/>
                  <a:gd name="T79" fmla="*/ 6 h 39"/>
                  <a:gd name="T80" fmla="*/ 12 w 43"/>
                  <a:gd name="T81" fmla="*/ 6 h 39"/>
                  <a:gd name="T82" fmla="*/ 6 w 43"/>
                  <a:gd name="T83" fmla="*/ 4 h 39"/>
                  <a:gd name="T84" fmla="*/ 2 w 43"/>
                  <a:gd name="T85" fmla="*/ 6 h 39"/>
                  <a:gd name="T86" fmla="*/ 0 w 43"/>
                  <a:gd name="T87" fmla="*/ 10 h 39"/>
                  <a:gd name="T88" fmla="*/ 2 w 43"/>
                  <a:gd name="T89" fmla="*/ 16 h 39"/>
                  <a:gd name="T90" fmla="*/ 6 w 43"/>
                  <a:gd name="T91" fmla="*/ 1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" h="39">
                    <a:moveTo>
                      <a:pt x="6" y="16"/>
                    </a:moveTo>
                    <a:lnTo>
                      <a:pt x="10" y="16"/>
                    </a:lnTo>
                    <a:lnTo>
                      <a:pt x="12" y="17"/>
                    </a:lnTo>
                    <a:lnTo>
                      <a:pt x="10" y="19"/>
                    </a:lnTo>
                    <a:lnTo>
                      <a:pt x="6" y="17"/>
                    </a:lnTo>
                    <a:lnTo>
                      <a:pt x="4" y="19"/>
                    </a:lnTo>
                    <a:lnTo>
                      <a:pt x="4" y="21"/>
                    </a:lnTo>
                    <a:lnTo>
                      <a:pt x="4" y="25"/>
                    </a:lnTo>
                    <a:lnTo>
                      <a:pt x="4" y="27"/>
                    </a:lnTo>
                    <a:lnTo>
                      <a:pt x="6" y="29"/>
                    </a:lnTo>
                    <a:lnTo>
                      <a:pt x="6" y="33"/>
                    </a:lnTo>
                    <a:lnTo>
                      <a:pt x="6" y="35"/>
                    </a:lnTo>
                    <a:lnTo>
                      <a:pt x="12" y="35"/>
                    </a:lnTo>
                    <a:lnTo>
                      <a:pt x="12" y="37"/>
                    </a:lnTo>
                    <a:lnTo>
                      <a:pt x="14" y="39"/>
                    </a:lnTo>
                    <a:lnTo>
                      <a:pt x="16" y="39"/>
                    </a:lnTo>
                    <a:lnTo>
                      <a:pt x="18" y="39"/>
                    </a:lnTo>
                    <a:lnTo>
                      <a:pt x="18" y="39"/>
                    </a:lnTo>
                    <a:lnTo>
                      <a:pt x="20" y="35"/>
                    </a:lnTo>
                    <a:lnTo>
                      <a:pt x="22" y="33"/>
                    </a:lnTo>
                    <a:lnTo>
                      <a:pt x="24" y="35"/>
                    </a:lnTo>
                    <a:lnTo>
                      <a:pt x="26" y="33"/>
                    </a:lnTo>
                    <a:lnTo>
                      <a:pt x="28" y="31"/>
                    </a:lnTo>
                    <a:lnTo>
                      <a:pt x="29" y="23"/>
                    </a:lnTo>
                    <a:lnTo>
                      <a:pt x="31" y="17"/>
                    </a:lnTo>
                    <a:lnTo>
                      <a:pt x="33" y="16"/>
                    </a:lnTo>
                    <a:lnTo>
                      <a:pt x="37" y="16"/>
                    </a:lnTo>
                    <a:lnTo>
                      <a:pt x="35" y="19"/>
                    </a:lnTo>
                    <a:lnTo>
                      <a:pt x="37" y="21"/>
                    </a:lnTo>
                    <a:lnTo>
                      <a:pt x="37" y="21"/>
                    </a:lnTo>
                    <a:lnTo>
                      <a:pt x="39" y="19"/>
                    </a:lnTo>
                    <a:lnTo>
                      <a:pt x="41" y="17"/>
                    </a:lnTo>
                    <a:lnTo>
                      <a:pt x="43" y="10"/>
                    </a:lnTo>
                    <a:lnTo>
                      <a:pt x="41" y="8"/>
                    </a:lnTo>
                    <a:lnTo>
                      <a:pt x="41" y="6"/>
                    </a:lnTo>
                    <a:lnTo>
                      <a:pt x="41" y="2"/>
                    </a:lnTo>
                    <a:lnTo>
                      <a:pt x="37" y="0"/>
                    </a:lnTo>
                    <a:lnTo>
                      <a:pt x="35" y="0"/>
                    </a:lnTo>
                    <a:lnTo>
                      <a:pt x="31" y="4"/>
                    </a:lnTo>
                    <a:lnTo>
                      <a:pt x="28" y="6"/>
                    </a:lnTo>
                    <a:lnTo>
                      <a:pt x="12" y="6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6"/>
                    </a:lnTo>
                    <a:lnTo>
                      <a:pt x="6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53" name="Freeform 1256">
                <a:extLst>
                  <a:ext uri="{FF2B5EF4-FFF2-40B4-BE49-F238E27FC236}">
                    <a16:creationId xmlns:a16="http://schemas.microsoft.com/office/drawing/2014/main" id="{45DE71BB-6F3C-4810-805E-160A06B9D8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9" y="1338"/>
                <a:ext cx="15" cy="16"/>
              </a:xfrm>
              <a:custGeom>
                <a:avLst/>
                <a:gdLst>
                  <a:gd name="T0" fmla="*/ 8 w 15"/>
                  <a:gd name="T1" fmla="*/ 14 h 16"/>
                  <a:gd name="T2" fmla="*/ 8 w 15"/>
                  <a:gd name="T3" fmla="*/ 16 h 16"/>
                  <a:gd name="T4" fmla="*/ 9 w 15"/>
                  <a:gd name="T5" fmla="*/ 16 h 16"/>
                  <a:gd name="T6" fmla="*/ 9 w 15"/>
                  <a:gd name="T7" fmla="*/ 14 h 16"/>
                  <a:gd name="T8" fmla="*/ 11 w 15"/>
                  <a:gd name="T9" fmla="*/ 14 h 16"/>
                  <a:gd name="T10" fmla="*/ 11 w 15"/>
                  <a:gd name="T11" fmla="*/ 10 h 16"/>
                  <a:gd name="T12" fmla="*/ 9 w 15"/>
                  <a:gd name="T13" fmla="*/ 8 h 16"/>
                  <a:gd name="T14" fmla="*/ 9 w 15"/>
                  <a:gd name="T15" fmla="*/ 6 h 16"/>
                  <a:gd name="T16" fmla="*/ 11 w 15"/>
                  <a:gd name="T17" fmla="*/ 6 h 16"/>
                  <a:gd name="T18" fmla="*/ 13 w 15"/>
                  <a:gd name="T19" fmla="*/ 4 h 16"/>
                  <a:gd name="T20" fmla="*/ 15 w 15"/>
                  <a:gd name="T21" fmla="*/ 2 h 16"/>
                  <a:gd name="T22" fmla="*/ 13 w 15"/>
                  <a:gd name="T23" fmla="*/ 2 h 16"/>
                  <a:gd name="T24" fmla="*/ 11 w 15"/>
                  <a:gd name="T25" fmla="*/ 2 h 16"/>
                  <a:gd name="T26" fmla="*/ 9 w 15"/>
                  <a:gd name="T27" fmla="*/ 2 h 16"/>
                  <a:gd name="T28" fmla="*/ 8 w 15"/>
                  <a:gd name="T29" fmla="*/ 2 h 16"/>
                  <a:gd name="T30" fmla="*/ 6 w 15"/>
                  <a:gd name="T31" fmla="*/ 2 h 16"/>
                  <a:gd name="T32" fmla="*/ 6 w 15"/>
                  <a:gd name="T33" fmla="*/ 0 h 16"/>
                  <a:gd name="T34" fmla="*/ 2 w 15"/>
                  <a:gd name="T35" fmla="*/ 2 h 16"/>
                  <a:gd name="T36" fmla="*/ 0 w 15"/>
                  <a:gd name="T37" fmla="*/ 6 h 16"/>
                  <a:gd name="T38" fmla="*/ 2 w 15"/>
                  <a:gd name="T39" fmla="*/ 10 h 16"/>
                  <a:gd name="T40" fmla="*/ 8 w 15"/>
                  <a:gd name="T41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" h="16">
                    <a:moveTo>
                      <a:pt x="8" y="14"/>
                    </a:moveTo>
                    <a:lnTo>
                      <a:pt x="8" y="16"/>
                    </a:lnTo>
                    <a:lnTo>
                      <a:pt x="9" y="16"/>
                    </a:lnTo>
                    <a:lnTo>
                      <a:pt x="9" y="14"/>
                    </a:lnTo>
                    <a:lnTo>
                      <a:pt x="11" y="14"/>
                    </a:lnTo>
                    <a:lnTo>
                      <a:pt x="11" y="10"/>
                    </a:lnTo>
                    <a:lnTo>
                      <a:pt x="9" y="8"/>
                    </a:lnTo>
                    <a:lnTo>
                      <a:pt x="9" y="6"/>
                    </a:lnTo>
                    <a:lnTo>
                      <a:pt x="11" y="6"/>
                    </a:lnTo>
                    <a:lnTo>
                      <a:pt x="13" y="4"/>
                    </a:lnTo>
                    <a:lnTo>
                      <a:pt x="15" y="2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9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8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54" name="Freeform 1257">
                <a:extLst>
                  <a:ext uri="{FF2B5EF4-FFF2-40B4-BE49-F238E27FC236}">
                    <a16:creationId xmlns:a16="http://schemas.microsoft.com/office/drawing/2014/main" id="{9D44E026-D026-47B2-9D66-5EA3DBE6C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1" y="786"/>
                <a:ext cx="164" cy="314"/>
              </a:xfrm>
              <a:custGeom>
                <a:avLst/>
                <a:gdLst>
                  <a:gd name="T0" fmla="*/ 19 w 164"/>
                  <a:gd name="T1" fmla="*/ 250 h 314"/>
                  <a:gd name="T2" fmla="*/ 19 w 164"/>
                  <a:gd name="T3" fmla="*/ 261 h 314"/>
                  <a:gd name="T4" fmla="*/ 23 w 164"/>
                  <a:gd name="T5" fmla="*/ 265 h 314"/>
                  <a:gd name="T6" fmla="*/ 29 w 164"/>
                  <a:gd name="T7" fmla="*/ 271 h 314"/>
                  <a:gd name="T8" fmla="*/ 16 w 164"/>
                  <a:gd name="T9" fmla="*/ 281 h 314"/>
                  <a:gd name="T10" fmla="*/ 6 w 164"/>
                  <a:gd name="T11" fmla="*/ 310 h 314"/>
                  <a:gd name="T12" fmla="*/ 35 w 164"/>
                  <a:gd name="T13" fmla="*/ 302 h 314"/>
                  <a:gd name="T14" fmla="*/ 41 w 164"/>
                  <a:gd name="T15" fmla="*/ 289 h 314"/>
                  <a:gd name="T16" fmla="*/ 41 w 164"/>
                  <a:gd name="T17" fmla="*/ 281 h 314"/>
                  <a:gd name="T18" fmla="*/ 55 w 164"/>
                  <a:gd name="T19" fmla="*/ 252 h 314"/>
                  <a:gd name="T20" fmla="*/ 55 w 164"/>
                  <a:gd name="T21" fmla="*/ 240 h 314"/>
                  <a:gd name="T22" fmla="*/ 78 w 164"/>
                  <a:gd name="T23" fmla="*/ 224 h 314"/>
                  <a:gd name="T24" fmla="*/ 96 w 164"/>
                  <a:gd name="T25" fmla="*/ 215 h 314"/>
                  <a:gd name="T26" fmla="*/ 98 w 164"/>
                  <a:gd name="T27" fmla="*/ 203 h 314"/>
                  <a:gd name="T28" fmla="*/ 103 w 164"/>
                  <a:gd name="T29" fmla="*/ 185 h 314"/>
                  <a:gd name="T30" fmla="*/ 123 w 164"/>
                  <a:gd name="T31" fmla="*/ 170 h 314"/>
                  <a:gd name="T32" fmla="*/ 127 w 164"/>
                  <a:gd name="T33" fmla="*/ 166 h 314"/>
                  <a:gd name="T34" fmla="*/ 139 w 164"/>
                  <a:gd name="T35" fmla="*/ 166 h 314"/>
                  <a:gd name="T36" fmla="*/ 137 w 164"/>
                  <a:gd name="T37" fmla="*/ 152 h 314"/>
                  <a:gd name="T38" fmla="*/ 129 w 164"/>
                  <a:gd name="T39" fmla="*/ 150 h 314"/>
                  <a:gd name="T40" fmla="*/ 115 w 164"/>
                  <a:gd name="T41" fmla="*/ 148 h 314"/>
                  <a:gd name="T42" fmla="*/ 111 w 164"/>
                  <a:gd name="T43" fmla="*/ 140 h 314"/>
                  <a:gd name="T44" fmla="*/ 111 w 164"/>
                  <a:gd name="T45" fmla="*/ 127 h 314"/>
                  <a:gd name="T46" fmla="*/ 115 w 164"/>
                  <a:gd name="T47" fmla="*/ 109 h 314"/>
                  <a:gd name="T48" fmla="*/ 111 w 164"/>
                  <a:gd name="T49" fmla="*/ 96 h 314"/>
                  <a:gd name="T50" fmla="*/ 113 w 164"/>
                  <a:gd name="T51" fmla="*/ 86 h 314"/>
                  <a:gd name="T52" fmla="*/ 117 w 164"/>
                  <a:gd name="T53" fmla="*/ 62 h 314"/>
                  <a:gd name="T54" fmla="*/ 125 w 164"/>
                  <a:gd name="T55" fmla="*/ 62 h 314"/>
                  <a:gd name="T56" fmla="*/ 139 w 164"/>
                  <a:gd name="T57" fmla="*/ 58 h 314"/>
                  <a:gd name="T58" fmla="*/ 143 w 164"/>
                  <a:gd name="T59" fmla="*/ 45 h 314"/>
                  <a:gd name="T60" fmla="*/ 148 w 164"/>
                  <a:gd name="T61" fmla="*/ 37 h 314"/>
                  <a:gd name="T62" fmla="*/ 158 w 164"/>
                  <a:gd name="T63" fmla="*/ 19 h 314"/>
                  <a:gd name="T64" fmla="*/ 152 w 164"/>
                  <a:gd name="T65" fmla="*/ 10 h 314"/>
                  <a:gd name="T66" fmla="*/ 146 w 164"/>
                  <a:gd name="T67" fmla="*/ 4 h 314"/>
                  <a:gd name="T68" fmla="*/ 137 w 164"/>
                  <a:gd name="T69" fmla="*/ 12 h 314"/>
                  <a:gd name="T70" fmla="*/ 125 w 164"/>
                  <a:gd name="T71" fmla="*/ 4 h 314"/>
                  <a:gd name="T72" fmla="*/ 125 w 164"/>
                  <a:gd name="T73" fmla="*/ 10 h 314"/>
                  <a:gd name="T74" fmla="*/ 117 w 164"/>
                  <a:gd name="T75" fmla="*/ 31 h 314"/>
                  <a:gd name="T76" fmla="*/ 113 w 164"/>
                  <a:gd name="T77" fmla="*/ 19 h 314"/>
                  <a:gd name="T78" fmla="*/ 111 w 164"/>
                  <a:gd name="T79" fmla="*/ 15 h 314"/>
                  <a:gd name="T80" fmla="*/ 109 w 164"/>
                  <a:gd name="T81" fmla="*/ 6 h 314"/>
                  <a:gd name="T82" fmla="*/ 96 w 164"/>
                  <a:gd name="T83" fmla="*/ 4 h 314"/>
                  <a:gd name="T84" fmla="*/ 86 w 164"/>
                  <a:gd name="T85" fmla="*/ 21 h 314"/>
                  <a:gd name="T86" fmla="*/ 80 w 164"/>
                  <a:gd name="T87" fmla="*/ 29 h 314"/>
                  <a:gd name="T88" fmla="*/ 60 w 164"/>
                  <a:gd name="T89" fmla="*/ 39 h 314"/>
                  <a:gd name="T90" fmla="*/ 2 w 164"/>
                  <a:gd name="T91" fmla="*/ 129 h 314"/>
                  <a:gd name="T92" fmla="*/ 6 w 164"/>
                  <a:gd name="T93" fmla="*/ 154 h 314"/>
                  <a:gd name="T94" fmla="*/ 10 w 164"/>
                  <a:gd name="T95" fmla="*/ 164 h 314"/>
                  <a:gd name="T96" fmla="*/ 14 w 164"/>
                  <a:gd name="T97" fmla="*/ 170 h 314"/>
                  <a:gd name="T98" fmla="*/ 8 w 164"/>
                  <a:gd name="T99" fmla="*/ 191 h 314"/>
                  <a:gd name="T100" fmla="*/ 10 w 164"/>
                  <a:gd name="T101" fmla="*/ 217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4" h="314">
                    <a:moveTo>
                      <a:pt x="14" y="242"/>
                    </a:moveTo>
                    <a:lnTo>
                      <a:pt x="21" y="246"/>
                    </a:lnTo>
                    <a:lnTo>
                      <a:pt x="19" y="248"/>
                    </a:lnTo>
                    <a:lnTo>
                      <a:pt x="19" y="250"/>
                    </a:lnTo>
                    <a:lnTo>
                      <a:pt x="19" y="252"/>
                    </a:lnTo>
                    <a:lnTo>
                      <a:pt x="21" y="254"/>
                    </a:lnTo>
                    <a:lnTo>
                      <a:pt x="21" y="258"/>
                    </a:lnTo>
                    <a:lnTo>
                      <a:pt x="19" y="261"/>
                    </a:lnTo>
                    <a:lnTo>
                      <a:pt x="16" y="265"/>
                    </a:lnTo>
                    <a:lnTo>
                      <a:pt x="16" y="267"/>
                    </a:lnTo>
                    <a:lnTo>
                      <a:pt x="19" y="269"/>
                    </a:lnTo>
                    <a:lnTo>
                      <a:pt x="23" y="265"/>
                    </a:lnTo>
                    <a:lnTo>
                      <a:pt x="27" y="261"/>
                    </a:lnTo>
                    <a:lnTo>
                      <a:pt x="31" y="260"/>
                    </a:lnTo>
                    <a:lnTo>
                      <a:pt x="29" y="261"/>
                    </a:lnTo>
                    <a:lnTo>
                      <a:pt x="29" y="271"/>
                    </a:lnTo>
                    <a:lnTo>
                      <a:pt x="27" y="275"/>
                    </a:lnTo>
                    <a:lnTo>
                      <a:pt x="25" y="277"/>
                    </a:lnTo>
                    <a:lnTo>
                      <a:pt x="19" y="279"/>
                    </a:lnTo>
                    <a:lnTo>
                      <a:pt x="16" y="281"/>
                    </a:lnTo>
                    <a:lnTo>
                      <a:pt x="17" y="285"/>
                    </a:lnTo>
                    <a:lnTo>
                      <a:pt x="17" y="289"/>
                    </a:lnTo>
                    <a:lnTo>
                      <a:pt x="17" y="291"/>
                    </a:lnTo>
                    <a:lnTo>
                      <a:pt x="6" y="310"/>
                    </a:lnTo>
                    <a:lnTo>
                      <a:pt x="12" y="314"/>
                    </a:lnTo>
                    <a:lnTo>
                      <a:pt x="17" y="312"/>
                    </a:lnTo>
                    <a:lnTo>
                      <a:pt x="33" y="304"/>
                    </a:lnTo>
                    <a:lnTo>
                      <a:pt x="35" y="302"/>
                    </a:lnTo>
                    <a:lnTo>
                      <a:pt x="37" y="297"/>
                    </a:lnTo>
                    <a:lnTo>
                      <a:pt x="39" y="295"/>
                    </a:lnTo>
                    <a:lnTo>
                      <a:pt x="43" y="291"/>
                    </a:lnTo>
                    <a:lnTo>
                      <a:pt x="41" y="289"/>
                    </a:lnTo>
                    <a:lnTo>
                      <a:pt x="41" y="285"/>
                    </a:lnTo>
                    <a:lnTo>
                      <a:pt x="51" y="285"/>
                    </a:lnTo>
                    <a:lnTo>
                      <a:pt x="43" y="283"/>
                    </a:lnTo>
                    <a:lnTo>
                      <a:pt x="41" y="281"/>
                    </a:lnTo>
                    <a:lnTo>
                      <a:pt x="39" y="277"/>
                    </a:lnTo>
                    <a:lnTo>
                      <a:pt x="41" y="261"/>
                    </a:lnTo>
                    <a:lnTo>
                      <a:pt x="43" y="258"/>
                    </a:lnTo>
                    <a:lnTo>
                      <a:pt x="55" y="252"/>
                    </a:lnTo>
                    <a:lnTo>
                      <a:pt x="59" y="248"/>
                    </a:lnTo>
                    <a:lnTo>
                      <a:pt x="47" y="248"/>
                    </a:lnTo>
                    <a:lnTo>
                      <a:pt x="51" y="244"/>
                    </a:lnTo>
                    <a:lnTo>
                      <a:pt x="55" y="240"/>
                    </a:lnTo>
                    <a:lnTo>
                      <a:pt x="76" y="228"/>
                    </a:lnTo>
                    <a:lnTo>
                      <a:pt x="80" y="226"/>
                    </a:lnTo>
                    <a:lnTo>
                      <a:pt x="80" y="224"/>
                    </a:lnTo>
                    <a:lnTo>
                      <a:pt x="78" y="224"/>
                    </a:lnTo>
                    <a:lnTo>
                      <a:pt x="78" y="222"/>
                    </a:lnTo>
                    <a:lnTo>
                      <a:pt x="82" y="220"/>
                    </a:lnTo>
                    <a:lnTo>
                      <a:pt x="98" y="217"/>
                    </a:lnTo>
                    <a:lnTo>
                      <a:pt x="96" y="215"/>
                    </a:lnTo>
                    <a:lnTo>
                      <a:pt x="101" y="213"/>
                    </a:lnTo>
                    <a:lnTo>
                      <a:pt x="101" y="203"/>
                    </a:lnTo>
                    <a:lnTo>
                      <a:pt x="100" y="201"/>
                    </a:lnTo>
                    <a:lnTo>
                      <a:pt x="98" y="203"/>
                    </a:lnTo>
                    <a:lnTo>
                      <a:pt x="96" y="201"/>
                    </a:lnTo>
                    <a:lnTo>
                      <a:pt x="94" y="195"/>
                    </a:lnTo>
                    <a:lnTo>
                      <a:pt x="98" y="191"/>
                    </a:lnTo>
                    <a:lnTo>
                      <a:pt x="103" y="185"/>
                    </a:lnTo>
                    <a:lnTo>
                      <a:pt x="107" y="179"/>
                    </a:lnTo>
                    <a:lnTo>
                      <a:pt x="111" y="176"/>
                    </a:lnTo>
                    <a:lnTo>
                      <a:pt x="117" y="172"/>
                    </a:lnTo>
                    <a:lnTo>
                      <a:pt x="123" y="170"/>
                    </a:lnTo>
                    <a:lnTo>
                      <a:pt x="123" y="170"/>
                    </a:lnTo>
                    <a:lnTo>
                      <a:pt x="125" y="166"/>
                    </a:lnTo>
                    <a:lnTo>
                      <a:pt x="127" y="166"/>
                    </a:lnTo>
                    <a:lnTo>
                      <a:pt x="127" y="166"/>
                    </a:lnTo>
                    <a:lnTo>
                      <a:pt x="129" y="168"/>
                    </a:lnTo>
                    <a:lnTo>
                      <a:pt x="131" y="168"/>
                    </a:lnTo>
                    <a:lnTo>
                      <a:pt x="135" y="168"/>
                    </a:lnTo>
                    <a:lnTo>
                      <a:pt x="139" y="166"/>
                    </a:lnTo>
                    <a:lnTo>
                      <a:pt x="139" y="162"/>
                    </a:lnTo>
                    <a:lnTo>
                      <a:pt x="139" y="158"/>
                    </a:lnTo>
                    <a:lnTo>
                      <a:pt x="137" y="154"/>
                    </a:lnTo>
                    <a:lnTo>
                      <a:pt x="137" y="152"/>
                    </a:lnTo>
                    <a:lnTo>
                      <a:pt x="135" y="152"/>
                    </a:lnTo>
                    <a:lnTo>
                      <a:pt x="133" y="150"/>
                    </a:lnTo>
                    <a:lnTo>
                      <a:pt x="131" y="148"/>
                    </a:lnTo>
                    <a:lnTo>
                      <a:pt x="129" y="150"/>
                    </a:lnTo>
                    <a:lnTo>
                      <a:pt x="129" y="152"/>
                    </a:lnTo>
                    <a:lnTo>
                      <a:pt x="129" y="152"/>
                    </a:lnTo>
                    <a:lnTo>
                      <a:pt x="121" y="152"/>
                    </a:lnTo>
                    <a:lnTo>
                      <a:pt x="115" y="148"/>
                    </a:lnTo>
                    <a:lnTo>
                      <a:pt x="117" y="144"/>
                    </a:lnTo>
                    <a:lnTo>
                      <a:pt x="117" y="142"/>
                    </a:lnTo>
                    <a:lnTo>
                      <a:pt x="115" y="142"/>
                    </a:lnTo>
                    <a:lnTo>
                      <a:pt x="111" y="140"/>
                    </a:lnTo>
                    <a:lnTo>
                      <a:pt x="111" y="138"/>
                    </a:lnTo>
                    <a:lnTo>
                      <a:pt x="113" y="133"/>
                    </a:lnTo>
                    <a:lnTo>
                      <a:pt x="109" y="131"/>
                    </a:lnTo>
                    <a:lnTo>
                      <a:pt x="111" y="127"/>
                    </a:lnTo>
                    <a:lnTo>
                      <a:pt x="113" y="123"/>
                    </a:lnTo>
                    <a:lnTo>
                      <a:pt x="115" y="117"/>
                    </a:lnTo>
                    <a:lnTo>
                      <a:pt x="115" y="113"/>
                    </a:lnTo>
                    <a:lnTo>
                      <a:pt x="115" y="109"/>
                    </a:lnTo>
                    <a:lnTo>
                      <a:pt x="117" y="103"/>
                    </a:lnTo>
                    <a:lnTo>
                      <a:pt x="119" y="99"/>
                    </a:lnTo>
                    <a:lnTo>
                      <a:pt x="111" y="97"/>
                    </a:lnTo>
                    <a:lnTo>
                      <a:pt x="111" y="96"/>
                    </a:lnTo>
                    <a:lnTo>
                      <a:pt x="111" y="94"/>
                    </a:lnTo>
                    <a:lnTo>
                      <a:pt x="111" y="92"/>
                    </a:lnTo>
                    <a:lnTo>
                      <a:pt x="113" y="90"/>
                    </a:lnTo>
                    <a:lnTo>
                      <a:pt x="113" y="86"/>
                    </a:lnTo>
                    <a:lnTo>
                      <a:pt x="117" y="78"/>
                    </a:lnTo>
                    <a:lnTo>
                      <a:pt x="119" y="68"/>
                    </a:lnTo>
                    <a:lnTo>
                      <a:pt x="119" y="64"/>
                    </a:lnTo>
                    <a:lnTo>
                      <a:pt x="117" y="62"/>
                    </a:lnTo>
                    <a:lnTo>
                      <a:pt x="117" y="60"/>
                    </a:lnTo>
                    <a:lnTo>
                      <a:pt x="121" y="58"/>
                    </a:lnTo>
                    <a:lnTo>
                      <a:pt x="123" y="60"/>
                    </a:lnTo>
                    <a:lnTo>
                      <a:pt x="125" y="62"/>
                    </a:lnTo>
                    <a:lnTo>
                      <a:pt x="127" y="62"/>
                    </a:lnTo>
                    <a:lnTo>
                      <a:pt x="133" y="62"/>
                    </a:lnTo>
                    <a:lnTo>
                      <a:pt x="141" y="60"/>
                    </a:lnTo>
                    <a:lnTo>
                      <a:pt x="139" y="58"/>
                    </a:lnTo>
                    <a:lnTo>
                      <a:pt x="139" y="55"/>
                    </a:lnTo>
                    <a:lnTo>
                      <a:pt x="141" y="51"/>
                    </a:lnTo>
                    <a:lnTo>
                      <a:pt x="141" y="49"/>
                    </a:lnTo>
                    <a:lnTo>
                      <a:pt x="143" y="45"/>
                    </a:lnTo>
                    <a:lnTo>
                      <a:pt x="143" y="45"/>
                    </a:lnTo>
                    <a:lnTo>
                      <a:pt x="144" y="45"/>
                    </a:lnTo>
                    <a:lnTo>
                      <a:pt x="146" y="49"/>
                    </a:lnTo>
                    <a:lnTo>
                      <a:pt x="148" y="37"/>
                    </a:lnTo>
                    <a:lnTo>
                      <a:pt x="152" y="33"/>
                    </a:lnTo>
                    <a:lnTo>
                      <a:pt x="164" y="31"/>
                    </a:lnTo>
                    <a:lnTo>
                      <a:pt x="164" y="29"/>
                    </a:lnTo>
                    <a:lnTo>
                      <a:pt x="158" y="19"/>
                    </a:lnTo>
                    <a:lnTo>
                      <a:pt x="156" y="17"/>
                    </a:lnTo>
                    <a:lnTo>
                      <a:pt x="154" y="17"/>
                    </a:lnTo>
                    <a:lnTo>
                      <a:pt x="152" y="14"/>
                    </a:lnTo>
                    <a:lnTo>
                      <a:pt x="152" y="10"/>
                    </a:lnTo>
                    <a:lnTo>
                      <a:pt x="150" y="8"/>
                    </a:lnTo>
                    <a:lnTo>
                      <a:pt x="152" y="6"/>
                    </a:lnTo>
                    <a:lnTo>
                      <a:pt x="150" y="4"/>
                    </a:lnTo>
                    <a:lnTo>
                      <a:pt x="146" y="4"/>
                    </a:lnTo>
                    <a:lnTo>
                      <a:pt x="143" y="6"/>
                    </a:lnTo>
                    <a:lnTo>
                      <a:pt x="141" y="8"/>
                    </a:lnTo>
                    <a:lnTo>
                      <a:pt x="141" y="12"/>
                    </a:lnTo>
                    <a:lnTo>
                      <a:pt x="137" y="12"/>
                    </a:lnTo>
                    <a:lnTo>
                      <a:pt x="133" y="8"/>
                    </a:lnTo>
                    <a:lnTo>
                      <a:pt x="135" y="4"/>
                    </a:lnTo>
                    <a:lnTo>
                      <a:pt x="135" y="2"/>
                    </a:lnTo>
                    <a:lnTo>
                      <a:pt x="125" y="4"/>
                    </a:lnTo>
                    <a:lnTo>
                      <a:pt x="123" y="4"/>
                    </a:lnTo>
                    <a:lnTo>
                      <a:pt x="123" y="6"/>
                    </a:lnTo>
                    <a:lnTo>
                      <a:pt x="125" y="10"/>
                    </a:lnTo>
                    <a:lnTo>
                      <a:pt x="125" y="10"/>
                    </a:lnTo>
                    <a:lnTo>
                      <a:pt x="125" y="15"/>
                    </a:lnTo>
                    <a:lnTo>
                      <a:pt x="121" y="19"/>
                    </a:lnTo>
                    <a:lnTo>
                      <a:pt x="119" y="23"/>
                    </a:lnTo>
                    <a:lnTo>
                      <a:pt x="117" y="31"/>
                    </a:lnTo>
                    <a:lnTo>
                      <a:pt x="113" y="27"/>
                    </a:lnTo>
                    <a:lnTo>
                      <a:pt x="113" y="25"/>
                    </a:lnTo>
                    <a:lnTo>
                      <a:pt x="113" y="21"/>
                    </a:lnTo>
                    <a:lnTo>
                      <a:pt x="113" y="19"/>
                    </a:lnTo>
                    <a:lnTo>
                      <a:pt x="111" y="19"/>
                    </a:lnTo>
                    <a:lnTo>
                      <a:pt x="111" y="19"/>
                    </a:lnTo>
                    <a:lnTo>
                      <a:pt x="111" y="17"/>
                    </a:lnTo>
                    <a:lnTo>
                      <a:pt x="111" y="15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1" y="12"/>
                    </a:lnTo>
                    <a:lnTo>
                      <a:pt x="109" y="6"/>
                    </a:lnTo>
                    <a:lnTo>
                      <a:pt x="107" y="2"/>
                    </a:lnTo>
                    <a:lnTo>
                      <a:pt x="103" y="0"/>
                    </a:lnTo>
                    <a:lnTo>
                      <a:pt x="100" y="2"/>
                    </a:lnTo>
                    <a:lnTo>
                      <a:pt x="96" y="4"/>
                    </a:lnTo>
                    <a:lnTo>
                      <a:pt x="94" y="8"/>
                    </a:lnTo>
                    <a:lnTo>
                      <a:pt x="90" y="12"/>
                    </a:lnTo>
                    <a:lnTo>
                      <a:pt x="88" y="17"/>
                    </a:lnTo>
                    <a:lnTo>
                      <a:pt x="86" y="21"/>
                    </a:lnTo>
                    <a:lnTo>
                      <a:pt x="86" y="25"/>
                    </a:lnTo>
                    <a:lnTo>
                      <a:pt x="84" y="27"/>
                    </a:lnTo>
                    <a:lnTo>
                      <a:pt x="82" y="29"/>
                    </a:lnTo>
                    <a:lnTo>
                      <a:pt x="80" y="29"/>
                    </a:lnTo>
                    <a:lnTo>
                      <a:pt x="78" y="27"/>
                    </a:lnTo>
                    <a:lnTo>
                      <a:pt x="74" y="27"/>
                    </a:lnTo>
                    <a:lnTo>
                      <a:pt x="66" y="31"/>
                    </a:lnTo>
                    <a:lnTo>
                      <a:pt x="60" y="39"/>
                    </a:lnTo>
                    <a:lnTo>
                      <a:pt x="37" y="80"/>
                    </a:lnTo>
                    <a:lnTo>
                      <a:pt x="10" y="109"/>
                    </a:lnTo>
                    <a:lnTo>
                      <a:pt x="4" y="117"/>
                    </a:lnTo>
                    <a:lnTo>
                      <a:pt x="2" y="129"/>
                    </a:lnTo>
                    <a:lnTo>
                      <a:pt x="2" y="137"/>
                    </a:lnTo>
                    <a:lnTo>
                      <a:pt x="4" y="144"/>
                    </a:lnTo>
                    <a:lnTo>
                      <a:pt x="6" y="150"/>
                    </a:lnTo>
                    <a:lnTo>
                      <a:pt x="6" y="154"/>
                    </a:lnTo>
                    <a:lnTo>
                      <a:pt x="8" y="156"/>
                    </a:lnTo>
                    <a:lnTo>
                      <a:pt x="8" y="160"/>
                    </a:lnTo>
                    <a:lnTo>
                      <a:pt x="8" y="162"/>
                    </a:lnTo>
                    <a:lnTo>
                      <a:pt x="10" y="164"/>
                    </a:lnTo>
                    <a:lnTo>
                      <a:pt x="10" y="166"/>
                    </a:lnTo>
                    <a:lnTo>
                      <a:pt x="12" y="168"/>
                    </a:lnTo>
                    <a:lnTo>
                      <a:pt x="12" y="168"/>
                    </a:lnTo>
                    <a:lnTo>
                      <a:pt x="14" y="170"/>
                    </a:lnTo>
                    <a:lnTo>
                      <a:pt x="12" y="174"/>
                    </a:lnTo>
                    <a:lnTo>
                      <a:pt x="12" y="179"/>
                    </a:lnTo>
                    <a:lnTo>
                      <a:pt x="12" y="185"/>
                    </a:lnTo>
                    <a:lnTo>
                      <a:pt x="8" y="191"/>
                    </a:lnTo>
                    <a:lnTo>
                      <a:pt x="2" y="195"/>
                    </a:lnTo>
                    <a:lnTo>
                      <a:pt x="0" y="201"/>
                    </a:lnTo>
                    <a:lnTo>
                      <a:pt x="0" y="207"/>
                    </a:lnTo>
                    <a:lnTo>
                      <a:pt x="10" y="217"/>
                    </a:lnTo>
                    <a:lnTo>
                      <a:pt x="14" y="24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55" name="Freeform 1258">
                <a:extLst>
                  <a:ext uri="{FF2B5EF4-FFF2-40B4-BE49-F238E27FC236}">
                    <a16:creationId xmlns:a16="http://schemas.microsoft.com/office/drawing/2014/main" id="{7742FC8A-17EC-4EA7-ACE5-C9A6C626ED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3" y="702"/>
                <a:ext cx="857" cy="869"/>
              </a:xfrm>
              <a:custGeom>
                <a:avLst/>
                <a:gdLst>
                  <a:gd name="T0" fmla="*/ 435 w 857"/>
                  <a:gd name="T1" fmla="*/ 117 h 869"/>
                  <a:gd name="T2" fmla="*/ 418 w 857"/>
                  <a:gd name="T3" fmla="*/ 55 h 869"/>
                  <a:gd name="T4" fmla="*/ 23 w 857"/>
                  <a:gd name="T5" fmla="*/ 33 h 869"/>
                  <a:gd name="T6" fmla="*/ 7 w 857"/>
                  <a:gd name="T7" fmla="*/ 94 h 869"/>
                  <a:gd name="T8" fmla="*/ 7 w 857"/>
                  <a:gd name="T9" fmla="*/ 154 h 869"/>
                  <a:gd name="T10" fmla="*/ 35 w 857"/>
                  <a:gd name="T11" fmla="*/ 180 h 869"/>
                  <a:gd name="T12" fmla="*/ 44 w 857"/>
                  <a:gd name="T13" fmla="*/ 222 h 869"/>
                  <a:gd name="T14" fmla="*/ 58 w 857"/>
                  <a:gd name="T15" fmla="*/ 238 h 869"/>
                  <a:gd name="T16" fmla="*/ 72 w 857"/>
                  <a:gd name="T17" fmla="*/ 265 h 869"/>
                  <a:gd name="T18" fmla="*/ 74 w 857"/>
                  <a:gd name="T19" fmla="*/ 295 h 869"/>
                  <a:gd name="T20" fmla="*/ 89 w 857"/>
                  <a:gd name="T21" fmla="*/ 316 h 869"/>
                  <a:gd name="T22" fmla="*/ 117 w 857"/>
                  <a:gd name="T23" fmla="*/ 377 h 869"/>
                  <a:gd name="T24" fmla="*/ 146 w 857"/>
                  <a:gd name="T25" fmla="*/ 418 h 869"/>
                  <a:gd name="T26" fmla="*/ 203 w 857"/>
                  <a:gd name="T27" fmla="*/ 478 h 869"/>
                  <a:gd name="T28" fmla="*/ 195 w 857"/>
                  <a:gd name="T29" fmla="*/ 590 h 869"/>
                  <a:gd name="T30" fmla="*/ 134 w 857"/>
                  <a:gd name="T31" fmla="*/ 586 h 869"/>
                  <a:gd name="T32" fmla="*/ 185 w 857"/>
                  <a:gd name="T33" fmla="*/ 689 h 869"/>
                  <a:gd name="T34" fmla="*/ 211 w 857"/>
                  <a:gd name="T35" fmla="*/ 748 h 869"/>
                  <a:gd name="T36" fmla="*/ 212 w 857"/>
                  <a:gd name="T37" fmla="*/ 816 h 869"/>
                  <a:gd name="T38" fmla="*/ 199 w 857"/>
                  <a:gd name="T39" fmla="*/ 857 h 869"/>
                  <a:gd name="T40" fmla="*/ 271 w 857"/>
                  <a:gd name="T41" fmla="*/ 867 h 869"/>
                  <a:gd name="T42" fmla="*/ 375 w 857"/>
                  <a:gd name="T43" fmla="*/ 841 h 869"/>
                  <a:gd name="T44" fmla="*/ 445 w 857"/>
                  <a:gd name="T45" fmla="*/ 791 h 869"/>
                  <a:gd name="T46" fmla="*/ 445 w 857"/>
                  <a:gd name="T47" fmla="*/ 699 h 869"/>
                  <a:gd name="T48" fmla="*/ 492 w 857"/>
                  <a:gd name="T49" fmla="*/ 660 h 869"/>
                  <a:gd name="T50" fmla="*/ 513 w 857"/>
                  <a:gd name="T51" fmla="*/ 670 h 869"/>
                  <a:gd name="T52" fmla="*/ 521 w 857"/>
                  <a:gd name="T53" fmla="*/ 623 h 869"/>
                  <a:gd name="T54" fmla="*/ 572 w 857"/>
                  <a:gd name="T55" fmla="*/ 617 h 869"/>
                  <a:gd name="T56" fmla="*/ 611 w 857"/>
                  <a:gd name="T57" fmla="*/ 631 h 869"/>
                  <a:gd name="T58" fmla="*/ 648 w 857"/>
                  <a:gd name="T59" fmla="*/ 617 h 869"/>
                  <a:gd name="T60" fmla="*/ 677 w 857"/>
                  <a:gd name="T61" fmla="*/ 621 h 869"/>
                  <a:gd name="T62" fmla="*/ 730 w 857"/>
                  <a:gd name="T63" fmla="*/ 599 h 869"/>
                  <a:gd name="T64" fmla="*/ 769 w 857"/>
                  <a:gd name="T65" fmla="*/ 478 h 869"/>
                  <a:gd name="T66" fmla="*/ 795 w 857"/>
                  <a:gd name="T67" fmla="*/ 439 h 869"/>
                  <a:gd name="T68" fmla="*/ 799 w 857"/>
                  <a:gd name="T69" fmla="*/ 400 h 869"/>
                  <a:gd name="T70" fmla="*/ 806 w 857"/>
                  <a:gd name="T71" fmla="*/ 357 h 869"/>
                  <a:gd name="T72" fmla="*/ 822 w 857"/>
                  <a:gd name="T73" fmla="*/ 357 h 869"/>
                  <a:gd name="T74" fmla="*/ 804 w 857"/>
                  <a:gd name="T75" fmla="*/ 287 h 869"/>
                  <a:gd name="T76" fmla="*/ 832 w 857"/>
                  <a:gd name="T77" fmla="*/ 236 h 869"/>
                  <a:gd name="T78" fmla="*/ 814 w 857"/>
                  <a:gd name="T79" fmla="*/ 187 h 869"/>
                  <a:gd name="T80" fmla="*/ 832 w 857"/>
                  <a:gd name="T81" fmla="*/ 178 h 869"/>
                  <a:gd name="T82" fmla="*/ 845 w 857"/>
                  <a:gd name="T83" fmla="*/ 156 h 869"/>
                  <a:gd name="T84" fmla="*/ 806 w 857"/>
                  <a:gd name="T85" fmla="*/ 109 h 869"/>
                  <a:gd name="T86" fmla="*/ 814 w 857"/>
                  <a:gd name="T87" fmla="*/ 90 h 869"/>
                  <a:gd name="T88" fmla="*/ 834 w 857"/>
                  <a:gd name="T89" fmla="*/ 86 h 869"/>
                  <a:gd name="T90" fmla="*/ 853 w 857"/>
                  <a:gd name="T91" fmla="*/ 99 h 869"/>
                  <a:gd name="T92" fmla="*/ 842 w 857"/>
                  <a:gd name="T93" fmla="*/ 64 h 869"/>
                  <a:gd name="T94" fmla="*/ 847 w 857"/>
                  <a:gd name="T95" fmla="*/ 47 h 869"/>
                  <a:gd name="T96" fmla="*/ 488 w 857"/>
                  <a:gd name="T97" fmla="*/ 0 h 869"/>
                  <a:gd name="T98" fmla="*/ 339 w 857"/>
                  <a:gd name="T99" fmla="*/ 427 h 869"/>
                  <a:gd name="T100" fmla="*/ 328 w 857"/>
                  <a:gd name="T101" fmla="*/ 418 h 869"/>
                  <a:gd name="T102" fmla="*/ 341 w 857"/>
                  <a:gd name="T103" fmla="*/ 365 h 869"/>
                  <a:gd name="T104" fmla="*/ 564 w 857"/>
                  <a:gd name="T105" fmla="*/ 19 h 869"/>
                  <a:gd name="T106" fmla="*/ 580 w 857"/>
                  <a:gd name="T107" fmla="*/ 49 h 869"/>
                  <a:gd name="T108" fmla="*/ 601 w 857"/>
                  <a:gd name="T109" fmla="*/ 53 h 869"/>
                  <a:gd name="T110" fmla="*/ 621 w 857"/>
                  <a:gd name="T111" fmla="*/ 76 h 869"/>
                  <a:gd name="T112" fmla="*/ 617 w 857"/>
                  <a:gd name="T113" fmla="*/ 90 h 869"/>
                  <a:gd name="T114" fmla="*/ 590 w 857"/>
                  <a:gd name="T115" fmla="*/ 86 h 869"/>
                  <a:gd name="T116" fmla="*/ 496 w 857"/>
                  <a:gd name="T117" fmla="*/ 459 h 869"/>
                  <a:gd name="T118" fmla="*/ 523 w 857"/>
                  <a:gd name="T119" fmla="*/ 474 h 869"/>
                  <a:gd name="T120" fmla="*/ 523 w 857"/>
                  <a:gd name="T121" fmla="*/ 492 h 869"/>
                  <a:gd name="T122" fmla="*/ 504 w 857"/>
                  <a:gd name="T123" fmla="*/ 496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857" h="869">
                    <a:moveTo>
                      <a:pt x="482" y="10"/>
                    </a:moveTo>
                    <a:lnTo>
                      <a:pt x="482" y="12"/>
                    </a:lnTo>
                    <a:lnTo>
                      <a:pt x="480" y="25"/>
                    </a:lnTo>
                    <a:lnTo>
                      <a:pt x="478" y="27"/>
                    </a:lnTo>
                    <a:lnTo>
                      <a:pt x="474" y="31"/>
                    </a:lnTo>
                    <a:lnTo>
                      <a:pt x="468" y="41"/>
                    </a:lnTo>
                    <a:lnTo>
                      <a:pt x="466" y="47"/>
                    </a:lnTo>
                    <a:lnTo>
                      <a:pt x="464" y="55"/>
                    </a:lnTo>
                    <a:lnTo>
                      <a:pt x="463" y="58"/>
                    </a:lnTo>
                    <a:lnTo>
                      <a:pt x="451" y="68"/>
                    </a:lnTo>
                    <a:lnTo>
                      <a:pt x="449" y="72"/>
                    </a:lnTo>
                    <a:lnTo>
                      <a:pt x="439" y="96"/>
                    </a:lnTo>
                    <a:lnTo>
                      <a:pt x="437" y="101"/>
                    </a:lnTo>
                    <a:lnTo>
                      <a:pt x="437" y="105"/>
                    </a:lnTo>
                    <a:lnTo>
                      <a:pt x="435" y="109"/>
                    </a:lnTo>
                    <a:lnTo>
                      <a:pt x="435" y="113"/>
                    </a:lnTo>
                    <a:lnTo>
                      <a:pt x="435" y="117"/>
                    </a:lnTo>
                    <a:lnTo>
                      <a:pt x="437" y="117"/>
                    </a:lnTo>
                    <a:lnTo>
                      <a:pt x="433" y="121"/>
                    </a:lnTo>
                    <a:lnTo>
                      <a:pt x="429" y="125"/>
                    </a:lnTo>
                    <a:lnTo>
                      <a:pt x="425" y="127"/>
                    </a:lnTo>
                    <a:lnTo>
                      <a:pt x="422" y="129"/>
                    </a:lnTo>
                    <a:lnTo>
                      <a:pt x="418" y="125"/>
                    </a:lnTo>
                    <a:lnTo>
                      <a:pt x="416" y="121"/>
                    </a:lnTo>
                    <a:lnTo>
                      <a:pt x="414" y="105"/>
                    </a:lnTo>
                    <a:lnTo>
                      <a:pt x="412" y="101"/>
                    </a:lnTo>
                    <a:lnTo>
                      <a:pt x="410" y="98"/>
                    </a:lnTo>
                    <a:lnTo>
                      <a:pt x="408" y="92"/>
                    </a:lnTo>
                    <a:lnTo>
                      <a:pt x="408" y="86"/>
                    </a:lnTo>
                    <a:lnTo>
                      <a:pt x="408" y="86"/>
                    </a:lnTo>
                    <a:lnTo>
                      <a:pt x="406" y="82"/>
                    </a:lnTo>
                    <a:lnTo>
                      <a:pt x="406" y="78"/>
                    </a:lnTo>
                    <a:lnTo>
                      <a:pt x="412" y="68"/>
                    </a:lnTo>
                    <a:lnTo>
                      <a:pt x="418" y="55"/>
                    </a:lnTo>
                    <a:lnTo>
                      <a:pt x="418" y="53"/>
                    </a:lnTo>
                    <a:lnTo>
                      <a:pt x="418" y="51"/>
                    </a:lnTo>
                    <a:lnTo>
                      <a:pt x="418" y="49"/>
                    </a:lnTo>
                    <a:lnTo>
                      <a:pt x="420" y="43"/>
                    </a:lnTo>
                    <a:lnTo>
                      <a:pt x="422" y="31"/>
                    </a:lnTo>
                    <a:lnTo>
                      <a:pt x="425" y="19"/>
                    </a:lnTo>
                    <a:lnTo>
                      <a:pt x="427" y="14"/>
                    </a:lnTo>
                    <a:lnTo>
                      <a:pt x="427" y="4"/>
                    </a:lnTo>
                    <a:lnTo>
                      <a:pt x="427" y="0"/>
                    </a:lnTo>
                    <a:lnTo>
                      <a:pt x="31" y="0"/>
                    </a:lnTo>
                    <a:lnTo>
                      <a:pt x="29" y="2"/>
                    </a:lnTo>
                    <a:lnTo>
                      <a:pt x="29" y="21"/>
                    </a:lnTo>
                    <a:lnTo>
                      <a:pt x="27" y="27"/>
                    </a:lnTo>
                    <a:lnTo>
                      <a:pt x="23" y="29"/>
                    </a:lnTo>
                    <a:lnTo>
                      <a:pt x="23" y="31"/>
                    </a:lnTo>
                    <a:lnTo>
                      <a:pt x="23" y="31"/>
                    </a:lnTo>
                    <a:lnTo>
                      <a:pt x="23" y="33"/>
                    </a:lnTo>
                    <a:lnTo>
                      <a:pt x="21" y="35"/>
                    </a:lnTo>
                    <a:lnTo>
                      <a:pt x="21" y="39"/>
                    </a:lnTo>
                    <a:lnTo>
                      <a:pt x="21" y="41"/>
                    </a:lnTo>
                    <a:lnTo>
                      <a:pt x="23" y="45"/>
                    </a:lnTo>
                    <a:lnTo>
                      <a:pt x="23" y="49"/>
                    </a:lnTo>
                    <a:lnTo>
                      <a:pt x="23" y="53"/>
                    </a:lnTo>
                    <a:lnTo>
                      <a:pt x="21" y="60"/>
                    </a:lnTo>
                    <a:lnTo>
                      <a:pt x="13" y="74"/>
                    </a:lnTo>
                    <a:lnTo>
                      <a:pt x="13" y="80"/>
                    </a:lnTo>
                    <a:lnTo>
                      <a:pt x="17" y="82"/>
                    </a:lnTo>
                    <a:lnTo>
                      <a:pt x="17" y="86"/>
                    </a:lnTo>
                    <a:lnTo>
                      <a:pt x="15" y="86"/>
                    </a:lnTo>
                    <a:lnTo>
                      <a:pt x="15" y="88"/>
                    </a:lnTo>
                    <a:lnTo>
                      <a:pt x="15" y="90"/>
                    </a:lnTo>
                    <a:lnTo>
                      <a:pt x="17" y="90"/>
                    </a:lnTo>
                    <a:lnTo>
                      <a:pt x="17" y="92"/>
                    </a:lnTo>
                    <a:lnTo>
                      <a:pt x="7" y="94"/>
                    </a:lnTo>
                    <a:lnTo>
                      <a:pt x="5" y="98"/>
                    </a:lnTo>
                    <a:lnTo>
                      <a:pt x="7" y="103"/>
                    </a:lnTo>
                    <a:lnTo>
                      <a:pt x="5" y="105"/>
                    </a:lnTo>
                    <a:lnTo>
                      <a:pt x="3" y="105"/>
                    </a:lnTo>
                    <a:lnTo>
                      <a:pt x="0" y="111"/>
                    </a:lnTo>
                    <a:lnTo>
                      <a:pt x="5" y="111"/>
                    </a:lnTo>
                    <a:lnTo>
                      <a:pt x="7" y="115"/>
                    </a:lnTo>
                    <a:lnTo>
                      <a:pt x="11" y="123"/>
                    </a:lnTo>
                    <a:lnTo>
                      <a:pt x="15" y="129"/>
                    </a:lnTo>
                    <a:lnTo>
                      <a:pt x="17" y="127"/>
                    </a:lnTo>
                    <a:lnTo>
                      <a:pt x="21" y="127"/>
                    </a:lnTo>
                    <a:lnTo>
                      <a:pt x="25" y="127"/>
                    </a:lnTo>
                    <a:lnTo>
                      <a:pt x="25" y="129"/>
                    </a:lnTo>
                    <a:lnTo>
                      <a:pt x="23" y="131"/>
                    </a:lnTo>
                    <a:lnTo>
                      <a:pt x="7" y="148"/>
                    </a:lnTo>
                    <a:lnTo>
                      <a:pt x="7" y="152"/>
                    </a:lnTo>
                    <a:lnTo>
                      <a:pt x="7" y="154"/>
                    </a:lnTo>
                    <a:lnTo>
                      <a:pt x="9" y="156"/>
                    </a:lnTo>
                    <a:lnTo>
                      <a:pt x="13" y="156"/>
                    </a:lnTo>
                    <a:lnTo>
                      <a:pt x="15" y="156"/>
                    </a:lnTo>
                    <a:lnTo>
                      <a:pt x="15" y="150"/>
                    </a:lnTo>
                    <a:lnTo>
                      <a:pt x="19" y="150"/>
                    </a:lnTo>
                    <a:lnTo>
                      <a:pt x="27" y="156"/>
                    </a:lnTo>
                    <a:lnTo>
                      <a:pt x="31" y="156"/>
                    </a:lnTo>
                    <a:lnTo>
                      <a:pt x="37" y="156"/>
                    </a:lnTo>
                    <a:lnTo>
                      <a:pt x="41" y="156"/>
                    </a:lnTo>
                    <a:lnTo>
                      <a:pt x="44" y="154"/>
                    </a:lnTo>
                    <a:lnTo>
                      <a:pt x="43" y="158"/>
                    </a:lnTo>
                    <a:lnTo>
                      <a:pt x="31" y="160"/>
                    </a:lnTo>
                    <a:lnTo>
                      <a:pt x="29" y="166"/>
                    </a:lnTo>
                    <a:lnTo>
                      <a:pt x="31" y="170"/>
                    </a:lnTo>
                    <a:lnTo>
                      <a:pt x="31" y="172"/>
                    </a:lnTo>
                    <a:lnTo>
                      <a:pt x="33" y="176"/>
                    </a:lnTo>
                    <a:lnTo>
                      <a:pt x="35" y="180"/>
                    </a:lnTo>
                    <a:lnTo>
                      <a:pt x="35" y="183"/>
                    </a:lnTo>
                    <a:lnTo>
                      <a:pt x="37" y="183"/>
                    </a:lnTo>
                    <a:lnTo>
                      <a:pt x="39" y="181"/>
                    </a:lnTo>
                    <a:lnTo>
                      <a:pt x="41" y="178"/>
                    </a:lnTo>
                    <a:lnTo>
                      <a:pt x="41" y="178"/>
                    </a:lnTo>
                    <a:lnTo>
                      <a:pt x="43" y="178"/>
                    </a:lnTo>
                    <a:lnTo>
                      <a:pt x="43" y="180"/>
                    </a:lnTo>
                    <a:lnTo>
                      <a:pt x="43" y="187"/>
                    </a:lnTo>
                    <a:lnTo>
                      <a:pt x="43" y="205"/>
                    </a:lnTo>
                    <a:lnTo>
                      <a:pt x="41" y="209"/>
                    </a:lnTo>
                    <a:lnTo>
                      <a:pt x="43" y="211"/>
                    </a:lnTo>
                    <a:lnTo>
                      <a:pt x="44" y="213"/>
                    </a:lnTo>
                    <a:lnTo>
                      <a:pt x="43" y="215"/>
                    </a:lnTo>
                    <a:lnTo>
                      <a:pt x="43" y="215"/>
                    </a:lnTo>
                    <a:lnTo>
                      <a:pt x="44" y="217"/>
                    </a:lnTo>
                    <a:lnTo>
                      <a:pt x="48" y="221"/>
                    </a:lnTo>
                    <a:lnTo>
                      <a:pt x="44" y="222"/>
                    </a:lnTo>
                    <a:lnTo>
                      <a:pt x="43" y="224"/>
                    </a:lnTo>
                    <a:lnTo>
                      <a:pt x="41" y="228"/>
                    </a:lnTo>
                    <a:lnTo>
                      <a:pt x="41" y="232"/>
                    </a:lnTo>
                    <a:lnTo>
                      <a:pt x="41" y="238"/>
                    </a:lnTo>
                    <a:lnTo>
                      <a:pt x="43" y="242"/>
                    </a:lnTo>
                    <a:lnTo>
                      <a:pt x="43" y="246"/>
                    </a:lnTo>
                    <a:lnTo>
                      <a:pt x="41" y="250"/>
                    </a:lnTo>
                    <a:lnTo>
                      <a:pt x="43" y="252"/>
                    </a:lnTo>
                    <a:lnTo>
                      <a:pt x="44" y="252"/>
                    </a:lnTo>
                    <a:lnTo>
                      <a:pt x="46" y="252"/>
                    </a:lnTo>
                    <a:lnTo>
                      <a:pt x="48" y="252"/>
                    </a:lnTo>
                    <a:lnTo>
                      <a:pt x="46" y="260"/>
                    </a:lnTo>
                    <a:lnTo>
                      <a:pt x="48" y="260"/>
                    </a:lnTo>
                    <a:lnTo>
                      <a:pt x="52" y="260"/>
                    </a:lnTo>
                    <a:lnTo>
                      <a:pt x="54" y="263"/>
                    </a:lnTo>
                    <a:lnTo>
                      <a:pt x="56" y="258"/>
                    </a:lnTo>
                    <a:lnTo>
                      <a:pt x="58" y="238"/>
                    </a:lnTo>
                    <a:lnTo>
                      <a:pt x="60" y="232"/>
                    </a:lnTo>
                    <a:lnTo>
                      <a:pt x="62" y="232"/>
                    </a:lnTo>
                    <a:lnTo>
                      <a:pt x="62" y="230"/>
                    </a:lnTo>
                    <a:lnTo>
                      <a:pt x="64" y="228"/>
                    </a:lnTo>
                    <a:lnTo>
                      <a:pt x="66" y="228"/>
                    </a:lnTo>
                    <a:lnTo>
                      <a:pt x="66" y="230"/>
                    </a:lnTo>
                    <a:lnTo>
                      <a:pt x="72" y="240"/>
                    </a:lnTo>
                    <a:lnTo>
                      <a:pt x="72" y="244"/>
                    </a:lnTo>
                    <a:lnTo>
                      <a:pt x="70" y="248"/>
                    </a:lnTo>
                    <a:lnTo>
                      <a:pt x="68" y="250"/>
                    </a:lnTo>
                    <a:lnTo>
                      <a:pt x="76" y="250"/>
                    </a:lnTo>
                    <a:lnTo>
                      <a:pt x="72" y="254"/>
                    </a:lnTo>
                    <a:lnTo>
                      <a:pt x="68" y="260"/>
                    </a:lnTo>
                    <a:lnTo>
                      <a:pt x="66" y="263"/>
                    </a:lnTo>
                    <a:lnTo>
                      <a:pt x="68" y="267"/>
                    </a:lnTo>
                    <a:lnTo>
                      <a:pt x="70" y="265"/>
                    </a:lnTo>
                    <a:lnTo>
                      <a:pt x="72" y="265"/>
                    </a:lnTo>
                    <a:lnTo>
                      <a:pt x="74" y="263"/>
                    </a:lnTo>
                    <a:lnTo>
                      <a:pt x="74" y="265"/>
                    </a:lnTo>
                    <a:lnTo>
                      <a:pt x="76" y="265"/>
                    </a:lnTo>
                    <a:lnTo>
                      <a:pt x="76" y="267"/>
                    </a:lnTo>
                    <a:lnTo>
                      <a:pt x="76" y="269"/>
                    </a:lnTo>
                    <a:lnTo>
                      <a:pt x="78" y="271"/>
                    </a:lnTo>
                    <a:lnTo>
                      <a:pt x="80" y="273"/>
                    </a:lnTo>
                    <a:lnTo>
                      <a:pt x="82" y="275"/>
                    </a:lnTo>
                    <a:lnTo>
                      <a:pt x="82" y="279"/>
                    </a:lnTo>
                    <a:lnTo>
                      <a:pt x="82" y="281"/>
                    </a:lnTo>
                    <a:lnTo>
                      <a:pt x="82" y="283"/>
                    </a:lnTo>
                    <a:lnTo>
                      <a:pt x="82" y="285"/>
                    </a:lnTo>
                    <a:lnTo>
                      <a:pt x="78" y="287"/>
                    </a:lnTo>
                    <a:lnTo>
                      <a:pt x="76" y="289"/>
                    </a:lnTo>
                    <a:lnTo>
                      <a:pt x="74" y="291"/>
                    </a:lnTo>
                    <a:lnTo>
                      <a:pt x="74" y="293"/>
                    </a:lnTo>
                    <a:lnTo>
                      <a:pt x="74" y="295"/>
                    </a:lnTo>
                    <a:lnTo>
                      <a:pt x="78" y="295"/>
                    </a:lnTo>
                    <a:lnTo>
                      <a:pt x="82" y="295"/>
                    </a:lnTo>
                    <a:lnTo>
                      <a:pt x="84" y="297"/>
                    </a:lnTo>
                    <a:lnTo>
                      <a:pt x="82" y="297"/>
                    </a:lnTo>
                    <a:lnTo>
                      <a:pt x="78" y="299"/>
                    </a:lnTo>
                    <a:lnTo>
                      <a:pt x="74" y="299"/>
                    </a:lnTo>
                    <a:lnTo>
                      <a:pt x="78" y="303"/>
                    </a:lnTo>
                    <a:lnTo>
                      <a:pt x="80" y="304"/>
                    </a:lnTo>
                    <a:lnTo>
                      <a:pt x="84" y="304"/>
                    </a:lnTo>
                    <a:lnTo>
                      <a:pt x="87" y="304"/>
                    </a:lnTo>
                    <a:lnTo>
                      <a:pt x="89" y="306"/>
                    </a:lnTo>
                    <a:lnTo>
                      <a:pt x="87" y="308"/>
                    </a:lnTo>
                    <a:lnTo>
                      <a:pt x="82" y="312"/>
                    </a:lnTo>
                    <a:lnTo>
                      <a:pt x="84" y="314"/>
                    </a:lnTo>
                    <a:lnTo>
                      <a:pt x="89" y="314"/>
                    </a:lnTo>
                    <a:lnTo>
                      <a:pt x="89" y="314"/>
                    </a:lnTo>
                    <a:lnTo>
                      <a:pt x="89" y="316"/>
                    </a:lnTo>
                    <a:lnTo>
                      <a:pt x="91" y="324"/>
                    </a:lnTo>
                    <a:lnTo>
                      <a:pt x="91" y="326"/>
                    </a:lnTo>
                    <a:lnTo>
                      <a:pt x="95" y="334"/>
                    </a:lnTo>
                    <a:lnTo>
                      <a:pt x="97" y="338"/>
                    </a:lnTo>
                    <a:lnTo>
                      <a:pt x="93" y="344"/>
                    </a:lnTo>
                    <a:lnTo>
                      <a:pt x="97" y="345"/>
                    </a:lnTo>
                    <a:lnTo>
                      <a:pt x="97" y="347"/>
                    </a:lnTo>
                    <a:lnTo>
                      <a:pt x="99" y="353"/>
                    </a:lnTo>
                    <a:lnTo>
                      <a:pt x="103" y="357"/>
                    </a:lnTo>
                    <a:lnTo>
                      <a:pt x="107" y="361"/>
                    </a:lnTo>
                    <a:lnTo>
                      <a:pt x="113" y="365"/>
                    </a:lnTo>
                    <a:lnTo>
                      <a:pt x="115" y="367"/>
                    </a:lnTo>
                    <a:lnTo>
                      <a:pt x="115" y="369"/>
                    </a:lnTo>
                    <a:lnTo>
                      <a:pt x="115" y="371"/>
                    </a:lnTo>
                    <a:lnTo>
                      <a:pt x="115" y="373"/>
                    </a:lnTo>
                    <a:lnTo>
                      <a:pt x="117" y="375"/>
                    </a:lnTo>
                    <a:lnTo>
                      <a:pt x="117" y="377"/>
                    </a:lnTo>
                    <a:lnTo>
                      <a:pt x="117" y="379"/>
                    </a:lnTo>
                    <a:lnTo>
                      <a:pt x="115" y="381"/>
                    </a:lnTo>
                    <a:lnTo>
                      <a:pt x="115" y="383"/>
                    </a:lnTo>
                    <a:lnTo>
                      <a:pt x="115" y="388"/>
                    </a:lnTo>
                    <a:lnTo>
                      <a:pt x="117" y="394"/>
                    </a:lnTo>
                    <a:lnTo>
                      <a:pt x="119" y="398"/>
                    </a:lnTo>
                    <a:lnTo>
                      <a:pt x="127" y="400"/>
                    </a:lnTo>
                    <a:lnTo>
                      <a:pt x="130" y="402"/>
                    </a:lnTo>
                    <a:lnTo>
                      <a:pt x="136" y="404"/>
                    </a:lnTo>
                    <a:lnTo>
                      <a:pt x="136" y="406"/>
                    </a:lnTo>
                    <a:lnTo>
                      <a:pt x="140" y="412"/>
                    </a:lnTo>
                    <a:lnTo>
                      <a:pt x="142" y="412"/>
                    </a:lnTo>
                    <a:lnTo>
                      <a:pt x="144" y="414"/>
                    </a:lnTo>
                    <a:lnTo>
                      <a:pt x="144" y="414"/>
                    </a:lnTo>
                    <a:lnTo>
                      <a:pt x="146" y="414"/>
                    </a:lnTo>
                    <a:lnTo>
                      <a:pt x="146" y="416"/>
                    </a:lnTo>
                    <a:lnTo>
                      <a:pt x="146" y="418"/>
                    </a:lnTo>
                    <a:lnTo>
                      <a:pt x="146" y="418"/>
                    </a:lnTo>
                    <a:lnTo>
                      <a:pt x="158" y="426"/>
                    </a:lnTo>
                    <a:lnTo>
                      <a:pt x="158" y="429"/>
                    </a:lnTo>
                    <a:lnTo>
                      <a:pt x="156" y="435"/>
                    </a:lnTo>
                    <a:lnTo>
                      <a:pt x="160" y="447"/>
                    </a:lnTo>
                    <a:lnTo>
                      <a:pt x="162" y="453"/>
                    </a:lnTo>
                    <a:lnTo>
                      <a:pt x="166" y="455"/>
                    </a:lnTo>
                    <a:lnTo>
                      <a:pt x="168" y="459"/>
                    </a:lnTo>
                    <a:lnTo>
                      <a:pt x="169" y="465"/>
                    </a:lnTo>
                    <a:lnTo>
                      <a:pt x="171" y="468"/>
                    </a:lnTo>
                    <a:lnTo>
                      <a:pt x="179" y="478"/>
                    </a:lnTo>
                    <a:lnTo>
                      <a:pt x="181" y="480"/>
                    </a:lnTo>
                    <a:lnTo>
                      <a:pt x="185" y="480"/>
                    </a:lnTo>
                    <a:lnTo>
                      <a:pt x="187" y="480"/>
                    </a:lnTo>
                    <a:lnTo>
                      <a:pt x="193" y="476"/>
                    </a:lnTo>
                    <a:lnTo>
                      <a:pt x="197" y="476"/>
                    </a:lnTo>
                    <a:lnTo>
                      <a:pt x="203" y="478"/>
                    </a:lnTo>
                    <a:lnTo>
                      <a:pt x="205" y="482"/>
                    </a:lnTo>
                    <a:lnTo>
                      <a:pt x="209" y="496"/>
                    </a:lnTo>
                    <a:lnTo>
                      <a:pt x="212" y="509"/>
                    </a:lnTo>
                    <a:lnTo>
                      <a:pt x="214" y="515"/>
                    </a:lnTo>
                    <a:lnTo>
                      <a:pt x="212" y="521"/>
                    </a:lnTo>
                    <a:lnTo>
                      <a:pt x="211" y="527"/>
                    </a:lnTo>
                    <a:lnTo>
                      <a:pt x="209" y="533"/>
                    </a:lnTo>
                    <a:lnTo>
                      <a:pt x="207" y="537"/>
                    </a:lnTo>
                    <a:lnTo>
                      <a:pt x="197" y="541"/>
                    </a:lnTo>
                    <a:lnTo>
                      <a:pt x="175" y="533"/>
                    </a:lnTo>
                    <a:lnTo>
                      <a:pt x="168" y="537"/>
                    </a:lnTo>
                    <a:lnTo>
                      <a:pt x="162" y="547"/>
                    </a:lnTo>
                    <a:lnTo>
                      <a:pt x="166" y="554"/>
                    </a:lnTo>
                    <a:lnTo>
                      <a:pt x="179" y="566"/>
                    </a:lnTo>
                    <a:lnTo>
                      <a:pt x="185" y="580"/>
                    </a:lnTo>
                    <a:lnTo>
                      <a:pt x="187" y="586"/>
                    </a:lnTo>
                    <a:lnTo>
                      <a:pt x="195" y="590"/>
                    </a:lnTo>
                    <a:lnTo>
                      <a:pt x="197" y="593"/>
                    </a:lnTo>
                    <a:lnTo>
                      <a:pt x="195" y="599"/>
                    </a:lnTo>
                    <a:lnTo>
                      <a:pt x="193" y="603"/>
                    </a:lnTo>
                    <a:lnTo>
                      <a:pt x="191" y="605"/>
                    </a:lnTo>
                    <a:lnTo>
                      <a:pt x="187" y="605"/>
                    </a:lnTo>
                    <a:lnTo>
                      <a:pt x="179" y="605"/>
                    </a:lnTo>
                    <a:lnTo>
                      <a:pt x="179" y="605"/>
                    </a:lnTo>
                    <a:lnTo>
                      <a:pt x="175" y="607"/>
                    </a:lnTo>
                    <a:lnTo>
                      <a:pt x="175" y="607"/>
                    </a:lnTo>
                    <a:lnTo>
                      <a:pt x="173" y="607"/>
                    </a:lnTo>
                    <a:lnTo>
                      <a:pt x="171" y="603"/>
                    </a:lnTo>
                    <a:lnTo>
                      <a:pt x="169" y="603"/>
                    </a:lnTo>
                    <a:lnTo>
                      <a:pt x="168" y="601"/>
                    </a:lnTo>
                    <a:lnTo>
                      <a:pt x="166" y="597"/>
                    </a:lnTo>
                    <a:lnTo>
                      <a:pt x="166" y="595"/>
                    </a:lnTo>
                    <a:lnTo>
                      <a:pt x="132" y="582"/>
                    </a:lnTo>
                    <a:lnTo>
                      <a:pt x="134" y="586"/>
                    </a:lnTo>
                    <a:lnTo>
                      <a:pt x="142" y="592"/>
                    </a:lnTo>
                    <a:lnTo>
                      <a:pt x="144" y="597"/>
                    </a:lnTo>
                    <a:lnTo>
                      <a:pt x="148" y="607"/>
                    </a:lnTo>
                    <a:lnTo>
                      <a:pt x="148" y="609"/>
                    </a:lnTo>
                    <a:lnTo>
                      <a:pt x="150" y="619"/>
                    </a:lnTo>
                    <a:lnTo>
                      <a:pt x="152" y="623"/>
                    </a:lnTo>
                    <a:lnTo>
                      <a:pt x="158" y="636"/>
                    </a:lnTo>
                    <a:lnTo>
                      <a:pt x="160" y="638"/>
                    </a:lnTo>
                    <a:lnTo>
                      <a:pt x="173" y="658"/>
                    </a:lnTo>
                    <a:lnTo>
                      <a:pt x="175" y="662"/>
                    </a:lnTo>
                    <a:lnTo>
                      <a:pt x="175" y="668"/>
                    </a:lnTo>
                    <a:lnTo>
                      <a:pt x="177" y="670"/>
                    </a:lnTo>
                    <a:lnTo>
                      <a:pt x="179" y="672"/>
                    </a:lnTo>
                    <a:lnTo>
                      <a:pt x="183" y="674"/>
                    </a:lnTo>
                    <a:lnTo>
                      <a:pt x="183" y="679"/>
                    </a:lnTo>
                    <a:lnTo>
                      <a:pt x="185" y="683"/>
                    </a:lnTo>
                    <a:lnTo>
                      <a:pt x="185" y="689"/>
                    </a:lnTo>
                    <a:lnTo>
                      <a:pt x="187" y="691"/>
                    </a:lnTo>
                    <a:lnTo>
                      <a:pt x="189" y="691"/>
                    </a:lnTo>
                    <a:lnTo>
                      <a:pt x="191" y="693"/>
                    </a:lnTo>
                    <a:lnTo>
                      <a:pt x="191" y="695"/>
                    </a:lnTo>
                    <a:lnTo>
                      <a:pt x="193" y="695"/>
                    </a:lnTo>
                    <a:lnTo>
                      <a:pt x="193" y="701"/>
                    </a:lnTo>
                    <a:lnTo>
                      <a:pt x="193" y="703"/>
                    </a:lnTo>
                    <a:lnTo>
                      <a:pt x="195" y="707"/>
                    </a:lnTo>
                    <a:lnTo>
                      <a:pt x="199" y="713"/>
                    </a:lnTo>
                    <a:lnTo>
                      <a:pt x="207" y="716"/>
                    </a:lnTo>
                    <a:lnTo>
                      <a:pt x="212" y="722"/>
                    </a:lnTo>
                    <a:lnTo>
                      <a:pt x="214" y="736"/>
                    </a:lnTo>
                    <a:lnTo>
                      <a:pt x="214" y="740"/>
                    </a:lnTo>
                    <a:lnTo>
                      <a:pt x="212" y="742"/>
                    </a:lnTo>
                    <a:lnTo>
                      <a:pt x="212" y="744"/>
                    </a:lnTo>
                    <a:lnTo>
                      <a:pt x="209" y="744"/>
                    </a:lnTo>
                    <a:lnTo>
                      <a:pt x="211" y="748"/>
                    </a:lnTo>
                    <a:lnTo>
                      <a:pt x="214" y="750"/>
                    </a:lnTo>
                    <a:lnTo>
                      <a:pt x="218" y="750"/>
                    </a:lnTo>
                    <a:lnTo>
                      <a:pt x="220" y="756"/>
                    </a:lnTo>
                    <a:lnTo>
                      <a:pt x="222" y="756"/>
                    </a:lnTo>
                    <a:lnTo>
                      <a:pt x="226" y="754"/>
                    </a:lnTo>
                    <a:lnTo>
                      <a:pt x="228" y="759"/>
                    </a:lnTo>
                    <a:lnTo>
                      <a:pt x="230" y="761"/>
                    </a:lnTo>
                    <a:lnTo>
                      <a:pt x="234" y="765"/>
                    </a:lnTo>
                    <a:lnTo>
                      <a:pt x="234" y="771"/>
                    </a:lnTo>
                    <a:lnTo>
                      <a:pt x="234" y="775"/>
                    </a:lnTo>
                    <a:lnTo>
                      <a:pt x="232" y="779"/>
                    </a:lnTo>
                    <a:lnTo>
                      <a:pt x="230" y="781"/>
                    </a:lnTo>
                    <a:lnTo>
                      <a:pt x="228" y="785"/>
                    </a:lnTo>
                    <a:lnTo>
                      <a:pt x="216" y="793"/>
                    </a:lnTo>
                    <a:lnTo>
                      <a:pt x="212" y="798"/>
                    </a:lnTo>
                    <a:lnTo>
                      <a:pt x="211" y="808"/>
                    </a:lnTo>
                    <a:lnTo>
                      <a:pt x="212" y="816"/>
                    </a:lnTo>
                    <a:lnTo>
                      <a:pt x="220" y="830"/>
                    </a:lnTo>
                    <a:lnTo>
                      <a:pt x="222" y="838"/>
                    </a:lnTo>
                    <a:lnTo>
                      <a:pt x="220" y="836"/>
                    </a:lnTo>
                    <a:lnTo>
                      <a:pt x="218" y="836"/>
                    </a:lnTo>
                    <a:lnTo>
                      <a:pt x="218" y="838"/>
                    </a:lnTo>
                    <a:lnTo>
                      <a:pt x="218" y="841"/>
                    </a:lnTo>
                    <a:lnTo>
                      <a:pt x="216" y="843"/>
                    </a:lnTo>
                    <a:lnTo>
                      <a:pt x="212" y="845"/>
                    </a:lnTo>
                    <a:lnTo>
                      <a:pt x="209" y="845"/>
                    </a:lnTo>
                    <a:lnTo>
                      <a:pt x="205" y="843"/>
                    </a:lnTo>
                    <a:lnTo>
                      <a:pt x="205" y="841"/>
                    </a:lnTo>
                    <a:lnTo>
                      <a:pt x="203" y="841"/>
                    </a:lnTo>
                    <a:lnTo>
                      <a:pt x="203" y="841"/>
                    </a:lnTo>
                    <a:lnTo>
                      <a:pt x="201" y="841"/>
                    </a:lnTo>
                    <a:lnTo>
                      <a:pt x="195" y="851"/>
                    </a:lnTo>
                    <a:lnTo>
                      <a:pt x="197" y="857"/>
                    </a:lnTo>
                    <a:lnTo>
                      <a:pt x="199" y="857"/>
                    </a:lnTo>
                    <a:lnTo>
                      <a:pt x="203" y="855"/>
                    </a:lnTo>
                    <a:lnTo>
                      <a:pt x="205" y="853"/>
                    </a:lnTo>
                    <a:lnTo>
                      <a:pt x="207" y="853"/>
                    </a:lnTo>
                    <a:lnTo>
                      <a:pt x="209" y="855"/>
                    </a:lnTo>
                    <a:lnTo>
                      <a:pt x="211" y="855"/>
                    </a:lnTo>
                    <a:lnTo>
                      <a:pt x="212" y="855"/>
                    </a:lnTo>
                    <a:lnTo>
                      <a:pt x="214" y="853"/>
                    </a:lnTo>
                    <a:lnTo>
                      <a:pt x="216" y="851"/>
                    </a:lnTo>
                    <a:lnTo>
                      <a:pt x="220" y="849"/>
                    </a:lnTo>
                    <a:lnTo>
                      <a:pt x="224" y="851"/>
                    </a:lnTo>
                    <a:lnTo>
                      <a:pt x="226" y="851"/>
                    </a:lnTo>
                    <a:lnTo>
                      <a:pt x="228" y="855"/>
                    </a:lnTo>
                    <a:lnTo>
                      <a:pt x="230" y="855"/>
                    </a:lnTo>
                    <a:lnTo>
                      <a:pt x="232" y="855"/>
                    </a:lnTo>
                    <a:lnTo>
                      <a:pt x="234" y="857"/>
                    </a:lnTo>
                    <a:lnTo>
                      <a:pt x="244" y="857"/>
                    </a:lnTo>
                    <a:lnTo>
                      <a:pt x="271" y="867"/>
                    </a:lnTo>
                    <a:lnTo>
                      <a:pt x="277" y="869"/>
                    </a:lnTo>
                    <a:lnTo>
                      <a:pt x="289" y="867"/>
                    </a:lnTo>
                    <a:lnTo>
                      <a:pt x="293" y="865"/>
                    </a:lnTo>
                    <a:lnTo>
                      <a:pt x="308" y="855"/>
                    </a:lnTo>
                    <a:lnTo>
                      <a:pt x="314" y="853"/>
                    </a:lnTo>
                    <a:lnTo>
                      <a:pt x="322" y="855"/>
                    </a:lnTo>
                    <a:lnTo>
                      <a:pt x="324" y="853"/>
                    </a:lnTo>
                    <a:lnTo>
                      <a:pt x="326" y="851"/>
                    </a:lnTo>
                    <a:lnTo>
                      <a:pt x="328" y="847"/>
                    </a:lnTo>
                    <a:lnTo>
                      <a:pt x="330" y="845"/>
                    </a:lnTo>
                    <a:lnTo>
                      <a:pt x="332" y="845"/>
                    </a:lnTo>
                    <a:lnTo>
                      <a:pt x="355" y="843"/>
                    </a:lnTo>
                    <a:lnTo>
                      <a:pt x="363" y="845"/>
                    </a:lnTo>
                    <a:lnTo>
                      <a:pt x="365" y="845"/>
                    </a:lnTo>
                    <a:lnTo>
                      <a:pt x="367" y="843"/>
                    </a:lnTo>
                    <a:lnTo>
                      <a:pt x="373" y="841"/>
                    </a:lnTo>
                    <a:lnTo>
                      <a:pt x="375" y="841"/>
                    </a:lnTo>
                    <a:lnTo>
                      <a:pt x="380" y="841"/>
                    </a:lnTo>
                    <a:lnTo>
                      <a:pt x="384" y="843"/>
                    </a:lnTo>
                    <a:lnTo>
                      <a:pt x="398" y="851"/>
                    </a:lnTo>
                    <a:lnTo>
                      <a:pt x="402" y="853"/>
                    </a:lnTo>
                    <a:lnTo>
                      <a:pt x="408" y="855"/>
                    </a:lnTo>
                    <a:lnTo>
                      <a:pt x="418" y="855"/>
                    </a:lnTo>
                    <a:lnTo>
                      <a:pt x="422" y="853"/>
                    </a:lnTo>
                    <a:lnTo>
                      <a:pt x="425" y="851"/>
                    </a:lnTo>
                    <a:lnTo>
                      <a:pt x="427" y="847"/>
                    </a:lnTo>
                    <a:lnTo>
                      <a:pt x="435" y="834"/>
                    </a:lnTo>
                    <a:lnTo>
                      <a:pt x="437" y="832"/>
                    </a:lnTo>
                    <a:lnTo>
                      <a:pt x="441" y="830"/>
                    </a:lnTo>
                    <a:lnTo>
                      <a:pt x="451" y="818"/>
                    </a:lnTo>
                    <a:lnTo>
                      <a:pt x="453" y="814"/>
                    </a:lnTo>
                    <a:lnTo>
                      <a:pt x="453" y="808"/>
                    </a:lnTo>
                    <a:lnTo>
                      <a:pt x="451" y="802"/>
                    </a:lnTo>
                    <a:lnTo>
                      <a:pt x="445" y="791"/>
                    </a:lnTo>
                    <a:lnTo>
                      <a:pt x="441" y="787"/>
                    </a:lnTo>
                    <a:lnTo>
                      <a:pt x="439" y="785"/>
                    </a:lnTo>
                    <a:lnTo>
                      <a:pt x="437" y="781"/>
                    </a:lnTo>
                    <a:lnTo>
                      <a:pt x="437" y="779"/>
                    </a:lnTo>
                    <a:lnTo>
                      <a:pt x="437" y="775"/>
                    </a:lnTo>
                    <a:lnTo>
                      <a:pt x="437" y="773"/>
                    </a:lnTo>
                    <a:lnTo>
                      <a:pt x="435" y="769"/>
                    </a:lnTo>
                    <a:lnTo>
                      <a:pt x="429" y="763"/>
                    </a:lnTo>
                    <a:lnTo>
                      <a:pt x="425" y="759"/>
                    </a:lnTo>
                    <a:lnTo>
                      <a:pt x="423" y="756"/>
                    </a:lnTo>
                    <a:lnTo>
                      <a:pt x="423" y="750"/>
                    </a:lnTo>
                    <a:lnTo>
                      <a:pt x="425" y="738"/>
                    </a:lnTo>
                    <a:lnTo>
                      <a:pt x="427" y="726"/>
                    </a:lnTo>
                    <a:lnTo>
                      <a:pt x="431" y="715"/>
                    </a:lnTo>
                    <a:lnTo>
                      <a:pt x="437" y="705"/>
                    </a:lnTo>
                    <a:lnTo>
                      <a:pt x="443" y="701"/>
                    </a:lnTo>
                    <a:lnTo>
                      <a:pt x="445" y="699"/>
                    </a:lnTo>
                    <a:lnTo>
                      <a:pt x="447" y="693"/>
                    </a:lnTo>
                    <a:lnTo>
                      <a:pt x="449" y="687"/>
                    </a:lnTo>
                    <a:lnTo>
                      <a:pt x="453" y="685"/>
                    </a:lnTo>
                    <a:lnTo>
                      <a:pt x="457" y="683"/>
                    </a:lnTo>
                    <a:lnTo>
                      <a:pt x="461" y="679"/>
                    </a:lnTo>
                    <a:lnTo>
                      <a:pt x="466" y="674"/>
                    </a:lnTo>
                    <a:lnTo>
                      <a:pt x="472" y="664"/>
                    </a:lnTo>
                    <a:lnTo>
                      <a:pt x="474" y="662"/>
                    </a:lnTo>
                    <a:lnTo>
                      <a:pt x="480" y="660"/>
                    </a:lnTo>
                    <a:lnTo>
                      <a:pt x="480" y="660"/>
                    </a:lnTo>
                    <a:lnTo>
                      <a:pt x="484" y="656"/>
                    </a:lnTo>
                    <a:lnTo>
                      <a:pt x="486" y="656"/>
                    </a:lnTo>
                    <a:lnTo>
                      <a:pt x="486" y="656"/>
                    </a:lnTo>
                    <a:lnTo>
                      <a:pt x="488" y="658"/>
                    </a:lnTo>
                    <a:lnTo>
                      <a:pt x="490" y="660"/>
                    </a:lnTo>
                    <a:lnTo>
                      <a:pt x="492" y="656"/>
                    </a:lnTo>
                    <a:lnTo>
                      <a:pt x="492" y="660"/>
                    </a:lnTo>
                    <a:lnTo>
                      <a:pt x="494" y="662"/>
                    </a:lnTo>
                    <a:lnTo>
                      <a:pt x="494" y="664"/>
                    </a:lnTo>
                    <a:lnTo>
                      <a:pt x="496" y="666"/>
                    </a:lnTo>
                    <a:lnTo>
                      <a:pt x="494" y="670"/>
                    </a:lnTo>
                    <a:lnTo>
                      <a:pt x="494" y="670"/>
                    </a:lnTo>
                    <a:lnTo>
                      <a:pt x="496" y="670"/>
                    </a:lnTo>
                    <a:lnTo>
                      <a:pt x="500" y="670"/>
                    </a:lnTo>
                    <a:lnTo>
                      <a:pt x="502" y="672"/>
                    </a:lnTo>
                    <a:lnTo>
                      <a:pt x="504" y="672"/>
                    </a:lnTo>
                    <a:lnTo>
                      <a:pt x="504" y="672"/>
                    </a:lnTo>
                    <a:lnTo>
                      <a:pt x="506" y="672"/>
                    </a:lnTo>
                    <a:lnTo>
                      <a:pt x="506" y="668"/>
                    </a:lnTo>
                    <a:lnTo>
                      <a:pt x="509" y="668"/>
                    </a:lnTo>
                    <a:lnTo>
                      <a:pt x="509" y="672"/>
                    </a:lnTo>
                    <a:lnTo>
                      <a:pt x="511" y="674"/>
                    </a:lnTo>
                    <a:lnTo>
                      <a:pt x="513" y="672"/>
                    </a:lnTo>
                    <a:lnTo>
                      <a:pt x="513" y="670"/>
                    </a:lnTo>
                    <a:lnTo>
                      <a:pt x="515" y="668"/>
                    </a:lnTo>
                    <a:lnTo>
                      <a:pt x="517" y="666"/>
                    </a:lnTo>
                    <a:lnTo>
                      <a:pt x="519" y="664"/>
                    </a:lnTo>
                    <a:lnTo>
                      <a:pt x="519" y="660"/>
                    </a:lnTo>
                    <a:lnTo>
                      <a:pt x="517" y="656"/>
                    </a:lnTo>
                    <a:lnTo>
                      <a:pt x="511" y="648"/>
                    </a:lnTo>
                    <a:lnTo>
                      <a:pt x="511" y="646"/>
                    </a:lnTo>
                    <a:lnTo>
                      <a:pt x="509" y="642"/>
                    </a:lnTo>
                    <a:lnTo>
                      <a:pt x="509" y="640"/>
                    </a:lnTo>
                    <a:lnTo>
                      <a:pt x="507" y="640"/>
                    </a:lnTo>
                    <a:lnTo>
                      <a:pt x="506" y="638"/>
                    </a:lnTo>
                    <a:lnTo>
                      <a:pt x="506" y="634"/>
                    </a:lnTo>
                    <a:lnTo>
                      <a:pt x="506" y="633"/>
                    </a:lnTo>
                    <a:lnTo>
                      <a:pt x="506" y="629"/>
                    </a:lnTo>
                    <a:lnTo>
                      <a:pt x="509" y="625"/>
                    </a:lnTo>
                    <a:lnTo>
                      <a:pt x="513" y="623"/>
                    </a:lnTo>
                    <a:lnTo>
                      <a:pt x="521" y="623"/>
                    </a:lnTo>
                    <a:lnTo>
                      <a:pt x="525" y="625"/>
                    </a:lnTo>
                    <a:lnTo>
                      <a:pt x="527" y="629"/>
                    </a:lnTo>
                    <a:lnTo>
                      <a:pt x="531" y="631"/>
                    </a:lnTo>
                    <a:lnTo>
                      <a:pt x="533" y="629"/>
                    </a:lnTo>
                    <a:lnTo>
                      <a:pt x="533" y="625"/>
                    </a:lnTo>
                    <a:lnTo>
                      <a:pt x="537" y="625"/>
                    </a:lnTo>
                    <a:lnTo>
                      <a:pt x="543" y="625"/>
                    </a:lnTo>
                    <a:lnTo>
                      <a:pt x="547" y="625"/>
                    </a:lnTo>
                    <a:lnTo>
                      <a:pt x="550" y="621"/>
                    </a:lnTo>
                    <a:lnTo>
                      <a:pt x="556" y="623"/>
                    </a:lnTo>
                    <a:lnTo>
                      <a:pt x="566" y="627"/>
                    </a:lnTo>
                    <a:lnTo>
                      <a:pt x="566" y="627"/>
                    </a:lnTo>
                    <a:lnTo>
                      <a:pt x="566" y="621"/>
                    </a:lnTo>
                    <a:lnTo>
                      <a:pt x="564" y="619"/>
                    </a:lnTo>
                    <a:lnTo>
                      <a:pt x="566" y="619"/>
                    </a:lnTo>
                    <a:lnTo>
                      <a:pt x="570" y="617"/>
                    </a:lnTo>
                    <a:lnTo>
                      <a:pt x="572" y="617"/>
                    </a:lnTo>
                    <a:lnTo>
                      <a:pt x="572" y="619"/>
                    </a:lnTo>
                    <a:lnTo>
                      <a:pt x="574" y="625"/>
                    </a:lnTo>
                    <a:lnTo>
                      <a:pt x="574" y="625"/>
                    </a:lnTo>
                    <a:lnTo>
                      <a:pt x="582" y="625"/>
                    </a:lnTo>
                    <a:lnTo>
                      <a:pt x="582" y="625"/>
                    </a:lnTo>
                    <a:lnTo>
                      <a:pt x="584" y="623"/>
                    </a:lnTo>
                    <a:lnTo>
                      <a:pt x="586" y="623"/>
                    </a:lnTo>
                    <a:lnTo>
                      <a:pt x="586" y="625"/>
                    </a:lnTo>
                    <a:lnTo>
                      <a:pt x="591" y="629"/>
                    </a:lnTo>
                    <a:lnTo>
                      <a:pt x="597" y="627"/>
                    </a:lnTo>
                    <a:lnTo>
                      <a:pt x="605" y="623"/>
                    </a:lnTo>
                    <a:lnTo>
                      <a:pt x="609" y="617"/>
                    </a:lnTo>
                    <a:lnTo>
                      <a:pt x="611" y="625"/>
                    </a:lnTo>
                    <a:lnTo>
                      <a:pt x="613" y="627"/>
                    </a:lnTo>
                    <a:lnTo>
                      <a:pt x="611" y="627"/>
                    </a:lnTo>
                    <a:lnTo>
                      <a:pt x="609" y="629"/>
                    </a:lnTo>
                    <a:lnTo>
                      <a:pt x="611" y="631"/>
                    </a:lnTo>
                    <a:lnTo>
                      <a:pt x="613" y="633"/>
                    </a:lnTo>
                    <a:lnTo>
                      <a:pt x="621" y="631"/>
                    </a:lnTo>
                    <a:lnTo>
                      <a:pt x="621" y="631"/>
                    </a:lnTo>
                    <a:lnTo>
                      <a:pt x="621" y="629"/>
                    </a:lnTo>
                    <a:lnTo>
                      <a:pt x="623" y="625"/>
                    </a:lnTo>
                    <a:lnTo>
                      <a:pt x="625" y="621"/>
                    </a:lnTo>
                    <a:lnTo>
                      <a:pt x="627" y="619"/>
                    </a:lnTo>
                    <a:lnTo>
                      <a:pt x="629" y="619"/>
                    </a:lnTo>
                    <a:lnTo>
                      <a:pt x="631" y="621"/>
                    </a:lnTo>
                    <a:lnTo>
                      <a:pt x="632" y="621"/>
                    </a:lnTo>
                    <a:lnTo>
                      <a:pt x="634" y="625"/>
                    </a:lnTo>
                    <a:lnTo>
                      <a:pt x="636" y="625"/>
                    </a:lnTo>
                    <a:lnTo>
                      <a:pt x="638" y="629"/>
                    </a:lnTo>
                    <a:lnTo>
                      <a:pt x="640" y="627"/>
                    </a:lnTo>
                    <a:lnTo>
                      <a:pt x="640" y="623"/>
                    </a:lnTo>
                    <a:lnTo>
                      <a:pt x="642" y="621"/>
                    </a:lnTo>
                    <a:lnTo>
                      <a:pt x="648" y="617"/>
                    </a:lnTo>
                    <a:lnTo>
                      <a:pt x="654" y="611"/>
                    </a:lnTo>
                    <a:lnTo>
                      <a:pt x="658" y="611"/>
                    </a:lnTo>
                    <a:lnTo>
                      <a:pt x="658" y="613"/>
                    </a:lnTo>
                    <a:lnTo>
                      <a:pt x="658" y="615"/>
                    </a:lnTo>
                    <a:lnTo>
                      <a:pt x="656" y="619"/>
                    </a:lnTo>
                    <a:lnTo>
                      <a:pt x="656" y="621"/>
                    </a:lnTo>
                    <a:lnTo>
                      <a:pt x="658" y="625"/>
                    </a:lnTo>
                    <a:lnTo>
                      <a:pt x="662" y="623"/>
                    </a:lnTo>
                    <a:lnTo>
                      <a:pt x="664" y="617"/>
                    </a:lnTo>
                    <a:lnTo>
                      <a:pt x="668" y="615"/>
                    </a:lnTo>
                    <a:lnTo>
                      <a:pt x="668" y="615"/>
                    </a:lnTo>
                    <a:lnTo>
                      <a:pt x="672" y="619"/>
                    </a:lnTo>
                    <a:lnTo>
                      <a:pt x="674" y="619"/>
                    </a:lnTo>
                    <a:lnTo>
                      <a:pt x="675" y="621"/>
                    </a:lnTo>
                    <a:lnTo>
                      <a:pt x="675" y="621"/>
                    </a:lnTo>
                    <a:lnTo>
                      <a:pt x="675" y="623"/>
                    </a:lnTo>
                    <a:lnTo>
                      <a:pt x="677" y="621"/>
                    </a:lnTo>
                    <a:lnTo>
                      <a:pt x="681" y="627"/>
                    </a:lnTo>
                    <a:lnTo>
                      <a:pt x="685" y="627"/>
                    </a:lnTo>
                    <a:lnTo>
                      <a:pt x="693" y="623"/>
                    </a:lnTo>
                    <a:lnTo>
                      <a:pt x="697" y="627"/>
                    </a:lnTo>
                    <a:lnTo>
                      <a:pt x="695" y="631"/>
                    </a:lnTo>
                    <a:lnTo>
                      <a:pt x="691" y="642"/>
                    </a:lnTo>
                    <a:lnTo>
                      <a:pt x="695" y="644"/>
                    </a:lnTo>
                    <a:lnTo>
                      <a:pt x="699" y="648"/>
                    </a:lnTo>
                    <a:lnTo>
                      <a:pt x="701" y="648"/>
                    </a:lnTo>
                    <a:lnTo>
                      <a:pt x="705" y="642"/>
                    </a:lnTo>
                    <a:lnTo>
                      <a:pt x="715" y="621"/>
                    </a:lnTo>
                    <a:lnTo>
                      <a:pt x="718" y="617"/>
                    </a:lnTo>
                    <a:lnTo>
                      <a:pt x="724" y="611"/>
                    </a:lnTo>
                    <a:lnTo>
                      <a:pt x="726" y="607"/>
                    </a:lnTo>
                    <a:lnTo>
                      <a:pt x="728" y="605"/>
                    </a:lnTo>
                    <a:lnTo>
                      <a:pt x="728" y="601"/>
                    </a:lnTo>
                    <a:lnTo>
                      <a:pt x="730" y="599"/>
                    </a:lnTo>
                    <a:lnTo>
                      <a:pt x="732" y="599"/>
                    </a:lnTo>
                    <a:lnTo>
                      <a:pt x="732" y="597"/>
                    </a:lnTo>
                    <a:lnTo>
                      <a:pt x="738" y="572"/>
                    </a:lnTo>
                    <a:lnTo>
                      <a:pt x="742" y="547"/>
                    </a:lnTo>
                    <a:lnTo>
                      <a:pt x="746" y="537"/>
                    </a:lnTo>
                    <a:lnTo>
                      <a:pt x="754" y="521"/>
                    </a:lnTo>
                    <a:lnTo>
                      <a:pt x="756" y="515"/>
                    </a:lnTo>
                    <a:lnTo>
                      <a:pt x="756" y="511"/>
                    </a:lnTo>
                    <a:lnTo>
                      <a:pt x="761" y="511"/>
                    </a:lnTo>
                    <a:lnTo>
                      <a:pt x="761" y="509"/>
                    </a:lnTo>
                    <a:lnTo>
                      <a:pt x="761" y="502"/>
                    </a:lnTo>
                    <a:lnTo>
                      <a:pt x="763" y="496"/>
                    </a:lnTo>
                    <a:lnTo>
                      <a:pt x="763" y="492"/>
                    </a:lnTo>
                    <a:lnTo>
                      <a:pt x="763" y="490"/>
                    </a:lnTo>
                    <a:lnTo>
                      <a:pt x="763" y="488"/>
                    </a:lnTo>
                    <a:lnTo>
                      <a:pt x="767" y="480"/>
                    </a:lnTo>
                    <a:lnTo>
                      <a:pt x="769" y="478"/>
                    </a:lnTo>
                    <a:lnTo>
                      <a:pt x="771" y="476"/>
                    </a:lnTo>
                    <a:lnTo>
                      <a:pt x="773" y="476"/>
                    </a:lnTo>
                    <a:lnTo>
                      <a:pt x="775" y="474"/>
                    </a:lnTo>
                    <a:lnTo>
                      <a:pt x="777" y="474"/>
                    </a:lnTo>
                    <a:lnTo>
                      <a:pt x="781" y="476"/>
                    </a:lnTo>
                    <a:lnTo>
                      <a:pt x="783" y="478"/>
                    </a:lnTo>
                    <a:lnTo>
                      <a:pt x="787" y="476"/>
                    </a:lnTo>
                    <a:lnTo>
                      <a:pt x="789" y="474"/>
                    </a:lnTo>
                    <a:lnTo>
                      <a:pt x="789" y="470"/>
                    </a:lnTo>
                    <a:lnTo>
                      <a:pt x="791" y="465"/>
                    </a:lnTo>
                    <a:lnTo>
                      <a:pt x="789" y="455"/>
                    </a:lnTo>
                    <a:lnTo>
                      <a:pt x="787" y="449"/>
                    </a:lnTo>
                    <a:lnTo>
                      <a:pt x="785" y="445"/>
                    </a:lnTo>
                    <a:lnTo>
                      <a:pt x="787" y="443"/>
                    </a:lnTo>
                    <a:lnTo>
                      <a:pt x="789" y="443"/>
                    </a:lnTo>
                    <a:lnTo>
                      <a:pt x="793" y="439"/>
                    </a:lnTo>
                    <a:lnTo>
                      <a:pt x="795" y="439"/>
                    </a:lnTo>
                    <a:lnTo>
                      <a:pt x="799" y="439"/>
                    </a:lnTo>
                    <a:lnTo>
                      <a:pt x="802" y="441"/>
                    </a:lnTo>
                    <a:lnTo>
                      <a:pt x="804" y="441"/>
                    </a:lnTo>
                    <a:lnTo>
                      <a:pt x="804" y="439"/>
                    </a:lnTo>
                    <a:lnTo>
                      <a:pt x="806" y="437"/>
                    </a:lnTo>
                    <a:lnTo>
                      <a:pt x="804" y="433"/>
                    </a:lnTo>
                    <a:lnTo>
                      <a:pt x="804" y="433"/>
                    </a:lnTo>
                    <a:lnTo>
                      <a:pt x="802" y="433"/>
                    </a:lnTo>
                    <a:lnTo>
                      <a:pt x="800" y="435"/>
                    </a:lnTo>
                    <a:lnTo>
                      <a:pt x="799" y="437"/>
                    </a:lnTo>
                    <a:lnTo>
                      <a:pt x="797" y="435"/>
                    </a:lnTo>
                    <a:lnTo>
                      <a:pt x="795" y="433"/>
                    </a:lnTo>
                    <a:lnTo>
                      <a:pt x="795" y="429"/>
                    </a:lnTo>
                    <a:lnTo>
                      <a:pt x="799" y="416"/>
                    </a:lnTo>
                    <a:lnTo>
                      <a:pt x="800" y="412"/>
                    </a:lnTo>
                    <a:lnTo>
                      <a:pt x="800" y="408"/>
                    </a:lnTo>
                    <a:lnTo>
                      <a:pt x="799" y="400"/>
                    </a:lnTo>
                    <a:lnTo>
                      <a:pt x="799" y="398"/>
                    </a:lnTo>
                    <a:lnTo>
                      <a:pt x="804" y="390"/>
                    </a:lnTo>
                    <a:lnTo>
                      <a:pt x="804" y="386"/>
                    </a:lnTo>
                    <a:lnTo>
                      <a:pt x="802" y="385"/>
                    </a:lnTo>
                    <a:lnTo>
                      <a:pt x="802" y="383"/>
                    </a:lnTo>
                    <a:lnTo>
                      <a:pt x="800" y="379"/>
                    </a:lnTo>
                    <a:lnTo>
                      <a:pt x="799" y="371"/>
                    </a:lnTo>
                    <a:lnTo>
                      <a:pt x="800" y="367"/>
                    </a:lnTo>
                    <a:lnTo>
                      <a:pt x="802" y="363"/>
                    </a:lnTo>
                    <a:lnTo>
                      <a:pt x="806" y="363"/>
                    </a:lnTo>
                    <a:lnTo>
                      <a:pt x="806" y="361"/>
                    </a:lnTo>
                    <a:lnTo>
                      <a:pt x="804" y="361"/>
                    </a:lnTo>
                    <a:lnTo>
                      <a:pt x="802" y="359"/>
                    </a:lnTo>
                    <a:lnTo>
                      <a:pt x="800" y="357"/>
                    </a:lnTo>
                    <a:lnTo>
                      <a:pt x="800" y="355"/>
                    </a:lnTo>
                    <a:lnTo>
                      <a:pt x="802" y="355"/>
                    </a:lnTo>
                    <a:lnTo>
                      <a:pt x="806" y="357"/>
                    </a:lnTo>
                    <a:lnTo>
                      <a:pt x="808" y="357"/>
                    </a:lnTo>
                    <a:lnTo>
                      <a:pt x="810" y="359"/>
                    </a:lnTo>
                    <a:lnTo>
                      <a:pt x="810" y="359"/>
                    </a:lnTo>
                    <a:lnTo>
                      <a:pt x="810" y="359"/>
                    </a:lnTo>
                    <a:lnTo>
                      <a:pt x="810" y="357"/>
                    </a:lnTo>
                    <a:lnTo>
                      <a:pt x="812" y="355"/>
                    </a:lnTo>
                    <a:lnTo>
                      <a:pt x="812" y="353"/>
                    </a:lnTo>
                    <a:lnTo>
                      <a:pt x="812" y="353"/>
                    </a:lnTo>
                    <a:lnTo>
                      <a:pt x="812" y="353"/>
                    </a:lnTo>
                    <a:lnTo>
                      <a:pt x="812" y="351"/>
                    </a:lnTo>
                    <a:lnTo>
                      <a:pt x="814" y="351"/>
                    </a:lnTo>
                    <a:lnTo>
                      <a:pt x="814" y="351"/>
                    </a:lnTo>
                    <a:lnTo>
                      <a:pt x="816" y="351"/>
                    </a:lnTo>
                    <a:lnTo>
                      <a:pt x="816" y="353"/>
                    </a:lnTo>
                    <a:lnTo>
                      <a:pt x="816" y="355"/>
                    </a:lnTo>
                    <a:lnTo>
                      <a:pt x="816" y="355"/>
                    </a:lnTo>
                    <a:lnTo>
                      <a:pt x="822" y="357"/>
                    </a:lnTo>
                    <a:lnTo>
                      <a:pt x="824" y="357"/>
                    </a:lnTo>
                    <a:lnTo>
                      <a:pt x="822" y="353"/>
                    </a:lnTo>
                    <a:lnTo>
                      <a:pt x="820" y="349"/>
                    </a:lnTo>
                    <a:lnTo>
                      <a:pt x="818" y="345"/>
                    </a:lnTo>
                    <a:lnTo>
                      <a:pt x="822" y="345"/>
                    </a:lnTo>
                    <a:lnTo>
                      <a:pt x="818" y="338"/>
                    </a:lnTo>
                    <a:lnTo>
                      <a:pt x="816" y="336"/>
                    </a:lnTo>
                    <a:lnTo>
                      <a:pt x="816" y="334"/>
                    </a:lnTo>
                    <a:lnTo>
                      <a:pt x="814" y="336"/>
                    </a:lnTo>
                    <a:lnTo>
                      <a:pt x="814" y="334"/>
                    </a:lnTo>
                    <a:lnTo>
                      <a:pt x="812" y="332"/>
                    </a:lnTo>
                    <a:lnTo>
                      <a:pt x="806" y="324"/>
                    </a:lnTo>
                    <a:lnTo>
                      <a:pt x="804" y="316"/>
                    </a:lnTo>
                    <a:lnTo>
                      <a:pt x="802" y="308"/>
                    </a:lnTo>
                    <a:lnTo>
                      <a:pt x="804" y="301"/>
                    </a:lnTo>
                    <a:lnTo>
                      <a:pt x="808" y="297"/>
                    </a:lnTo>
                    <a:lnTo>
                      <a:pt x="804" y="287"/>
                    </a:lnTo>
                    <a:lnTo>
                      <a:pt x="808" y="281"/>
                    </a:lnTo>
                    <a:lnTo>
                      <a:pt x="820" y="273"/>
                    </a:lnTo>
                    <a:lnTo>
                      <a:pt x="818" y="269"/>
                    </a:lnTo>
                    <a:lnTo>
                      <a:pt x="818" y="269"/>
                    </a:lnTo>
                    <a:lnTo>
                      <a:pt x="820" y="267"/>
                    </a:lnTo>
                    <a:lnTo>
                      <a:pt x="822" y="263"/>
                    </a:lnTo>
                    <a:lnTo>
                      <a:pt x="816" y="260"/>
                    </a:lnTo>
                    <a:lnTo>
                      <a:pt x="818" y="254"/>
                    </a:lnTo>
                    <a:lnTo>
                      <a:pt x="822" y="252"/>
                    </a:lnTo>
                    <a:lnTo>
                      <a:pt x="832" y="254"/>
                    </a:lnTo>
                    <a:lnTo>
                      <a:pt x="832" y="248"/>
                    </a:lnTo>
                    <a:lnTo>
                      <a:pt x="834" y="246"/>
                    </a:lnTo>
                    <a:lnTo>
                      <a:pt x="836" y="244"/>
                    </a:lnTo>
                    <a:lnTo>
                      <a:pt x="840" y="242"/>
                    </a:lnTo>
                    <a:lnTo>
                      <a:pt x="836" y="242"/>
                    </a:lnTo>
                    <a:lnTo>
                      <a:pt x="834" y="240"/>
                    </a:lnTo>
                    <a:lnTo>
                      <a:pt x="832" y="236"/>
                    </a:lnTo>
                    <a:lnTo>
                      <a:pt x="834" y="232"/>
                    </a:lnTo>
                    <a:lnTo>
                      <a:pt x="836" y="230"/>
                    </a:lnTo>
                    <a:lnTo>
                      <a:pt x="838" y="230"/>
                    </a:lnTo>
                    <a:lnTo>
                      <a:pt x="840" y="228"/>
                    </a:lnTo>
                    <a:lnTo>
                      <a:pt x="836" y="224"/>
                    </a:lnTo>
                    <a:lnTo>
                      <a:pt x="842" y="226"/>
                    </a:lnTo>
                    <a:lnTo>
                      <a:pt x="840" y="221"/>
                    </a:lnTo>
                    <a:lnTo>
                      <a:pt x="836" y="213"/>
                    </a:lnTo>
                    <a:lnTo>
                      <a:pt x="832" y="199"/>
                    </a:lnTo>
                    <a:lnTo>
                      <a:pt x="826" y="197"/>
                    </a:lnTo>
                    <a:lnTo>
                      <a:pt x="812" y="195"/>
                    </a:lnTo>
                    <a:lnTo>
                      <a:pt x="812" y="195"/>
                    </a:lnTo>
                    <a:lnTo>
                      <a:pt x="816" y="195"/>
                    </a:lnTo>
                    <a:lnTo>
                      <a:pt x="816" y="191"/>
                    </a:lnTo>
                    <a:lnTo>
                      <a:pt x="814" y="189"/>
                    </a:lnTo>
                    <a:lnTo>
                      <a:pt x="814" y="187"/>
                    </a:lnTo>
                    <a:lnTo>
                      <a:pt x="814" y="187"/>
                    </a:lnTo>
                    <a:lnTo>
                      <a:pt x="816" y="183"/>
                    </a:lnTo>
                    <a:lnTo>
                      <a:pt x="816" y="181"/>
                    </a:lnTo>
                    <a:lnTo>
                      <a:pt x="814" y="181"/>
                    </a:lnTo>
                    <a:lnTo>
                      <a:pt x="814" y="178"/>
                    </a:lnTo>
                    <a:lnTo>
                      <a:pt x="814" y="180"/>
                    </a:lnTo>
                    <a:lnTo>
                      <a:pt x="816" y="180"/>
                    </a:lnTo>
                    <a:lnTo>
                      <a:pt x="818" y="180"/>
                    </a:lnTo>
                    <a:lnTo>
                      <a:pt x="820" y="178"/>
                    </a:lnTo>
                    <a:lnTo>
                      <a:pt x="820" y="180"/>
                    </a:lnTo>
                    <a:lnTo>
                      <a:pt x="820" y="183"/>
                    </a:lnTo>
                    <a:lnTo>
                      <a:pt x="820" y="187"/>
                    </a:lnTo>
                    <a:lnTo>
                      <a:pt x="820" y="187"/>
                    </a:lnTo>
                    <a:lnTo>
                      <a:pt x="822" y="187"/>
                    </a:lnTo>
                    <a:lnTo>
                      <a:pt x="826" y="181"/>
                    </a:lnTo>
                    <a:lnTo>
                      <a:pt x="828" y="180"/>
                    </a:lnTo>
                    <a:lnTo>
                      <a:pt x="830" y="180"/>
                    </a:lnTo>
                    <a:lnTo>
                      <a:pt x="832" y="178"/>
                    </a:lnTo>
                    <a:lnTo>
                      <a:pt x="832" y="176"/>
                    </a:lnTo>
                    <a:lnTo>
                      <a:pt x="830" y="174"/>
                    </a:lnTo>
                    <a:lnTo>
                      <a:pt x="830" y="172"/>
                    </a:lnTo>
                    <a:lnTo>
                      <a:pt x="828" y="170"/>
                    </a:lnTo>
                    <a:lnTo>
                      <a:pt x="826" y="170"/>
                    </a:lnTo>
                    <a:lnTo>
                      <a:pt x="824" y="166"/>
                    </a:lnTo>
                    <a:lnTo>
                      <a:pt x="828" y="168"/>
                    </a:lnTo>
                    <a:lnTo>
                      <a:pt x="830" y="168"/>
                    </a:lnTo>
                    <a:lnTo>
                      <a:pt x="830" y="164"/>
                    </a:lnTo>
                    <a:lnTo>
                      <a:pt x="828" y="160"/>
                    </a:lnTo>
                    <a:lnTo>
                      <a:pt x="828" y="158"/>
                    </a:lnTo>
                    <a:lnTo>
                      <a:pt x="824" y="154"/>
                    </a:lnTo>
                    <a:lnTo>
                      <a:pt x="822" y="152"/>
                    </a:lnTo>
                    <a:lnTo>
                      <a:pt x="828" y="154"/>
                    </a:lnTo>
                    <a:lnTo>
                      <a:pt x="834" y="156"/>
                    </a:lnTo>
                    <a:lnTo>
                      <a:pt x="845" y="158"/>
                    </a:lnTo>
                    <a:lnTo>
                      <a:pt x="845" y="156"/>
                    </a:lnTo>
                    <a:lnTo>
                      <a:pt x="842" y="156"/>
                    </a:lnTo>
                    <a:lnTo>
                      <a:pt x="842" y="154"/>
                    </a:lnTo>
                    <a:lnTo>
                      <a:pt x="845" y="154"/>
                    </a:lnTo>
                    <a:lnTo>
                      <a:pt x="843" y="148"/>
                    </a:lnTo>
                    <a:lnTo>
                      <a:pt x="842" y="146"/>
                    </a:lnTo>
                    <a:lnTo>
                      <a:pt x="840" y="144"/>
                    </a:lnTo>
                    <a:lnTo>
                      <a:pt x="836" y="144"/>
                    </a:lnTo>
                    <a:lnTo>
                      <a:pt x="838" y="142"/>
                    </a:lnTo>
                    <a:lnTo>
                      <a:pt x="836" y="140"/>
                    </a:lnTo>
                    <a:lnTo>
                      <a:pt x="830" y="133"/>
                    </a:lnTo>
                    <a:lnTo>
                      <a:pt x="828" y="133"/>
                    </a:lnTo>
                    <a:lnTo>
                      <a:pt x="826" y="131"/>
                    </a:lnTo>
                    <a:lnTo>
                      <a:pt x="824" y="131"/>
                    </a:lnTo>
                    <a:lnTo>
                      <a:pt x="824" y="127"/>
                    </a:lnTo>
                    <a:lnTo>
                      <a:pt x="822" y="125"/>
                    </a:lnTo>
                    <a:lnTo>
                      <a:pt x="814" y="115"/>
                    </a:lnTo>
                    <a:lnTo>
                      <a:pt x="806" y="109"/>
                    </a:lnTo>
                    <a:lnTo>
                      <a:pt x="800" y="103"/>
                    </a:lnTo>
                    <a:lnTo>
                      <a:pt x="799" y="99"/>
                    </a:lnTo>
                    <a:lnTo>
                      <a:pt x="797" y="94"/>
                    </a:lnTo>
                    <a:lnTo>
                      <a:pt x="816" y="111"/>
                    </a:lnTo>
                    <a:lnTo>
                      <a:pt x="830" y="131"/>
                    </a:lnTo>
                    <a:lnTo>
                      <a:pt x="832" y="135"/>
                    </a:lnTo>
                    <a:lnTo>
                      <a:pt x="840" y="140"/>
                    </a:lnTo>
                    <a:lnTo>
                      <a:pt x="843" y="140"/>
                    </a:lnTo>
                    <a:lnTo>
                      <a:pt x="845" y="139"/>
                    </a:lnTo>
                    <a:lnTo>
                      <a:pt x="840" y="135"/>
                    </a:lnTo>
                    <a:lnTo>
                      <a:pt x="802" y="94"/>
                    </a:lnTo>
                    <a:lnTo>
                      <a:pt x="802" y="92"/>
                    </a:lnTo>
                    <a:lnTo>
                      <a:pt x="806" y="92"/>
                    </a:lnTo>
                    <a:lnTo>
                      <a:pt x="808" y="94"/>
                    </a:lnTo>
                    <a:lnTo>
                      <a:pt x="808" y="92"/>
                    </a:lnTo>
                    <a:lnTo>
                      <a:pt x="806" y="88"/>
                    </a:lnTo>
                    <a:lnTo>
                      <a:pt x="814" y="90"/>
                    </a:lnTo>
                    <a:lnTo>
                      <a:pt x="818" y="92"/>
                    </a:lnTo>
                    <a:lnTo>
                      <a:pt x="820" y="96"/>
                    </a:lnTo>
                    <a:lnTo>
                      <a:pt x="822" y="94"/>
                    </a:lnTo>
                    <a:lnTo>
                      <a:pt x="822" y="92"/>
                    </a:lnTo>
                    <a:lnTo>
                      <a:pt x="822" y="88"/>
                    </a:lnTo>
                    <a:lnTo>
                      <a:pt x="822" y="86"/>
                    </a:lnTo>
                    <a:lnTo>
                      <a:pt x="822" y="84"/>
                    </a:lnTo>
                    <a:lnTo>
                      <a:pt x="824" y="82"/>
                    </a:lnTo>
                    <a:lnTo>
                      <a:pt x="826" y="80"/>
                    </a:lnTo>
                    <a:lnTo>
                      <a:pt x="816" y="76"/>
                    </a:lnTo>
                    <a:lnTo>
                      <a:pt x="810" y="70"/>
                    </a:lnTo>
                    <a:lnTo>
                      <a:pt x="810" y="68"/>
                    </a:lnTo>
                    <a:lnTo>
                      <a:pt x="808" y="66"/>
                    </a:lnTo>
                    <a:lnTo>
                      <a:pt x="810" y="62"/>
                    </a:lnTo>
                    <a:lnTo>
                      <a:pt x="810" y="60"/>
                    </a:lnTo>
                    <a:lnTo>
                      <a:pt x="812" y="60"/>
                    </a:lnTo>
                    <a:lnTo>
                      <a:pt x="834" y="86"/>
                    </a:lnTo>
                    <a:lnTo>
                      <a:pt x="832" y="84"/>
                    </a:lnTo>
                    <a:lnTo>
                      <a:pt x="832" y="82"/>
                    </a:lnTo>
                    <a:lnTo>
                      <a:pt x="830" y="82"/>
                    </a:lnTo>
                    <a:lnTo>
                      <a:pt x="828" y="82"/>
                    </a:lnTo>
                    <a:lnTo>
                      <a:pt x="828" y="86"/>
                    </a:lnTo>
                    <a:lnTo>
                      <a:pt x="830" y="88"/>
                    </a:lnTo>
                    <a:lnTo>
                      <a:pt x="830" y="92"/>
                    </a:lnTo>
                    <a:lnTo>
                      <a:pt x="828" y="94"/>
                    </a:lnTo>
                    <a:lnTo>
                      <a:pt x="836" y="96"/>
                    </a:lnTo>
                    <a:lnTo>
                      <a:pt x="838" y="94"/>
                    </a:lnTo>
                    <a:lnTo>
                      <a:pt x="840" y="92"/>
                    </a:lnTo>
                    <a:lnTo>
                      <a:pt x="840" y="86"/>
                    </a:lnTo>
                    <a:lnTo>
                      <a:pt x="842" y="86"/>
                    </a:lnTo>
                    <a:lnTo>
                      <a:pt x="845" y="94"/>
                    </a:lnTo>
                    <a:lnTo>
                      <a:pt x="847" y="98"/>
                    </a:lnTo>
                    <a:lnTo>
                      <a:pt x="849" y="99"/>
                    </a:lnTo>
                    <a:lnTo>
                      <a:pt x="853" y="99"/>
                    </a:lnTo>
                    <a:lnTo>
                      <a:pt x="855" y="96"/>
                    </a:lnTo>
                    <a:lnTo>
                      <a:pt x="855" y="92"/>
                    </a:lnTo>
                    <a:lnTo>
                      <a:pt x="849" y="88"/>
                    </a:lnTo>
                    <a:lnTo>
                      <a:pt x="847" y="82"/>
                    </a:lnTo>
                    <a:lnTo>
                      <a:pt x="855" y="88"/>
                    </a:lnTo>
                    <a:lnTo>
                      <a:pt x="857" y="88"/>
                    </a:lnTo>
                    <a:lnTo>
                      <a:pt x="855" y="84"/>
                    </a:lnTo>
                    <a:lnTo>
                      <a:pt x="851" y="80"/>
                    </a:lnTo>
                    <a:lnTo>
                      <a:pt x="849" y="78"/>
                    </a:lnTo>
                    <a:lnTo>
                      <a:pt x="849" y="72"/>
                    </a:lnTo>
                    <a:lnTo>
                      <a:pt x="849" y="68"/>
                    </a:lnTo>
                    <a:lnTo>
                      <a:pt x="847" y="68"/>
                    </a:lnTo>
                    <a:lnTo>
                      <a:pt x="845" y="70"/>
                    </a:lnTo>
                    <a:lnTo>
                      <a:pt x="843" y="72"/>
                    </a:lnTo>
                    <a:lnTo>
                      <a:pt x="843" y="70"/>
                    </a:lnTo>
                    <a:lnTo>
                      <a:pt x="842" y="64"/>
                    </a:lnTo>
                    <a:lnTo>
                      <a:pt x="842" y="64"/>
                    </a:lnTo>
                    <a:lnTo>
                      <a:pt x="838" y="62"/>
                    </a:lnTo>
                    <a:lnTo>
                      <a:pt x="836" y="64"/>
                    </a:lnTo>
                    <a:lnTo>
                      <a:pt x="834" y="57"/>
                    </a:lnTo>
                    <a:lnTo>
                      <a:pt x="832" y="51"/>
                    </a:lnTo>
                    <a:lnTo>
                      <a:pt x="834" y="49"/>
                    </a:lnTo>
                    <a:lnTo>
                      <a:pt x="836" y="49"/>
                    </a:lnTo>
                    <a:lnTo>
                      <a:pt x="840" y="58"/>
                    </a:lnTo>
                    <a:lnTo>
                      <a:pt x="843" y="60"/>
                    </a:lnTo>
                    <a:lnTo>
                      <a:pt x="842" y="58"/>
                    </a:lnTo>
                    <a:lnTo>
                      <a:pt x="842" y="57"/>
                    </a:lnTo>
                    <a:lnTo>
                      <a:pt x="847" y="53"/>
                    </a:lnTo>
                    <a:lnTo>
                      <a:pt x="847" y="55"/>
                    </a:lnTo>
                    <a:lnTo>
                      <a:pt x="849" y="57"/>
                    </a:lnTo>
                    <a:lnTo>
                      <a:pt x="851" y="55"/>
                    </a:lnTo>
                    <a:lnTo>
                      <a:pt x="853" y="53"/>
                    </a:lnTo>
                    <a:lnTo>
                      <a:pt x="849" y="49"/>
                    </a:lnTo>
                    <a:lnTo>
                      <a:pt x="847" y="47"/>
                    </a:lnTo>
                    <a:lnTo>
                      <a:pt x="845" y="45"/>
                    </a:lnTo>
                    <a:lnTo>
                      <a:pt x="842" y="43"/>
                    </a:lnTo>
                    <a:lnTo>
                      <a:pt x="843" y="43"/>
                    </a:lnTo>
                    <a:lnTo>
                      <a:pt x="845" y="41"/>
                    </a:lnTo>
                    <a:lnTo>
                      <a:pt x="845" y="39"/>
                    </a:lnTo>
                    <a:lnTo>
                      <a:pt x="845" y="35"/>
                    </a:lnTo>
                    <a:lnTo>
                      <a:pt x="849" y="33"/>
                    </a:lnTo>
                    <a:lnTo>
                      <a:pt x="845" y="27"/>
                    </a:lnTo>
                    <a:lnTo>
                      <a:pt x="840" y="19"/>
                    </a:lnTo>
                    <a:lnTo>
                      <a:pt x="836" y="14"/>
                    </a:lnTo>
                    <a:lnTo>
                      <a:pt x="838" y="14"/>
                    </a:lnTo>
                    <a:lnTo>
                      <a:pt x="840" y="14"/>
                    </a:lnTo>
                    <a:lnTo>
                      <a:pt x="842" y="14"/>
                    </a:lnTo>
                    <a:lnTo>
                      <a:pt x="840" y="8"/>
                    </a:lnTo>
                    <a:lnTo>
                      <a:pt x="832" y="2"/>
                    </a:lnTo>
                    <a:lnTo>
                      <a:pt x="832" y="0"/>
                    </a:lnTo>
                    <a:lnTo>
                      <a:pt x="488" y="0"/>
                    </a:lnTo>
                    <a:lnTo>
                      <a:pt x="482" y="10"/>
                    </a:lnTo>
                    <a:close/>
                    <a:moveTo>
                      <a:pt x="363" y="367"/>
                    </a:moveTo>
                    <a:lnTo>
                      <a:pt x="361" y="367"/>
                    </a:lnTo>
                    <a:lnTo>
                      <a:pt x="361" y="369"/>
                    </a:lnTo>
                    <a:lnTo>
                      <a:pt x="357" y="371"/>
                    </a:lnTo>
                    <a:lnTo>
                      <a:pt x="353" y="379"/>
                    </a:lnTo>
                    <a:lnTo>
                      <a:pt x="351" y="383"/>
                    </a:lnTo>
                    <a:lnTo>
                      <a:pt x="353" y="386"/>
                    </a:lnTo>
                    <a:lnTo>
                      <a:pt x="353" y="390"/>
                    </a:lnTo>
                    <a:lnTo>
                      <a:pt x="353" y="396"/>
                    </a:lnTo>
                    <a:lnTo>
                      <a:pt x="353" y="402"/>
                    </a:lnTo>
                    <a:lnTo>
                      <a:pt x="351" y="406"/>
                    </a:lnTo>
                    <a:lnTo>
                      <a:pt x="349" y="410"/>
                    </a:lnTo>
                    <a:lnTo>
                      <a:pt x="347" y="418"/>
                    </a:lnTo>
                    <a:lnTo>
                      <a:pt x="341" y="426"/>
                    </a:lnTo>
                    <a:lnTo>
                      <a:pt x="341" y="427"/>
                    </a:lnTo>
                    <a:lnTo>
                      <a:pt x="339" y="427"/>
                    </a:lnTo>
                    <a:lnTo>
                      <a:pt x="338" y="431"/>
                    </a:lnTo>
                    <a:lnTo>
                      <a:pt x="336" y="435"/>
                    </a:lnTo>
                    <a:lnTo>
                      <a:pt x="334" y="439"/>
                    </a:lnTo>
                    <a:lnTo>
                      <a:pt x="336" y="441"/>
                    </a:lnTo>
                    <a:lnTo>
                      <a:pt x="336" y="443"/>
                    </a:lnTo>
                    <a:lnTo>
                      <a:pt x="334" y="443"/>
                    </a:lnTo>
                    <a:lnTo>
                      <a:pt x="332" y="443"/>
                    </a:lnTo>
                    <a:lnTo>
                      <a:pt x="332" y="437"/>
                    </a:lnTo>
                    <a:lnTo>
                      <a:pt x="332" y="433"/>
                    </a:lnTo>
                    <a:lnTo>
                      <a:pt x="330" y="431"/>
                    </a:lnTo>
                    <a:lnTo>
                      <a:pt x="326" y="433"/>
                    </a:lnTo>
                    <a:lnTo>
                      <a:pt x="328" y="429"/>
                    </a:lnTo>
                    <a:lnTo>
                      <a:pt x="328" y="427"/>
                    </a:lnTo>
                    <a:lnTo>
                      <a:pt x="328" y="424"/>
                    </a:lnTo>
                    <a:lnTo>
                      <a:pt x="326" y="422"/>
                    </a:lnTo>
                    <a:lnTo>
                      <a:pt x="326" y="420"/>
                    </a:lnTo>
                    <a:lnTo>
                      <a:pt x="328" y="418"/>
                    </a:lnTo>
                    <a:lnTo>
                      <a:pt x="330" y="418"/>
                    </a:lnTo>
                    <a:lnTo>
                      <a:pt x="332" y="416"/>
                    </a:lnTo>
                    <a:lnTo>
                      <a:pt x="330" y="416"/>
                    </a:lnTo>
                    <a:lnTo>
                      <a:pt x="328" y="414"/>
                    </a:lnTo>
                    <a:lnTo>
                      <a:pt x="330" y="410"/>
                    </a:lnTo>
                    <a:lnTo>
                      <a:pt x="332" y="406"/>
                    </a:lnTo>
                    <a:lnTo>
                      <a:pt x="332" y="404"/>
                    </a:lnTo>
                    <a:lnTo>
                      <a:pt x="324" y="404"/>
                    </a:lnTo>
                    <a:lnTo>
                      <a:pt x="322" y="404"/>
                    </a:lnTo>
                    <a:lnTo>
                      <a:pt x="328" y="396"/>
                    </a:lnTo>
                    <a:lnTo>
                      <a:pt x="326" y="396"/>
                    </a:lnTo>
                    <a:lnTo>
                      <a:pt x="326" y="390"/>
                    </a:lnTo>
                    <a:lnTo>
                      <a:pt x="330" y="386"/>
                    </a:lnTo>
                    <a:lnTo>
                      <a:pt x="334" y="369"/>
                    </a:lnTo>
                    <a:lnTo>
                      <a:pt x="339" y="365"/>
                    </a:lnTo>
                    <a:lnTo>
                      <a:pt x="338" y="367"/>
                    </a:lnTo>
                    <a:lnTo>
                      <a:pt x="341" y="365"/>
                    </a:lnTo>
                    <a:lnTo>
                      <a:pt x="341" y="363"/>
                    </a:lnTo>
                    <a:lnTo>
                      <a:pt x="341" y="359"/>
                    </a:lnTo>
                    <a:lnTo>
                      <a:pt x="339" y="355"/>
                    </a:lnTo>
                    <a:lnTo>
                      <a:pt x="347" y="347"/>
                    </a:lnTo>
                    <a:lnTo>
                      <a:pt x="351" y="349"/>
                    </a:lnTo>
                    <a:lnTo>
                      <a:pt x="353" y="357"/>
                    </a:lnTo>
                    <a:lnTo>
                      <a:pt x="355" y="355"/>
                    </a:lnTo>
                    <a:lnTo>
                      <a:pt x="359" y="355"/>
                    </a:lnTo>
                    <a:lnTo>
                      <a:pt x="361" y="357"/>
                    </a:lnTo>
                    <a:lnTo>
                      <a:pt x="363" y="361"/>
                    </a:lnTo>
                    <a:lnTo>
                      <a:pt x="363" y="367"/>
                    </a:lnTo>
                    <a:close/>
                    <a:moveTo>
                      <a:pt x="562" y="31"/>
                    </a:moveTo>
                    <a:lnTo>
                      <a:pt x="562" y="25"/>
                    </a:lnTo>
                    <a:lnTo>
                      <a:pt x="562" y="19"/>
                    </a:lnTo>
                    <a:lnTo>
                      <a:pt x="564" y="14"/>
                    </a:lnTo>
                    <a:lnTo>
                      <a:pt x="564" y="17"/>
                    </a:lnTo>
                    <a:lnTo>
                      <a:pt x="564" y="19"/>
                    </a:lnTo>
                    <a:lnTo>
                      <a:pt x="566" y="21"/>
                    </a:lnTo>
                    <a:lnTo>
                      <a:pt x="566" y="23"/>
                    </a:lnTo>
                    <a:lnTo>
                      <a:pt x="568" y="29"/>
                    </a:lnTo>
                    <a:lnTo>
                      <a:pt x="570" y="31"/>
                    </a:lnTo>
                    <a:lnTo>
                      <a:pt x="570" y="33"/>
                    </a:lnTo>
                    <a:lnTo>
                      <a:pt x="568" y="39"/>
                    </a:lnTo>
                    <a:lnTo>
                      <a:pt x="568" y="39"/>
                    </a:lnTo>
                    <a:lnTo>
                      <a:pt x="568" y="41"/>
                    </a:lnTo>
                    <a:lnTo>
                      <a:pt x="568" y="43"/>
                    </a:lnTo>
                    <a:lnTo>
                      <a:pt x="568" y="45"/>
                    </a:lnTo>
                    <a:lnTo>
                      <a:pt x="568" y="47"/>
                    </a:lnTo>
                    <a:lnTo>
                      <a:pt x="570" y="47"/>
                    </a:lnTo>
                    <a:lnTo>
                      <a:pt x="572" y="49"/>
                    </a:lnTo>
                    <a:lnTo>
                      <a:pt x="574" y="49"/>
                    </a:lnTo>
                    <a:lnTo>
                      <a:pt x="578" y="47"/>
                    </a:lnTo>
                    <a:lnTo>
                      <a:pt x="578" y="47"/>
                    </a:lnTo>
                    <a:lnTo>
                      <a:pt x="580" y="49"/>
                    </a:lnTo>
                    <a:lnTo>
                      <a:pt x="582" y="51"/>
                    </a:lnTo>
                    <a:lnTo>
                      <a:pt x="584" y="51"/>
                    </a:lnTo>
                    <a:lnTo>
                      <a:pt x="586" y="47"/>
                    </a:lnTo>
                    <a:lnTo>
                      <a:pt x="586" y="47"/>
                    </a:lnTo>
                    <a:lnTo>
                      <a:pt x="590" y="45"/>
                    </a:lnTo>
                    <a:lnTo>
                      <a:pt x="590" y="43"/>
                    </a:lnTo>
                    <a:lnTo>
                      <a:pt x="590" y="39"/>
                    </a:lnTo>
                    <a:lnTo>
                      <a:pt x="588" y="35"/>
                    </a:lnTo>
                    <a:lnTo>
                      <a:pt x="590" y="35"/>
                    </a:lnTo>
                    <a:lnTo>
                      <a:pt x="593" y="37"/>
                    </a:lnTo>
                    <a:lnTo>
                      <a:pt x="595" y="39"/>
                    </a:lnTo>
                    <a:lnTo>
                      <a:pt x="597" y="43"/>
                    </a:lnTo>
                    <a:lnTo>
                      <a:pt x="595" y="45"/>
                    </a:lnTo>
                    <a:lnTo>
                      <a:pt x="595" y="47"/>
                    </a:lnTo>
                    <a:lnTo>
                      <a:pt x="597" y="51"/>
                    </a:lnTo>
                    <a:lnTo>
                      <a:pt x="599" y="53"/>
                    </a:lnTo>
                    <a:lnTo>
                      <a:pt x="601" y="53"/>
                    </a:lnTo>
                    <a:lnTo>
                      <a:pt x="603" y="53"/>
                    </a:lnTo>
                    <a:lnTo>
                      <a:pt x="605" y="51"/>
                    </a:lnTo>
                    <a:lnTo>
                      <a:pt x="605" y="51"/>
                    </a:lnTo>
                    <a:lnTo>
                      <a:pt x="607" y="51"/>
                    </a:lnTo>
                    <a:lnTo>
                      <a:pt x="609" y="55"/>
                    </a:lnTo>
                    <a:lnTo>
                      <a:pt x="611" y="55"/>
                    </a:lnTo>
                    <a:lnTo>
                      <a:pt x="613" y="55"/>
                    </a:lnTo>
                    <a:lnTo>
                      <a:pt x="615" y="53"/>
                    </a:lnTo>
                    <a:lnTo>
                      <a:pt x="617" y="53"/>
                    </a:lnTo>
                    <a:lnTo>
                      <a:pt x="619" y="57"/>
                    </a:lnTo>
                    <a:lnTo>
                      <a:pt x="621" y="58"/>
                    </a:lnTo>
                    <a:lnTo>
                      <a:pt x="621" y="64"/>
                    </a:lnTo>
                    <a:lnTo>
                      <a:pt x="621" y="68"/>
                    </a:lnTo>
                    <a:lnTo>
                      <a:pt x="619" y="72"/>
                    </a:lnTo>
                    <a:lnTo>
                      <a:pt x="621" y="74"/>
                    </a:lnTo>
                    <a:lnTo>
                      <a:pt x="621" y="74"/>
                    </a:lnTo>
                    <a:lnTo>
                      <a:pt x="621" y="76"/>
                    </a:lnTo>
                    <a:lnTo>
                      <a:pt x="619" y="74"/>
                    </a:lnTo>
                    <a:lnTo>
                      <a:pt x="619" y="70"/>
                    </a:lnTo>
                    <a:lnTo>
                      <a:pt x="617" y="66"/>
                    </a:lnTo>
                    <a:lnTo>
                      <a:pt x="617" y="64"/>
                    </a:lnTo>
                    <a:lnTo>
                      <a:pt x="615" y="62"/>
                    </a:lnTo>
                    <a:lnTo>
                      <a:pt x="611" y="60"/>
                    </a:lnTo>
                    <a:lnTo>
                      <a:pt x="609" y="57"/>
                    </a:lnTo>
                    <a:lnTo>
                      <a:pt x="607" y="62"/>
                    </a:lnTo>
                    <a:lnTo>
                      <a:pt x="609" y="66"/>
                    </a:lnTo>
                    <a:lnTo>
                      <a:pt x="611" y="68"/>
                    </a:lnTo>
                    <a:lnTo>
                      <a:pt x="613" y="72"/>
                    </a:lnTo>
                    <a:lnTo>
                      <a:pt x="613" y="74"/>
                    </a:lnTo>
                    <a:lnTo>
                      <a:pt x="615" y="78"/>
                    </a:lnTo>
                    <a:lnTo>
                      <a:pt x="617" y="82"/>
                    </a:lnTo>
                    <a:lnTo>
                      <a:pt x="619" y="82"/>
                    </a:lnTo>
                    <a:lnTo>
                      <a:pt x="617" y="86"/>
                    </a:lnTo>
                    <a:lnTo>
                      <a:pt x="617" y="90"/>
                    </a:lnTo>
                    <a:lnTo>
                      <a:pt x="617" y="92"/>
                    </a:lnTo>
                    <a:lnTo>
                      <a:pt x="619" y="96"/>
                    </a:lnTo>
                    <a:lnTo>
                      <a:pt x="615" y="96"/>
                    </a:lnTo>
                    <a:lnTo>
                      <a:pt x="613" y="94"/>
                    </a:lnTo>
                    <a:lnTo>
                      <a:pt x="603" y="68"/>
                    </a:lnTo>
                    <a:lnTo>
                      <a:pt x="601" y="64"/>
                    </a:lnTo>
                    <a:lnTo>
                      <a:pt x="599" y="62"/>
                    </a:lnTo>
                    <a:lnTo>
                      <a:pt x="599" y="60"/>
                    </a:lnTo>
                    <a:lnTo>
                      <a:pt x="597" y="60"/>
                    </a:lnTo>
                    <a:lnTo>
                      <a:pt x="595" y="62"/>
                    </a:lnTo>
                    <a:lnTo>
                      <a:pt x="595" y="64"/>
                    </a:lnTo>
                    <a:lnTo>
                      <a:pt x="593" y="68"/>
                    </a:lnTo>
                    <a:lnTo>
                      <a:pt x="591" y="74"/>
                    </a:lnTo>
                    <a:lnTo>
                      <a:pt x="591" y="78"/>
                    </a:lnTo>
                    <a:lnTo>
                      <a:pt x="591" y="82"/>
                    </a:lnTo>
                    <a:lnTo>
                      <a:pt x="593" y="88"/>
                    </a:lnTo>
                    <a:lnTo>
                      <a:pt x="590" y="86"/>
                    </a:lnTo>
                    <a:lnTo>
                      <a:pt x="588" y="84"/>
                    </a:lnTo>
                    <a:lnTo>
                      <a:pt x="584" y="80"/>
                    </a:lnTo>
                    <a:lnTo>
                      <a:pt x="584" y="76"/>
                    </a:lnTo>
                    <a:lnTo>
                      <a:pt x="582" y="70"/>
                    </a:lnTo>
                    <a:lnTo>
                      <a:pt x="576" y="66"/>
                    </a:lnTo>
                    <a:lnTo>
                      <a:pt x="570" y="62"/>
                    </a:lnTo>
                    <a:lnTo>
                      <a:pt x="568" y="53"/>
                    </a:lnTo>
                    <a:lnTo>
                      <a:pt x="562" y="45"/>
                    </a:lnTo>
                    <a:lnTo>
                      <a:pt x="560" y="39"/>
                    </a:lnTo>
                    <a:lnTo>
                      <a:pt x="566" y="37"/>
                    </a:lnTo>
                    <a:lnTo>
                      <a:pt x="562" y="31"/>
                    </a:lnTo>
                    <a:close/>
                    <a:moveTo>
                      <a:pt x="492" y="443"/>
                    </a:moveTo>
                    <a:lnTo>
                      <a:pt x="492" y="443"/>
                    </a:lnTo>
                    <a:lnTo>
                      <a:pt x="494" y="445"/>
                    </a:lnTo>
                    <a:lnTo>
                      <a:pt x="494" y="447"/>
                    </a:lnTo>
                    <a:lnTo>
                      <a:pt x="494" y="447"/>
                    </a:lnTo>
                    <a:lnTo>
                      <a:pt x="496" y="459"/>
                    </a:lnTo>
                    <a:lnTo>
                      <a:pt x="498" y="470"/>
                    </a:lnTo>
                    <a:lnTo>
                      <a:pt x="500" y="470"/>
                    </a:lnTo>
                    <a:lnTo>
                      <a:pt x="502" y="478"/>
                    </a:lnTo>
                    <a:lnTo>
                      <a:pt x="502" y="480"/>
                    </a:lnTo>
                    <a:lnTo>
                      <a:pt x="504" y="480"/>
                    </a:lnTo>
                    <a:lnTo>
                      <a:pt x="506" y="478"/>
                    </a:lnTo>
                    <a:lnTo>
                      <a:pt x="506" y="476"/>
                    </a:lnTo>
                    <a:lnTo>
                      <a:pt x="504" y="472"/>
                    </a:lnTo>
                    <a:lnTo>
                      <a:pt x="507" y="470"/>
                    </a:lnTo>
                    <a:lnTo>
                      <a:pt x="507" y="470"/>
                    </a:lnTo>
                    <a:lnTo>
                      <a:pt x="509" y="470"/>
                    </a:lnTo>
                    <a:lnTo>
                      <a:pt x="509" y="463"/>
                    </a:lnTo>
                    <a:lnTo>
                      <a:pt x="509" y="459"/>
                    </a:lnTo>
                    <a:lnTo>
                      <a:pt x="509" y="453"/>
                    </a:lnTo>
                    <a:lnTo>
                      <a:pt x="513" y="459"/>
                    </a:lnTo>
                    <a:lnTo>
                      <a:pt x="519" y="470"/>
                    </a:lnTo>
                    <a:lnTo>
                      <a:pt x="523" y="474"/>
                    </a:lnTo>
                    <a:lnTo>
                      <a:pt x="527" y="474"/>
                    </a:lnTo>
                    <a:lnTo>
                      <a:pt x="529" y="474"/>
                    </a:lnTo>
                    <a:lnTo>
                      <a:pt x="531" y="476"/>
                    </a:lnTo>
                    <a:lnTo>
                      <a:pt x="533" y="480"/>
                    </a:lnTo>
                    <a:lnTo>
                      <a:pt x="535" y="486"/>
                    </a:lnTo>
                    <a:lnTo>
                      <a:pt x="537" y="490"/>
                    </a:lnTo>
                    <a:lnTo>
                      <a:pt x="535" y="494"/>
                    </a:lnTo>
                    <a:lnTo>
                      <a:pt x="533" y="496"/>
                    </a:lnTo>
                    <a:lnTo>
                      <a:pt x="533" y="496"/>
                    </a:lnTo>
                    <a:lnTo>
                      <a:pt x="529" y="494"/>
                    </a:lnTo>
                    <a:lnTo>
                      <a:pt x="529" y="492"/>
                    </a:lnTo>
                    <a:lnTo>
                      <a:pt x="527" y="492"/>
                    </a:lnTo>
                    <a:lnTo>
                      <a:pt x="527" y="492"/>
                    </a:lnTo>
                    <a:lnTo>
                      <a:pt x="525" y="494"/>
                    </a:lnTo>
                    <a:lnTo>
                      <a:pt x="523" y="496"/>
                    </a:lnTo>
                    <a:lnTo>
                      <a:pt x="523" y="494"/>
                    </a:lnTo>
                    <a:lnTo>
                      <a:pt x="523" y="492"/>
                    </a:lnTo>
                    <a:lnTo>
                      <a:pt x="521" y="492"/>
                    </a:lnTo>
                    <a:lnTo>
                      <a:pt x="517" y="494"/>
                    </a:lnTo>
                    <a:lnTo>
                      <a:pt x="519" y="500"/>
                    </a:lnTo>
                    <a:lnTo>
                      <a:pt x="523" y="506"/>
                    </a:lnTo>
                    <a:lnTo>
                      <a:pt x="525" y="511"/>
                    </a:lnTo>
                    <a:lnTo>
                      <a:pt x="521" y="509"/>
                    </a:lnTo>
                    <a:lnTo>
                      <a:pt x="519" y="509"/>
                    </a:lnTo>
                    <a:lnTo>
                      <a:pt x="519" y="506"/>
                    </a:lnTo>
                    <a:lnTo>
                      <a:pt x="519" y="504"/>
                    </a:lnTo>
                    <a:lnTo>
                      <a:pt x="517" y="502"/>
                    </a:lnTo>
                    <a:lnTo>
                      <a:pt x="515" y="500"/>
                    </a:lnTo>
                    <a:lnTo>
                      <a:pt x="511" y="506"/>
                    </a:lnTo>
                    <a:lnTo>
                      <a:pt x="509" y="508"/>
                    </a:lnTo>
                    <a:lnTo>
                      <a:pt x="507" y="509"/>
                    </a:lnTo>
                    <a:lnTo>
                      <a:pt x="506" y="502"/>
                    </a:lnTo>
                    <a:lnTo>
                      <a:pt x="506" y="496"/>
                    </a:lnTo>
                    <a:lnTo>
                      <a:pt x="504" y="496"/>
                    </a:lnTo>
                    <a:lnTo>
                      <a:pt x="502" y="496"/>
                    </a:lnTo>
                    <a:lnTo>
                      <a:pt x="500" y="496"/>
                    </a:lnTo>
                    <a:lnTo>
                      <a:pt x="498" y="492"/>
                    </a:lnTo>
                    <a:lnTo>
                      <a:pt x="498" y="488"/>
                    </a:lnTo>
                    <a:lnTo>
                      <a:pt x="496" y="484"/>
                    </a:lnTo>
                    <a:lnTo>
                      <a:pt x="496" y="480"/>
                    </a:lnTo>
                    <a:lnTo>
                      <a:pt x="494" y="470"/>
                    </a:lnTo>
                    <a:lnTo>
                      <a:pt x="492" y="461"/>
                    </a:lnTo>
                    <a:lnTo>
                      <a:pt x="490" y="453"/>
                    </a:lnTo>
                    <a:lnTo>
                      <a:pt x="492" y="44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56" name="Freeform 1259">
                <a:extLst>
                  <a:ext uri="{FF2B5EF4-FFF2-40B4-BE49-F238E27FC236}">
                    <a16:creationId xmlns:a16="http://schemas.microsoft.com/office/drawing/2014/main" id="{4CD08C30-32CA-48E9-A527-7964D4E068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" y="702"/>
                <a:ext cx="29" cy="19"/>
              </a:xfrm>
              <a:custGeom>
                <a:avLst/>
                <a:gdLst>
                  <a:gd name="T0" fmla="*/ 2 w 29"/>
                  <a:gd name="T1" fmla="*/ 2 h 19"/>
                  <a:gd name="T2" fmla="*/ 11 w 29"/>
                  <a:gd name="T3" fmla="*/ 14 h 19"/>
                  <a:gd name="T4" fmla="*/ 21 w 29"/>
                  <a:gd name="T5" fmla="*/ 19 h 19"/>
                  <a:gd name="T6" fmla="*/ 25 w 29"/>
                  <a:gd name="T7" fmla="*/ 10 h 19"/>
                  <a:gd name="T8" fmla="*/ 25 w 29"/>
                  <a:gd name="T9" fmla="*/ 8 h 19"/>
                  <a:gd name="T10" fmla="*/ 23 w 29"/>
                  <a:gd name="T11" fmla="*/ 6 h 19"/>
                  <a:gd name="T12" fmla="*/ 23 w 29"/>
                  <a:gd name="T13" fmla="*/ 4 h 19"/>
                  <a:gd name="T14" fmla="*/ 23 w 29"/>
                  <a:gd name="T15" fmla="*/ 4 h 19"/>
                  <a:gd name="T16" fmla="*/ 25 w 29"/>
                  <a:gd name="T17" fmla="*/ 4 h 19"/>
                  <a:gd name="T18" fmla="*/ 27 w 29"/>
                  <a:gd name="T19" fmla="*/ 4 h 19"/>
                  <a:gd name="T20" fmla="*/ 27 w 29"/>
                  <a:gd name="T21" fmla="*/ 4 h 19"/>
                  <a:gd name="T22" fmla="*/ 29 w 29"/>
                  <a:gd name="T23" fmla="*/ 0 h 19"/>
                  <a:gd name="T24" fmla="*/ 0 w 29"/>
                  <a:gd name="T25" fmla="*/ 0 h 19"/>
                  <a:gd name="T26" fmla="*/ 2 w 29"/>
                  <a:gd name="T27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19">
                    <a:moveTo>
                      <a:pt x="2" y="2"/>
                    </a:moveTo>
                    <a:lnTo>
                      <a:pt x="11" y="14"/>
                    </a:lnTo>
                    <a:lnTo>
                      <a:pt x="21" y="19"/>
                    </a:lnTo>
                    <a:lnTo>
                      <a:pt x="25" y="10"/>
                    </a:lnTo>
                    <a:lnTo>
                      <a:pt x="25" y="8"/>
                    </a:lnTo>
                    <a:lnTo>
                      <a:pt x="23" y="6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5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9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57" name="Freeform 1260">
                <a:extLst>
                  <a:ext uri="{FF2B5EF4-FFF2-40B4-BE49-F238E27FC236}">
                    <a16:creationId xmlns:a16="http://schemas.microsoft.com/office/drawing/2014/main" id="{BB38A628-AD76-4301-B54F-79DB40211A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" y="702"/>
                <a:ext cx="41" cy="27"/>
              </a:xfrm>
              <a:custGeom>
                <a:avLst/>
                <a:gdLst>
                  <a:gd name="T0" fmla="*/ 6 w 41"/>
                  <a:gd name="T1" fmla="*/ 4 h 27"/>
                  <a:gd name="T2" fmla="*/ 10 w 41"/>
                  <a:gd name="T3" fmla="*/ 10 h 27"/>
                  <a:gd name="T4" fmla="*/ 8 w 41"/>
                  <a:gd name="T5" fmla="*/ 12 h 27"/>
                  <a:gd name="T6" fmla="*/ 4 w 41"/>
                  <a:gd name="T7" fmla="*/ 14 h 27"/>
                  <a:gd name="T8" fmla="*/ 0 w 41"/>
                  <a:gd name="T9" fmla="*/ 16 h 27"/>
                  <a:gd name="T10" fmla="*/ 2 w 41"/>
                  <a:gd name="T11" fmla="*/ 19 h 27"/>
                  <a:gd name="T12" fmla="*/ 4 w 41"/>
                  <a:gd name="T13" fmla="*/ 23 h 27"/>
                  <a:gd name="T14" fmla="*/ 4 w 41"/>
                  <a:gd name="T15" fmla="*/ 25 h 27"/>
                  <a:gd name="T16" fmla="*/ 6 w 41"/>
                  <a:gd name="T17" fmla="*/ 25 h 27"/>
                  <a:gd name="T18" fmla="*/ 12 w 41"/>
                  <a:gd name="T19" fmla="*/ 25 h 27"/>
                  <a:gd name="T20" fmla="*/ 14 w 41"/>
                  <a:gd name="T21" fmla="*/ 27 h 27"/>
                  <a:gd name="T22" fmla="*/ 16 w 41"/>
                  <a:gd name="T23" fmla="*/ 27 h 27"/>
                  <a:gd name="T24" fmla="*/ 18 w 41"/>
                  <a:gd name="T25" fmla="*/ 23 h 27"/>
                  <a:gd name="T26" fmla="*/ 21 w 41"/>
                  <a:gd name="T27" fmla="*/ 16 h 27"/>
                  <a:gd name="T28" fmla="*/ 25 w 41"/>
                  <a:gd name="T29" fmla="*/ 14 h 27"/>
                  <a:gd name="T30" fmla="*/ 27 w 41"/>
                  <a:gd name="T31" fmla="*/ 17 h 27"/>
                  <a:gd name="T32" fmla="*/ 29 w 41"/>
                  <a:gd name="T33" fmla="*/ 21 h 27"/>
                  <a:gd name="T34" fmla="*/ 33 w 41"/>
                  <a:gd name="T35" fmla="*/ 17 h 27"/>
                  <a:gd name="T36" fmla="*/ 33 w 41"/>
                  <a:gd name="T37" fmla="*/ 16 h 27"/>
                  <a:gd name="T38" fmla="*/ 33 w 41"/>
                  <a:gd name="T39" fmla="*/ 12 h 27"/>
                  <a:gd name="T40" fmla="*/ 33 w 41"/>
                  <a:gd name="T41" fmla="*/ 12 h 27"/>
                  <a:gd name="T42" fmla="*/ 33 w 41"/>
                  <a:gd name="T43" fmla="*/ 10 h 27"/>
                  <a:gd name="T44" fmla="*/ 37 w 41"/>
                  <a:gd name="T45" fmla="*/ 6 h 27"/>
                  <a:gd name="T46" fmla="*/ 39 w 41"/>
                  <a:gd name="T47" fmla="*/ 4 h 27"/>
                  <a:gd name="T48" fmla="*/ 41 w 41"/>
                  <a:gd name="T49" fmla="*/ 0 h 27"/>
                  <a:gd name="T50" fmla="*/ 4 w 41"/>
                  <a:gd name="T51" fmla="*/ 0 h 27"/>
                  <a:gd name="T52" fmla="*/ 6 w 41"/>
                  <a:gd name="T53" fmla="*/ 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1" h="27">
                    <a:moveTo>
                      <a:pt x="6" y="4"/>
                    </a:moveTo>
                    <a:lnTo>
                      <a:pt x="10" y="10"/>
                    </a:lnTo>
                    <a:lnTo>
                      <a:pt x="8" y="12"/>
                    </a:lnTo>
                    <a:lnTo>
                      <a:pt x="4" y="14"/>
                    </a:lnTo>
                    <a:lnTo>
                      <a:pt x="0" y="16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4" y="25"/>
                    </a:lnTo>
                    <a:lnTo>
                      <a:pt x="6" y="25"/>
                    </a:lnTo>
                    <a:lnTo>
                      <a:pt x="12" y="25"/>
                    </a:lnTo>
                    <a:lnTo>
                      <a:pt x="14" y="27"/>
                    </a:lnTo>
                    <a:lnTo>
                      <a:pt x="16" y="27"/>
                    </a:lnTo>
                    <a:lnTo>
                      <a:pt x="18" y="23"/>
                    </a:lnTo>
                    <a:lnTo>
                      <a:pt x="21" y="16"/>
                    </a:lnTo>
                    <a:lnTo>
                      <a:pt x="25" y="14"/>
                    </a:lnTo>
                    <a:lnTo>
                      <a:pt x="27" y="17"/>
                    </a:lnTo>
                    <a:lnTo>
                      <a:pt x="29" y="21"/>
                    </a:lnTo>
                    <a:lnTo>
                      <a:pt x="33" y="17"/>
                    </a:lnTo>
                    <a:lnTo>
                      <a:pt x="33" y="16"/>
                    </a:lnTo>
                    <a:lnTo>
                      <a:pt x="33" y="12"/>
                    </a:lnTo>
                    <a:lnTo>
                      <a:pt x="33" y="12"/>
                    </a:lnTo>
                    <a:lnTo>
                      <a:pt x="33" y="10"/>
                    </a:lnTo>
                    <a:lnTo>
                      <a:pt x="37" y="6"/>
                    </a:lnTo>
                    <a:lnTo>
                      <a:pt x="39" y="4"/>
                    </a:lnTo>
                    <a:lnTo>
                      <a:pt x="41" y="0"/>
                    </a:lnTo>
                    <a:lnTo>
                      <a:pt x="4" y="0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58" name="Freeform 1261">
                <a:extLst>
                  <a:ext uri="{FF2B5EF4-FFF2-40B4-BE49-F238E27FC236}">
                    <a16:creationId xmlns:a16="http://schemas.microsoft.com/office/drawing/2014/main" id="{5DFE2F4C-61D8-4AF8-BD96-357D5BF0F9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" y="702"/>
                <a:ext cx="250" cy="62"/>
              </a:xfrm>
              <a:custGeom>
                <a:avLst/>
                <a:gdLst>
                  <a:gd name="T0" fmla="*/ 19 w 250"/>
                  <a:gd name="T1" fmla="*/ 4 h 62"/>
                  <a:gd name="T2" fmla="*/ 8 w 250"/>
                  <a:gd name="T3" fmla="*/ 14 h 62"/>
                  <a:gd name="T4" fmla="*/ 0 w 250"/>
                  <a:gd name="T5" fmla="*/ 23 h 62"/>
                  <a:gd name="T6" fmla="*/ 14 w 250"/>
                  <a:gd name="T7" fmla="*/ 39 h 62"/>
                  <a:gd name="T8" fmla="*/ 37 w 250"/>
                  <a:gd name="T9" fmla="*/ 43 h 62"/>
                  <a:gd name="T10" fmla="*/ 43 w 250"/>
                  <a:gd name="T11" fmla="*/ 39 h 62"/>
                  <a:gd name="T12" fmla="*/ 33 w 250"/>
                  <a:gd name="T13" fmla="*/ 31 h 62"/>
                  <a:gd name="T14" fmla="*/ 29 w 250"/>
                  <a:gd name="T15" fmla="*/ 23 h 62"/>
                  <a:gd name="T16" fmla="*/ 27 w 250"/>
                  <a:gd name="T17" fmla="*/ 17 h 62"/>
                  <a:gd name="T18" fmla="*/ 33 w 250"/>
                  <a:gd name="T19" fmla="*/ 10 h 62"/>
                  <a:gd name="T20" fmla="*/ 33 w 250"/>
                  <a:gd name="T21" fmla="*/ 23 h 62"/>
                  <a:gd name="T22" fmla="*/ 47 w 250"/>
                  <a:gd name="T23" fmla="*/ 19 h 62"/>
                  <a:gd name="T24" fmla="*/ 53 w 250"/>
                  <a:gd name="T25" fmla="*/ 14 h 62"/>
                  <a:gd name="T26" fmla="*/ 72 w 250"/>
                  <a:gd name="T27" fmla="*/ 16 h 62"/>
                  <a:gd name="T28" fmla="*/ 70 w 250"/>
                  <a:gd name="T29" fmla="*/ 21 h 62"/>
                  <a:gd name="T30" fmla="*/ 45 w 250"/>
                  <a:gd name="T31" fmla="*/ 29 h 62"/>
                  <a:gd name="T32" fmla="*/ 53 w 250"/>
                  <a:gd name="T33" fmla="*/ 35 h 62"/>
                  <a:gd name="T34" fmla="*/ 60 w 250"/>
                  <a:gd name="T35" fmla="*/ 29 h 62"/>
                  <a:gd name="T36" fmla="*/ 64 w 250"/>
                  <a:gd name="T37" fmla="*/ 37 h 62"/>
                  <a:gd name="T38" fmla="*/ 66 w 250"/>
                  <a:gd name="T39" fmla="*/ 39 h 62"/>
                  <a:gd name="T40" fmla="*/ 74 w 250"/>
                  <a:gd name="T41" fmla="*/ 33 h 62"/>
                  <a:gd name="T42" fmla="*/ 72 w 250"/>
                  <a:gd name="T43" fmla="*/ 47 h 62"/>
                  <a:gd name="T44" fmla="*/ 90 w 250"/>
                  <a:gd name="T45" fmla="*/ 35 h 62"/>
                  <a:gd name="T46" fmla="*/ 103 w 250"/>
                  <a:gd name="T47" fmla="*/ 31 h 62"/>
                  <a:gd name="T48" fmla="*/ 98 w 250"/>
                  <a:gd name="T49" fmla="*/ 43 h 62"/>
                  <a:gd name="T50" fmla="*/ 94 w 250"/>
                  <a:gd name="T51" fmla="*/ 39 h 62"/>
                  <a:gd name="T52" fmla="*/ 82 w 250"/>
                  <a:gd name="T53" fmla="*/ 47 h 62"/>
                  <a:gd name="T54" fmla="*/ 78 w 250"/>
                  <a:gd name="T55" fmla="*/ 60 h 62"/>
                  <a:gd name="T56" fmla="*/ 88 w 250"/>
                  <a:gd name="T57" fmla="*/ 58 h 62"/>
                  <a:gd name="T58" fmla="*/ 92 w 250"/>
                  <a:gd name="T59" fmla="*/ 57 h 62"/>
                  <a:gd name="T60" fmla="*/ 92 w 250"/>
                  <a:gd name="T61" fmla="*/ 51 h 62"/>
                  <a:gd name="T62" fmla="*/ 103 w 250"/>
                  <a:gd name="T63" fmla="*/ 45 h 62"/>
                  <a:gd name="T64" fmla="*/ 109 w 250"/>
                  <a:gd name="T65" fmla="*/ 47 h 62"/>
                  <a:gd name="T66" fmla="*/ 123 w 250"/>
                  <a:gd name="T67" fmla="*/ 49 h 62"/>
                  <a:gd name="T68" fmla="*/ 174 w 250"/>
                  <a:gd name="T69" fmla="*/ 53 h 62"/>
                  <a:gd name="T70" fmla="*/ 178 w 250"/>
                  <a:gd name="T71" fmla="*/ 53 h 62"/>
                  <a:gd name="T72" fmla="*/ 184 w 250"/>
                  <a:gd name="T73" fmla="*/ 45 h 62"/>
                  <a:gd name="T74" fmla="*/ 189 w 250"/>
                  <a:gd name="T75" fmla="*/ 47 h 62"/>
                  <a:gd name="T76" fmla="*/ 195 w 250"/>
                  <a:gd name="T77" fmla="*/ 43 h 62"/>
                  <a:gd name="T78" fmla="*/ 232 w 250"/>
                  <a:gd name="T79" fmla="*/ 35 h 62"/>
                  <a:gd name="T80" fmla="*/ 238 w 250"/>
                  <a:gd name="T81" fmla="*/ 21 h 62"/>
                  <a:gd name="T82" fmla="*/ 250 w 250"/>
                  <a:gd name="T83" fmla="*/ 2 h 62"/>
                  <a:gd name="T84" fmla="*/ 19 w 250"/>
                  <a:gd name="T8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0" h="62">
                    <a:moveTo>
                      <a:pt x="21" y="2"/>
                    </a:moveTo>
                    <a:lnTo>
                      <a:pt x="23" y="4"/>
                    </a:lnTo>
                    <a:lnTo>
                      <a:pt x="19" y="4"/>
                    </a:lnTo>
                    <a:lnTo>
                      <a:pt x="12" y="4"/>
                    </a:lnTo>
                    <a:lnTo>
                      <a:pt x="10" y="8"/>
                    </a:lnTo>
                    <a:lnTo>
                      <a:pt x="8" y="14"/>
                    </a:lnTo>
                    <a:lnTo>
                      <a:pt x="6" y="19"/>
                    </a:lnTo>
                    <a:lnTo>
                      <a:pt x="4" y="21"/>
                    </a:lnTo>
                    <a:lnTo>
                      <a:pt x="0" y="23"/>
                    </a:lnTo>
                    <a:lnTo>
                      <a:pt x="2" y="27"/>
                    </a:lnTo>
                    <a:lnTo>
                      <a:pt x="12" y="37"/>
                    </a:lnTo>
                    <a:lnTo>
                      <a:pt x="14" y="39"/>
                    </a:lnTo>
                    <a:lnTo>
                      <a:pt x="31" y="39"/>
                    </a:lnTo>
                    <a:lnTo>
                      <a:pt x="33" y="41"/>
                    </a:lnTo>
                    <a:lnTo>
                      <a:pt x="37" y="43"/>
                    </a:lnTo>
                    <a:lnTo>
                      <a:pt x="39" y="43"/>
                    </a:lnTo>
                    <a:lnTo>
                      <a:pt x="43" y="39"/>
                    </a:lnTo>
                    <a:lnTo>
                      <a:pt x="43" y="39"/>
                    </a:lnTo>
                    <a:lnTo>
                      <a:pt x="41" y="37"/>
                    </a:lnTo>
                    <a:lnTo>
                      <a:pt x="37" y="33"/>
                    </a:lnTo>
                    <a:lnTo>
                      <a:pt x="33" y="31"/>
                    </a:lnTo>
                    <a:lnTo>
                      <a:pt x="31" y="29"/>
                    </a:lnTo>
                    <a:lnTo>
                      <a:pt x="31" y="27"/>
                    </a:lnTo>
                    <a:lnTo>
                      <a:pt x="29" y="23"/>
                    </a:lnTo>
                    <a:lnTo>
                      <a:pt x="29" y="23"/>
                    </a:lnTo>
                    <a:lnTo>
                      <a:pt x="25" y="23"/>
                    </a:lnTo>
                    <a:lnTo>
                      <a:pt x="27" y="17"/>
                    </a:lnTo>
                    <a:lnTo>
                      <a:pt x="31" y="0"/>
                    </a:lnTo>
                    <a:lnTo>
                      <a:pt x="31" y="6"/>
                    </a:lnTo>
                    <a:lnTo>
                      <a:pt x="33" y="10"/>
                    </a:lnTo>
                    <a:lnTo>
                      <a:pt x="33" y="14"/>
                    </a:lnTo>
                    <a:lnTo>
                      <a:pt x="31" y="17"/>
                    </a:lnTo>
                    <a:lnTo>
                      <a:pt x="33" y="23"/>
                    </a:lnTo>
                    <a:lnTo>
                      <a:pt x="37" y="23"/>
                    </a:lnTo>
                    <a:lnTo>
                      <a:pt x="47" y="23"/>
                    </a:lnTo>
                    <a:lnTo>
                      <a:pt x="47" y="19"/>
                    </a:lnTo>
                    <a:lnTo>
                      <a:pt x="41" y="4"/>
                    </a:lnTo>
                    <a:lnTo>
                      <a:pt x="45" y="4"/>
                    </a:lnTo>
                    <a:lnTo>
                      <a:pt x="53" y="14"/>
                    </a:lnTo>
                    <a:lnTo>
                      <a:pt x="57" y="17"/>
                    </a:lnTo>
                    <a:lnTo>
                      <a:pt x="62" y="19"/>
                    </a:lnTo>
                    <a:lnTo>
                      <a:pt x="72" y="16"/>
                    </a:lnTo>
                    <a:lnTo>
                      <a:pt x="76" y="16"/>
                    </a:lnTo>
                    <a:lnTo>
                      <a:pt x="74" y="19"/>
                    </a:lnTo>
                    <a:lnTo>
                      <a:pt x="70" y="21"/>
                    </a:lnTo>
                    <a:lnTo>
                      <a:pt x="57" y="23"/>
                    </a:lnTo>
                    <a:lnTo>
                      <a:pt x="53" y="23"/>
                    </a:lnTo>
                    <a:lnTo>
                      <a:pt x="45" y="29"/>
                    </a:lnTo>
                    <a:lnTo>
                      <a:pt x="47" y="31"/>
                    </a:lnTo>
                    <a:lnTo>
                      <a:pt x="51" y="33"/>
                    </a:lnTo>
                    <a:lnTo>
                      <a:pt x="53" y="35"/>
                    </a:lnTo>
                    <a:lnTo>
                      <a:pt x="57" y="35"/>
                    </a:lnTo>
                    <a:lnTo>
                      <a:pt x="59" y="33"/>
                    </a:lnTo>
                    <a:lnTo>
                      <a:pt x="60" y="29"/>
                    </a:lnTo>
                    <a:lnTo>
                      <a:pt x="62" y="29"/>
                    </a:lnTo>
                    <a:lnTo>
                      <a:pt x="64" y="33"/>
                    </a:lnTo>
                    <a:lnTo>
                      <a:pt x="64" y="37"/>
                    </a:lnTo>
                    <a:lnTo>
                      <a:pt x="62" y="41"/>
                    </a:lnTo>
                    <a:lnTo>
                      <a:pt x="62" y="45"/>
                    </a:lnTo>
                    <a:lnTo>
                      <a:pt x="66" y="39"/>
                    </a:lnTo>
                    <a:lnTo>
                      <a:pt x="74" y="27"/>
                    </a:lnTo>
                    <a:lnTo>
                      <a:pt x="78" y="29"/>
                    </a:lnTo>
                    <a:lnTo>
                      <a:pt x="74" y="33"/>
                    </a:lnTo>
                    <a:lnTo>
                      <a:pt x="70" y="43"/>
                    </a:lnTo>
                    <a:lnTo>
                      <a:pt x="68" y="47"/>
                    </a:lnTo>
                    <a:lnTo>
                      <a:pt x="72" y="47"/>
                    </a:lnTo>
                    <a:lnTo>
                      <a:pt x="84" y="41"/>
                    </a:lnTo>
                    <a:lnTo>
                      <a:pt x="88" y="39"/>
                    </a:lnTo>
                    <a:lnTo>
                      <a:pt x="90" y="35"/>
                    </a:lnTo>
                    <a:lnTo>
                      <a:pt x="100" y="29"/>
                    </a:lnTo>
                    <a:lnTo>
                      <a:pt x="103" y="29"/>
                    </a:lnTo>
                    <a:lnTo>
                      <a:pt x="103" y="31"/>
                    </a:lnTo>
                    <a:lnTo>
                      <a:pt x="102" y="33"/>
                    </a:lnTo>
                    <a:lnTo>
                      <a:pt x="100" y="41"/>
                    </a:lnTo>
                    <a:lnTo>
                      <a:pt x="98" y="43"/>
                    </a:lnTo>
                    <a:lnTo>
                      <a:pt x="96" y="41"/>
                    </a:lnTo>
                    <a:lnTo>
                      <a:pt x="94" y="39"/>
                    </a:lnTo>
                    <a:lnTo>
                      <a:pt x="94" y="39"/>
                    </a:lnTo>
                    <a:lnTo>
                      <a:pt x="92" y="41"/>
                    </a:lnTo>
                    <a:lnTo>
                      <a:pt x="88" y="43"/>
                    </a:lnTo>
                    <a:lnTo>
                      <a:pt x="82" y="47"/>
                    </a:lnTo>
                    <a:lnTo>
                      <a:pt x="78" y="51"/>
                    </a:lnTo>
                    <a:lnTo>
                      <a:pt x="78" y="57"/>
                    </a:lnTo>
                    <a:lnTo>
                      <a:pt x="78" y="60"/>
                    </a:lnTo>
                    <a:lnTo>
                      <a:pt x="80" y="62"/>
                    </a:lnTo>
                    <a:lnTo>
                      <a:pt x="82" y="62"/>
                    </a:lnTo>
                    <a:lnTo>
                      <a:pt x="88" y="58"/>
                    </a:lnTo>
                    <a:lnTo>
                      <a:pt x="90" y="58"/>
                    </a:lnTo>
                    <a:lnTo>
                      <a:pt x="92" y="58"/>
                    </a:lnTo>
                    <a:lnTo>
                      <a:pt x="92" y="57"/>
                    </a:lnTo>
                    <a:lnTo>
                      <a:pt x="92" y="55"/>
                    </a:lnTo>
                    <a:lnTo>
                      <a:pt x="92" y="53"/>
                    </a:lnTo>
                    <a:lnTo>
                      <a:pt x="92" y="51"/>
                    </a:lnTo>
                    <a:lnTo>
                      <a:pt x="92" y="51"/>
                    </a:lnTo>
                    <a:lnTo>
                      <a:pt x="92" y="49"/>
                    </a:lnTo>
                    <a:lnTo>
                      <a:pt x="103" y="45"/>
                    </a:lnTo>
                    <a:lnTo>
                      <a:pt x="105" y="47"/>
                    </a:lnTo>
                    <a:lnTo>
                      <a:pt x="107" y="51"/>
                    </a:lnTo>
                    <a:lnTo>
                      <a:pt x="109" y="47"/>
                    </a:lnTo>
                    <a:lnTo>
                      <a:pt x="121" y="43"/>
                    </a:lnTo>
                    <a:lnTo>
                      <a:pt x="121" y="47"/>
                    </a:lnTo>
                    <a:lnTo>
                      <a:pt x="123" y="49"/>
                    </a:lnTo>
                    <a:lnTo>
                      <a:pt x="144" y="55"/>
                    </a:lnTo>
                    <a:lnTo>
                      <a:pt x="176" y="55"/>
                    </a:lnTo>
                    <a:lnTo>
                      <a:pt x="174" y="53"/>
                    </a:lnTo>
                    <a:lnTo>
                      <a:pt x="174" y="51"/>
                    </a:lnTo>
                    <a:lnTo>
                      <a:pt x="176" y="47"/>
                    </a:lnTo>
                    <a:lnTo>
                      <a:pt x="178" y="53"/>
                    </a:lnTo>
                    <a:lnTo>
                      <a:pt x="182" y="53"/>
                    </a:lnTo>
                    <a:lnTo>
                      <a:pt x="184" y="51"/>
                    </a:lnTo>
                    <a:lnTo>
                      <a:pt x="184" y="45"/>
                    </a:lnTo>
                    <a:lnTo>
                      <a:pt x="184" y="45"/>
                    </a:lnTo>
                    <a:lnTo>
                      <a:pt x="186" y="47"/>
                    </a:lnTo>
                    <a:lnTo>
                      <a:pt x="189" y="47"/>
                    </a:lnTo>
                    <a:lnTo>
                      <a:pt x="187" y="41"/>
                    </a:lnTo>
                    <a:lnTo>
                      <a:pt x="189" y="39"/>
                    </a:lnTo>
                    <a:lnTo>
                      <a:pt x="195" y="43"/>
                    </a:lnTo>
                    <a:lnTo>
                      <a:pt x="197" y="41"/>
                    </a:lnTo>
                    <a:lnTo>
                      <a:pt x="205" y="39"/>
                    </a:lnTo>
                    <a:lnTo>
                      <a:pt x="232" y="35"/>
                    </a:lnTo>
                    <a:lnTo>
                      <a:pt x="238" y="31"/>
                    </a:lnTo>
                    <a:lnTo>
                      <a:pt x="234" y="25"/>
                    </a:lnTo>
                    <a:lnTo>
                      <a:pt x="238" y="21"/>
                    </a:lnTo>
                    <a:lnTo>
                      <a:pt x="246" y="16"/>
                    </a:lnTo>
                    <a:lnTo>
                      <a:pt x="250" y="8"/>
                    </a:lnTo>
                    <a:lnTo>
                      <a:pt x="250" y="2"/>
                    </a:lnTo>
                    <a:lnTo>
                      <a:pt x="250" y="0"/>
                    </a:lnTo>
                    <a:lnTo>
                      <a:pt x="21" y="0"/>
                    </a:lnTo>
                    <a:lnTo>
                      <a:pt x="19" y="0"/>
                    </a:lnTo>
                    <a:lnTo>
                      <a:pt x="21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59" name="Freeform 1262">
                <a:extLst>
                  <a:ext uri="{FF2B5EF4-FFF2-40B4-BE49-F238E27FC236}">
                    <a16:creationId xmlns:a16="http://schemas.microsoft.com/office/drawing/2014/main" id="{5D002EED-73E4-4456-BB2C-979090169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8" y="714"/>
                <a:ext cx="13" cy="17"/>
              </a:xfrm>
              <a:custGeom>
                <a:avLst/>
                <a:gdLst>
                  <a:gd name="T0" fmla="*/ 6 w 13"/>
                  <a:gd name="T1" fmla="*/ 17 h 17"/>
                  <a:gd name="T2" fmla="*/ 9 w 13"/>
                  <a:gd name="T3" fmla="*/ 13 h 17"/>
                  <a:gd name="T4" fmla="*/ 13 w 13"/>
                  <a:gd name="T5" fmla="*/ 7 h 17"/>
                  <a:gd name="T6" fmla="*/ 11 w 13"/>
                  <a:gd name="T7" fmla="*/ 0 h 17"/>
                  <a:gd name="T8" fmla="*/ 7 w 13"/>
                  <a:gd name="T9" fmla="*/ 0 h 17"/>
                  <a:gd name="T10" fmla="*/ 2 w 13"/>
                  <a:gd name="T11" fmla="*/ 0 h 17"/>
                  <a:gd name="T12" fmla="*/ 0 w 13"/>
                  <a:gd name="T13" fmla="*/ 5 h 17"/>
                  <a:gd name="T14" fmla="*/ 0 w 13"/>
                  <a:gd name="T15" fmla="*/ 13 h 17"/>
                  <a:gd name="T16" fmla="*/ 6 w 13"/>
                  <a:gd name="T1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7">
                    <a:moveTo>
                      <a:pt x="6" y="17"/>
                    </a:moveTo>
                    <a:lnTo>
                      <a:pt x="9" y="13"/>
                    </a:lnTo>
                    <a:lnTo>
                      <a:pt x="13" y="7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13"/>
                    </a:lnTo>
                    <a:lnTo>
                      <a:pt x="6" y="1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60" name="Freeform 1263">
                <a:extLst>
                  <a:ext uri="{FF2B5EF4-FFF2-40B4-BE49-F238E27FC236}">
                    <a16:creationId xmlns:a16="http://schemas.microsoft.com/office/drawing/2014/main" id="{4405B548-07D0-4F36-8781-8AA6235E1F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8" y="702"/>
                <a:ext cx="54" cy="88"/>
              </a:xfrm>
              <a:custGeom>
                <a:avLst/>
                <a:gdLst>
                  <a:gd name="T0" fmla="*/ 17 w 54"/>
                  <a:gd name="T1" fmla="*/ 6 h 88"/>
                  <a:gd name="T2" fmla="*/ 29 w 54"/>
                  <a:gd name="T3" fmla="*/ 8 h 88"/>
                  <a:gd name="T4" fmla="*/ 35 w 54"/>
                  <a:gd name="T5" fmla="*/ 10 h 88"/>
                  <a:gd name="T6" fmla="*/ 39 w 54"/>
                  <a:gd name="T7" fmla="*/ 14 h 88"/>
                  <a:gd name="T8" fmla="*/ 33 w 54"/>
                  <a:gd name="T9" fmla="*/ 23 h 88"/>
                  <a:gd name="T10" fmla="*/ 31 w 54"/>
                  <a:gd name="T11" fmla="*/ 27 h 88"/>
                  <a:gd name="T12" fmla="*/ 31 w 54"/>
                  <a:gd name="T13" fmla="*/ 33 h 88"/>
                  <a:gd name="T14" fmla="*/ 31 w 54"/>
                  <a:gd name="T15" fmla="*/ 35 h 88"/>
                  <a:gd name="T16" fmla="*/ 27 w 54"/>
                  <a:gd name="T17" fmla="*/ 37 h 88"/>
                  <a:gd name="T18" fmla="*/ 25 w 54"/>
                  <a:gd name="T19" fmla="*/ 35 h 88"/>
                  <a:gd name="T20" fmla="*/ 23 w 54"/>
                  <a:gd name="T21" fmla="*/ 33 h 88"/>
                  <a:gd name="T22" fmla="*/ 21 w 54"/>
                  <a:gd name="T23" fmla="*/ 33 h 88"/>
                  <a:gd name="T24" fmla="*/ 19 w 54"/>
                  <a:gd name="T25" fmla="*/ 35 h 88"/>
                  <a:gd name="T26" fmla="*/ 17 w 54"/>
                  <a:gd name="T27" fmla="*/ 37 h 88"/>
                  <a:gd name="T28" fmla="*/ 15 w 54"/>
                  <a:gd name="T29" fmla="*/ 45 h 88"/>
                  <a:gd name="T30" fmla="*/ 9 w 54"/>
                  <a:gd name="T31" fmla="*/ 55 h 88"/>
                  <a:gd name="T32" fmla="*/ 7 w 54"/>
                  <a:gd name="T33" fmla="*/ 57 h 88"/>
                  <a:gd name="T34" fmla="*/ 5 w 54"/>
                  <a:gd name="T35" fmla="*/ 62 h 88"/>
                  <a:gd name="T36" fmla="*/ 5 w 54"/>
                  <a:gd name="T37" fmla="*/ 66 h 88"/>
                  <a:gd name="T38" fmla="*/ 3 w 54"/>
                  <a:gd name="T39" fmla="*/ 66 h 88"/>
                  <a:gd name="T40" fmla="*/ 0 w 54"/>
                  <a:gd name="T41" fmla="*/ 66 h 88"/>
                  <a:gd name="T42" fmla="*/ 0 w 54"/>
                  <a:gd name="T43" fmla="*/ 66 h 88"/>
                  <a:gd name="T44" fmla="*/ 0 w 54"/>
                  <a:gd name="T45" fmla="*/ 68 h 88"/>
                  <a:gd name="T46" fmla="*/ 0 w 54"/>
                  <a:gd name="T47" fmla="*/ 70 h 88"/>
                  <a:gd name="T48" fmla="*/ 0 w 54"/>
                  <a:gd name="T49" fmla="*/ 70 h 88"/>
                  <a:gd name="T50" fmla="*/ 1 w 54"/>
                  <a:gd name="T51" fmla="*/ 70 h 88"/>
                  <a:gd name="T52" fmla="*/ 3 w 54"/>
                  <a:gd name="T53" fmla="*/ 74 h 88"/>
                  <a:gd name="T54" fmla="*/ 3 w 54"/>
                  <a:gd name="T55" fmla="*/ 76 h 88"/>
                  <a:gd name="T56" fmla="*/ 3 w 54"/>
                  <a:gd name="T57" fmla="*/ 80 h 88"/>
                  <a:gd name="T58" fmla="*/ 7 w 54"/>
                  <a:gd name="T59" fmla="*/ 88 h 88"/>
                  <a:gd name="T60" fmla="*/ 13 w 54"/>
                  <a:gd name="T61" fmla="*/ 88 h 88"/>
                  <a:gd name="T62" fmla="*/ 37 w 54"/>
                  <a:gd name="T63" fmla="*/ 66 h 88"/>
                  <a:gd name="T64" fmla="*/ 39 w 54"/>
                  <a:gd name="T65" fmla="*/ 62 h 88"/>
                  <a:gd name="T66" fmla="*/ 39 w 54"/>
                  <a:gd name="T67" fmla="*/ 55 h 88"/>
                  <a:gd name="T68" fmla="*/ 39 w 54"/>
                  <a:gd name="T69" fmla="*/ 53 h 88"/>
                  <a:gd name="T70" fmla="*/ 41 w 54"/>
                  <a:gd name="T71" fmla="*/ 49 h 88"/>
                  <a:gd name="T72" fmla="*/ 42 w 54"/>
                  <a:gd name="T73" fmla="*/ 47 h 88"/>
                  <a:gd name="T74" fmla="*/ 44 w 54"/>
                  <a:gd name="T75" fmla="*/ 45 h 88"/>
                  <a:gd name="T76" fmla="*/ 48 w 54"/>
                  <a:gd name="T77" fmla="*/ 31 h 88"/>
                  <a:gd name="T78" fmla="*/ 50 w 54"/>
                  <a:gd name="T79" fmla="*/ 23 h 88"/>
                  <a:gd name="T80" fmla="*/ 50 w 54"/>
                  <a:gd name="T81" fmla="*/ 17 h 88"/>
                  <a:gd name="T82" fmla="*/ 50 w 54"/>
                  <a:gd name="T83" fmla="*/ 6 h 88"/>
                  <a:gd name="T84" fmla="*/ 50 w 54"/>
                  <a:gd name="T85" fmla="*/ 4 h 88"/>
                  <a:gd name="T86" fmla="*/ 52 w 54"/>
                  <a:gd name="T87" fmla="*/ 2 h 88"/>
                  <a:gd name="T88" fmla="*/ 54 w 54"/>
                  <a:gd name="T89" fmla="*/ 0 h 88"/>
                  <a:gd name="T90" fmla="*/ 13 w 54"/>
                  <a:gd name="T91" fmla="*/ 0 h 88"/>
                  <a:gd name="T92" fmla="*/ 13 w 54"/>
                  <a:gd name="T93" fmla="*/ 2 h 88"/>
                  <a:gd name="T94" fmla="*/ 17 w 54"/>
                  <a:gd name="T95" fmla="*/ 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4" h="88">
                    <a:moveTo>
                      <a:pt x="17" y="6"/>
                    </a:moveTo>
                    <a:lnTo>
                      <a:pt x="29" y="8"/>
                    </a:lnTo>
                    <a:lnTo>
                      <a:pt x="35" y="10"/>
                    </a:lnTo>
                    <a:lnTo>
                      <a:pt x="39" y="14"/>
                    </a:lnTo>
                    <a:lnTo>
                      <a:pt x="33" y="23"/>
                    </a:lnTo>
                    <a:lnTo>
                      <a:pt x="31" y="27"/>
                    </a:lnTo>
                    <a:lnTo>
                      <a:pt x="31" y="33"/>
                    </a:lnTo>
                    <a:lnTo>
                      <a:pt x="31" y="35"/>
                    </a:lnTo>
                    <a:lnTo>
                      <a:pt x="27" y="37"/>
                    </a:lnTo>
                    <a:lnTo>
                      <a:pt x="25" y="35"/>
                    </a:lnTo>
                    <a:lnTo>
                      <a:pt x="23" y="33"/>
                    </a:lnTo>
                    <a:lnTo>
                      <a:pt x="21" y="33"/>
                    </a:lnTo>
                    <a:lnTo>
                      <a:pt x="19" y="35"/>
                    </a:lnTo>
                    <a:lnTo>
                      <a:pt x="17" y="37"/>
                    </a:lnTo>
                    <a:lnTo>
                      <a:pt x="15" y="45"/>
                    </a:lnTo>
                    <a:lnTo>
                      <a:pt x="9" y="55"/>
                    </a:lnTo>
                    <a:lnTo>
                      <a:pt x="7" y="57"/>
                    </a:lnTo>
                    <a:lnTo>
                      <a:pt x="5" y="62"/>
                    </a:lnTo>
                    <a:lnTo>
                      <a:pt x="5" y="66"/>
                    </a:lnTo>
                    <a:lnTo>
                      <a:pt x="3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8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1" y="70"/>
                    </a:lnTo>
                    <a:lnTo>
                      <a:pt x="3" y="74"/>
                    </a:lnTo>
                    <a:lnTo>
                      <a:pt x="3" y="76"/>
                    </a:lnTo>
                    <a:lnTo>
                      <a:pt x="3" y="80"/>
                    </a:lnTo>
                    <a:lnTo>
                      <a:pt x="7" y="88"/>
                    </a:lnTo>
                    <a:lnTo>
                      <a:pt x="13" y="88"/>
                    </a:lnTo>
                    <a:lnTo>
                      <a:pt x="37" y="66"/>
                    </a:lnTo>
                    <a:lnTo>
                      <a:pt x="39" y="62"/>
                    </a:lnTo>
                    <a:lnTo>
                      <a:pt x="39" y="55"/>
                    </a:lnTo>
                    <a:lnTo>
                      <a:pt x="39" y="53"/>
                    </a:lnTo>
                    <a:lnTo>
                      <a:pt x="41" y="49"/>
                    </a:lnTo>
                    <a:lnTo>
                      <a:pt x="42" y="47"/>
                    </a:lnTo>
                    <a:lnTo>
                      <a:pt x="44" y="45"/>
                    </a:lnTo>
                    <a:lnTo>
                      <a:pt x="48" y="31"/>
                    </a:lnTo>
                    <a:lnTo>
                      <a:pt x="50" y="23"/>
                    </a:lnTo>
                    <a:lnTo>
                      <a:pt x="50" y="17"/>
                    </a:lnTo>
                    <a:lnTo>
                      <a:pt x="50" y="6"/>
                    </a:lnTo>
                    <a:lnTo>
                      <a:pt x="50" y="4"/>
                    </a:lnTo>
                    <a:lnTo>
                      <a:pt x="52" y="2"/>
                    </a:lnTo>
                    <a:lnTo>
                      <a:pt x="54" y="0"/>
                    </a:lnTo>
                    <a:lnTo>
                      <a:pt x="13" y="0"/>
                    </a:lnTo>
                    <a:lnTo>
                      <a:pt x="13" y="2"/>
                    </a:lnTo>
                    <a:lnTo>
                      <a:pt x="17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61" name="Freeform 1264">
                <a:extLst>
                  <a:ext uri="{FF2B5EF4-FFF2-40B4-BE49-F238E27FC236}">
                    <a16:creationId xmlns:a16="http://schemas.microsoft.com/office/drawing/2014/main" id="{CB1DE7B0-362C-4CCE-BC0B-4830FE0A4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7" y="817"/>
                <a:ext cx="9" cy="14"/>
              </a:xfrm>
              <a:custGeom>
                <a:avLst/>
                <a:gdLst>
                  <a:gd name="T0" fmla="*/ 5 w 9"/>
                  <a:gd name="T1" fmla="*/ 14 h 14"/>
                  <a:gd name="T2" fmla="*/ 9 w 9"/>
                  <a:gd name="T3" fmla="*/ 12 h 14"/>
                  <a:gd name="T4" fmla="*/ 9 w 9"/>
                  <a:gd name="T5" fmla="*/ 8 h 14"/>
                  <a:gd name="T6" fmla="*/ 9 w 9"/>
                  <a:gd name="T7" fmla="*/ 6 h 14"/>
                  <a:gd name="T8" fmla="*/ 7 w 9"/>
                  <a:gd name="T9" fmla="*/ 4 h 14"/>
                  <a:gd name="T10" fmla="*/ 3 w 9"/>
                  <a:gd name="T11" fmla="*/ 2 h 14"/>
                  <a:gd name="T12" fmla="*/ 2 w 9"/>
                  <a:gd name="T13" fmla="*/ 0 h 14"/>
                  <a:gd name="T14" fmla="*/ 0 w 9"/>
                  <a:gd name="T15" fmla="*/ 2 h 14"/>
                  <a:gd name="T16" fmla="*/ 0 w 9"/>
                  <a:gd name="T17" fmla="*/ 6 h 14"/>
                  <a:gd name="T18" fmla="*/ 0 w 9"/>
                  <a:gd name="T19" fmla="*/ 8 h 14"/>
                  <a:gd name="T20" fmla="*/ 2 w 9"/>
                  <a:gd name="T21" fmla="*/ 10 h 14"/>
                  <a:gd name="T22" fmla="*/ 5 w 9"/>
                  <a:gd name="T2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4">
                    <a:moveTo>
                      <a:pt x="5" y="14"/>
                    </a:moveTo>
                    <a:lnTo>
                      <a:pt x="9" y="12"/>
                    </a:lnTo>
                    <a:lnTo>
                      <a:pt x="9" y="8"/>
                    </a:lnTo>
                    <a:lnTo>
                      <a:pt x="9" y="6"/>
                    </a:lnTo>
                    <a:lnTo>
                      <a:pt x="7" y="4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5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62" name="Freeform 1265">
                <a:extLst>
                  <a:ext uri="{FF2B5EF4-FFF2-40B4-BE49-F238E27FC236}">
                    <a16:creationId xmlns:a16="http://schemas.microsoft.com/office/drawing/2014/main" id="{8273A292-C490-45D1-A46E-8A245321E1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8" y="702"/>
                <a:ext cx="586" cy="213"/>
              </a:xfrm>
              <a:custGeom>
                <a:avLst/>
                <a:gdLst>
                  <a:gd name="T0" fmla="*/ 28 w 586"/>
                  <a:gd name="T1" fmla="*/ 23 h 213"/>
                  <a:gd name="T2" fmla="*/ 6 w 586"/>
                  <a:gd name="T3" fmla="*/ 86 h 213"/>
                  <a:gd name="T4" fmla="*/ 0 w 586"/>
                  <a:gd name="T5" fmla="*/ 101 h 213"/>
                  <a:gd name="T6" fmla="*/ 14 w 586"/>
                  <a:gd name="T7" fmla="*/ 105 h 213"/>
                  <a:gd name="T8" fmla="*/ 24 w 586"/>
                  <a:gd name="T9" fmla="*/ 90 h 213"/>
                  <a:gd name="T10" fmla="*/ 43 w 586"/>
                  <a:gd name="T11" fmla="*/ 76 h 213"/>
                  <a:gd name="T12" fmla="*/ 65 w 586"/>
                  <a:gd name="T13" fmla="*/ 76 h 213"/>
                  <a:gd name="T14" fmla="*/ 73 w 586"/>
                  <a:gd name="T15" fmla="*/ 62 h 213"/>
                  <a:gd name="T16" fmla="*/ 86 w 586"/>
                  <a:gd name="T17" fmla="*/ 68 h 213"/>
                  <a:gd name="T18" fmla="*/ 92 w 586"/>
                  <a:gd name="T19" fmla="*/ 62 h 213"/>
                  <a:gd name="T20" fmla="*/ 108 w 586"/>
                  <a:gd name="T21" fmla="*/ 58 h 213"/>
                  <a:gd name="T22" fmla="*/ 129 w 586"/>
                  <a:gd name="T23" fmla="*/ 41 h 213"/>
                  <a:gd name="T24" fmla="*/ 145 w 586"/>
                  <a:gd name="T25" fmla="*/ 41 h 213"/>
                  <a:gd name="T26" fmla="*/ 151 w 586"/>
                  <a:gd name="T27" fmla="*/ 62 h 213"/>
                  <a:gd name="T28" fmla="*/ 160 w 586"/>
                  <a:gd name="T29" fmla="*/ 62 h 213"/>
                  <a:gd name="T30" fmla="*/ 158 w 586"/>
                  <a:gd name="T31" fmla="*/ 45 h 213"/>
                  <a:gd name="T32" fmla="*/ 166 w 586"/>
                  <a:gd name="T33" fmla="*/ 39 h 213"/>
                  <a:gd name="T34" fmla="*/ 170 w 586"/>
                  <a:gd name="T35" fmla="*/ 47 h 213"/>
                  <a:gd name="T36" fmla="*/ 174 w 586"/>
                  <a:gd name="T37" fmla="*/ 51 h 213"/>
                  <a:gd name="T38" fmla="*/ 184 w 586"/>
                  <a:gd name="T39" fmla="*/ 53 h 213"/>
                  <a:gd name="T40" fmla="*/ 207 w 586"/>
                  <a:gd name="T41" fmla="*/ 72 h 213"/>
                  <a:gd name="T42" fmla="*/ 209 w 586"/>
                  <a:gd name="T43" fmla="*/ 76 h 213"/>
                  <a:gd name="T44" fmla="*/ 215 w 586"/>
                  <a:gd name="T45" fmla="*/ 86 h 213"/>
                  <a:gd name="T46" fmla="*/ 235 w 586"/>
                  <a:gd name="T47" fmla="*/ 86 h 213"/>
                  <a:gd name="T48" fmla="*/ 239 w 586"/>
                  <a:gd name="T49" fmla="*/ 84 h 213"/>
                  <a:gd name="T50" fmla="*/ 246 w 586"/>
                  <a:gd name="T51" fmla="*/ 101 h 213"/>
                  <a:gd name="T52" fmla="*/ 285 w 586"/>
                  <a:gd name="T53" fmla="*/ 109 h 213"/>
                  <a:gd name="T54" fmla="*/ 287 w 586"/>
                  <a:gd name="T55" fmla="*/ 117 h 213"/>
                  <a:gd name="T56" fmla="*/ 289 w 586"/>
                  <a:gd name="T57" fmla="*/ 131 h 213"/>
                  <a:gd name="T58" fmla="*/ 334 w 586"/>
                  <a:gd name="T59" fmla="*/ 185 h 213"/>
                  <a:gd name="T60" fmla="*/ 356 w 586"/>
                  <a:gd name="T61" fmla="*/ 197 h 213"/>
                  <a:gd name="T62" fmla="*/ 371 w 586"/>
                  <a:gd name="T63" fmla="*/ 211 h 213"/>
                  <a:gd name="T64" fmla="*/ 379 w 586"/>
                  <a:gd name="T65" fmla="*/ 211 h 213"/>
                  <a:gd name="T66" fmla="*/ 383 w 586"/>
                  <a:gd name="T67" fmla="*/ 209 h 213"/>
                  <a:gd name="T68" fmla="*/ 391 w 586"/>
                  <a:gd name="T69" fmla="*/ 199 h 213"/>
                  <a:gd name="T70" fmla="*/ 401 w 586"/>
                  <a:gd name="T71" fmla="*/ 195 h 213"/>
                  <a:gd name="T72" fmla="*/ 418 w 586"/>
                  <a:gd name="T73" fmla="*/ 195 h 213"/>
                  <a:gd name="T74" fmla="*/ 426 w 586"/>
                  <a:gd name="T75" fmla="*/ 181 h 213"/>
                  <a:gd name="T76" fmla="*/ 432 w 586"/>
                  <a:gd name="T77" fmla="*/ 180 h 213"/>
                  <a:gd name="T78" fmla="*/ 440 w 586"/>
                  <a:gd name="T79" fmla="*/ 181 h 213"/>
                  <a:gd name="T80" fmla="*/ 448 w 586"/>
                  <a:gd name="T81" fmla="*/ 183 h 213"/>
                  <a:gd name="T82" fmla="*/ 459 w 586"/>
                  <a:gd name="T83" fmla="*/ 195 h 213"/>
                  <a:gd name="T84" fmla="*/ 506 w 586"/>
                  <a:gd name="T85" fmla="*/ 213 h 213"/>
                  <a:gd name="T86" fmla="*/ 508 w 586"/>
                  <a:gd name="T87" fmla="*/ 199 h 213"/>
                  <a:gd name="T88" fmla="*/ 512 w 586"/>
                  <a:gd name="T89" fmla="*/ 187 h 213"/>
                  <a:gd name="T90" fmla="*/ 516 w 586"/>
                  <a:gd name="T91" fmla="*/ 176 h 213"/>
                  <a:gd name="T92" fmla="*/ 516 w 586"/>
                  <a:gd name="T93" fmla="*/ 166 h 213"/>
                  <a:gd name="T94" fmla="*/ 537 w 586"/>
                  <a:gd name="T95" fmla="*/ 150 h 213"/>
                  <a:gd name="T96" fmla="*/ 539 w 586"/>
                  <a:gd name="T97" fmla="*/ 127 h 213"/>
                  <a:gd name="T98" fmla="*/ 545 w 586"/>
                  <a:gd name="T99" fmla="*/ 119 h 213"/>
                  <a:gd name="T100" fmla="*/ 584 w 586"/>
                  <a:gd name="T101" fmla="*/ 98 h 213"/>
                  <a:gd name="T102" fmla="*/ 563 w 586"/>
                  <a:gd name="T103" fmla="*/ 78 h 213"/>
                  <a:gd name="T104" fmla="*/ 559 w 586"/>
                  <a:gd name="T105" fmla="*/ 60 h 213"/>
                  <a:gd name="T106" fmla="*/ 551 w 586"/>
                  <a:gd name="T107" fmla="*/ 58 h 213"/>
                  <a:gd name="T108" fmla="*/ 545 w 586"/>
                  <a:gd name="T109" fmla="*/ 29 h 213"/>
                  <a:gd name="T110" fmla="*/ 297 w 586"/>
                  <a:gd name="T111" fmla="*/ 2 h 213"/>
                  <a:gd name="T112" fmla="*/ 299 w 586"/>
                  <a:gd name="T113" fmla="*/ 25 h 213"/>
                  <a:gd name="T114" fmla="*/ 291 w 586"/>
                  <a:gd name="T115" fmla="*/ 4 h 213"/>
                  <a:gd name="T116" fmla="*/ 28 w 586"/>
                  <a:gd name="T117" fmla="*/ 6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86" h="213">
                    <a:moveTo>
                      <a:pt x="28" y="6"/>
                    </a:moveTo>
                    <a:lnTo>
                      <a:pt x="28" y="8"/>
                    </a:lnTo>
                    <a:lnTo>
                      <a:pt x="30" y="12"/>
                    </a:lnTo>
                    <a:lnTo>
                      <a:pt x="30" y="16"/>
                    </a:lnTo>
                    <a:lnTo>
                      <a:pt x="28" y="23"/>
                    </a:lnTo>
                    <a:lnTo>
                      <a:pt x="28" y="37"/>
                    </a:lnTo>
                    <a:lnTo>
                      <a:pt x="24" y="43"/>
                    </a:lnTo>
                    <a:lnTo>
                      <a:pt x="16" y="53"/>
                    </a:lnTo>
                    <a:lnTo>
                      <a:pt x="14" y="66"/>
                    </a:lnTo>
                    <a:lnTo>
                      <a:pt x="6" y="86"/>
                    </a:lnTo>
                    <a:lnTo>
                      <a:pt x="4" y="88"/>
                    </a:lnTo>
                    <a:lnTo>
                      <a:pt x="4" y="92"/>
                    </a:lnTo>
                    <a:lnTo>
                      <a:pt x="4" y="96"/>
                    </a:lnTo>
                    <a:lnTo>
                      <a:pt x="2" y="99"/>
                    </a:lnTo>
                    <a:lnTo>
                      <a:pt x="0" y="101"/>
                    </a:lnTo>
                    <a:lnTo>
                      <a:pt x="0" y="101"/>
                    </a:lnTo>
                    <a:lnTo>
                      <a:pt x="0" y="101"/>
                    </a:lnTo>
                    <a:lnTo>
                      <a:pt x="8" y="105"/>
                    </a:lnTo>
                    <a:lnTo>
                      <a:pt x="10" y="105"/>
                    </a:lnTo>
                    <a:lnTo>
                      <a:pt x="14" y="105"/>
                    </a:lnTo>
                    <a:lnTo>
                      <a:pt x="18" y="101"/>
                    </a:lnTo>
                    <a:lnTo>
                      <a:pt x="18" y="99"/>
                    </a:lnTo>
                    <a:lnTo>
                      <a:pt x="20" y="96"/>
                    </a:lnTo>
                    <a:lnTo>
                      <a:pt x="22" y="92"/>
                    </a:lnTo>
                    <a:lnTo>
                      <a:pt x="24" y="90"/>
                    </a:lnTo>
                    <a:lnTo>
                      <a:pt x="30" y="86"/>
                    </a:lnTo>
                    <a:lnTo>
                      <a:pt x="31" y="86"/>
                    </a:lnTo>
                    <a:lnTo>
                      <a:pt x="39" y="78"/>
                    </a:lnTo>
                    <a:lnTo>
                      <a:pt x="43" y="76"/>
                    </a:lnTo>
                    <a:lnTo>
                      <a:pt x="43" y="76"/>
                    </a:lnTo>
                    <a:lnTo>
                      <a:pt x="43" y="76"/>
                    </a:lnTo>
                    <a:lnTo>
                      <a:pt x="47" y="78"/>
                    </a:lnTo>
                    <a:lnTo>
                      <a:pt x="55" y="78"/>
                    </a:lnTo>
                    <a:lnTo>
                      <a:pt x="59" y="78"/>
                    </a:lnTo>
                    <a:lnTo>
                      <a:pt x="65" y="76"/>
                    </a:lnTo>
                    <a:lnTo>
                      <a:pt x="67" y="74"/>
                    </a:lnTo>
                    <a:lnTo>
                      <a:pt x="69" y="68"/>
                    </a:lnTo>
                    <a:lnTo>
                      <a:pt x="71" y="66"/>
                    </a:lnTo>
                    <a:lnTo>
                      <a:pt x="71" y="64"/>
                    </a:lnTo>
                    <a:lnTo>
                      <a:pt x="73" y="62"/>
                    </a:lnTo>
                    <a:lnTo>
                      <a:pt x="74" y="62"/>
                    </a:lnTo>
                    <a:lnTo>
                      <a:pt x="78" y="64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6" y="66"/>
                    </a:lnTo>
                    <a:lnTo>
                      <a:pt x="88" y="66"/>
                    </a:lnTo>
                    <a:lnTo>
                      <a:pt x="92" y="62"/>
                    </a:lnTo>
                    <a:lnTo>
                      <a:pt x="92" y="62"/>
                    </a:lnTo>
                    <a:lnTo>
                      <a:pt x="92" y="62"/>
                    </a:lnTo>
                    <a:lnTo>
                      <a:pt x="92" y="62"/>
                    </a:lnTo>
                    <a:lnTo>
                      <a:pt x="96" y="60"/>
                    </a:lnTo>
                    <a:lnTo>
                      <a:pt x="104" y="58"/>
                    </a:lnTo>
                    <a:lnTo>
                      <a:pt x="108" y="58"/>
                    </a:lnTo>
                    <a:lnTo>
                      <a:pt x="114" y="55"/>
                    </a:lnTo>
                    <a:lnTo>
                      <a:pt x="123" y="45"/>
                    </a:lnTo>
                    <a:lnTo>
                      <a:pt x="123" y="43"/>
                    </a:lnTo>
                    <a:lnTo>
                      <a:pt x="125" y="43"/>
                    </a:lnTo>
                    <a:lnTo>
                      <a:pt x="129" y="41"/>
                    </a:lnTo>
                    <a:lnTo>
                      <a:pt x="129" y="41"/>
                    </a:lnTo>
                    <a:lnTo>
                      <a:pt x="129" y="41"/>
                    </a:lnTo>
                    <a:lnTo>
                      <a:pt x="133" y="39"/>
                    </a:lnTo>
                    <a:lnTo>
                      <a:pt x="141" y="39"/>
                    </a:lnTo>
                    <a:lnTo>
                      <a:pt x="145" y="41"/>
                    </a:lnTo>
                    <a:lnTo>
                      <a:pt x="147" y="49"/>
                    </a:lnTo>
                    <a:lnTo>
                      <a:pt x="149" y="51"/>
                    </a:lnTo>
                    <a:lnTo>
                      <a:pt x="149" y="57"/>
                    </a:lnTo>
                    <a:lnTo>
                      <a:pt x="151" y="60"/>
                    </a:lnTo>
                    <a:lnTo>
                      <a:pt x="151" y="62"/>
                    </a:lnTo>
                    <a:lnTo>
                      <a:pt x="153" y="64"/>
                    </a:lnTo>
                    <a:lnTo>
                      <a:pt x="153" y="64"/>
                    </a:lnTo>
                    <a:lnTo>
                      <a:pt x="157" y="64"/>
                    </a:lnTo>
                    <a:lnTo>
                      <a:pt x="160" y="62"/>
                    </a:lnTo>
                    <a:lnTo>
                      <a:pt x="160" y="62"/>
                    </a:lnTo>
                    <a:lnTo>
                      <a:pt x="164" y="58"/>
                    </a:lnTo>
                    <a:lnTo>
                      <a:pt x="164" y="55"/>
                    </a:lnTo>
                    <a:lnTo>
                      <a:pt x="164" y="53"/>
                    </a:lnTo>
                    <a:lnTo>
                      <a:pt x="162" y="53"/>
                    </a:lnTo>
                    <a:lnTo>
                      <a:pt x="158" y="45"/>
                    </a:lnTo>
                    <a:lnTo>
                      <a:pt x="158" y="39"/>
                    </a:lnTo>
                    <a:lnTo>
                      <a:pt x="160" y="37"/>
                    </a:lnTo>
                    <a:lnTo>
                      <a:pt x="160" y="37"/>
                    </a:lnTo>
                    <a:lnTo>
                      <a:pt x="164" y="37"/>
                    </a:lnTo>
                    <a:lnTo>
                      <a:pt x="166" y="39"/>
                    </a:lnTo>
                    <a:lnTo>
                      <a:pt x="166" y="39"/>
                    </a:lnTo>
                    <a:lnTo>
                      <a:pt x="166" y="39"/>
                    </a:lnTo>
                    <a:lnTo>
                      <a:pt x="168" y="41"/>
                    </a:lnTo>
                    <a:lnTo>
                      <a:pt x="168" y="41"/>
                    </a:lnTo>
                    <a:lnTo>
                      <a:pt x="170" y="47"/>
                    </a:lnTo>
                    <a:lnTo>
                      <a:pt x="172" y="49"/>
                    </a:lnTo>
                    <a:lnTo>
                      <a:pt x="172" y="51"/>
                    </a:lnTo>
                    <a:lnTo>
                      <a:pt x="172" y="51"/>
                    </a:lnTo>
                    <a:lnTo>
                      <a:pt x="174" y="51"/>
                    </a:lnTo>
                    <a:lnTo>
                      <a:pt x="174" y="51"/>
                    </a:lnTo>
                    <a:lnTo>
                      <a:pt x="174" y="51"/>
                    </a:lnTo>
                    <a:lnTo>
                      <a:pt x="174" y="49"/>
                    </a:lnTo>
                    <a:lnTo>
                      <a:pt x="176" y="49"/>
                    </a:lnTo>
                    <a:lnTo>
                      <a:pt x="176" y="49"/>
                    </a:lnTo>
                    <a:lnTo>
                      <a:pt x="184" y="53"/>
                    </a:lnTo>
                    <a:lnTo>
                      <a:pt x="194" y="66"/>
                    </a:lnTo>
                    <a:lnTo>
                      <a:pt x="194" y="66"/>
                    </a:lnTo>
                    <a:lnTo>
                      <a:pt x="199" y="70"/>
                    </a:lnTo>
                    <a:lnTo>
                      <a:pt x="205" y="70"/>
                    </a:lnTo>
                    <a:lnTo>
                      <a:pt x="207" y="72"/>
                    </a:lnTo>
                    <a:lnTo>
                      <a:pt x="207" y="72"/>
                    </a:lnTo>
                    <a:lnTo>
                      <a:pt x="209" y="74"/>
                    </a:lnTo>
                    <a:lnTo>
                      <a:pt x="209" y="76"/>
                    </a:lnTo>
                    <a:lnTo>
                      <a:pt x="209" y="76"/>
                    </a:lnTo>
                    <a:lnTo>
                      <a:pt x="209" y="76"/>
                    </a:lnTo>
                    <a:lnTo>
                      <a:pt x="209" y="78"/>
                    </a:lnTo>
                    <a:lnTo>
                      <a:pt x="209" y="78"/>
                    </a:lnTo>
                    <a:lnTo>
                      <a:pt x="211" y="82"/>
                    </a:lnTo>
                    <a:lnTo>
                      <a:pt x="213" y="86"/>
                    </a:lnTo>
                    <a:lnTo>
                      <a:pt x="215" y="86"/>
                    </a:lnTo>
                    <a:lnTo>
                      <a:pt x="217" y="88"/>
                    </a:lnTo>
                    <a:lnTo>
                      <a:pt x="221" y="88"/>
                    </a:lnTo>
                    <a:lnTo>
                      <a:pt x="221" y="88"/>
                    </a:lnTo>
                    <a:lnTo>
                      <a:pt x="225" y="88"/>
                    </a:lnTo>
                    <a:lnTo>
                      <a:pt x="235" y="86"/>
                    </a:lnTo>
                    <a:lnTo>
                      <a:pt x="237" y="84"/>
                    </a:lnTo>
                    <a:lnTo>
                      <a:pt x="239" y="84"/>
                    </a:lnTo>
                    <a:lnTo>
                      <a:pt x="239" y="84"/>
                    </a:lnTo>
                    <a:lnTo>
                      <a:pt x="239" y="84"/>
                    </a:lnTo>
                    <a:lnTo>
                      <a:pt x="239" y="84"/>
                    </a:lnTo>
                    <a:lnTo>
                      <a:pt x="241" y="86"/>
                    </a:lnTo>
                    <a:lnTo>
                      <a:pt x="242" y="90"/>
                    </a:lnTo>
                    <a:lnTo>
                      <a:pt x="242" y="96"/>
                    </a:lnTo>
                    <a:lnTo>
                      <a:pt x="244" y="99"/>
                    </a:lnTo>
                    <a:lnTo>
                      <a:pt x="246" y="101"/>
                    </a:lnTo>
                    <a:lnTo>
                      <a:pt x="246" y="103"/>
                    </a:lnTo>
                    <a:lnTo>
                      <a:pt x="250" y="105"/>
                    </a:lnTo>
                    <a:lnTo>
                      <a:pt x="280" y="107"/>
                    </a:lnTo>
                    <a:lnTo>
                      <a:pt x="285" y="109"/>
                    </a:lnTo>
                    <a:lnTo>
                      <a:pt x="285" y="109"/>
                    </a:lnTo>
                    <a:lnTo>
                      <a:pt x="287" y="109"/>
                    </a:lnTo>
                    <a:lnTo>
                      <a:pt x="287" y="111"/>
                    </a:lnTo>
                    <a:lnTo>
                      <a:pt x="287" y="111"/>
                    </a:lnTo>
                    <a:lnTo>
                      <a:pt x="289" y="115"/>
                    </a:lnTo>
                    <a:lnTo>
                      <a:pt x="287" y="117"/>
                    </a:lnTo>
                    <a:lnTo>
                      <a:pt x="287" y="119"/>
                    </a:lnTo>
                    <a:lnTo>
                      <a:pt x="287" y="121"/>
                    </a:lnTo>
                    <a:lnTo>
                      <a:pt x="287" y="127"/>
                    </a:lnTo>
                    <a:lnTo>
                      <a:pt x="287" y="129"/>
                    </a:lnTo>
                    <a:lnTo>
                      <a:pt x="289" y="131"/>
                    </a:lnTo>
                    <a:lnTo>
                      <a:pt x="307" y="146"/>
                    </a:lnTo>
                    <a:lnTo>
                      <a:pt x="311" y="152"/>
                    </a:lnTo>
                    <a:lnTo>
                      <a:pt x="313" y="154"/>
                    </a:lnTo>
                    <a:lnTo>
                      <a:pt x="328" y="180"/>
                    </a:lnTo>
                    <a:lnTo>
                      <a:pt x="334" y="185"/>
                    </a:lnTo>
                    <a:lnTo>
                      <a:pt x="334" y="185"/>
                    </a:lnTo>
                    <a:lnTo>
                      <a:pt x="340" y="191"/>
                    </a:lnTo>
                    <a:lnTo>
                      <a:pt x="344" y="191"/>
                    </a:lnTo>
                    <a:lnTo>
                      <a:pt x="350" y="195"/>
                    </a:lnTo>
                    <a:lnTo>
                      <a:pt x="356" y="197"/>
                    </a:lnTo>
                    <a:lnTo>
                      <a:pt x="358" y="199"/>
                    </a:lnTo>
                    <a:lnTo>
                      <a:pt x="360" y="201"/>
                    </a:lnTo>
                    <a:lnTo>
                      <a:pt x="366" y="209"/>
                    </a:lnTo>
                    <a:lnTo>
                      <a:pt x="367" y="213"/>
                    </a:lnTo>
                    <a:lnTo>
                      <a:pt x="371" y="211"/>
                    </a:lnTo>
                    <a:lnTo>
                      <a:pt x="371" y="211"/>
                    </a:lnTo>
                    <a:lnTo>
                      <a:pt x="373" y="209"/>
                    </a:lnTo>
                    <a:lnTo>
                      <a:pt x="375" y="209"/>
                    </a:lnTo>
                    <a:lnTo>
                      <a:pt x="377" y="209"/>
                    </a:lnTo>
                    <a:lnTo>
                      <a:pt x="379" y="211"/>
                    </a:lnTo>
                    <a:lnTo>
                      <a:pt x="379" y="211"/>
                    </a:lnTo>
                    <a:lnTo>
                      <a:pt x="381" y="211"/>
                    </a:lnTo>
                    <a:lnTo>
                      <a:pt x="383" y="211"/>
                    </a:lnTo>
                    <a:lnTo>
                      <a:pt x="383" y="211"/>
                    </a:lnTo>
                    <a:lnTo>
                      <a:pt x="383" y="209"/>
                    </a:lnTo>
                    <a:lnTo>
                      <a:pt x="385" y="207"/>
                    </a:lnTo>
                    <a:lnTo>
                      <a:pt x="385" y="205"/>
                    </a:lnTo>
                    <a:lnTo>
                      <a:pt x="391" y="199"/>
                    </a:lnTo>
                    <a:lnTo>
                      <a:pt x="391" y="199"/>
                    </a:lnTo>
                    <a:lnTo>
                      <a:pt x="391" y="199"/>
                    </a:lnTo>
                    <a:lnTo>
                      <a:pt x="391" y="199"/>
                    </a:lnTo>
                    <a:lnTo>
                      <a:pt x="397" y="197"/>
                    </a:lnTo>
                    <a:lnTo>
                      <a:pt x="401" y="195"/>
                    </a:lnTo>
                    <a:lnTo>
                      <a:pt x="401" y="195"/>
                    </a:lnTo>
                    <a:lnTo>
                      <a:pt x="401" y="195"/>
                    </a:lnTo>
                    <a:lnTo>
                      <a:pt x="401" y="195"/>
                    </a:lnTo>
                    <a:lnTo>
                      <a:pt x="403" y="195"/>
                    </a:lnTo>
                    <a:lnTo>
                      <a:pt x="414" y="195"/>
                    </a:lnTo>
                    <a:lnTo>
                      <a:pt x="416" y="195"/>
                    </a:lnTo>
                    <a:lnTo>
                      <a:pt x="418" y="195"/>
                    </a:lnTo>
                    <a:lnTo>
                      <a:pt x="420" y="191"/>
                    </a:lnTo>
                    <a:lnTo>
                      <a:pt x="422" y="187"/>
                    </a:lnTo>
                    <a:lnTo>
                      <a:pt x="424" y="185"/>
                    </a:lnTo>
                    <a:lnTo>
                      <a:pt x="424" y="183"/>
                    </a:lnTo>
                    <a:lnTo>
                      <a:pt x="426" y="181"/>
                    </a:lnTo>
                    <a:lnTo>
                      <a:pt x="428" y="180"/>
                    </a:lnTo>
                    <a:lnTo>
                      <a:pt x="430" y="178"/>
                    </a:lnTo>
                    <a:lnTo>
                      <a:pt x="430" y="178"/>
                    </a:lnTo>
                    <a:lnTo>
                      <a:pt x="432" y="180"/>
                    </a:lnTo>
                    <a:lnTo>
                      <a:pt x="432" y="180"/>
                    </a:lnTo>
                    <a:lnTo>
                      <a:pt x="434" y="181"/>
                    </a:lnTo>
                    <a:lnTo>
                      <a:pt x="438" y="181"/>
                    </a:lnTo>
                    <a:lnTo>
                      <a:pt x="440" y="181"/>
                    </a:lnTo>
                    <a:lnTo>
                      <a:pt x="440" y="181"/>
                    </a:lnTo>
                    <a:lnTo>
                      <a:pt x="440" y="181"/>
                    </a:lnTo>
                    <a:lnTo>
                      <a:pt x="440" y="181"/>
                    </a:lnTo>
                    <a:lnTo>
                      <a:pt x="440" y="181"/>
                    </a:lnTo>
                    <a:lnTo>
                      <a:pt x="444" y="181"/>
                    </a:lnTo>
                    <a:lnTo>
                      <a:pt x="446" y="181"/>
                    </a:lnTo>
                    <a:lnTo>
                      <a:pt x="448" y="183"/>
                    </a:lnTo>
                    <a:lnTo>
                      <a:pt x="452" y="185"/>
                    </a:lnTo>
                    <a:lnTo>
                      <a:pt x="453" y="185"/>
                    </a:lnTo>
                    <a:lnTo>
                      <a:pt x="453" y="185"/>
                    </a:lnTo>
                    <a:lnTo>
                      <a:pt x="453" y="185"/>
                    </a:lnTo>
                    <a:lnTo>
                      <a:pt x="459" y="195"/>
                    </a:lnTo>
                    <a:lnTo>
                      <a:pt x="461" y="197"/>
                    </a:lnTo>
                    <a:lnTo>
                      <a:pt x="461" y="199"/>
                    </a:lnTo>
                    <a:lnTo>
                      <a:pt x="465" y="201"/>
                    </a:lnTo>
                    <a:lnTo>
                      <a:pt x="479" y="203"/>
                    </a:lnTo>
                    <a:lnTo>
                      <a:pt x="506" y="213"/>
                    </a:lnTo>
                    <a:lnTo>
                      <a:pt x="506" y="211"/>
                    </a:lnTo>
                    <a:lnTo>
                      <a:pt x="510" y="209"/>
                    </a:lnTo>
                    <a:lnTo>
                      <a:pt x="510" y="209"/>
                    </a:lnTo>
                    <a:lnTo>
                      <a:pt x="510" y="205"/>
                    </a:lnTo>
                    <a:lnTo>
                      <a:pt x="508" y="199"/>
                    </a:lnTo>
                    <a:lnTo>
                      <a:pt x="506" y="195"/>
                    </a:lnTo>
                    <a:lnTo>
                      <a:pt x="506" y="191"/>
                    </a:lnTo>
                    <a:lnTo>
                      <a:pt x="508" y="187"/>
                    </a:lnTo>
                    <a:lnTo>
                      <a:pt x="510" y="187"/>
                    </a:lnTo>
                    <a:lnTo>
                      <a:pt x="512" y="187"/>
                    </a:lnTo>
                    <a:lnTo>
                      <a:pt x="514" y="185"/>
                    </a:lnTo>
                    <a:lnTo>
                      <a:pt x="516" y="185"/>
                    </a:lnTo>
                    <a:lnTo>
                      <a:pt x="516" y="183"/>
                    </a:lnTo>
                    <a:lnTo>
                      <a:pt x="516" y="178"/>
                    </a:lnTo>
                    <a:lnTo>
                      <a:pt x="516" y="176"/>
                    </a:lnTo>
                    <a:lnTo>
                      <a:pt x="516" y="176"/>
                    </a:lnTo>
                    <a:lnTo>
                      <a:pt x="516" y="172"/>
                    </a:lnTo>
                    <a:lnTo>
                      <a:pt x="514" y="170"/>
                    </a:lnTo>
                    <a:lnTo>
                      <a:pt x="514" y="168"/>
                    </a:lnTo>
                    <a:lnTo>
                      <a:pt x="516" y="166"/>
                    </a:lnTo>
                    <a:lnTo>
                      <a:pt x="516" y="162"/>
                    </a:lnTo>
                    <a:lnTo>
                      <a:pt x="518" y="160"/>
                    </a:lnTo>
                    <a:lnTo>
                      <a:pt x="520" y="158"/>
                    </a:lnTo>
                    <a:lnTo>
                      <a:pt x="534" y="152"/>
                    </a:lnTo>
                    <a:lnTo>
                      <a:pt x="537" y="150"/>
                    </a:lnTo>
                    <a:lnTo>
                      <a:pt x="537" y="146"/>
                    </a:lnTo>
                    <a:lnTo>
                      <a:pt x="536" y="137"/>
                    </a:lnTo>
                    <a:lnTo>
                      <a:pt x="536" y="133"/>
                    </a:lnTo>
                    <a:lnTo>
                      <a:pt x="537" y="129"/>
                    </a:lnTo>
                    <a:lnTo>
                      <a:pt x="539" y="127"/>
                    </a:lnTo>
                    <a:lnTo>
                      <a:pt x="545" y="125"/>
                    </a:lnTo>
                    <a:lnTo>
                      <a:pt x="541" y="121"/>
                    </a:lnTo>
                    <a:lnTo>
                      <a:pt x="539" y="121"/>
                    </a:lnTo>
                    <a:lnTo>
                      <a:pt x="541" y="119"/>
                    </a:lnTo>
                    <a:lnTo>
                      <a:pt x="545" y="119"/>
                    </a:lnTo>
                    <a:lnTo>
                      <a:pt x="569" y="115"/>
                    </a:lnTo>
                    <a:lnTo>
                      <a:pt x="578" y="111"/>
                    </a:lnTo>
                    <a:lnTo>
                      <a:pt x="584" y="109"/>
                    </a:lnTo>
                    <a:lnTo>
                      <a:pt x="586" y="103"/>
                    </a:lnTo>
                    <a:lnTo>
                      <a:pt x="584" y="98"/>
                    </a:lnTo>
                    <a:lnTo>
                      <a:pt x="580" y="96"/>
                    </a:lnTo>
                    <a:lnTo>
                      <a:pt x="565" y="88"/>
                    </a:lnTo>
                    <a:lnTo>
                      <a:pt x="563" y="86"/>
                    </a:lnTo>
                    <a:lnTo>
                      <a:pt x="563" y="82"/>
                    </a:lnTo>
                    <a:lnTo>
                      <a:pt x="563" y="78"/>
                    </a:lnTo>
                    <a:lnTo>
                      <a:pt x="565" y="74"/>
                    </a:lnTo>
                    <a:lnTo>
                      <a:pt x="565" y="70"/>
                    </a:lnTo>
                    <a:lnTo>
                      <a:pt x="563" y="62"/>
                    </a:lnTo>
                    <a:lnTo>
                      <a:pt x="561" y="60"/>
                    </a:lnTo>
                    <a:lnTo>
                      <a:pt x="559" y="60"/>
                    </a:lnTo>
                    <a:lnTo>
                      <a:pt x="559" y="60"/>
                    </a:lnTo>
                    <a:lnTo>
                      <a:pt x="557" y="62"/>
                    </a:lnTo>
                    <a:lnTo>
                      <a:pt x="555" y="72"/>
                    </a:lnTo>
                    <a:lnTo>
                      <a:pt x="553" y="64"/>
                    </a:lnTo>
                    <a:lnTo>
                      <a:pt x="551" y="58"/>
                    </a:lnTo>
                    <a:lnTo>
                      <a:pt x="551" y="51"/>
                    </a:lnTo>
                    <a:lnTo>
                      <a:pt x="551" y="43"/>
                    </a:lnTo>
                    <a:lnTo>
                      <a:pt x="551" y="35"/>
                    </a:lnTo>
                    <a:lnTo>
                      <a:pt x="551" y="33"/>
                    </a:lnTo>
                    <a:lnTo>
                      <a:pt x="545" y="29"/>
                    </a:lnTo>
                    <a:lnTo>
                      <a:pt x="543" y="27"/>
                    </a:lnTo>
                    <a:lnTo>
                      <a:pt x="541" y="17"/>
                    </a:lnTo>
                    <a:lnTo>
                      <a:pt x="532" y="0"/>
                    </a:lnTo>
                    <a:lnTo>
                      <a:pt x="299" y="0"/>
                    </a:lnTo>
                    <a:lnTo>
                      <a:pt x="297" y="2"/>
                    </a:lnTo>
                    <a:lnTo>
                      <a:pt x="297" y="8"/>
                    </a:lnTo>
                    <a:lnTo>
                      <a:pt x="297" y="14"/>
                    </a:lnTo>
                    <a:lnTo>
                      <a:pt x="299" y="17"/>
                    </a:lnTo>
                    <a:lnTo>
                      <a:pt x="299" y="21"/>
                    </a:lnTo>
                    <a:lnTo>
                      <a:pt x="299" y="25"/>
                    </a:lnTo>
                    <a:lnTo>
                      <a:pt x="297" y="27"/>
                    </a:lnTo>
                    <a:lnTo>
                      <a:pt x="295" y="25"/>
                    </a:lnTo>
                    <a:lnTo>
                      <a:pt x="295" y="21"/>
                    </a:lnTo>
                    <a:lnTo>
                      <a:pt x="291" y="14"/>
                    </a:lnTo>
                    <a:lnTo>
                      <a:pt x="291" y="4"/>
                    </a:lnTo>
                    <a:lnTo>
                      <a:pt x="289" y="0"/>
                    </a:lnTo>
                    <a:lnTo>
                      <a:pt x="289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8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63" name="Rectangle 1266">
                <a:extLst>
                  <a:ext uri="{FF2B5EF4-FFF2-40B4-BE49-F238E27FC236}">
                    <a16:creationId xmlns:a16="http://schemas.microsoft.com/office/drawing/2014/main" id="{3AD97AF9-8292-49BD-B83B-847FDAF7FD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78" y="76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64" name="Rectangle 1267">
                <a:extLst>
                  <a:ext uri="{FF2B5EF4-FFF2-40B4-BE49-F238E27FC236}">
                    <a16:creationId xmlns:a16="http://schemas.microsoft.com/office/drawing/2014/main" id="{DBBBAFFC-B138-4B07-97D6-05B2774674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92" y="75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65" name="Freeform 1268">
                <a:extLst>
                  <a:ext uri="{FF2B5EF4-FFF2-40B4-BE49-F238E27FC236}">
                    <a16:creationId xmlns:a16="http://schemas.microsoft.com/office/drawing/2014/main" id="{504CA26F-C181-43DC-AA37-C15F9D5597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8" y="739"/>
                <a:ext cx="6" cy="2"/>
              </a:xfrm>
              <a:custGeom>
                <a:avLst/>
                <a:gdLst>
                  <a:gd name="T0" fmla="*/ 4 w 6"/>
                  <a:gd name="T1" fmla="*/ 0 h 2"/>
                  <a:gd name="T2" fmla="*/ 6 w 6"/>
                  <a:gd name="T3" fmla="*/ 2 h 2"/>
                  <a:gd name="T4" fmla="*/ 6 w 6"/>
                  <a:gd name="T5" fmla="*/ 2 h 2"/>
                  <a:gd name="T6" fmla="*/ 4 w 6"/>
                  <a:gd name="T7" fmla="*/ 0 h 2"/>
                  <a:gd name="T8" fmla="*/ 0 w 6"/>
                  <a:gd name="T9" fmla="*/ 0 h 2"/>
                  <a:gd name="T10" fmla="*/ 0 w 6"/>
                  <a:gd name="T11" fmla="*/ 0 h 2"/>
                  <a:gd name="T12" fmla="*/ 0 w 6"/>
                  <a:gd name="T13" fmla="*/ 0 h 2"/>
                  <a:gd name="T14" fmla="*/ 4 w 6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2">
                    <a:moveTo>
                      <a:pt x="4" y="0"/>
                    </a:move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66" name="Freeform 1269">
                <a:extLst>
                  <a:ext uri="{FF2B5EF4-FFF2-40B4-BE49-F238E27FC236}">
                    <a16:creationId xmlns:a16="http://schemas.microsoft.com/office/drawing/2014/main" id="{D1C65309-CCDB-46CD-A92A-FDF115D965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0" y="75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67" name="Freeform 1270">
                <a:extLst>
                  <a:ext uri="{FF2B5EF4-FFF2-40B4-BE49-F238E27FC236}">
                    <a16:creationId xmlns:a16="http://schemas.microsoft.com/office/drawing/2014/main" id="{D0709399-C512-4B4C-B339-9867D456B0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7" y="741"/>
                <a:ext cx="20" cy="12"/>
              </a:xfrm>
              <a:custGeom>
                <a:avLst/>
                <a:gdLst>
                  <a:gd name="T0" fmla="*/ 12 w 20"/>
                  <a:gd name="T1" fmla="*/ 0 h 12"/>
                  <a:gd name="T2" fmla="*/ 16 w 20"/>
                  <a:gd name="T3" fmla="*/ 2 h 12"/>
                  <a:gd name="T4" fmla="*/ 18 w 20"/>
                  <a:gd name="T5" fmla="*/ 10 h 12"/>
                  <a:gd name="T6" fmla="*/ 20 w 20"/>
                  <a:gd name="T7" fmla="*/ 12 h 12"/>
                  <a:gd name="T8" fmla="*/ 18 w 20"/>
                  <a:gd name="T9" fmla="*/ 10 h 12"/>
                  <a:gd name="T10" fmla="*/ 16 w 20"/>
                  <a:gd name="T11" fmla="*/ 2 h 12"/>
                  <a:gd name="T12" fmla="*/ 12 w 20"/>
                  <a:gd name="T13" fmla="*/ 0 h 12"/>
                  <a:gd name="T14" fmla="*/ 4 w 20"/>
                  <a:gd name="T15" fmla="*/ 0 h 12"/>
                  <a:gd name="T16" fmla="*/ 0 w 20"/>
                  <a:gd name="T17" fmla="*/ 2 h 12"/>
                  <a:gd name="T18" fmla="*/ 4 w 20"/>
                  <a:gd name="T19" fmla="*/ 0 h 12"/>
                  <a:gd name="T20" fmla="*/ 12 w 20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12">
                    <a:moveTo>
                      <a:pt x="12" y="0"/>
                    </a:moveTo>
                    <a:lnTo>
                      <a:pt x="16" y="2"/>
                    </a:lnTo>
                    <a:lnTo>
                      <a:pt x="18" y="10"/>
                    </a:lnTo>
                    <a:lnTo>
                      <a:pt x="20" y="12"/>
                    </a:lnTo>
                    <a:lnTo>
                      <a:pt x="18" y="10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68" name="Freeform 1271">
                <a:extLst>
                  <a:ext uri="{FF2B5EF4-FFF2-40B4-BE49-F238E27FC236}">
                    <a16:creationId xmlns:a16="http://schemas.microsoft.com/office/drawing/2014/main" id="{D1FED756-08CC-4E4A-9B3E-E82152AC6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" y="768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0 w 4"/>
                  <a:gd name="T3" fmla="*/ 0 h 2"/>
                  <a:gd name="T4" fmla="*/ 0 w 4"/>
                  <a:gd name="T5" fmla="*/ 0 h 2"/>
                  <a:gd name="T6" fmla="*/ 4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69" name="Freeform 1272">
                <a:extLst>
                  <a:ext uri="{FF2B5EF4-FFF2-40B4-BE49-F238E27FC236}">
                    <a16:creationId xmlns:a16="http://schemas.microsoft.com/office/drawing/2014/main" id="{FD317170-33DC-45EA-A738-128295A7DE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1" y="887"/>
                <a:ext cx="8" cy="12"/>
              </a:xfrm>
              <a:custGeom>
                <a:avLst/>
                <a:gdLst>
                  <a:gd name="T0" fmla="*/ 8 w 8"/>
                  <a:gd name="T1" fmla="*/ 12 h 12"/>
                  <a:gd name="T2" fmla="*/ 6 w 8"/>
                  <a:gd name="T3" fmla="*/ 10 h 12"/>
                  <a:gd name="T4" fmla="*/ 0 w 8"/>
                  <a:gd name="T5" fmla="*/ 0 h 12"/>
                  <a:gd name="T6" fmla="*/ 0 w 8"/>
                  <a:gd name="T7" fmla="*/ 0 h 12"/>
                  <a:gd name="T8" fmla="*/ 6 w 8"/>
                  <a:gd name="T9" fmla="*/ 10 h 12"/>
                  <a:gd name="T10" fmla="*/ 8 w 8"/>
                  <a:gd name="T1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2">
                    <a:moveTo>
                      <a:pt x="8" y="12"/>
                    </a:moveTo>
                    <a:lnTo>
                      <a:pt x="6" y="1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10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70" name="Freeform 1273">
                <a:extLst>
                  <a:ext uri="{FF2B5EF4-FFF2-40B4-BE49-F238E27FC236}">
                    <a16:creationId xmlns:a16="http://schemas.microsoft.com/office/drawing/2014/main" id="{26DBB73F-39CB-474C-9F0C-CDAB53D915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" y="764"/>
                <a:ext cx="8" cy="4"/>
              </a:xfrm>
              <a:custGeom>
                <a:avLst/>
                <a:gdLst>
                  <a:gd name="T0" fmla="*/ 8 w 8"/>
                  <a:gd name="T1" fmla="*/ 4 h 4"/>
                  <a:gd name="T2" fmla="*/ 4 w 8"/>
                  <a:gd name="T3" fmla="*/ 2 h 4"/>
                  <a:gd name="T4" fmla="*/ 0 w 8"/>
                  <a:gd name="T5" fmla="*/ 0 h 4"/>
                  <a:gd name="T6" fmla="*/ 4 w 8"/>
                  <a:gd name="T7" fmla="*/ 2 h 4"/>
                  <a:gd name="T8" fmla="*/ 8 w 8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4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71" name="Freeform 1274">
                <a:extLst>
                  <a:ext uri="{FF2B5EF4-FFF2-40B4-BE49-F238E27FC236}">
                    <a16:creationId xmlns:a16="http://schemas.microsoft.com/office/drawing/2014/main" id="{0F1F013F-3AE9-419A-95E6-A3ABF24AD1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0" y="760"/>
                <a:ext cx="12" cy="4"/>
              </a:xfrm>
              <a:custGeom>
                <a:avLst/>
                <a:gdLst>
                  <a:gd name="T0" fmla="*/ 12 w 12"/>
                  <a:gd name="T1" fmla="*/ 0 h 4"/>
                  <a:gd name="T2" fmla="*/ 4 w 12"/>
                  <a:gd name="T3" fmla="*/ 2 h 4"/>
                  <a:gd name="T4" fmla="*/ 0 w 12"/>
                  <a:gd name="T5" fmla="*/ 4 h 4"/>
                  <a:gd name="T6" fmla="*/ 0 w 12"/>
                  <a:gd name="T7" fmla="*/ 4 h 4"/>
                  <a:gd name="T8" fmla="*/ 4 w 12"/>
                  <a:gd name="T9" fmla="*/ 2 h 4"/>
                  <a:gd name="T10" fmla="*/ 12 w 1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4">
                    <a:moveTo>
                      <a:pt x="12" y="0"/>
                    </a:moveTo>
                    <a:lnTo>
                      <a:pt x="4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72" name="Freeform 1275">
                <a:extLst>
                  <a:ext uri="{FF2B5EF4-FFF2-40B4-BE49-F238E27FC236}">
                    <a16:creationId xmlns:a16="http://schemas.microsoft.com/office/drawing/2014/main" id="{F798F285-6C58-4D04-BB2B-511E8C18B2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9" y="762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73" name="Freeform 1276">
                <a:extLst>
                  <a:ext uri="{FF2B5EF4-FFF2-40B4-BE49-F238E27FC236}">
                    <a16:creationId xmlns:a16="http://schemas.microsoft.com/office/drawing/2014/main" id="{F3729599-A30C-49E4-A51E-8995E71682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4" y="751"/>
                <a:ext cx="18" cy="17"/>
              </a:xfrm>
              <a:custGeom>
                <a:avLst/>
                <a:gdLst>
                  <a:gd name="T0" fmla="*/ 8 w 18"/>
                  <a:gd name="T1" fmla="*/ 4 h 17"/>
                  <a:gd name="T2" fmla="*/ 18 w 18"/>
                  <a:gd name="T3" fmla="*/ 17 h 17"/>
                  <a:gd name="T4" fmla="*/ 18 w 18"/>
                  <a:gd name="T5" fmla="*/ 17 h 17"/>
                  <a:gd name="T6" fmla="*/ 18 w 18"/>
                  <a:gd name="T7" fmla="*/ 17 h 17"/>
                  <a:gd name="T8" fmla="*/ 8 w 18"/>
                  <a:gd name="T9" fmla="*/ 4 h 17"/>
                  <a:gd name="T10" fmla="*/ 0 w 18"/>
                  <a:gd name="T11" fmla="*/ 0 h 17"/>
                  <a:gd name="T12" fmla="*/ 0 w 18"/>
                  <a:gd name="T13" fmla="*/ 0 h 17"/>
                  <a:gd name="T14" fmla="*/ 0 w 18"/>
                  <a:gd name="T15" fmla="*/ 0 h 17"/>
                  <a:gd name="T16" fmla="*/ 8 w 18"/>
                  <a:gd name="T17" fmla="*/ 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7">
                    <a:moveTo>
                      <a:pt x="8" y="4"/>
                    </a:moveTo>
                    <a:lnTo>
                      <a:pt x="18" y="17"/>
                    </a:lnTo>
                    <a:lnTo>
                      <a:pt x="18" y="17"/>
                    </a:lnTo>
                    <a:lnTo>
                      <a:pt x="18" y="17"/>
                    </a:lnTo>
                    <a:lnTo>
                      <a:pt x="8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74" name="Freeform 1277">
                <a:extLst>
                  <a:ext uri="{FF2B5EF4-FFF2-40B4-BE49-F238E27FC236}">
                    <a16:creationId xmlns:a16="http://schemas.microsoft.com/office/drawing/2014/main" id="{1F1C2FF5-2059-45AE-AA0F-BFF5EBE042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" y="743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2 w 6"/>
                  <a:gd name="T3" fmla="*/ 2 h 2"/>
                  <a:gd name="T4" fmla="*/ 0 w 6"/>
                  <a:gd name="T5" fmla="*/ 2 h 2"/>
                  <a:gd name="T6" fmla="*/ 2 w 6"/>
                  <a:gd name="T7" fmla="*/ 2 h 2"/>
                  <a:gd name="T8" fmla="*/ 6 w 6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75" name="Rectangle 1278">
                <a:extLst>
                  <a:ext uri="{FF2B5EF4-FFF2-40B4-BE49-F238E27FC236}">
                    <a16:creationId xmlns:a16="http://schemas.microsoft.com/office/drawing/2014/main" id="{277D675F-0B0E-483B-910B-EA2708AA1E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58" y="88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76" name="Freeform 1279">
                <a:extLst>
                  <a:ext uri="{FF2B5EF4-FFF2-40B4-BE49-F238E27FC236}">
                    <a16:creationId xmlns:a16="http://schemas.microsoft.com/office/drawing/2014/main" id="{13290F13-C5DD-4DF5-86CD-A4CB465183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4" y="764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2 w 6"/>
                  <a:gd name="T3" fmla="*/ 4 h 4"/>
                  <a:gd name="T4" fmla="*/ 0 w 6"/>
                  <a:gd name="T5" fmla="*/ 4 h 4"/>
                  <a:gd name="T6" fmla="*/ 2 w 6"/>
                  <a:gd name="T7" fmla="*/ 4 h 4"/>
                  <a:gd name="T8" fmla="*/ 6 w 6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2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77" name="Freeform 1280">
                <a:extLst>
                  <a:ext uri="{FF2B5EF4-FFF2-40B4-BE49-F238E27FC236}">
                    <a16:creationId xmlns:a16="http://schemas.microsoft.com/office/drawing/2014/main" id="{C3E47338-8D25-4134-8950-79B621FB6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" y="913"/>
                <a:ext cx="4" cy="0"/>
              </a:xfrm>
              <a:custGeom>
                <a:avLst/>
                <a:gdLst>
                  <a:gd name="T0" fmla="*/ 2 w 4"/>
                  <a:gd name="T1" fmla="*/ 4 w 4"/>
                  <a:gd name="T2" fmla="*/ 4 w 4"/>
                  <a:gd name="T3" fmla="*/ 4 w 4"/>
                  <a:gd name="T4" fmla="*/ 2 w 4"/>
                  <a:gd name="T5" fmla="*/ 0 w 4"/>
                  <a:gd name="T6" fmla="*/ 0 w 4"/>
                  <a:gd name="T7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78" name="Freeform 1281">
                <a:extLst>
                  <a:ext uri="{FF2B5EF4-FFF2-40B4-BE49-F238E27FC236}">
                    <a16:creationId xmlns:a16="http://schemas.microsoft.com/office/drawing/2014/main" id="{8D9AB881-2B50-4E96-9436-3616B05A16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1" y="897"/>
                <a:ext cx="13" cy="0"/>
              </a:xfrm>
              <a:custGeom>
                <a:avLst/>
                <a:gdLst>
                  <a:gd name="T0" fmla="*/ 13 w 13"/>
                  <a:gd name="T1" fmla="*/ 11 w 13"/>
                  <a:gd name="T2" fmla="*/ 0 w 13"/>
                  <a:gd name="T3" fmla="*/ 11 w 13"/>
                  <a:gd name="T4" fmla="*/ 13 w 1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3">
                    <a:moveTo>
                      <a:pt x="13" y="0"/>
                    </a:moveTo>
                    <a:lnTo>
                      <a:pt x="11" y="0"/>
                    </a:lnTo>
                    <a:lnTo>
                      <a:pt x="0" y="0"/>
                    </a:lnTo>
                    <a:lnTo>
                      <a:pt x="11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79" name="Freeform 1282">
                <a:extLst>
                  <a:ext uri="{FF2B5EF4-FFF2-40B4-BE49-F238E27FC236}">
                    <a16:creationId xmlns:a16="http://schemas.microsoft.com/office/drawing/2014/main" id="{5B3AD0C4-FE68-47AE-960B-23F4062956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5" y="774"/>
                <a:ext cx="2" cy="4"/>
              </a:xfrm>
              <a:custGeom>
                <a:avLst/>
                <a:gdLst>
                  <a:gd name="T0" fmla="*/ 2 w 2"/>
                  <a:gd name="T1" fmla="*/ 2 h 4"/>
                  <a:gd name="T2" fmla="*/ 2 w 2"/>
                  <a:gd name="T3" fmla="*/ 4 h 4"/>
                  <a:gd name="T4" fmla="*/ 2 w 2"/>
                  <a:gd name="T5" fmla="*/ 2 h 4"/>
                  <a:gd name="T6" fmla="*/ 0 w 2"/>
                  <a:gd name="T7" fmla="*/ 0 h 4"/>
                  <a:gd name="T8" fmla="*/ 0 w 2"/>
                  <a:gd name="T9" fmla="*/ 0 h 4"/>
                  <a:gd name="T10" fmla="*/ 0 w 2"/>
                  <a:gd name="T11" fmla="*/ 0 h 4"/>
                  <a:gd name="T12" fmla="*/ 2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2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80" name="Freeform 1283">
                <a:extLst>
                  <a:ext uri="{FF2B5EF4-FFF2-40B4-BE49-F238E27FC236}">
                    <a16:creationId xmlns:a16="http://schemas.microsoft.com/office/drawing/2014/main" id="{B429107C-8130-45C1-8FA3-68A2B3073A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6" y="901"/>
                <a:ext cx="9" cy="14"/>
              </a:xfrm>
              <a:custGeom>
                <a:avLst/>
                <a:gdLst>
                  <a:gd name="T0" fmla="*/ 8 w 9"/>
                  <a:gd name="T1" fmla="*/ 10 h 14"/>
                  <a:gd name="T2" fmla="*/ 9 w 9"/>
                  <a:gd name="T3" fmla="*/ 14 h 14"/>
                  <a:gd name="T4" fmla="*/ 9 w 9"/>
                  <a:gd name="T5" fmla="*/ 14 h 14"/>
                  <a:gd name="T6" fmla="*/ 8 w 9"/>
                  <a:gd name="T7" fmla="*/ 10 h 14"/>
                  <a:gd name="T8" fmla="*/ 2 w 9"/>
                  <a:gd name="T9" fmla="*/ 2 h 14"/>
                  <a:gd name="T10" fmla="*/ 0 w 9"/>
                  <a:gd name="T11" fmla="*/ 0 h 14"/>
                  <a:gd name="T12" fmla="*/ 2 w 9"/>
                  <a:gd name="T13" fmla="*/ 2 h 14"/>
                  <a:gd name="T14" fmla="*/ 8 w 9"/>
                  <a:gd name="T15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4">
                    <a:moveTo>
                      <a:pt x="8" y="10"/>
                    </a:moveTo>
                    <a:lnTo>
                      <a:pt x="9" y="14"/>
                    </a:lnTo>
                    <a:lnTo>
                      <a:pt x="9" y="14"/>
                    </a:lnTo>
                    <a:lnTo>
                      <a:pt x="8" y="10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81" name="Freeform 1284">
                <a:extLst>
                  <a:ext uri="{FF2B5EF4-FFF2-40B4-BE49-F238E27FC236}">
                    <a16:creationId xmlns:a16="http://schemas.microsoft.com/office/drawing/2014/main" id="{8A4ABBCD-D168-4611-9E40-4C6F2B89E0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2" y="887"/>
                <a:ext cx="16" cy="10"/>
              </a:xfrm>
              <a:custGeom>
                <a:avLst/>
                <a:gdLst>
                  <a:gd name="T0" fmla="*/ 6 w 16"/>
                  <a:gd name="T1" fmla="*/ 6 h 10"/>
                  <a:gd name="T2" fmla="*/ 10 w 16"/>
                  <a:gd name="T3" fmla="*/ 6 h 10"/>
                  <a:gd name="T4" fmla="*/ 16 w 16"/>
                  <a:gd name="T5" fmla="*/ 10 h 10"/>
                  <a:gd name="T6" fmla="*/ 10 w 16"/>
                  <a:gd name="T7" fmla="*/ 6 h 10"/>
                  <a:gd name="T8" fmla="*/ 6 w 16"/>
                  <a:gd name="T9" fmla="*/ 6 h 10"/>
                  <a:gd name="T10" fmla="*/ 0 w 16"/>
                  <a:gd name="T11" fmla="*/ 0 h 10"/>
                  <a:gd name="T12" fmla="*/ 0 w 16"/>
                  <a:gd name="T13" fmla="*/ 0 h 10"/>
                  <a:gd name="T14" fmla="*/ 6 w 16"/>
                  <a:gd name="T1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0">
                    <a:moveTo>
                      <a:pt x="6" y="6"/>
                    </a:moveTo>
                    <a:lnTo>
                      <a:pt x="10" y="6"/>
                    </a:lnTo>
                    <a:lnTo>
                      <a:pt x="16" y="10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82" name="Freeform 1285">
                <a:extLst>
                  <a:ext uri="{FF2B5EF4-FFF2-40B4-BE49-F238E27FC236}">
                    <a16:creationId xmlns:a16="http://schemas.microsoft.com/office/drawing/2014/main" id="{93145EC4-1367-4E5E-8F13-53600734B2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4" y="883"/>
                <a:ext cx="6" cy="4"/>
              </a:xfrm>
              <a:custGeom>
                <a:avLst/>
                <a:gdLst>
                  <a:gd name="T0" fmla="*/ 6 w 6"/>
                  <a:gd name="T1" fmla="*/ 4 h 4"/>
                  <a:gd name="T2" fmla="*/ 2 w 6"/>
                  <a:gd name="T3" fmla="*/ 2 h 4"/>
                  <a:gd name="T4" fmla="*/ 0 w 6"/>
                  <a:gd name="T5" fmla="*/ 0 h 4"/>
                  <a:gd name="T6" fmla="*/ 2 w 6"/>
                  <a:gd name="T7" fmla="*/ 2 h 4"/>
                  <a:gd name="T8" fmla="*/ 6 w 6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6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83" name="Freeform 1286">
                <a:extLst>
                  <a:ext uri="{FF2B5EF4-FFF2-40B4-BE49-F238E27FC236}">
                    <a16:creationId xmlns:a16="http://schemas.microsoft.com/office/drawing/2014/main" id="{13F2CF01-88E3-4048-815F-A15B155D8C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2" y="883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2 h 4"/>
                  <a:gd name="T4" fmla="*/ 0 w 2"/>
                  <a:gd name="T5" fmla="*/ 4 h 4"/>
                  <a:gd name="T6" fmla="*/ 0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84" name="Freeform 1287">
                <a:extLst>
                  <a:ext uri="{FF2B5EF4-FFF2-40B4-BE49-F238E27FC236}">
                    <a16:creationId xmlns:a16="http://schemas.microsoft.com/office/drawing/2014/main" id="{47151C1E-9775-4D5F-99A6-18F893B5B9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2" y="883"/>
                <a:ext cx="6" cy="0"/>
              </a:xfrm>
              <a:custGeom>
                <a:avLst/>
                <a:gdLst>
                  <a:gd name="T0" fmla="*/ 4 w 6"/>
                  <a:gd name="T1" fmla="*/ 6 w 6"/>
                  <a:gd name="T2" fmla="*/ 4 w 6"/>
                  <a:gd name="T3" fmla="*/ 0 w 6"/>
                  <a:gd name="T4" fmla="*/ 0 w 6"/>
                  <a:gd name="T5" fmla="*/ 4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4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85" name="Freeform 1288">
                <a:extLst>
                  <a:ext uri="{FF2B5EF4-FFF2-40B4-BE49-F238E27FC236}">
                    <a16:creationId xmlns:a16="http://schemas.microsoft.com/office/drawing/2014/main" id="{B859880B-A648-4876-B0DE-9AF330397E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8" y="880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86" name="Freeform 1289">
                <a:extLst>
                  <a:ext uri="{FF2B5EF4-FFF2-40B4-BE49-F238E27FC236}">
                    <a16:creationId xmlns:a16="http://schemas.microsoft.com/office/drawing/2014/main" id="{900C3C5B-B7A7-43B5-B3DB-F8D7609E81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9" y="911"/>
                <a:ext cx="8" cy="2"/>
              </a:xfrm>
              <a:custGeom>
                <a:avLst/>
                <a:gdLst>
                  <a:gd name="T0" fmla="*/ 4 w 8"/>
                  <a:gd name="T1" fmla="*/ 0 h 2"/>
                  <a:gd name="T2" fmla="*/ 6 w 8"/>
                  <a:gd name="T3" fmla="*/ 0 h 2"/>
                  <a:gd name="T4" fmla="*/ 8 w 8"/>
                  <a:gd name="T5" fmla="*/ 2 h 2"/>
                  <a:gd name="T6" fmla="*/ 6 w 8"/>
                  <a:gd name="T7" fmla="*/ 0 h 2"/>
                  <a:gd name="T8" fmla="*/ 4 w 8"/>
                  <a:gd name="T9" fmla="*/ 0 h 2"/>
                  <a:gd name="T10" fmla="*/ 2 w 8"/>
                  <a:gd name="T11" fmla="*/ 0 h 2"/>
                  <a:gd name="T12" fmla="*/ 0 w 8"/>
                  <a:gd name="T13" fmla="*/ 2 h 2"/>
                  <a:gd name="T14" fmla="*/ 2 w 8"/>
                  <a:gd name="T15" fmla="*/ 0 h 2"/>
                  <a:gd name="T16" fmla="*/ 4 w 8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2">
                    <a:moveTo>
                      <a:pt x="4" y="0"/>
                    </a:moveTo>
                    <a:lnTo>
                      <a:pt x="6" y="0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87" name="Freeform 1290">
                <a:extLst>
                  <a:ext uri="{FF2B5EF4-FFF2-40B4-BE49-F238E27FC236}">
                    <a16:creationId xmlns:a16="http://schemas.microsoft.com/office/drawing/2014/main" id="{24B53CE1-067B-4880-9507-97DEBC6F7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4" y="911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0 h 2"/>
                  <a:gd name="T4" fmla="*/ 0 w 4"/>
                  <a:gd name="T5" fmla="*/ 2 h 2"/>
                  <a:gd name="T6" fmla="*/ 4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88" name="Freeform 1291">
                <a:extLst>
                  <a:ext uri="{FF2B5EF4-FFF2-40B4-BE49-F238E27FC236}">
                    <a16:creationId xmlns:a16="http://schemas.microsoft.com/office/drawing/2014/main" id="{4B21C80D-DE81-42BE-B80B-EA547CE9E4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9" y="786"/>
                <a:ext cx="18" cy="4"/>
              </a:xfrm>
              <a:custGeom>
                <a:avLst/>
                <a:gdLst>
                  <a:gd name="T0" fmla="*/ 4 w 18"/>
                  <a:gd name="T1" fmla="*/ 4 h 4"/>
                  <a:gd name="T2" fmla="*/ 14 w 18"/>
                  <a:gd name="T3" fmla="*/ 2 h 4"/>
                  <a:gd name="T4" fmla="*/ 16 w 18"/>
                  <a:gd name="T5" fmla="*/ 0 h 4"/>
                  <a:gd name="T6" fmla="*/ 18 w 18"/>
                  <a:gd name="T7" fmla="*/ 0 h 4"/>
                  <a:gd name="T8" fmla="*/ 16 w 18"/>
                  <a:gd name="T9" fmla="*/ 0 h 4"/>
                  <a:gd name="T10" fmla="*/ 14 w 18"/>
                  <a:gd name="T11" fmla="*/ 2 h 4"/>
                  <a:gd name="T12" fmla="*/ 4 w 18"/>
                  <a:gd name="T13" fmla="*/ 4 h 4"/>
                  <a:gd name="T14" fmla="*/ 0 w 18"/>
                  <a:gd name="T15" fmla="*/ 4 h 4"/>
                  <a:gd name="T16" fmla="*/ 0 w 18"/>
                  <a:gd name="T17" fmla="*/ 4 h 4"/>
                  <a:gd name="T18" fmla="*/ 0 w 18"/>
                  <a:gd name="T19" fmla="*/ 4 h 4"/>
                  <a:gd name="T20" fmla="*/ 4 w 18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" h="4">
                    <a:moveTo>
                      <a:pt x="4" y="4"/>
                    </a:moveTo>
                    <a:lnTo>
                      <a:pt x="14" y="2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2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89" name="Freeform 1292">
                <a:extLst>
                  <a:ext uri="{FF2B5EF4-FFF2-40B4-BE49-F238E27FC236}">
                    <a16:creationId xmlns:a16="http://schemas.microsoft.com/office/drawing/2014/main" id="{2A2B3CE6-2197-4BEE-94E5-A7474C99E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7" y="780"/>
                <a:ext cx="6" cy="8"/>
              </a:xfrm>
              <a:custGeom>
                <a:avLst/>
                <a:gdLst>
                  <a:gd name="T0" fmla="*/ 2 w 6"/>
                  <a:gd name="T1" fmla="*/ 4 h 8"/>
                  <a:gd name="T2" fmla="*/ 4 w 6"/>
                  <a:gd name="T3" fmla="*/ 8 h 8"/>
                  <a:gd name="T4" fmla="*/ 6 w 6"/>
                  <a:gd name="T5" fmla="*/ 8 h 8"/>
                  <a:gd name="T6" fmla="*/ 4 w 6"/>
                  <a:gd name="T7" fmla="*/ 8 h 8"/>
                  <a:gd name="T8" fmla="*/ 2 w 6"/>
                  <a:gd name="T9" fmla="*/ 4 h 8"/>
                  <a:gd name="T10" fmla="*/ 0 w 6"/>
                  <a:gd name="T11" fmla="*/ 0 h 8"/>
                  <a:gd name="T12" fmla="*/ 0 w 6"/>
                  <a:gd name="T13" fmla="*/ 0 h 8"/>
                  <a:gd name="T14" fmla="*/ 0 w 6"/>
                  <a:gd name="T15" fmla="*/ 0 h 8"/>
                  <a:gd name="T16" fmla="*/ 2 w 6"/>
                  <a:gd name="T1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8">
                    <a:moveTo>
                      <a:pt x="2" y="4"/>
                    </a:moveTo>
                    <a:lnTo>
                      <a:pt x="4" y="8"/>
                    </a:lnTo>
                    <a:lnTo>
                      <a:pt x="6" y="8"/>
                    </a:lnTo>
                    <a:lnTo>
                      <a:pt x="4" y="8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90" name="Freeform 1293">
                <a:extLst>
                  <a:ext uri="{FF2B5EF4-FFF2-40B4-BE49-F238E27FC236}">
                    <a16:creationId xmlns:a16="http://schemas.microsoft.com/office/drawing/2014/main" id="{16734554-4DDA-469F-B794-9E2925607E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7" y="766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91" name="Freeform 1294">
                <a:extLst>
                  <a:ext uri="{FF2B5EF4-FFF2-40B4-BE49-F238E27FC236}">
                    <a16:creationId xmlns:a16="http://schemas.microsoft.com/office/drawing/2014/main" id="{0407ED7A-2CA0-430A-A2CB-3D584EAFC0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" y="901"/>
                <a:ext cx="45" cy="14"/>
              </a:xfrm>
              <a:custGeom>
                <a:avLst/>
                <a:gdLst>
                  <a:gd name="T0" fmla="*/ 4 w 45"/>
                  <a:gd name="T1" fmla="*/ 2 h 14"/>
                  <a:gd name="T2" fmla="*/ 18 w 45"/>
                  <a:gd name="T3" fmla="*/ 4 h 14"/>
                  <a:gd name="T4" fmla="*/ 45 w 45"/>
                  <a:gd name="T5" fmla="*/ 14 h 14"/>
                  <a:gd name="T6" fmla="*/ 45 w 45"/>
                  <a:gd name="T7" fmla="*/ 14 h 14"/>
                  <a:gd name="T8" fmla="*/ 18 w 45"/>
                  <a:gd name="T9" fmla="*/ 4 h 14"/>
                  <a:gd name="T10" fmla="*/ 4 w 45"/>
                  <a:gd name="T11" fmla="*/ 2 h 14"/>
                  <a:gd name="T12" fmla="*/ 0 w 45"/>
                  <a:gd name="T13" fmla="*/ 0 h 14"/>
                  <a:gd name="T14" fmla="*/ 0 w 45"/>
                  <a:gd name="T15" fmla="*/ 0 h 14"/>
                  <a:gd name="T16" fmla="*/ 4 w 45"/>
                  <a:gd name="T17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14">
                    <a:moveTo>
                      <a:pt x="4" y="2"/>
                    </a:moveTo>
                    <a:lnTo>
                      <a:pt x="18" y="4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18" y="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92" name="Freeform 1295">
                <a:extLst>
                  <a:ext uri="{FF2B5EF4-FFF2-40B4-BE49-F238E27FC236}">
                    <a16:creationId xmlns:a16="http://schemas.microsoft.com/office/drawing/2014/main" id="{FDFA20AF-DC0D-4477-B6A1-FBAC1EC3D1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5" y="813"/>
                <a:ext cx="2" cy="18"/>
              </a:xfrm>
              <a:custGeom>
                <a:avLst/>
                <a:gdLst>
                  <a:gd name="T0" fmla="*/ 0 w 2"/>
                  <a:gd name="T1" fmla="*/ 6 h 18"/>
                  <a:gd name="T2" fmla="*/ 0 w 2"/>
                  <a:gd name="T3" fmla="*/ 8 h 18"/>
                  <a:gd name="T4" fmla="*/ 0 w 2"/>
                  <a:gd name="T5" fmla="*/ 10 h 18"/>
                  <a:gd name="T6" fmla="*/ 0 w 2"/>
                  <a:gd name="T7" fmla="*/ 16 h 18"/>
                  <a:gd name="T8" fmla="*/ 0 w 2"/>
                  <a:gd name="T9" fmla="*/ 18 h 18"/>
                  <a:gd name="T10" fmla="*/ 0 w 2"/>
                  <a:gd name="T11" fmla="*/ 16 h 18"/>
                  <a:gd name="T12" fmla="*/ 0 w 2"/>
                  <a:gd name="T13" fmla="*/ 10 h 18"/>
                  <a:gd name="T14" fmla="*/ 0 w 2"/>
                  <a:gd name="T15" fmla="*/ 8 h 18"/>
                  <a:gd name="T16" fmla="*/ 0 w 2"/>
                  <a:gd name="T17" fmla="*/ 6 h 18"/>
                  <a:gd name="T18" fmla="*/ 2 w 2"/>
                  <a:gd name="T19" fmla="*/ 4 h 18"/>
                  <a:gd name="T20" fmla="*/ 0 w 2"/>
                  <a:gd name="T21" fmla="*/ 0 h 18"/>
                  <a:gd name="T22" fmla="*/ 2 w 2"/>
                  <a:gd name="T23" fmla="*/ 4 h 18"/>
                  <a:gd name="T24" fmla="*/ 0 w 2"/>
                  <a:gd name="T25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18">
                    <a:moveTo>
                      <a:pt x="0" y="6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93" name="Freeform 1296">
                <a:extLst>
                  <a:ext uri="{FF2B5EF4-FFF2-40B4-BE49-F238E27FC236}">
                    <a16:creationId xmlns:a16="http://schemas.microsoft.com/office/drawing/2014/main" id="{954E59CB-B3AF-4FB9-B6D8-952FF2A8A4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8" y="809"/>
                <a:ext cx="5" cy="2"/>
              </a:xfrm>
              <a:custGeom>
                <a:avLst/>
                <a:gdLst>
                  <a:gd name="T0" fmla="*/ 5 w 5"/>
                  <a:gd name="T1" fmla="*/ 2 h 2"/>
                  <a:gd name="T2" fmla="*/ 5 w 5"/>
                  <a:gd name="T3" fmla="*/ 2 h 2"/>
                  <a:gd name="T4" fmla="*/ 0 w 5"/>
                  <a:gd name="T5" fmla="*/ 0 h 2"/>
                  <a:gd name="T6" fmla="*/ 5 w 5"/>
                  <a:gd name="T7" fmla="*/ 2 h 2"/>
                  <a:gd name="T8" fmla="*/ 5 w 5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">
                    <a:moveTo>
                      <a:pt x="5" y="2"/>
                    </a:moveTo>
                    <a:lnTo>
                      <a:pt x="5" y="2"/>
                    </a:lnTo>
                    <a:lnTo>
                      <a:pt x="0" y="0"/>
                    </a:lnTo>
                    <a:lnTo>
                      <a:pt x="5" y="2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94" name="Freeform 1297">
                <a:extLst>
                  <a:ext uri="{FF2B5EF4-FFF2-40B4-BE49-F238E27FC236}">
                    <a16:creationId xmlns:a16="http://schemas.microsoft.com/office/drawing/2014/main" id="{C61EF77C-6272-4154-9317-E7F3E62059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2" y="801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2 h 4"/>
                  <a:gd name="T4" fmla="*/ 0 w 2"/>
                  <a:gd name="T5" fmla="*/ 0 h 4"/>
                  <a:gd name="T6" fmla="*/ 2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95" name="Freeform 1298">
                <a:extLst>
                  <a:ext uri="{FF2B5EF4-FFF2-40B4-BE49-F238E27FC236}">
                    <a16:creationId xmlns:a16="http://schemas.microsoft.com/office/drawing/2014/main" id="{853F988E-A82C-4790-A4F6-5BBA550955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9" y="854"/>
                <a:ext cx="23" cy="33"/>
              </a:xfrm>
              <a:custGeom>
                <a:avLst/>
                <a:gdLst>
                  <a:gd name="T0" fmla="*/ 17 w 23"/>
                  <a:gd name="T1" fmla="*/ 28 h 33"/>
                  <a:gd name="T2" fmla="*/ 23 w 23"/>
                  <a:gd name="T3" fmla="*/ 33 h 33"/>
                  <a:gd name="T4" fmla="*/ 17 w 23"/>
                  <a:gd name="T5" fmla="*/ 28 h 33"/>
                  <a:gd name="T6" fmla="*/ 2 w 23"/>
                  <a:gd name="T7" fmla="*/ 2 h 33"/>
                  <a:gd name="T8" fmla="*/ 0 w 23"/>
                  <a:gd name="T9" fmla="*/ 0 h 33"/>
                  <a:gd name="T10" fmla="*/ 2 w 23"/>
                  <a:gd name="T11" fmla="*/ 2 h 33"/>
                  <a:gd name="T12" fmla="*/ 17 w 23"/>
                  <a:gd name="T13" fmla="*/ 2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33">
                    <a:moveTo>
                      <a:pt x="17" y="28"/>
                    </a:moveTo>
                    <a:lnTo>
                      <a:pt x="23" y="33"/>
                    </a:lnTo>
                    <a:lnTo>
                      <a:pt x="17" y="28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17" y="2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96" name="Freeform 1299">
                <a:extLst>
                  <a:ext uri="{FF2B5EF4-FFF2-40B4-BE49-F238E27FC236}">
                    <a16:creationId xmlns:a16="http://schemas.microsoft.com/office/drawing/2014/main" id="{AD29B659-E614-4957-AA25-8E971B6900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6" y="743"/>
                <a:ext cx="4" cy="10"/>
              </a:xfrm>
              <a:custGeom>
                <a:avLst/>
                <a:gdLst>
                  <a:gd name="T0" fmla="*/ 2 w 4"/>
                  <a:gd name="T1" fmla="*/ 6 h 10"/>
                  <a:gd name="T2" fmla="*/ 4 w 4"/>
                  <a:gd name="T3" fmla="*/ 8 h 10"/>
                  <a:gd name="T4" fmla="*/ 4 w 4"/>
                  <a:gd name="T5" fmla="*/ 10 h 10"/>
                  <a:gd name="T6" fmla="*/ 4 w 4"/>
                  <a:gd name="T7" fmla="*/ 8 h 10"/>
                  <a:gd name="T8" fmla="*/ 2 w 4"/>
                  <a:gd name="T9" fmla="*/ 6 h 10"/>
                  <a:gd name="T10" fmla="*/ 0 w 4"/>
                  <a:gd name="T11" fmla="*/ 0 h 10"/>
                  <a:gd name="T12" fmla="*/ 0 w 4"/>
                  <a:gd name="T13" fmla="*/ 0 h 10"/>
                  <a:gd name="T14" fmla="*/ 0 w 4"/>
                  <a:gd name="T15" fmla="*/ 0 h 10"/>
                  <a:gd name="T16" fmla="*/ 2 w 4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0">
                    <a:moveTo>
                      <a:pt x="2" y="6"/>
                    </a:moveTo>
                    <a:lnTo>
                      <a:pt x="4" y="8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2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97" name="Freeform 1300">
                <a:extLst>
                  <a:ext uri="{FF2B5EF4-FFF2-40B4-BE49-F238E27FC236}">
                    <a16:creationId xmlns:a16="http://schemas.microsoft.com/office/drawing/2014/main" id="{CF8BBE9B-3834-412E-BE05-0DA198B6EF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7" y="776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6 w 8"/>
                  <a:gd name="T5" fmla="*/ 2 h 4"/>
                  <a:gd name="T6" fmla="*/ 0 w 8"/>
                  <a:gd name="T7" fmla="*/ 4 h 4"/>
                  <a:gd name="T8" fmla="*/ 6 w 8"/>
                  <a:gd name="T9" fmla="*/ 2 h 4"/>
                  <a:gd name="T10" fmla="*/ 8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0" y="4"/>
                    </a:lnTo>
                    <a:lnTo>
                      <a:pt x="6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98" name="Rectangle 1301">
                <a:extLst>
                  <a:ext uri="{FF2B5EF4-FFF2-40B4-BE49-F238E27FC236}">
                    <a16:creationId xmlns:a16="http://schemas.microsoft.com/office/drawing/2014/main" id="{D073C795-1F48-4B6A-9F69-08121E3683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9" y="90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599" name="Rectangle 1302">
                <a:extLst>
                  <a:ext uri="{FF2B5EF4-FFF2-40B4-BE49-F238E27FC236}">
                    <a16:creationId xmlns:a16="http://schemas.microsoft.com/office/drawing/2014/main" id="{8A1AFE63-F0EE-4289-92F7-FE2A8BAF58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9" y="89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00" name="Freeform 1303">
                <a:extLst>
                  <a:ext uri="{FF2B5EF4-FFF2-40B4-BE49-F238E27FC236}">
                    <a16:creationId xmlns:a16="http://schemas.microsoft.com/office/drawing/2014/main" id="{C0DE5BD5-5008-45F2-A000-2850169DBD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1" y="778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0 w 4"/>
                  <a:gd name="T3" fmla="*/ 0 h 2"/>
                  <a:gd name="T4" fmla="*/ 4 w 4"/>
                  <a:gd name="T5" fmla="*/ 2 h 2"/>
                  <a:gd name="T6" fmla="*/ 0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01" name="Freeform 1304">
                <a:extLst>
                  <a:ext uri="{FF2B5EF4-FFF2-40B4-BE49-F238E27FC236}">
                    <a16:creationId xmlns:a16="http://schemas.microsoft.com/office/drawing/2014/main" id="{DA5E7ED2-7F9D-469B-A02D-0E2D075413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7" y="786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02" name="Freeform 1305">
                <a:extLst>
                  <a:ext uri="{FF2B5EF4-FFF2-40B4-BE49-F238E27FC236}">
                    <a16:creationId xmlns:a16="http://schemas.microsoft.com/office/drawing/2014/main" id="{F6BD5735-EEE3-47D3-BB54-3DF7ED190E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6" y="798"/>
                <a:ext cx="2" cy="5"/>
              </a:xfrm>
              <a:custGeom>
                <a:avLst/>
                <a:gdLst>
                  <a:gd name="T0" fmla="*/ 0 w 2"/>
                  <a:gd name="T1" fmla="*/ 3 h 5"/>
                  <a:gd name="T2" fmla="*/ 2 w 2"/>
                  <a:gd name="T3" fmla="*/ 0 h 5"/>
                  <a:gd name="T4" fmla="*/ 0 w 2"/>
                  <a:gd name="T5" fmla="*/ 3 h 5"/>
                  <a:gd name="T6" fmla="*/ 0 w 2"/>
                  <a:gd name="T7" fmla="*/ 5 h 5"/>
                  <a:gd name="T8" fmla="*/ 0 w 2"/>
                  <a:gd name="T9" fmla="*/ 5 h 5"/>
                  <a:gd name="T10" fmla="*/ 0 w 2"/>
                  <a:gd name="T1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5">
                    <a:moveTo>
                      <a:pt x="0" y="3"/>
                    </a:moveTo>
                    <a:lnTo>
                      <a:pt x="2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03" name="Freeform 1306">
                <a:extLst>
                  <a:ext uri="{FF2B5EF4-FFF2-40B4-BE49-F238E27FC236}">
                    <a16:creationId xmlns:a16="http://schemas.microsoft.com/office/drawing/2014/main" id="{7A393068-BF69-4BB9-9B65-0A657995AF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8" y="803"/>
                <a:ext cx="10" cy="4"/>
              </a:xfrm>
              <a:custGeom>
                <a:avLst/>
                <a:gdLst>
                  <a:gd name="T0" fmla="*/ 10 w 10"/>
                  <a:gd name="T1" fmla="*/ 4 h 4"/>
                  <a:gd name="T2" fmla="*/ 8 w 10"/>
                  <a:gd name="T3" fmla="*/ 4 h 4"/>
                  <a:gd name="T4" fmla="*/ 0 w 10"/>
                  <a:gd name="T5" fmla="*/ 0 h 4"/>
                  <a:gd name="T6" fmla="*/ 0 w 10"/>
                  <a:gd name="T7" fmla="*/ 0 h 4"/>
                  <a:gd name="T8" fmla="*/ 8 w 10"/>
                  <a:gd name="T9" fmla="*/ 4 h 4"/>
                  <a:gd name="T10" fmla="*/ 10 w 10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4">
                    <a:moveTo>
                      <a:pt x="10" y="4"/>
                    </a:moveTo>
                    <a:lnTo>
                      <a:pt x="8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04" name="Rectangle 1307">
                <a:extLst>
                  <a:ext uri="{FF2B5EF4-FFF2-40B4-BE49-F238E27FC236}">
                    <a16:creationId xmlns:a16="http://schemas.microsoft.com/office/drawing/2014/main" id="{16FCAE82-19B3-416B-ABCD-3A127A1DBA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8" y="78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05" name="Freeform 1308">
                <a:extLst>
                  <a:ext uri="{FF2B5EF4-FFF2-40B4-BE49-F238E27FC236}">
                    <a16:creationId xmlns:a16="http://schemas.microsoft.com/office/drawing/2014/main" id="{6C383961-7354-4030-BBB9-8B7BFEF239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5" y="1717"/>
                <a:ext cx="1676" cy="1584"/>
              </a:xfrm>
              <a:custGeom>
                <a:avLst/>
                <a:gdLst>
                  <a:gd name="T0" fmla="*/ 45 w 1676"/>
                  <a:gd name="T1" fmla="*/ 484 h 1584"/>
                  <a:gd name="T2" fmla="*/ 82 w 1676"/>
                  <a:gd name="T3" fmla="*/ 633 h 1584"/>
                  <a:gd name="T4" fmla="*/ 103 w 1676"/>
                  <a:gd name="T5" fmla="*/ 781 h 1584"/>
                  <a:gd name="T6" fmla="*/ 113 w 1676"/>
                  <a:gd name="T7" fmla="*/ 930 h 1584"/>
                  <a:gd name="T8" fmla="*/ 140 w 1676"/>
                  <a:gd name="T9" fmla="*/ 1037 h 1584"/>
                  <a:gd name="T10" fmla="*/ 144 w 1676"/>
                  <a:gd name="T11" fmla="*/ 1070 h 1584"/>
                  <a:gd name="T12" fmla="*/ 168 w 1676"/>
                  <a:gd name="T13" fmla="*/ 1068 h 1584"/>
                  <a:gd name="T14" fmla="*/ 203 w 1676"/>
                  <a:gd name="T15" fmla="*/ 1107 h 1584"/>
                  <a:gd name="T16" fmla="*/ 279 w 1676"/>
                  <a:gd name="T17" fmla="*/ 1131 h 1584"/>
                  <a:gd name="T18" fmla="*/ 312 w 1676"/>
                  <a:gd name="T19" fmla="*/ 1168 h 1584"/>
                  <a:gd name="T20" fmla="*/ 381 w 1676"/>
                  <a:gd name="T21" fmla="*/ 1183 h 1584"/>
                  <a:gd name="T22" fmla="*/ 351 w 1676"/>
                  <a:gd name="T23" fmla="*/ 1207 h 1584"/>
                  <a:gd name="T24" fmla="*/ 373 w 1676"/>
                  <a:gd name="T25" fmla="*/ 1234 h 1584"/>
                  <a:gd name="T26" fmla="*/ 437 w 1676"/>
                  <a:gd name="T27" fmla="*/ 1293 h 1584"/>
                  <a:gd name="T28" fmla="*/ 476 w 1676"/>
                  <a:gd name="T29" fmla="*/ 1265 h 1584"/>
                  <a:gd name="T30" fmla="*/ 459 w 1676"/>
                  <a:gd name="T31" fmla="*/ 1215 h 1584"/>
                  <a:gd name="T32" fmla="*/ 527 w 1676"/>
                  <a:gd name="T33" fmla="*/ 1242 h 1584"/>
                  <a:gd name="T34" fmla="*/ 553 w 1676"/>
                  <a:gd name="T35" fmla="*/ 1263 h 1584"/>
                  <a:gd name="T36" fmla="*/ 603 w 1676"/>
                  <a:gd name="T37" fmla="*/ 1250 h 1584"/>
                  <a:gd name="T38" fmla="*/ 588 w 1676"/>
                  <a:gd name="T39" fmla="*/ 1297 h 1584"/>
                  <a:gd name="T40" fmla="*/ 621 w 1676"/>
                  <a:gd name="T41" fmla="*/ 1332 h 1584"/>
                  <a:gd name="T42" fmla="*/ 664 w 1676"/>
                  <a:gd name="T43" fmla="*/ 1322 h 1584"/>
                  <a:gd name="T44" fmla="*/ 717 w 1676"/>
                  <a:gd name="T45" fmla="*/ 1345 h 1584"/>
                  <a:gd name="T46" fmla="*/ 766 w 1676"/>
                  <a:gd name="T47" fmla="*/ 1406 h 1584"/>
                  <a:gd name="T48" fmla="*/ 810 w 1676"/>
                  <a:gd name="T49" fmla="*/ 1482 h 1584"/>
                  <a:gd name="T50" fmla="*/ 851 w 1676"/>
                  <a:gd name="T51" fmla="*/ 1466 h 1584"/>
                  <a:gd name="T52" fmla="*/ 900 w 1676"/>
                  <a:gd name="T53" fmla="*/ 1437 h 1584"/>
                  <a:gd name="T54" fmla="*/ 947 w 1676"/>
                  <a:gd name="T55" fmla="*/ 1486 h 1584"/>
                  <a:gd name="T56" fmla="*/ 941 w 1676"/>
                  <a:gd name="T57" fmla="*/ 1525 h 1584"/>
                  <a:gd name="T58" fmla="*/ 1006 w 1676"/>
                  <a:gd name="T59" fmla="*/ 1504 h 1584"/>
                  <a:gd name="T60" fmla="*/ 1084 w 1676"/>
                  <a:gd name="T61" fmla="*/ 1480 h 1584"/>
                  <a:gd name="T62" fmla="*/ 1145 w 1676"/>
                  <a:gd name="T63" fmla="*/ 1504 h 1584"/>
                  <a:gd name="T64" fmla="*/ 1193 w 1676"/>
                  <a:gd name="T65" fmla="*/ 1468 h 1584"/>
                  <a:gd name="T66" fmla="*/ 1266 w 1676"/>
                  <a:gd name="T67" fmla="*/ 1478 h 1584"/>
                  <a:gd name="T68" fmla="*/ 1324 w 1676"/>
                  <a:gd name="T69" fmla="*/ 1531 h 1584"/>
                  <a:gd name="T70" fmla="*/ 1408 w 1676"/>
                  <a:gd name="T71" fmla="*/ 1564 h 1584"/>
                  <a:gd name="T72" fmla="*/ 1443 w 1676"/>
                  <a:gd name="T73" fmla="*/ 1545 h 1584"/>
                  <a:gd name="T74" fmla="*/ 1453 w 1676"/>
                  <a:gd name="T75" fmla="*/ 1406 h 1584"/>
                  <a:gd name="T76" fmla="*/ 1650 w 1676"/>
                  <a:gd name="T77" fmla="*/ 1220 h 1584"/>
                  <a:gd name="T78" fmla="*/ 1656 w 1676"/>
                  <a:gd name="T79" fmla="*/ 1105 h 1584"/>
                  <a:gd name="T80" fmla="*/ 1600 w 1676"/>
                  <a:gd name="T81" fmla="*/ 984 h 1584"/>
                  <a:gd name="T82" fmla="*/ 1580 w 1676"/>
                  <a:gd name="T83" fmla="*/ 914 h 1584"/>
                  <a:gd name="T84" fmla="*/ 1578 w 1676"/>
                  <a:gd name="T85" fmla="*/ 881 h 1584"/>
                  <a:gd name="T86" fmla="*/ 1590 w 1676"/>
                  <a:gd name="T87" fmla="*/ 828 h 1584"/>
                  <a:gd name="T88" fmla="*/ 1590 w 1676"/>
                  <a:gd name="T89" fmla="*/ 769 h 1584"/>
                  <a:gd name="T90" fmla="*/ 1561 w 1676"/>
                  <a:gd name="T91" fmla="*/ 746 h 1584"/>
                  <a:gd name="T92" fmla="*/ 1518 w 1676"/>
                  <a:gd name="T93" fmla="*/ 721 h 1584"/>
                  <a:gd name="T94" fmla="*/ 1637 w 1676"/>
                  <a:gd name="T95" fmla="*/ 545 h 1584"/>
                  <a:gd name="T96" fmla="*/ 1635 w 1676"/>
                  <a:gd name="T97" fmla="*/ 482 h 1584"/>
                  <a:gd name="T98" fmla="*/ 1568 w 1676"/>
                  <a:gd name="T99" fmla="*/ 274 h 1584"/>
                  <a:gd name="T100" fmla="*/ 1565 w 1676"/>
                  <a:gd name="T101" fmla="*/ 209 h 1584"/>
                  <a:gd name="T102" fmla="*/ 1490 w 1676"/>
                  <a:gd name="T103" fmla="*/ 149 h 1584"/>
                  <a:gd name="T104" fmla="*/ 1447 w 1676"/>
                  <a:gd name="T105" fmla="*/ 139 h 1584"/>
                  <a:gd name="T106" fmla="*/ 894 w 1676"/>
                  <a:gd name="T107" fmla="*/ 151 h 1584"/>
                  <a:gd name="T108" fmla="*/ 916 w 1676"/>
                  <a:gd name="T109" fmla="*/ 111 h 1584"/>
                  <a:gd name="T110" fmla="*/ 734 w 1676"/>
                  <a:gd name="T111" fmla="*/ 59 h 1584"/>
                  <a:gd name="T112" fmla="*/ 777 w 1676"/>
                  <a:gd name="T113" fmla="*/ 57 h 1584"/>
                  <a:gd name="T114" fmla="*/ 390 w 1676"/>
                  <a:gd name="T115" fmla="*/ 98 h 1584"/>
                  <a:gd name="T116" fmla="*/ 349 w 1676"/>
                  <a:gd name="T117" fmla="*/ 160 h 1584"/>
                  <a:gd name="T118" fmla="*/ 11 w 1676"/>
                  <a:gd name="T119" fmla="*/ 266 h 1584"/>
                  <a:gd name="T120" fmla="*/ 47 w 1676"/>
                  <a:gd name="T121" fmla="*/ 270 h 1584"/>
                  <a:gd name="T122" fmla="*/ 82 w 1676"/>
                  <a:gd name="T123" fmla="*/ 307 h 1584"/>
                  <a:gd name="T124" fmla="*/ 33 w 1676"/>
                  <a:gd name="T125" fmla="*/ 315 h 15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76" h="1584">
                    <a:moveTo>
                      <a:pt x="23" y="338"/>
                    </a:moveTo>
                    <a:lnTo>
                      <a:pt x="25" y="344"/>
                    </a:lnTo>
                    <a:lnTo>
                      <a:pt x="29" y="354"/>
                    </a:lnTo>
                    <a:lnTo>
                      <a:pt x="29" y="357"/>
                    </a:lnTo>
                    <a:lnTo>
                      <a:pt x="29" y="367"/>
                    </a:lnTo>
                    <a:lnTo>
                      <a:pt x="29" y="373"/>
                    </a:lnTo>
                    <a:lnTo>
                      <a:pt x="31" y="379"/>
                    </a:lnTo>
                    <a:lnTo>
                      <a:pt x="35" y="385"/>
                    </a:lnTo>
                    <a:lnTo>
                      <a:pt x="37" y="391"/>
                    </a:lnTo>
                    <a:lnTo>
                      <a:pt x="41" y="397"/>
                    </a:lnTo>
                    <a:lnTo>
                      <a:pt x="41" y="412"/>
                    </a:lnTo>
                    <a:lnTo>
                      <a:pt x="45" y="428"/>
                    </a:lnTo>
                    <a:lnTo>
                      <a:pt x="47" y="434"/>
                    </a:lnTo>
                    <a:lnTo>
                      <a:pt x="47" y="436"/>
                    </a:lnTo>
                    <a:lnTo>
                      <a:pt x="47" y="441"/>
                    </a:lnTo>
                    <a:lnTo>
                      <a:pt x="47" y="443"/>
                    </a:lnTo>
                    <a:lnTo>
                      <a:pt x="49" y="445"/>
                    </a:lnTo>
                    <a:lnTo>
                      <a:pt x="51" y="447"/>
                    </a:lnTo>
                    <a:lnTo>
                      <a:pt x="51" y="449"/>
                    </a:lnTo>
                    <a:lnTo>
                      <a:pt x="54" y="451"/>
                    </a:lnTo>
                    <a:lnTo>
                      <a:pt x="49" y="459"/>
                    </a:lnTo>
                    <a:lnTo>
                      <a:pt x="49" y="461"/>
                    </a:lnTo>
                    <a:lnTo>
                      <a:pt x="47" y="463"/>
                    </a:lnTo>
                    <a:lnTo>
                      <a:pt x="45" y="465"/>
                    </a:lnTo>
                    <a:lnTo>
                      <a:pt x="43" y="469"/>
                    </a:lnTo>
                    <a:lnTo>
                      <a:pt x="43" y="473"/>
                    </a:lnTo>
                    <a:lnTo>
                      <a:pt x="43" y="477"/>
                    </a:lnTo>
                    <a:lnTo>
                      <a:pt x="45" y="480"/>
                    </a:lnTo>
                    <a:lnTo>
                      <a:pt x="45" y="484"/>
                    </a:lnTo>
                    <a:lnTo>
                      <a:pt x="39" y="500"/>
                    </a:lnTo>
                    <a:lnTo>
                      <a:pt x="39" y="502"/>
                    </a:lnTo>
                    <a:lnTo>
                      <a:pt x="37" y="508"/>
                    </a:lnTo>
                    <a:lnTo>
                      <a:pt x="31" y="514"/>
                    </a:lnTo>
                    <a:lnTo>
                      <a:pt x="21" y="521"/>
                    </a:lnTo>
                    <a:lnTo>
                      <a:pt x="11" y="525"/>
                    </a:lnTo>
                    <a:lnTo>
                      <a:pt x="4" y="531"/>
                    </a:lnTo>
                    <a:lnTo>
                      <a:pt x="4" y="533"/>
                    </a:lnTo>
                    <a:lnTo>
                      <a:pt x="6" y="537"/>
                    </a:lnTo>
                    <a:lnTo>
                      <a:pt x="8" y="547"/>
                    </a:lnTo>
                    <a:lnTo>
                      <a:pt x="8" y="549"/>
                    </a:lnTo>
                    <a:lnTo>
                      <a:pt x="6" y="555"/>
                    </a:lnTo>
                    <a:lnTo>
                      <a:pt x="6" y="559"/>
                    </a:lnTo>
                    <a:lnTo>
                      <a:pt x="0" y="563"/>
                    </a:lnTo>
                    <a:lnTo>
                      <a:pt x="2" y="566"/>
                    </a:lnTo>
                    <a:lnTo>
                      <a:pt x="6" y="568"/>
                    </a:lnTo>
                    <a:lnTo>
                      <a:pt x="10" y="570"/>
                    </a:lnTo>
                    <a:lnTo>
                      <a:pt x="11" y="570"/>
                    </a:lnTo>
                    <a:lnTo>
                      <a:pt x="15" y="570"/>
                    </a:lnTo>
                    <a:lnTo>
                      <a:pt x="21" y="578"/>
                    </a:lnTo>
                    <a:lnTo>
                      <a:pt x="25" y="580"/>
                    </a:lnTo>
                    <a:lnTo>
                      <a:pt x="43" y="594"/>
                    </a:lnTo>
                    <a:lnTo>
                      <a:pt x="47" y="596"/>
                    </a:lnTo>
                    <a:lnTo>
                      <a:pt x="52" y="607"/>
                    </a:lnTo>
                    <a:lnTo>
                      <a:pt x="54" y="609"/>
                    </a:lnTo>
                    <a:lnTo>
                      <a:pt x="56" y="611"/>
                    </a:lnTo>
                    <a:lnTo>
                      <a:pt x="62" y="617"/>
                    </a:lnTo>
                    <a:lnTo>
                      <a:pt x="72" y="621"/>
                    </a:lnTo>
                    <a:lnTo>
                      <a:pt x="82" y="633"/>
                    </a:lnTo>
                    <a:lnTo>
                      <a:pt x="82" y="633"/>
                    </a:lnTo>
                    <a:lnTo>
                      <a:pt x="88" y="637"/>
                    </a:lnTo>
                    <a:lnTo>
                      <a:pt x="82" y="648"/>
                    </a:lnTo>
                    <a:lnTo>
                      <a:pt x="82" y="654"/>
                    </a:lnTo>
                    <a:lnTo>
                      <a:pt x="84" y="656"/>
                    </a:lnTo>
                    <a:lnTo>
                      <a:pt x="86" y="660"/>
                    </a:lnTo>
                    <a:lnTo>
                      <a:pt x="82" y="666"/>
                    </a:lnTo>
                    <a:lnTo>
                      <a:pt x="78" y="672"/>
                    </a:lnTo>
                    <a:lnTo>
                      <a:pt x="70" y="680"/>
                    </a:lnTo>
                    <a:lnTo>
                      <a:pt x="70" y="691"/>
                    </a:lnTo>
                    <a:lnTo>
                      <a:pt x="74" y="703"/>
                    </a:lnTo>
                    <a:lnTo>
                      <a:pt x="78" y="711"/>
                    </a:lnTo>
                    <a:lnTo>
                      <a:pt x="78" y="715"/>
                    </a:lnTo>
                    <a:lnTo>
                      <a:pt x="82" y="721"/>
                    </a:lnTo>
                    <a:lnTo>
                      <a:pt x="88" y="723"/>
                    </a:lnTo>
                    <a:lnTo>
                      <a:pt x="92" y="725"/>
                    </a:lnTo>
                    <a:lnTo>
                      <a:pt x="95" y="727"/>
                    </a:lnTo>
                    <a:lnTo>
                      <a:pt x="99" y="730"/>
                    </a:lnTo>
                    <a:lnTo>
                      <a:pt x="99" y="736"/>
                    </a:lnTo>
                    <a:lnTo>
                      <a:pt x="95" y="740"/>
                    </a:lnTo>
                    <a:lnTo>
                      <a:pt x="95" y="742"/>
                    </a:lnTo>
                    <a:lnTo>
                      <a:pt x="97" y="746"/>
                    </a:lnTo>
                    <a:lnTo>
                      <a:pt x="97" y="750"/>
                    </a:lnTo>
                    <a:lnTo>
                      <a:pt x="95" y="756"/>
                    </a:lnTo>
                    <a:lnTo>
                      <a:pt x="94" y="762"/>
                    </a:lnTo>
                    <a:lnTo>
                      <a:pt x="95" y="766"/>
                    </a:lnTo>
                    <a:lnTo>
                      <a:pt x="107" y="773"/>
                    </a:lnTo>
                    <a:lnTo>
                      <a:pt x="103" y="777"/>
                    </a:lnTo>
                    <a:lnTo>
                      <a:pt x="103" y="781"/>
                    </a:lnTo>
                    <a:lnTo>
                      <a:pt x="101" y="783"/>
                    </a:lnTo>
                    <a:lnTo>
                      <a:pt x="101" y="785"/>
                    </a:lnTo>
                    <a:lnTo>
                      <a:pt x="101" y="787"/>
                    </a:lnTo>
                    <a:lnTo>
                      <a:pt x="97" y="795"/>
                    </a:lnTo>
                    <a:lnTo>
                      <a:pt x="97" y="797"/>
                    </a:lnTo>
                    <a:lnTo>
                      <a:pt x="95" y="814"/>
                    </a:lnTo>
                    <a:lnTo>
                      <a:pt x="95" y="818"/>
                    </a:lnTo>
                    <a:lnTo>
                      <a:pt x="92" y="824"/>
                    </a:lnTo>
                    <a:lnTo>
                      <a:pt x="90" y="828"/>
                    </a:lnTo>
                    <a:lnTo>
                      <a:pt x="80" y="838"/>
                    </a:lnTo>
                    <a:lnTo>
                      <a:pt x="78" y="842"/>
                    </a:lnTo>
                    <a:lnTo>
                      <a:pt x="78" y="848"/>
                    </a:lnTo>
                    <a:lnTo>
                      <a:pt x="80" y="851"/>
                    </a:lnTo>
                    <a:lnTo>
                      <a:pt x="84" y="853"/>
                    </a:lnTo>
                    <a:lnTo>
                      <a:pt x="86" y="857"/>
                    </a:lnTo>
                    <a:lnTo>
                      <a:pt x="86" y="865"/>
                    </a:lnTo>
                    <a:lnTo>
                      <a:pt x="88" y="871"/>
                    </a:lnTo>
                    <a:lnTo>
                      <a:pt x="92" y="875"/>
                    </a:lnTo>
                    <a:lnTo>
                      <a:pt x="99" y="883"/>
                    </a:lnTo>
                    <a:lnTo>
                      <a:pt x="101" y="887"/>
                    </a:lnTo>
                    <a:lnTo>
                      <a:pt x="103" y="894"/>
                    </a:lnTo>
                    <a:lnTo>
                      <a:pt x="103" y="900"/>
                    </a:lnTo>
                    <a:lnTo>
                      <a:pt x="101" y="906"/>
                    </a:lnTo>
                    <a:lnTo>
                      <a:pt x="99" y="912"/>
                    </a:lnTo>
                    <a:lnTo>
                      <a:pt x="97" y="916"/>
                    </a:lnTo>
                    <a:lnTo>
                      <a:pt x="97" y="918"/>
                    </a:lnTo>
                    <a:lnTo>
                      <a:pt x="97" y="922"/>
                    </a:lnTo>
                    <a:lnTo>
                      <a:pt x="101" y="926"/>
                    </a:lnTo>
                    <a:lnTo>
                      <a:pt x="113" y="930"/>
                    </a:lnTo>
                    <a:lnTo>
                      <a:pt x="117" y="932"/>
                    </a:lnTo>
                    <a:lnTo>
                      <a:pt x="117" y="932"/>
                    </a:lnTo>
                    <a:lnTo>
                      <a:pt x="121" y="933"/>
                    </a:lnTo>
                    <a:lnTo>
                      <a:pt x="129" y="935"/>
                    </a:lnTo>
                    <a:lnTo>
                      <a:pt x="133" y="937"/>
                    </a:lnTo>
                    <a:lnTo>
                      <a:pt x="135" y="939"/>
                    </a:lnTo>
                    <a:lnTo>
                      <a:pt x="138" y="943"/>
                    </a:lnTo>
                    <a:lnTo>
                      <a:pt x="138" y="947"/>
                    </a:lnTo>
                    <a:lnTo>
                      <a:pt x="138" y="951"/>
                    </a:lnTo>
                    <a:lnTo>
                      <a:pt x="138" y="957"/>
                    </a:lnTo>
                    <a:lnTo>
                      <a:pt x="140" y="969"/>
                    </a:lnTo>
                    <a:lnTo>
                      <a:pt x="140" y="969"/>
                    </a:lnTo>
                    <a:lnTo>
                      <a:pt x="140" y="974"/>
                    </a:lnTo>
                    <a:lnTo>
                      <a:pt x="140" y="976"/>
                    </a:lnTo>
                    <a:lnTo>
                      <a:pt x="144" y="980"/>
                    </a:lnTo>
                    <a:lnTo>
                      <a:pt x="148" y="986"/>
                    </a:lnTo>
                    <a:lnTo>
                      <a:pt x="150" y="990"/>
                    </a:lnTo>
                    <a:lnTo>
                      <a:pt x="150" y="998"/>
                    </a:lnTo>
                    <a:lnTo>
                      <a:pt x="150" y="1000"/>
                    </a:lnTo>
                    <a:lnTo>
                      <a:pt x="150" y="1000"/>
                    </a:lnTo>
                    <a:lnTo>
                      <a:pt x="148" y="1006"/>
                    </a:lnTo>
                    <a:lnTo>
                      <a:pt x="146" y="1014"/>
                    </a:lnTo>
                    <a:lnTo>
                      <a:pt x="144" y="1019"/>
                    </a:lnTo>
                    <a:lnTo>
                      <a:pt x="144" y="1027"/>
                    </a:lnTo>
                    <a:lnTo>
                      <a:pt x="144" y="1031"/>
                    </a:lnTo>
                    <a:lnTo>
                      <a:pt x="142" y="1031"/>
                    </a:lnTo>
                    <a:lnTo>
                      <a:pt x="140" y="1033"/>
                    </a:lnTo>
                    <a:lnTo>
                      <a:pt x="140" y="1035"/>
                    </a:lnTo>
                    <a:lnTo>
                      <a:pt x="140" y="1037"/>
                    </a:lnTo>
                    <a:lnTo>
                      <a:pt x="140" y="1043"/>
                    </a:lnTo>
                    <a:lnTo>
                      <a:pt x="138" y="1047"/>
                    </a:lnTo>
                    <a:lnTo>
                      <a:pt x="133" y="1064"/>
                    </a:lnTo>
                    <a:lnTo>
                      <a:pt x="123" y="1086"/>
                    </a:lnTo>
                    <a:lnTo>
                      <a:pt x="117" y="1092"/>
                    </a:lnTo>
                    <a:lnTo>
                      <a:pt x="115" y="1096"/>
                    </a:lnTo>
                    <a:lnTo>
                      <a:pt x="115" y="1099"/>
                    </a:lnTo>
                    <a:lnTo>
                      <a:pt x="115" y="1099"/>
                    </a:lnTo>
                    <a:lnTo>
                      <a:pt x="119" y="1101"/>
                    </a:lnTo>
                    <a:lnTo>
                      <a:pt x="125" y="1099"/>
                    </a:lnTo>
                    <a:lnTo>
                      <a:pt x="129" y="1099"/>
                    </a:lnTo>
                    <a:lnTo>
                      <a:pt x="144" y="1099"/>
                    </a:lnTo>
                    <a:lnTo>
                      <a:pt x="144" y="1099"/>
                    </a:lnTo>
                    <a:lnTo>
                      <a:pt x="144" y="1097"/>
                    </a:lnTo>
                    <a:lnTo>
                      <a:pt x="144" y="1092"/>
                    </a:lnTo>
                    <a:lnTo>
                      <a:pt x="144" y="1088"/>
                    </a:lnTo>
                    <a:lnTo>
                      <a:pt x="144" y="1088"/>
                    </a:lnTo>
                    <a:lnTo>
                      <a:pt x="144" y="1088"/>
                    </a:lnTo>
                    <a:lnTo>
                      <a:pt x="144" y="1088"/>
                    </a:lnTo>
                    <a:lnTo>
                      <a:pt x="144" y="1088"/>
                    </a:lnTo>
                    <a:lnTo>
                      <a:pt x="144" y="1086"/>
                    </a:lnTo>
                    <a:lnTo>
                      <a:pt x="144" y="1086"/>
                    </a:lnTo>
                    <a:lnTo>
                      <a:pt x="144" y="1084"/>
                    </a:lnTo>
                    <a:lnTo>
                      <a:pt x="146" y="1082"/>
                    </a:lnTo>
                    <a:lnTo>
                      <a:pt x="146" y="1082"/>
                    </a:lnTo>
                    <a:lnTo>
                      <a:pt x="146" y="1078"/>
                    </a:lnTo>
                    <a:lnTo>
                      <a:pt x="146" y="1074"/>
                    </a:lnTo>
                    <a:lnTo>
                      <a:pt x="144" y="1072"/>
                    </a:lnTo>
                    <a:lnTo>
                      <a:pt x="144" y="1070"/>
                    </a:lnTo>
                    <a:lnTo>
                      <a:pt x="140" y="1068"/>
                    </a:lnTo>
                    <a:lnTo>
                      <a:pt x="140" y="1068"/>
                    </a:lnTo>
                    <a:lnTo>
                      <a:pt x="140" y="1068"/>
                    </a:lnTo>
                    <a:lnTo>
                      <a:pt x="140" y="1068"/>
                    </a:lnTo>
                    <a:lnTo>
                      <a:pt x="140" y="1064"/>
                    </a:lnTo>
                    <a:lnTo>
                      <a:pt x="140" y="1064"/>
                    </a:lnTo>
                    <a:lnTo>
                      <a:pt x="140" y="1064"/>
                    </a:lnTo>
                    <a:lnTo>
                      <a:pt x="142" y="1062"/>
                    </a:lnTo>
                    <a:lnTo>
                      <a:pt x="142" y="1062"/>
                    </a:lnTo>
                    <a:lnTo>
                      <a:pt x="144" y="1062"/>
                    </a:lnTo>
                    <a:lnTo>
                      <a:pt x="144" y="1062"/>
                    </a:lnTo>
                    <a:lnTo>
                      <a:pt x="146" y="1060"/>
                    </a:lnTo>
                    <a:lnTo>
                      <a:pt x="146" y="1060"/>
                    </a:lnTo>
                    <a:lnTo>
                      <a:pt x="146" y="1060"/>
                    </a:lnTo>
                    <a:lnTo>
                      <a:pt x="148" y="1058"/>
                    </a:lnTo>
                    <a:lnTo>
                      <a:pt x="148" y="1056"/>
                    </a:lnTo>
                    <a:lnTo>
                      <a:pt x="148" y="1056"/>
                    </a:lnTo>
                    <a:lnTo>
                      <a:pt x="148" y="1056"/>
                    </a:lnTo>
                    <a:lnTo>
                      <a:pt x="150" y="1060"/>
                    </a:lnTo>
                    <a:lnTo>
                      <a:pt x="154" y="1060"/>
                    </a:lnTo>
                    <a:lnTo>
                      <a:pt x="160" y="1062"/>
                    </a:lnTo>
                    <a:lnTo>
                      <a:pt x="160" y="1062"/>
                    </a:lnTo>
                    <a:lnTo>
                      <a:pt x="160" y="1064"/>
                    </a:lnTo>
                    <a:lnTo>
                      <a:pt x="162" y="1066"/>
                    </a:lnTo>
                    <a:lnTo>
                      <a:pt x="162" y="1066"/>
                    </a:lnTo>
                    <a:lnTo>
                      <a:pt x="164" y="1068"/>
                    </a:lnTo>
                    <a:lnTo>
                      <a:pt x="166" y="1068"/>
                    </a:lnTo>
                    <a:lnTo>
                      <a:pt x="166" y="1068"/>
                    </a:lnTo>
                    <a:lnTo>
                      <a:pt x="168" y="1068"/>
                    </a:lnTo>
                    <a:lnTo>
                      <a:pt x="168" y="1066"/>
                    </a:lnTo>
                    <a:lnTo>
                      <a:pt x="168" y="1064"/>
                    </a:lnTo>
                    <a:lnTo>
                      <a:pt x="170" y="1060"/>
                    </a:lnTo>
                    <a:lnTo>
                      <a:pt x="170" y="1060"/>
                    </a:lnTo>
                    <a:lnTo>
                      <a:pt x="172" y="1060"/>
                    </a:lnTo>
                    <a:lnTo>
                      <a:pt x="174" y="1060"/>
                    </a:lnTo>
                    <a:lnTo>
                      <a:pt x="174" y="1062"/>
                    </a:lnTo>
                    <a:lnTo>
                      <a:pt x="174" y="1064"/>
                    </a:lnTo>
                    <a:lnTo>
                      <a:pt x="176" y="1068"/>
                    </a:lnTo>
                    <a:lnTo>
                      <a:pt x="183" y="1068"/>
                    </a:lnTo>
                    <a:lnTo>
                      <a:pt x="185" y="1068"/>
                    </a:lnTo>
                    <a:lnTo>
                      <a:pt x="189" y="1070"/>
                    </a:lnTo>
                    <a:lnTo>
                      <a:pt x="191" y="1076"/>
                    </a:lnTo>
                    <a:lnTo>
                      <a:pt x="191" y="1076"/>
                    </a:lnTo>
                    <a:lnTo>
                      <a:pt x="191" y="1076"/>
                    </a:lnTo>
                    <a:lnTo>
                      <a:pt x="191" y="1076"/>
                    </a:lnTo>
                    <a:lnTo>
                      <a:pt x="191" y="1078"/>
                    </a:lnTo>
                    <a:lnTo>
                      <a:pt x="191" y="1080"/>
                    </a:lnTo>
                    <a:lnTo>
                      <a:pt x="191" y="1080"/>
                    </a:lnTo>
                    <a:lnTo>
                      <a:pt x="189" y="1086"/>
                    </a:lnTo>
                    <a:lnTo>
                      <a:pt x="189" y="1090"/>
                    </a:lnTo>
                    <a:lnTo>
                      <a:pt x="191" y="1092"/>
                    </a:lnTo>
                    <a:lnTo>
                      <a:pt x="191" y="1094"/>
                    </a:lnTo>
                    <a:lnTo>
                      <a:pt x="193" y="1097"/>
                    </a:lnTo>
                    <a:lnTo>
                      <a:pt x="195" y="1101"/>
                    </a:lnTo>
                    <a:lnTo>
                      <a:pt x="197" y="1103"/>
                    </a:lnTo>
                    <a:lnTo>
                      <a:pt x="199" y="1103"/>
                    </a:lnTo>
                    <a:lnTo>
                      <a:pt x="201" y="1105"/>
                    </a:lnTo>
                    <a:lnTo>
                      <a:pt x="203" y="1107"/>
                    </a:lnTo>
                    <a:lnTo>
                      <a:pt x="203" y="1107"/>
                    </a:lnTo>
                    <a:lnTo>
                      <a:pt x="203" y="1107"/>
                    </a:lnTo>
                    <a:lnTo>
                      <a:pt x="203" y="1107"/>
                    </a:lnTo>
                    <a:lnTo>
                      <a:pt x="205" y="1109"/>
                    </a:lnTo>
                    <a:lnTo>
                      <a:pt x="207" y="1113"/>
                    </a:lnTo>
                    <a:lnTo>
                      <a:pt x="207" y="1115"/>
                    </a:lnTo>
                    <a:lnTo>
                      <a:pt x="205" y="1117"/>
                    </a:lnTo>
                    <a:lnTo>
                      <a:pt x="205" y="1121"/>
                    </a:lnTo>
                    <a:lnTo>
                      <a:pt x="207" y="1123"/>
                    </a:lnTo>
                    <a:lnTo>
                      <a:pt x="209" y="1123"/>
                    </a:lnTo>
                    <a:lnTo>
                      <a:pt x="209" y="1123"/>
                    </a:lnTo>
                    <a:lnTo>
                      <a:pt x="209" y="1123"/>
                    </a:lnTo>
                    <a:lnTo>
                      <a:pt x="211" y="1121"/>
                    </a:lnTo>
                    <a:lnTo>
                      <a:pt x="211" y="1121"/>
                    </a:lnTo>
                    <a:lnTo>
                      <a:pt x="213" y="1119"/>
                    </a:lnTo>
                    <a:lnTo>
                      <a:pt x="215" y="1117"/>
                    </a:lnTo>
                    <a:lnTo>
                      <a:pt x="215" y="1117"/>
                    </a:lnTo>
                    <a:lnTo>
                      <a:pt x="215" y="1117"/>
                    </a:lnTo>
                    <a:lnTo>
                      <a:pt x="220" y="1115"/>
                    </a:lnTo>
                    <a:lnTo>
                      <a:pt x="254" y="1127"/>
                    </a:lnTo>
                    <a:lnTo>
                      <a:pt x="256" y="1129"/>
                    </a:lnTo>
                    <a:lnTo>
                      <a:pt x="256" y="1129"/>
                    </a:lnTo>
                    <a:lnTo>
                      <a:pt x="258" y="1133"/>
                    </a:lnTo>
                    <a:lnTo>
                      <a:pt x="258" y="1133"/>
                    </a:lnTo>
                    <a:lnTo>
                      <a:pt x="260" y="1133"/>
                    </a:lnTo>
                    <a:lnTo>
                      <a:pt x="260" y="1133"/>
                    </a:lnTo>
                    <a:lnTo>
                      <a:pt x="262" y="1135"/>
                    </a:lnTo>
                    <a:lnTo>
                      <a:pt x="275" y="1131"/>
                    </a:lnTo>
                    <a:lnTo>
                      <a:pt x="279" y="1131"/>
                    </a:lnTo>
                    <a:lnTo>
                      <a:pt x="279" y="1131"/>
                    </a:lnTo>
                    <a:lnTo>
                      <a:pt x="279" y="1131"/>
                    </a:lnTo>
                    <a:lnTo>
                      <a:pt x="279" y="1133"/>
                    </a:lnTo>
                    <a:lnTo>
                      <a:pt x="281" y="1135"/>
                    </a:lnTo>
                    <a:lnTo>
                      <a:pt x="281" y="1135"/>
                    </a:lnTo>
                    <a:lnTo>
                      <a:pt x="289" y="1148"/>
                    </a:lnTo>
                    <a:lnTo>
                      <a:pt x="289" y="1148"/>
                    </a:lnTo>
                    <a:lnTo>
                      <a:pt x="291" y="1148"/>
                    </a:lnTo>
                    <a:lnTo>
                      <a:pt x="291" y="1148"/>
                    </a:lnTo>
                    <a:lnTo>
                      <a:pt x="295" y="1148"/>
                    </a:lnTo>
                    <a:lnTo>
                      <a:pt x="304" y="1144"/>
                    </a:lnTo>
                    <a:lnTo>
                      <a:pt x="304" y="1144"/>
                    </a:lnTo>
                    <a:lnTo>
                      <a:pt x="306" y="1146"/>
                    </a:lnTo>
                    <a:lnTo>
                      <a:pt x="308" y="1146"/>
                    </a:lnTo>
                    <a:lnTo>
                      <a:pt x="308" y="1148"/>
                    </a:lnTo>
                    <a:lnTo>
                      <a:pt x="310" y="1150"/>
                    </a:lnTo>
                    <a:lnTo>
                      <a:pt x="312" y="1152"/>
                    </a:lnTo>
                    <a:lnTo>
                      <a:pt x="312" y="1156"/>
                    </a:lnTo>
                    <a:lnTo>
                      <a:pt x="314" y="1160"/>
                    </a:lnTo>
                    <a:lnTo>
                      <a:pt x="314" y="1162"/>
                    </a:lnTo>
                    <a:lnTo>
                      <a:pt x="314" y="1162"/>
                    </a:lnTo>
                    <a:lnTo>
                      <a:pt x="314" y="1162"/>
                    </a:lnTo>
                    <a:lnTo>
                      <a:pt x="314" y="1162"/>
                    </a:lnTo>
                    <a:lnTo>
                      <a:pt x="310" y="1164"/>
                    </a:lnTo>
                    <a:lnTo>
                      <a:pt x="310" y="1166"/>
                    </a:lnTo>
                    <a:lnTo>
                      <a:pt x="310" y="1166"/>
                    </a:lnTo>
                    <a:lnTo>
                      <a:pt x="310" y="1166"/>
                    </a:lnTo>
                    <a:lnTo>
                      <a:pt x="310" y="1168"/>
                    </a:lnTo>
                    <a:lnTo>
                      <a:pt x="312" y="1168"/>
                    </a:lnTo>
                    <a:lnTo>
                      <a:pt x="318" y="1166"/>
                    </a:lnTo>
                    <a:lnTo>
                      <a:pt x="328" y="1156"/>
                    </a:lnTo>
                    <a:lnTo>
                      <a:pt x="334" y="1156"/>
                    </a:lnTo>
                    <a:lnTo>
                      <a:pt x="336" y="1156"/>
                    </a:lnTo>
                    <a:lnTo>
                      <a:pt x="336" y="1156"/>
                    </a:lnTo>
                    <a:lnTo>
                      <a:pt x="336" y="1156"/>
                    </a:lnTo>
                    <a:lnTo>
                      <a:pt x="342" y="1160"/>
                    </a:lnTo>
                    <a:lnTo>
                      <a:pt x="344" y="1162"/>
                    </a:lnTo>
                    <a:lnTo>
                      <a:pt x="346" y="1162"/>
                    </a:lnTo>
                    <a:lnTo>
                      <a:pt x="346" y="1162"/>
                    </a:lnTo>
                    <a:lnTo>
                      <a:pt x="347" y="1158"/>
                    </a:lnTo>
                    <a:lnTo>
                      <a:pt x="349" y="1156"/>
                    </a:lnTo>
                    <a:lnTo>
                      <a:pt x="351" y="1152"/>
                    </a:lnTo>
                    <a:lnTo>
                      <a:pt x="353" y="1152"/>
                    </a:lnTo>
                    <a:lnTo>
                      <a:pt x="359" y="1152"/>
                    </a:lnTo>
                    <a:lnTo>
                      <a:pt x="363" y="1154"/>
                    </a:lnTo>
                    <a:lnTo>
                      <a:pt x="365" y="1154"/>
                    </a:lnTo>
                    <a:lnTo>
                      <a:pt x="369" y="1156"/>
                    </a:lnTo>
                    <a:lnTo>
                      <a:pt x="385" y="1172"/>
                    </a:lnTo>
                    <a:lnTo>
                      <a:pt x="385" y="1174"/>
                    </a:lnTo>
                    <a:lnTo>
                      <a:pt x="385" y="1178"/>
                    </a:lnTo>
                    <a:lnTo>
                      <a:pt x="385" y="1178"/>
                    </a:lnTo>
                    <a:lnTo>
                      <a:pt x="385" y="1178"/>
                    </a:lnTo>
                    <a:lnTo>
                      <a:pt x="383" y="1178"/>
                    </a:lnTo>
                    <a:lnTo>
                      <a:pt x="381" y="1179"/>
                    </a:lnTo>
                    <a:lnTo>
                      <a:pt x="381" y="1181"/>
                    </a:lnTo>
                    <a:lnTo>
                      <a:pt x="381" y="1181"/>
                    </a:lnTo>
                    <a:lnTo>
                      <a:pt x="381" y="1183"/>
                    </a:lnTo>
                    <a:lnTo>
                      <a:pt x="381" y="1183"/>
                    </a:lnTo>
                    <a:lnTo>
                      <a:pt x="379" y="1183"/>
                    </a:lnTo>
                    <a:lnTo>
                      <a:pt x="379" y="1185"/>
                    </a:lnTo>
                    <a:lnTo>
                      <a:pt x="379" y="1187"/>
                    </a:lnTo>
                    <a:lnTo>
                      <a:pt x="379" y="1189"/>
                    </a:lnTo>
                    <a:lnTo>
                      <a:pt x="379" y="1189"/>
                    </a:lnTo>
                    <a:lnTo>
                      <a:pt x="379" y="1191"/>
                    </a:lnTo>
                    <a:lnTo>
                      <a:pt x="379" y="1191"/>
                    </a:lnTo>
                    <a:lnTo>
                      <a:pt x="379" y="1191"/>
                    </a:lnTo>
                    <a:lnTo>
                      <a:pt x="375" y="1195"/>
                    </a:lnTo>
                    <a:lnTo>
                      <a:pt x="373" y="1197"/>
                    </a:lnTo>
                    <a:lnTo>
                      <a:pt x="373" y="1197"/>
                    </a:lnTo>
                    <a:lnTo>
                      <a:pt x="373" y="1197"/>
                    </a:lnTo>
                    <a:lnTo>
                      <a:pt x="373" y="1197"/>
                    </a:lnTo>
                    <a:lnTo>
                      <a:pt x="373" y="1197"/>
                    </a:lnTo>
                    <a:lnTo>
                      <a:pt x="371" y="1197"/>
                    </a:lnTo>
                    <a:lnTo>
                      <a:pt x="367" y="1197"/>
                    </a:lnTo>
                    <a:lnTo>
                      <a:pt x="365" y="1195"/>
                    </a:lnTo>
                    <a:lnTo>
                      <a:pt x="363" y="1197"/>
                    </a:lnTo>
                    <a:lnTo>
                      <a:pt x="361" y="1197"/>
                    </a:lnTo>
                    <a:lnTo>
                      <a:pt x="361" y="1199"/>
                    </a:lnTo>
                    <a:lnTo>
                      <a:pt x="361" y="1199"/>
                    </a:lnTo>
                    <a:lnTo>
                      <a:pt x="361" y="1199"/>
                    </a:lnTo>
                    <a:lnTo>
                      <a:pt x="359" y="1201"/>
                    </a:lnTo>
                    <a:lnTo>
                      <a:pt x="359" y="1203"/>
                    </a:lnTo>
                    <a:lnTo>
                      <a:pt x="355" y="1203"/>
                    </a:lnTo>
                    <a:lnTo>
                      <a:pt x="355" y="1205"/>
                    </a:lnTo>
                    <a:lnTo>
                      <a:pt x="353" y="1207"/>
                    </a:lnTo>
                    <a:lnTo>
                      <a:pt x="351" y="1207"/>
                    </a:lnTo>
                    <a:lnTo>
                      <a:pt x="351" y="1207"/>
                    </a:lnTo>
                    <a:lnTo>
                      <a:pt x="349" y="1207"/>
                    </a:lnTo>
                    <a:lnTo>
                      <a:pt x="349" y="1209"/>
                    </a:lnTo>
                    <a:lnTo>
                      <a:pt x="349" y="1211"/>
                    </a:lnTo>
                    <a:lnTo>
                      <a:pt x="351" y="1211"/>
                    </a:lnTo>
                    <a:lnTo>
                      <a:pt x="351" y="1211"/>
                    </a:lnTo>
                    <a:lnTo>
                      <a:pt x="351" y="1211"/>
                    </a:lnTo>
                    <a:lnTo>
                      <a:pt x="351" y="1211"/>
                    </a:lnTo>
                    <a:lnTo>
                      <a:pt x="349" y="1211"/>
                    </a:lnTo>
                    <a:lnTo>
                      <a:pt x="347" y="1211"/>
                    </a:lnTo>
                    <a:lnTo>
                      <a:pt x="346" y="1215"/>
                    </a:lnTo>
                    <a:lnTo>
                      <a:pt x="347" y="1217"/>
                    </a:lnTo>
                    <a:lnTo>
                      <a:pt x="347" y="1219"/>
                    </a:lnTo>
                    <a:lnTo>
                      <a:pt x="353" y="1220"/>
                    </a:lnTo>
                    <a:lnTo>
                      <a:pt x="355" y="1226"/>
                    </a:lnTo>
                    <a:lnTo>
                      <a:pt x="355" y="1228"/>
                    </a:lnTo>
                    <a:lnTo>
                      <a:pt x="355" y="1228"/>
                    </a:lnTo>
                    <a:lnTo>
                      <a:pt x="357" y="1230"/>
                    </a:lnTo>
                    <a:lnTo>
                      <a:pt x="359" y="1230"/>
                    </a:lnTo>
                    <a:lnTo>
                      <a:pt x="361" y="1228"/>
                    </a:lnTo>
                    <a:lnTo>
                      <a:pt x="361" y="1228"/>
                    </a:lnTo>
                    <a:lnTo>
                      <a:pt x="363" y="1228"/>
                    </a:lnTo>
                    <a:lnTo>
                      <a:pt x="371" y="1228"/>
                    </a:lnTo>
                    <a:lnTo>
                      <a:pt x="371" y="1228"/>
                    </a:lnTo>
                    <a:lnTo>
                      <a:pt x="371" y="1228"/>
                    </a:lnTo>
                    <a:lnTo>
                      <a:pt x="373" y="1230"/>
                    </a:lnTo>
                    <a:lnTo>
                      <a:pt x="373" y="1230"/>
                    </a:lnTo>
                    <a:lnTo>
                      <a:pt x="373" y="1230"/>
                    </a:lnTo>
                    <a:lnTo>
                      <a:pt x="373" y="1232"/>
                    </a:lnTo>
                    <a:lnTo>
                      <a:pt x="373" y="1234"/>
                    </a:lnTo>
                    <a:lnTo>
                      <a:pt x="373" y="1234"/>
                    </a:lnTo>
                    <a:lnTo>
                      <a:pt x="373" y="1236"/>
                    </a:lnTo>
                    <a:lnTo>
                      <a:pt x="373" y="1238"/>
                    </a:lnTo>
                    <a:lnTo>
                      <a:pt x="375" y="1240"/>
                    </a:lnTo>
                    <a:lnTo>
                      <a:pt x="377" y="1242"/>
                    </a:lnTo>
                    <a:lnTo>
                      <a:pt x="385" y="1246"/>
                    </a:lnTo>
                    <a:lnTo>
                      <a:pt x="387" y="1248"/>
                    </a:lnTo>
                    <a:lnTo>
                      <a:pt x="390" y="1252"/>
                    </a:lnTo>
                    <a:lnTo>
                      <a:pt x="392" y="1256"/>
                    </a:lnTo>
                    <a:lnTo>
                      <a:pt x="394" y="1260"/>
                    </a:lnTo>
                    <a:lnTo>
                      <a:pt x="396" y="1261"/>
                    </a:lnTo>
                    <a:lnTo>
                      <a:pt x="396" y="1261"/>
                    </a:lnTo>
                    <a:lnTo>
                      <a:pt x="398" y="1265"/>
                    </a:lnTo>
                    <a:lnTo>
                      <a:pt x="402" y="1271"/>
                    </a:lnTo>
                    <a:lnTo>
                      <a:pt x="404" y="1271"/>
                    </a:lnTo>
                    <a:lnTo>
                      <a:pt x="404" y="1273"/>
                    </a:lnTo>
                    <a:lnTo>
                      <a:pt x="406" y="1275"/>
                    </a:lnTo>
                    <a:lnTo>
                      <a:pt x="408" y="1285"/>
                    </a:lnTo>
                    <a:lnTo>
                      <a:pt x="408" y="1285"/>
                    </a:lnTo>
                    <a:lnTo>
                      <a:pt x="408" y="1289"/>
                    </a:lnTo>
                    <a:lnTo>
                      <a:pt x="410" y="1291"/>
                    </a:lnTo>
                    <a:lnTo>
                      <a:pt x="412" y="1293"/>
                    </a:lnTo>
                    <a:lnTo>
                      <a:pt x="414" y="1295"/>
                    </a:lnTo>
                    <a:lnTo>
                      <a:pt x="418" y="1297"/>
                    </a:lnTo>
                    <a:lnTo>
                      <a:pt x="424" y="1301"/>
                    </a:lnTo>
                    <a:lnTo>
                      <a:pt x="426" y="1301"/>
                    </a:lnTo>
                    <a:lnTo>
                      <a:pt x="431" y="1301"/>
                    </a:lnTo>
                    <a:lnTo>
                      <a:pt x="431" y="1301"/>
                    </a:lnTo>
                    <a:lnTo>
                      <a:pt x="437" y="1293"/>
                    </a:lnTo>
                    <a:lnTo>
                      <a:pt x="439" y="1293"/>
                    </a:lnTo>
                    <a:lnTo>
                      <a:pt x="441" y="1291"/>
                    </a:lnTo>
                    <a:lnTo>
                      <a:pt x="441" y="1289"/>
                    </a:lnTo>
                    <a:lnTo>
                      <a:pt x="443" y="1287"/>
                    </a:lnTo>
                    <a:lnTo>
                      <a:pt x="443" y="1287"/>
                    </a:lnTo>
                    <a:lnTo>
                      <a:pt x="445" y="1285"/>
                    </a:lnTo>
                    <a:lnTo>
                      <a:pt x="445" y="1283"/>
                    </a:lnTo>
                    <a:lnTo>
                      <a:pt x="447" y="1279"/>
                    </a:lnTo>
                    <a:lnTo>
                      <a:pt x="451" y="1277"/>
                    </a:lnTo>
                    <a:lnTo>
                      <a:pt x="451" y="1277"/>
                    </a:lnTo>
                    <a:lnTo>
                      <a:pt x="455" y="1275"/>
                    </a:lnTo>
                    <a:lnTo>
                      <a:pt x="457" y="1277"/>
                    </a:lnTo>
                    <a:lnTo>
                      <a:pt x="459" y="1275"/>
                    </a:lnTo>
                    <a:lnTo>
                      <a:pt x="459" y="1275"/>
                    </a:lnTo>
                    <a:lnTo>
                      <a:pt x="461" y="1275"/>
                    </a:lnTo>
                    <a:lnTo>
                      <a:pt x="463" y="1275"/>
                    </a:lnTo>
                    <a:lnTo>
                      <a:pt x="463" y="1273"/>
                    </a:lnTo>
                    <a:lnTo>
                      <a:pt x="467" y="1269"/>
                    </a:lnTo>
                    <a:lnTo>
                      <a:pt x="469" y="1269"/>
                    </a:lnTo>
                    <a:lnTo>
                      <a:pt x="469" y="1269"/>
                    </a:lnTo>
                    <a:lnTo>
                      <a:pt x="469" y="1269"/>
                    </a:lnTo>
                    <a:lnTo>
                      <a:pt x="472" y="1269"/>
                    </a:lnTo>
                    <a:lnTo>
                      <a:pt x="474" y="1269"/>
                    </a:lnTo>
                    <a:lnTo>
                      <a:pt x="474" y="1269"/>
                    </a:lnTo>
                    <a:lnTo>
                      <a:pt x="474" y="1269"/>
                    </a:lnTo>
                    <a:lnTo>
                      <a:pt x="474" y="1265"/>
                    </a:lnTo>
                    <a:lnTo>
                      <a:pt x="474" y="1265"/>
                    </a:lnTo>
                    <a:lnTo>
                      <a:pt x="474" y="1265"/>
                    </a:lnTo>
                    <a:lnTo>
                      <a:pt x="476" y="1265"/>
                    </a:lnTo>
                    <a:lnTo>
                      <a:pt x="478" y="1265"/>
                    </a:lnTo>
                    <a:lnTo>
                      <a:pt x="478" y="1267"/>
                    </a:lnTo>
                    <a:lnTo>
                      <a:pt x="480" y="1269"/>
                    </a:lnTo>
                    <a:lnTo>
                      <a:pt x="482" y="1269"/>
                    </a:lnTo>
                    <a:lnTo>
                      <a:pt x="482" y="1271"/>
                    </a:lnTo>
                    <a:lnTo>
                      <a:pt x="482" y="1271"/>
                    </a:lnTo>
                    <a:lnTo>
                      <a:pt x="484" y="1267"/>
                    </a:lnTo>
                    <a:lnTo>
                      <a:pt x="484" y="1265"/>
                    </a:lnTo>
                    <a:lnTo>
                      <a:pt x="484" y="1265"/>
                    </a:lnTo>
                    <a:lnTo>
                      <a:pt x="482" y="1261"/>
                    </a:lnTo>
                    <a:lnTo>
                      <a:pt x="482" y="1261"/>
                    </a:lnTo>
                    <a:lnTo>
                      <a:pt x="480" y="1256"/>
                    </a:lnTo>
                    <a:lnTo>
                      <a:pt x="480" y="1252"/>
                    </a:lnTo>
                    <a:lnTo>
                      <a:pt x="480" y="1252"/>
                    </a:lnTo>
                    <a:lnTo>
                      <a:pt x="476" y="1248"/>
                    </a:lnTo>
                    <a:lnTo>
                      <a:pt x="474" y="1246"/>
                    </a:lnTo>
                    <a:lnTo>
                      <a:pt x="472" y="1246"/>
                    </a:lnTo>
                    <a:lnTo>
                      <a:pt x="471" y="1242"/>
                    </a:lnTo>
                    <a:lnTo>
                      <a:pt x="469" y="1242"/>
                    </a:lnTo>
                    <a:lnTo>
                      <a:pt x="467" y="1236"/>
                    </a:lnTo>
                    <a:lnTo>
                      <a:pt x="467" y="1232"/>
                    </a:lnTo>
                    <a:lnTo>
                      <a:pt x="465" y="1226"/>
                    </a:lnTo>
                    <a:lnTo>
                      <a:pt x="461" y="1222"/>
                    </a:lnTo>
                    <a:lnTo>
                      <a:pt x="459" y="1219"/>
                    </a:lnTo>
                    <a:lnTo>
                      <a:pt x="459" y="1219"/>
                    </a:lnTo>
                    <a:lnTo>
                      <a:pt x="459" y="1219"/>
                    </a:lnTo>
                    <a:lnTo>
                      <a:pt x="459" y="1215"/>
                    </a:lnTo>
                    <a:lnTo>
                      <a:pt x="459" y="1215"/>
                    </a:lnTo>
                    <a:lnTo>
                      <a:pt x="459" y="1215"/>
                    </a:lnTo>
                    <a:lnTo>
                      <a:pt x="461" y="1215"/>
                    </a:lnTo>
                    <a:lnTo>
                      <a:pt x="463" y="1213"/>
                    </a:lnTo>
                    <a:lnTo>
                      <a:pt x="465" y="1213"/>
                    </a:lnTo>
                    <a:lnTo>
                      <a:pt x="467" y="1213"/>
                    </a:lnTo>
                    <a:lnTo>
                      <a:pt x="471" y="1215"/>
                    </a:lnTo>
                    <a:lnTo>
                      <a:pt x="472" y="1215"/>
                    </a:lnTo>
                    <a:lnTo>
                      <a:pt x="474" y="1217"/>
                    </a:lnTo>
                    <a:lnTo>
                      <a:pt x="474" y="1217"/>
                    </a:lnTo>
                    <a:lnTo>
                      <a:pt x="478" y="1217"/>
                    </a:lnTo>
                    <a:lnTo>
                      <a:pt x="484" y="1219"/>
                    </a:lnTo>
                    <a:lnTo>
                      <a:pt x="496" y="1220"/>
                    </a:lnTo>
                    <a:lnTo>
                      <a:pt x="498" y="1222"/>
                    </a:lnTo>
                    <a:lnTo>
                      <a:pt x="502" y="1226"/>
                    </a:lnTo>
                    <a:lnTo>
                      <a:pt x="502" y="1226"/>
                    </a:lnTo>
                    <a:lnTo>
                      <a:pt x="504" y="1226"/>
                    </a:lnTo>
                    <a:lnTo>
                      <a:pt x="506" y="1226"/>
                    </a:lnTo>
                    <a:lnTo>
                      <a:pt x="512" y="1226"/>
                    </a:lnTo>
                    <a:lnTo>
                      <a:pt x="512" y="1226"/>
                    </a:lnTo>
                    <a:lnTo>
                      <a:pt x="514" y="1226"/>
                    </a:lnTo>
                    <a:lnTo>
                      <a:pt x="514" y="1226"/>
                    </a:lnTo>
                    <a:lnTo>
                      <a:pt x="514" y="1228"/>
                    </a:lnTo>
                    <a:lnTo>
                      <a:pt x="514" y="1230"/>
                    </a:lnTo>
                    <a:lnTo>
                      <a:pt x="514" y="1232"/>
                    </a:lnTo>
                    <a:lnTo>
                      <a:pt x="514" y="1234"/>
                    </a:lnTo>
                    <a:lnTo>
                      <a:pt x="515" y="1236"/>
                    </a:lnTo>
                    <a:lnTo>
                      <a:pt x="517" y="1238"/>
                    </a:lnTo>
                    <a:lnTo>
                      <a:pt x="517" y="1238"/>
                    </a:lnTo>
                    <a:lnTo>
                      <a:pt x="523" y="1242"/>
                    </a:lnTo>
                    <a:lnTo>
                      <a:pt x="527" y="1242"/>
                    </a:lnTo>
                    <a:lnTo>
                      <a:pt x="535" y="1242"/>
                    </a:lnTo>
                    <a:lnTo>
                      <a:pt x="537" y="1244"/>
                    </a:lnTo>
                    <a:lnTo>
                      <a:pt x="539" y="1244"/>
                    </a:lnTo>
                    <a:lnTo>
                      <a:pt x="539" y="1244"/>
                    </a:lnTo>
                    <a:lnTo>
                      <a:pt x="539" y="1244"/>
                    </a:lnTo>
                    <a:lnTo>
                      <a:pt x="537" y="1244"/>
                    </a:lnTo>
                    <a:lnTo>
                      <a:pt x="535" y="1244"/>
                    </a:lnTo>
                    <a:lnTo>
                      <a:pt x="535" y="1246"/>
                    </a:lnTo>
                    <a:lnTo>
                      <a:pt x="535" y="1246"/>
                    </a:lnTo>
                    <a:lnTo>
                      <a:pt x="537" y="1248"/>
                    </a:lnTo>
                    <a:lnTo>
                      <a:pt x="537" y="1248"/>
                    </a:lnTo>
                    <a:lnTo>
                      <a:pt x="537" y="1248"/>
                    </a:lnTo>
                    <a:lnTo>
                      <a:pt x="537" y="1248"/>
                    </a:lnTo>
                    <a:lnTo>
                      <a:pt x="537" y="1248"/>
                    </a:lnTo>
                    <a:lnTo>
                      <a:pt x="537" y="1252"/>
                    </a:lnTo>
                    <a:lnTo>
                      <a:pt x="537" y="1256"/>
                    </a:lnTo>
                    <a:lnTo>
                      <a:pt x="537" y="1256"/>
                    </a:lnTo>
                    <a:lnTo>
                      <a:pt x="539" y="1258"/>
                    </a:lnTo>
                    <a:lnTo>
                      <a:pt x="541" y="1260"/>
                    </a:lnTo>
                    <a:lnTo>
                      <a:pt x="543" y="1254"/>
                    </a:lnTo>
                    <a:lnTo>
                      <a:pt x="545" y="1254"/>
                    </a:lnTo>
                    <a:lnTo>
                      <a:pt x="547" y="1254"/>
                    </a:lnTo>
                    <a:lnTo>
                      <a:pt x="547" y="1254"/>
                    </a:lnTo>
                    <a:lnTo>
                      <a:pt x="547" y="1254"/>
                    </a:lnTo>
                    <a:lnTo>
                      <a:pt x="551" y="1258"/>
                    </a:lnTo>
                    <a:lnTo>
                      <a:pt x="551" y="1258"/>
                    </a:lnTo>
                    <a:lnTo>
                      <a:pt x="553" y="1261"/>
                    </a:lnTo>
                    <a:lnTo>
                      <a:pt x="553" y="1261"/>
                    </a:lnTo>
                    <a:lnTo>
                      <a:pt x="553" y="1263"/>
                    </a:lnTo>
                    <a:lnTo>
                      <a:pt x="553" y="1263"/>
                    </a:lnTo>
                    <a:lnTo>
                      <a:pt x="555" y="1263"/>
                    </a:lnTo>
                    <a:lnTo>
                      <a:pt x="555" y="1263"/>
                    </a:lnTo>
                    <a:lnTo>
                      <a:pt x="555" y="1261"/>
                    </a:lnTo>
                    <a:lnTo>
                      <a:pt x="555" y="1261"/>
                    </a:lnTo>
                    <a:lnTo>
                      <a:pt x="560" y="1256"/>
                    </a:lnTo>
                    <a:lnTo>
                      <a:pt x="568" y="1256"/>
                    </a:lnTo>
                    <a:lnTo>
                      <a:pt x="584" y="1258"/>
                    </a:lnTo>
                    <a:lnTo>
                      <a:pt x="588" y="1258"/>
                    </a:lnTo>
                    <a:lnTo>
                      <a:pt x="588" y="1256"/>
                    </a:lnTo>
                    <a:lnTo>
                      <a:pt x="590" y="1254"/>
                    </a:lnTo>
                    <a:lnTo>
                      <a:pt x="592" y="1254"/>
                    </a:lnTo>
                    <a:lnTo>
                      <a:pt x="596" y="1248"/>
                    </a:lnTo>
                    <a:lnTo>
                      <a:pt x="596" y="1246"/>
                    </a:lnTo>
                    <a:lnTo>
                      <a:pt x="596" y="1246"/>
                    </a:lnTo>
                    <a:lnTo>
                      <a:pt x="596" y="1244"/>
                    </a:lnTo>
                    <a:lnTo>
                      <a:pt x="596" y="1244"/>
                    </a:lnTo>
                    <a:lnTo>
                      <a:pt x="598" y="1244"/>
                    </a:lnTo>
                    <a:lnTo>
                      <a:pt x="598" y="1244"/>
                    </a:lnTo>
                    <a:lnTo>
                      <a:pt x="598" y="1244"/>
                    </a:lnTo>
                    <a:lnTo>
                      <a:pt x="598" y="1244"/>
                    </a:lnTo>
                    <a:lnTo>
                      <a:pt x="599" y="1244"/>
                    </a:lnTo>
                    <a:lnTo>
                      <a:pt x="601" y="1246"/>
                    </a:lnTo>
                    <a:lnTo>
                      <a:pt x="601" y="1246"/>
                    </a:lnTo>
                    <a:lnTo>
                      <a:pt x="601" y="1246"/>
                    </a:lnTo>
                    <a:lnTo>
                      <a:pt x="601" y="1246"/>
                    </a:lnTo>
                    <a:lnTo>
                      <a:pt x="603" y="1248"/>
                    </a:lnTo>
                    <a:lnTo>
                      <a:pt x="603" y="1250"/>
                    </a:lnTo>
                    <a:lnTo>
                      <a:pt x="603" y="1250"/>
                    </a:lnTo>
                    <a:lnTo>
                      <a:pt x="605" y="1250"/>
                    </a:lnTo>
                    <a:lnTo>
                      <a:pt x="605" y="1250"/>
                    </a:lnTo>
                    <a:lnTo>
                      <a:pt x="605" y="1250"/>
                    </a:lnTo>
                    <a:lnTo>
                      <a:pt x="605" y="1250"/>
                    </a:lnTo>
                    <a:lnTo>
                      <a:pt x="605" y="1250"/>
                    </a:lnTo>
                    <a:lnTo>
                      <a:pt x="603" y="1252"/>
                    </a:lnTo>
                    <a:lnTo>
                      <a:pt x="603" y="1252"/>
                    </a:lnTo>
                    <a:lnTo>
                      <a:pt x="603" y="1252"/>
                    </a:lnTo>
                    <a:lnTo>
                      <a:pt x="601" y="1258"/>
                    </a:lnTo>
                    <a:lnTo>
                      <a:pt x="601" y="1258"/>
                    </a:lnTo>
                    <a:lnTo>
                      <a:pt x="601" y="1260"/>
                    </a:lnTo>
                    <a:lnTo>
                      <a:pt x="601" y="1261"/>
                    </a:lnTo>
                    <a:lnTo>
                      <a:pt x="601" y="1261"/>
                    </a:lnTo>
                    <a:lnTo>
                      <a:pt x="603" y="1263"/>
                    </a:lnTo>
                    <a:lnTo>
                      <a:pt x="603" y="1263"/>
                    </a:lnTo>
                    <a:lnTo>
                      <a:pt x="603" y="1263"/>
                    </a:lnTo>
                    <a:lnTo>
                      <a:pt x="607" y="1269"/>
                    </a:lnTo>
                    <a:lnTo>
                      <a:pt x="605" y="1273"/>
                    </a:lnTo>
                    <a:lnTo>
                      <a:pt x="601" y="1275"/>
                    </a:lnTo>
                    <a:lnTo>
                      <a:pt x="601" y="1275"/>
                    </a:lnTo>
                    <a:lnTo>
                      <a:pt x="599" y="1277"/>
                    </a:lnTo>
                    <a:lnTo>
                      <a:pt x="594" y="1279"/>
                    </a:lnTo>
                    <a:lnTo>
                      <a:pt x="590" y="1281"/>
                    </a:lnTo>
                    <a:lnTo>
                      <a:pt x="582" y="1281"/>
                    </a:lnTo>
                    <a:lnTo>
                      <a:pt x="580" y="1283"/>
                    </a:lnTo>
                    <a:lnTo>
                      <a:pt x="578" y="1285"/>
                    </a:lnTo>
                    <a:lnTo>
                      <a:pt x="580" y="1287"/>
                    </a:lnTo>
                    <a:lnTo>
                      <a:pt x="588" y="1297"/>
                    </a:lnTo>
                    <a:lnTo>
                      <a:pt x="588" y="1297"/>
                    </a:lnTo>
                    <a:lnTo>
                      <a:pt x="590" y="1299"/>
                    </a:lnTo>
                    <a:lnTo>
                      <a:pt x="592" y="1299"/>
                    </a:lnTo>
                    <a:lnTo>
                      <a:pt x="592" y="1299"/>
                    </a:lnTo>
                    <a:lnTo>
                      <a:pt x="594" y="1297"/>
                    </a:lnTo>
                    <a:lnTo>
                      <a:pt x="596" y="1297"/>
                    </a:lnTo>
                    <a:lnTo>
                      <a:pt x="598" y="1299"/>
                    </a:lnTo>
                    <a:lnTo>
                      <a:pt x="601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2"/>
                    </a:lnTo>
                    <a:lnTo>
                      <a:pt x="603" y="1302"/>
                    </a:lnTo>
                    <a:lnTo>
                      <a:pt x="601" y="1304"/>
                    </a:lnTo>
                    <a:lnTo>
                      <a:pt x="603" y="1306"/>
                    </a:lnTo>
                    <a:lnTo>
                      <a:pt x="603" y="1306"/>
                    </a:lnTo>
                    <a:lnTo>
                      <a:pt x="603" y="1306"/>
                    </a:lnTo>
                    <a:lnTo>
                      <a:pt x="605" y="1308"/>
                    </a:lnTo>
                    <a:lnTo>
                      <a:pt x="607" y="1312"/>
                    </a:lnTo>
                    <a:lnTo>
                      <a:pt x="607" y="1316"/>
                    </a:lnTo>
                    <a:lnTo>
                      <a:pt x="609" y="1316"/>
                    </a:lnTo>
                    <a:lnTo>
                      <a:pt x="609" y="1318"/>
                    </a:lnTo>
                    <a:lnTo>
                      <a:pt x="611" y="1320"/>
                    </a:lnTo>
                    <a:lnTo>
                      <a:pt x="611" y="1322"/>
                    </a:lnTo>
                    <a:lnTo>
                      <a:pt x="613" y="1324"/>
                    </a:lnTo>
                    <a:lnTo>
                      <a:pt x="621" y="1332"/>
                    </a:lnTo>
                    <a:lnTo>
                      <a:pt x="629" y="1334"/>
                    </a:lnTo>
                    <a:lnTo>
                      <a:pt x="633" y="1332"/>
                    </a:lnTo>
                    <a:lnTo>
                      <a:pt x="635" y="1332"/>
                    </a:lnTo>
                    <a:lnTo>
                      <a:pt x="639" y="1328"/>
                    </a:lnTo>
                    <a:lnTo>
                      <a:pt x="642" y="1326"/>
                    </a:lnTo>
                    <a:lnTo>
                      <a:pt x="648" y="1326"/>
                    </a:lnTo>
                    <a:lnTo>
                      <a:pt x="648" y="1326"/>
                    </a:lnTo>
                    <a:lnTo>
                      <a:pt x="654" y="1324"/>
                    </a:lnTo>
                    <a:lnTo>
                      <a:pt x="654" y="1324"/>
                    </a:lnTo>
                    <a:lnTo>
                      <a:pt x="654" y="1322"/>
                    </a:lnTo>
                    <a:lnTo>
                      <a:pt x="654" y="1320"/>
                    </a:lnTo>
                    <a:lnTo>
                      <a:pt x="654" y="1320"/>
                    </a:lnTo>
                    <a:lnTo>
                      <a:pt x="654" y="1318"/>
                    </a:lnTo>
                    <a:lnTo>
                      <a:pt x="652" y="1318"/>
                    </a:lnTo>
                    <a:lnTo>
                      <a:pt x="652" y="1318"/>
                    </a:lnTo>
                    <a:lnTo>
                      <a:pt x="650" y="1320"/>
                    </a:lnTo>
                    <a:lnTo>
                      <a:pt x="650" y="1318"/>
                    </a:lnTo>
                    <a:lnTo>
                      <a:pt x="650" y="1318"/>
                    </a:lnTo>
                    <a:lnTo>
                      <a:pt x="650" y="1318"/>
                    </a:lnTo>
                    <a:lnTo>
                      <a:pt x="650" y="1318"/>
                    </a:lnTo>
                    <a:lnTo>
                      <a:pt x="650" y="1318"/>
                    </a:lnTo>
                    <a:lnTo>
                      <a:pt x="648" y="1312"/>
                    </a:lnTo>
                    <a:lnTo>
                      <a:pt x="650" y="1312"/>
                    </a:lnTo>
                    <a:lnTo>
                      <a:pt x="652" y="1314"/>
                    </a:lnTo>
                    <a:lnTo>
                      <a:pt x="652" y="1314"/>
                    </a:lnTo>
                    <a:lnTo>
                      <a:pt x="654" y="1314"/>
                    </a:lnTo>
                    <a:lnTo>
                      <a:pt x="664" y="1320"/>
                    </a:lnTo>
                    <a:lnTo>
                      <a:pt x="664" y="1320"/>
                    </a:lnTo>
                    <a:lnTo>
                      <a:pt x="664" y="1322"/>
                    </a:lnTo>
                    <a:lnTo>
                      <a:pt x="664" y="1326"/>
                    </a:lnTo>
                    <a:lnTo>
                      <a:pt x="666" y="1328"/>
                    </a:lnTo>
                    <a:lnTo>
                      <a:pt x="676" y="1330"/>
                    </a:lnTo>
                    <a:lnTo>
                      <a:pt x="678" y="1332"/>
                    </a:lnTo>
                    <a:lnTo>
                      <a:pt x="680" y="1334"/>
                    </a:lnTo>
                    <a:lnTo>
                      <a:pt x="683" y="1336"/>
                    </a:lnTo>
                    <a:lnTo>
                      <a:pt x="685" y="1338"/>
                    </a:lnTo>
                    <a:lnTo>
                      <a:pt x="687" y="1338"/>
                    </a:lnTo>
                    <a:lnTo>
                      <a:pt x="689" y="1338"/>
                    </a:lnTo>
                    <a:lnTo>
                      <a:pt x="691" y="1340"/>
                    </a:lnTo>
                    <a:lnTo>
                      <a:pt x="693" y="1340"/>
                    </a:lnTo>
                    <a:lnTo>
                      <a:pt x="693" y="1343"/>
                    </a:lnTo>
                    <a:lnTo>
                      <a:pt x="693" y="1345"/>
                    </a:lnTo>
                    <a:lnTo>
                      <a:pt x="695" y="1345"/>
                    </a:lnTo>
                    <a:lnTo>
                      <a:pt x="697" y="1349"/>
                    </a:lnTo>
                    <a:lnTo>
                      <a:pt x="701" y="1349"/>
                    </a:lnTo>
                    <a:lnTo>
                      <a:pt x="703" y="1345"/>
                    </a:lnTo>
                    <a:lnTo>
                      <a:pt x="705" y="1343"/>
                    </a:lnTo>
                    <a:lnTo>
                      <a:pt x="705" y="1343"/>
                    </a:lnTo>
                    <a:lnTo>
                      <a:pt x="705" y="1343"/>
                    </a:lnTo>
                    <a:lnTo>
                      <a:pt x="705" y="1343"/>
                    </a:lnTo>
                    <a:lnTo>
                      <a:pt x="705" y="1343"/>
                    </a:lnTo>
                    <a:lnTo>
                      <a:pt x="705" y="1343"/>
                    </a:lnTo>
                    <a:lnTo>
                      <a:pt x="703" y="1343"/>
                    </a:lnTo>
                    <a:lnTo>
                      <a:pt x="703" y="1343"/>
                    </a:lnTo>
                    <a:lnTo>
                      <a:pt x="703" y="1343"/>
                    </a:lnTo>
                    <a:lnTo>
                      <a:pt x="709" y="1343"/>
                    </a:lnTo>
                    <a:lnTo>
                      <a:pt x="711" y="1343"/>
                    </a:lnTo>
                    <a:lnTo>
                      <a:pt x="717" y="1345"/>
                    </a:lnTo>
                    <a:lnTo>
                      <a:pt x="723" y="1347"/>
                    </a:lnTo>
                    <a:lnTo>
                      <a:pt x="730" y="1351"/>
                    </a:lnTo>
                    <a:lnTo>
                      <a:pt x="734" y="1351"/>
                    </a:lnTo>
                    <a:lnTo>
                      <a:pt x="734" y="1351"/>
                    </a:lnTo>
                    <a:lnTo>
                      <a:pt x="740" y="1347"/>
                    </a:lnTo>
                    <a:lnTo>
                      <a:pt x="742" y="1349"/>
                    </a:lnTo>
                    <a:lnTo>
                      <a:pt x="742" y="1349"/>
                    </a:lnTo>
                    <a:lnTo>
                      <a:pt x="742" y="1349"/>
                    </a:lnTo>
                    <a:lnTo>
                      <a:pt x="744" y="1353"/>
                    </a:lnTo>
                    <a:lnTo>
                      <a:pt x="744" y="1355"/>
                    </a:lnTo>
                    <a:lnTo>
                      <a:pt x="742" y="1357"/>
                    </a:lnTo>
                    <a:lnTo>
                      <a:pt x="744" y="1361"/>
                    </a:lnTo>
                    <a:lnTo>
                      <a:pt x="744" y="1361"/>
                    </a:lnTo>
                    <a:lnTo>
                      <a:pt x="748" y="1363"/>
                    </a:lnTo>
                    <a:lnTo>
                      <a:pt x="748" y="1363"/>
                    </a:lnTo>
                    <a:lnTo>
                      <a:pt x="748" y="1363"/>
                    </a:lnTo>
                    <a:lnTo>
                      <a:pt x="744" y="1369"/>
                    </a:lnTo>
                    <a:lnTo>
                      <a:pt x="744" y="1371"/>
                    </a:lnTo>
                    <a:lnTo>
                      <a:pt x="744" y="1375"/>
                    </a:lnTo>
                    <a:lnTo>
                      <a:pt x="746" y="1383"/>
                    </a:lnTo>
                    <a:lnTo>
                      <a:pt x="750" y="1392"/>
                    </a:lnTo>
                    <a:lnTo>
                      <a:pt x="752" y="1398"/>
                    </a:lnTo>
                    <a:lnTo>
                      <a:pt x="754" y="1400"/>
                    </a:lnTo>
                    <a:lnTo>
                      <a:pt x="756" y="1402"/>
                    </a:lnTo>
                    <a:lnTo>
                      <a:pt x="760" y="1402"/>
                    </a:lnTo>
                    <a:lnTo>
                      <a:pt x="762" y="1404"/>
                    </a:lnTo>
                    <a:lnTo>
                      <a:pt x="764" y="1404"/>
                    </a:lnTo>
                    <a:lnTo>
                      <a:pt x="766" y="1406"/>
                    </a:lnTo>
                    <a:lnTo>
                      <a:pt x="766" y="1406"/>
                    </a:lnTo>
                    <a:lnTo>
                      <a:pt x="769" y="1410"/>
                    </a:lnTo>
                    <a:lnTo>
                      <a:pt x="771" y="1410"/>
                    </a:lnTo>
                    <a:lnTo>
                      <a:pt x="773" y="1410"/>
                    </a:lnTo>
                    <a:lnTo>
                      <a:pt x="775" y="1410"/>
                    </a:lnTo>
                    <a:lnTo>
                      <a:pt x="779" y="1408"/>
                    </a:lnTo>
                    <a:lnTo>
                      <a:pt x="779" y="1410"/>
                    </a:lnTo>
                    <a:lnTo>
                      <a:pt x="781" y="1410"/>
                    </a:lnTo>
                    <a:lnTo>
                      <a:pt x="781" y="1412"/>
                    </a:lnTo>
                    <a:lnTo>
                      <a:pt x="781" y="1412"/>
                    </a:lnTo>
                    <a:lnTo>
                      <a:pt x="781" y="1418"/>
                    </a:lnTo>
                    <a:lnTo>
                      <a:pt x="783" y="1422"/>
                    </a:lnTo>
                    <a:lnTo>
                      <a:pt x="783" y="1424"/>
                    </a:lnTo>
                    <a:lnTo>
                      <a:pt x="785" y="1429"/>
                    </a:lnTo>
                    <a:lnTo>
                      <a:pt x="787" y="1431"/>
                    </a:lnTo>
                    <a:lnTo>
                      <a:pt x="789" y="1441"/>
                    </a:lnTo>
                    <a:lnTo>
                      <a:pt x="789" y="1447"/>
                    </a:lnTo>
                    <a:lnTo>
                      <a:pt x="789" y="1451"/>
                    </a:lnTo>
                    <a:lnTo>
                      <a:pt x="793" y="1453"/>
                    </a:lnTo>
                    <a:lnTo>
                      <a:pt x="805" y="1453"/>
                    </a:lnTo>
                    <a:lnTo>
                      <a:pt x="805" y="1453"/>
                    </a:lnTo>
                    <a:lnTo>
                      <a:pt x="810" y="1457"/>
                    </a:lnTo>
                    <a:lnTo>
                      <a:pt x="809" y="1461"/>
                    </a:lnTo>
                    <a:lnTo>
                      <a:pt x="809" y="1463"/>
                    </a:lnTo>
                    <a:lnTo>
                      <a:pt x="809" y="1465"/>
                    </a:lnTo>
                    <a:lnTo>
                      <a:pt x="809" y="1466"/>
                    </a:lnTo>
                    <a:lnTo>
                      <a:pt x="810" y="1470"/>
                    </a:lnTo>
                    <a:lnTo>
                      <a:pt x="809" y="1478"/>
                    </a:lnTo>
                    <a:lnTo>
                      <a:pt x="809" y="1480"/>
                    </a:lnTo>
                    <a:lnTo>
                      <a:pt x="810" y="1482"/>
                    </a:lnTo>
                    <a:lnTo>
                      <a:pt x="810" y="1482"/>
                    </a:lnTo>
                    <a:lnTo>
                      <a:pt x="812" y="1484"/>
                    </a:lnTo>
                    <a:lnTo>
                      <a:pt x="818" y="1482"/>
                    </a:lnTo>
                    <a:lnTo>
                      <a:pt x="824" y="1478"/>
                    </a:lnTo>
                    <a:lnTo>
                      <a:pt x="828" y="1478"/>
                    </a:lnTo>
                    <a:lnTo>
                      <a:pt x="828" y="1478"/>
                    </a:lnTo>
                    <a:lnTo>
                      <a:pt x="828" y="1478"/>
                    </a:lnTo>
                    <a:lnTo>
                      <a:pt x="828" y="1478"/>
                    </a:lnTo>
                    <a:lnTo>
                      <a:pt x="830" y="1478"/>
                    </a:lnTo>
                    <a:lnTo>
                      <a:pt x="832" y="1480"/>
                    </a:lnTo>
                    <a:lnTo>
                      <a:pt x="832" y="1480"/>
                    </a:lnTo>
                    <a:lnTo>
                      <a:pt x="834" y="1482"/>
                    </a:lnTo>
                    <a:lnTo>
                      <a:pt x="836" y="1482"/>
                    </a:lnTo>
                    <a:lnTo>
                      <a:pt x="838" y="1482"/>
                    </a:lnTo>
                    <a:lnTo>
                      <a:pt x="840" y="1482"/>
                    </a:lnTo>
                    <a:lnTo>
                      <a:pt x="846" y="1478"/>
                    </a:lnTo>
                    <a:lnTo>
                      <a:pt x="846" y="1478"/>
                    </a:lnTo>
                    <a:lnTo>
                      <a:pt x="846" y="1476"/>
                    </a:lnTo>
                    <a:lnTo>
                      <a:pt x="848" y="1474"/>
                    </a:lnTo>
                    <a:lnTo>
                      <a:pt x="848" y="1468"/>
                    </a:lnTo>
                    <a:lnTo>
                      <a:pt x="848" y="1468"/>
                    </a:lnTo>
                    <a:lnTo>
                      <a:pt x="848" y="1468"/>
                    </a:lnTo>
                    <a:lnTo>
                      <a:pt x="848" y="1468"/>
                    </a:lnTo>
                    <a:lnTo>
                      <a:pt x="850" y="1468"/>
                    </a:lnTo>
                    <a:lnTo>
                      <a:pt x="850" y="1468"/>
                    </a:lnTo>
                    <a:lnTo>
                      <a:pt x="851" y="1468"/>
                    </a:lnTo>
                    <a:lnTo>
                      <a:pt x="851" y="1468"/>
                    </a:lnTo>
                    <a:lnTo>
                      <a:pt x="851" y="1468"/>
                    </a:lnTo>
                    <a:lnTo>
                      <a:pt x="851" y="1466"/>
                    </a:lnTo>
                    <a:lnTo>
                      <a:pt x="851" y="1465"/>
                    </a:lnTo>
                    <a:lnTo>
                      <a:pt x="851" y="1465"/>
                    </a:lnTo>
                    <a:lnTo>
                      <a:pt x="850" y="1465"/>
                    </a:lnTo>
                    <a:lnTo>
                      <a:pt x="851" y="1461"/>
                    </a:lnTo>
                    <a:lnTo>
                      <a:pt x="853" y="1457"/>
                    </a:lnTo>
                    <a:lnTo>
                      <a:pt x="855" y="1453"/>
                    </a:lnTo>
                    <a:lnTo>
                      <a:pt x="857" y="1451"/>
                    </a:lnTo>
                    <a:lnTo>
                      <a:pt x="859" y="1449"/>
                    </a:lnTo>
                    <a:lnTo>
                      <a:pt x="861" y="1449"/>
                    </a:lnTo>
                    <a:lnTo>
                      <a:pt x="863" y="1447"/>
                    </a:lnTo>
                    <a:lnTo>
                      <a:pt x="869" y="1449"/>
                    </a:lnTo>
                    <a:lnTo>
                      <a:pt x="869" y="1447"/>
                    </a:lnTo>
                    <a:lnTo>
                      <a:pt x="871" y="1447"/>
                    </a:lnTo>
                    <a:lnTo>
                      <a:pt x="873" y="1447"/>
                    </a:lnTo>
                    <a:lnTo>
                      <a:pt x="873" y="1447"/>
                    </a:lnTo>
                    <a:lnTo>
                      <a:pt x="875" y="1445"/>
                    </a:lnTo>
                    <a:lnTo>
                      <a:pt x="889" y="1429"/>
                    </a:lnTo>
                    <a:lnTo>
                      <a:pt x="889" y="1429"/>
                    </a:lnTo>
                    <a:lnTo>
                      <a:pt x="889" y="1427"/>
                    </a:lnTo>
                    <a:lnTo>
                      <a:pt x="891" y="1427"/>
                    </a:lnTo>
                    <a:lnTo>
                      <a:pt x="891" y="1427"/>
                    </a:lnTo>
                    <a:lnTo>
                      <a:pt x="891" y="1427"/>
                    </a:lnTo>
                    <a:lnTo>
                      <a:pt x="893" y="1429"/>
                    </a:lnTo>
                    <a:lnTo>
                      <a:pt x="894" y="1431"/>
                    </a:lnTo>
                    <a:lnTo>
                      <a:pt x="896" y="1433"/>
                    </a:lnTo>
                    <a:lnTo>
                      <a:pt x="896" y="1435"/>
                    </a:lnTo>
                    <a:lnTo>
                      <a:pt x="896" y="1435"/>
                    </a:lnTo>
                    <a:lnTo>
                      <a:pt x="898" y="1437"/>
                    </a:lnTo>
                    <a:lnTo>
                      <a:pt x="900" y="1437"/>
                    </a:lnTo>
                    <a:lnTo>
                      <a:pt x="900" y="1437"/>
                    </a:lnTo>
                    <a:lnTo>
                      <a:pt x="900" y="1437"/>
                    </a:lnTo>
                    <a:lnTo>
                      <a:pt x="900" y="1439"/>
                    </a:lnTo>
                    <a:lnTo>
                      <a:pt x="902" y="1443"/>
                    </a:lnTo>
                    <a:lnTo>
                      <a:pt x="904" y="1451"/>
                    </a:lnTo>
                    <a:lnTo>
                      <a:pt x="906" y="1457"/>
                    </a:lnTo>
                    <a:lnTo>
                      <a:pt x="908" y="1465"/>
                    </a:lnTo>
                    <a:lnTo>
                      <a:pt x="908" y="1465"/>
                    </a:lnTo>
                    <a:lnTo>
                      <a:pt x="910" y="1466"/>
                    </a:lnTo>
                    <a:lnTo>
                      <a:pt x="912" y="1468"/>
                    </a:lnTo>
                    <a:lnTo>
                      <a:pt x="916" y="1468"/>
                    </a:lnTo>
                    <a:lnTo>
                      <a:pt x="918" y="1468"/>
                    </a:lnTo>
                    <a:lnTo>
                      <a:pt x="922" y="1468"/>
                    </a:lnTo>
                    <a:lnTo>
                      <a:pt x="922" y="1468"/>
                    </a:lnTo>
                    <a:lnTo>
                      <a:pt x="922" y="1468"/>
                    </a:lnTo>
                    <a:lnTo>
                      <a:pt x="922" y="1470"/>
                    </a:lnTo>
                    <a:lnTo>
                      <a:pt x="922" y="1472"/>
                    </a:lnTo>
                    <a:lnTo>
                      <a:pt x="922" y="1476"/>
                    </a:lnTo>
                    <a:lnTo>
                      <a:pt x="922" y="1478"/>
                    </a:lnTo>
                    <a:lnTo>
                      <a:pt x="922" y="1478"/>
                    </a:lnTo>
                    <a:lnTo>
                      <a:pt x="922" y="1480"/>
                    </a:lnTo>
                    <a:lnTo>
                      <a:pt x="922" y="1480"/>
                    </a:lnTo>
                    <a:lnTo>
                      <a:pt x="932" y="1482"/>
                    </a:lnTo>
                    <a:lnTo>
                      <a:pt x="934" y="1482"/>
                    </a:lnTo>
                    <a:lnTo>
                      <a:pt x="935" y="1482"/>
                    </a:lnTo>
                    <a:lnTo>
                      <a:pt x="937" y="1482"/>
                    </a:lnTo>
                    <a:lnTo>
                      <a:pt x="943" y="1480"/>
                    </a:lnTo>
                    <a:lnTo>
                      <a:pt x="945" y="1482"/>
                    </a:lnTo>
                    <a:lnTo>
                      <a:pt x="947" y="1486"/>
                    </a:lnTo>
                    <a:lnTo>
                      <a:pt x="947" y="1490"/>
                    </a:lnTo>
                    <a:lnTo>
                      <a:pt x="949" y="1504"/>
                    </a:lnTo>
                    <a:lnTo>
                      <a:pt x="947" y="1504"/>
                    </a:lnTo>
                    <a:lnTo>
                      <a:pt x="947" y="1506"/>
                    </a:lnTo>
                    <a:lnTo>
                      <a:pt x="947" y="1506"/>
                    </a:lnTo>
                    <a:lnTo>
                      <a:pt x="947" y="1507"/>
                    </a:lnTo>
                    <a:lnTo>
                      <a:pt x="947" y="1507"/>
                    </a:lnTo>
                    <a:lnTo>
                      <a:pt x="947" y="1507"/>
                    </a:lnTo>
                    <a:lnTo>
                      <a:pt x="947" y="1507"/>
                    </a:lnTo>
                    <a:lnTo>
                      <a:pt x="949" y="1509"/>
                    </a:lnTo>
                    <a:lnTo>
                      <a:pt x="949" y="1509"/>
                    </a:lnTo>
                    <a:lnTo>
                      <a:pt x="949" y="1509"/>
                    </a:lnTo>
                    <a:lnTo>
                      <a:pt x="951" y="1511"/>
                    </a:lnTo>
                    <a:lnTo>
                      <a:pt x="951" y="1511"/>
                    </a:lnTo>
                    <a:lnTo>
                      <a:pt x="951" y="1511"/>
                    </a:lnTo>
                    <a:lnTo>
                      <a:pt x="951" y="1513"/>
                    </a:lnTo>
                    <a:lnTo>
                      <a:pt x="951" y="1513"/>
                    </a:lnTo>
                    <a:lnTo>
                      <a:pt x="951" y="1513"/>
                    </a:lnTo>
                    <a:lnTo>
                      <a:pt x="951" y="1513"/>
                    </a:lnTo>
                    <a:lnTo>
                      <a:pt x="951" y="1513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5" y="1521"/>
                    </a:lnTo>
                    <a:lnTo>
                      <a:pt x="941" y="1525"/>
                    </a:lnTo>
                    <a:lnTo>
                      <a:pt x="941" y="1527"/>
                    </a:lnTo>
                    <a:lnTo>
                      <a:pt x="941" y="1529"/>
                    </a:lnTo>
                    <a:lnTo>
                      <a:pt x="941" y="1531"/>
                    </a:lnTo>
                    <a:lnTo>
                      <a:pt x="943" y="1533"/>
                    </a:lnTo>
                    <a:lnTo>
                      <a:pt x="947" y="1535"/>
                    </a:lnTo>
                    <a:lnTo>
                      <a:pt x="955" y="1535"/>
                    </a:lnTo>
                    <a:lnTo>
                      <a:pt x="959" y="1533"/>
                    </a:lnTo>
                    <a:lnTo>
                      <a:pt x="961" y="1531"/>
                    </a:lnTo>
                    <a:lnTo>
                      <a:pt x="963" y="1529"/>
                    </a:lnTo>
                    <a:lnTo>
                      <a:pt x="965" y="1527"/>
                    </a:lnTo>
                    <a:lnTo>
                      <a:pt x="967" y="1525"/>
                    </a:lnTo>
                    <a:lnTo>
                      <a:pt x="967" y="1525"/>
                    </a:lnTo>
                    <a:lnTo>
                      <a:pt x="973" y="1525"/>
                    </a:lnTo>
                    <a:lnTo>
                      <a:pt x="978" y="1527"/>
                    </a:lnTo>
                    <a:lnTo>
                      <a:pt x="986" y="1535"/>
                    </a:lnTo>
                    <a:lnTo>
                      <a:pt x="992" y="1537"/>
                    </a:lnTo>
                    <a:lnTo>
                      <a:pt x="996" y="1535"/>
                    </a:lnTo>
                    <a:lnTo>
                      <a:pt x="996" y="1529"/>
                    </a:lnTo>
                    <a:lnTo>
                      <a:pt x="996" y="1529"/>
                    </a:lnTo>
                    <a:lnTo>
                      <a:pt x="998" y="1519"/>
                    </a:lnTo>
                    <a:lnTo>
                      <a:pt x="1000" y="1517"/>
                    </a:lnTo>
                    <a:lnTo>
                      <a:pt x="1002" y="1515"/>
                    </a:lnTo>
                    <a:lnTo>
                      <a:pt x="1002" y="1511"/>
                    </a:lnTo>
                    <a:lnTo>
                      <a:pt x="1004" y="1507"/>
                    </a:lnTo>
                    <a:lnTo>
                      <a:pt x="1006" y="1504"/>
                    </a:lnTo>
                    <a:lnTo>
                      <a:pt x="1006" y="1504"/>
                    </a:lnTo>
                    <a:lnTo>
                      <a:pt x="1006" y="1504"/>
                    </a:lnTo>
                    <a:lnTo>
                      <a:pt x="1006" y="1504"/>
                    </a:lnTo>
                    <a:lnTo>
                      <a:pt x="1006" y="1504"/>
                    </a:lnTo>
                    <a:lnTo>
                      <a:pt x="1010" y="1504"/>
                    </a:lnTo>
                    <a:lnTo>
                      <a:pt x="1012" y="1502"/>
                    </a:lnTo>
                    <a:lnTo>
                      <a:pt x="1016" y="1498"/>
                    </a:lnTo>
                    <a:lnTo>
                      <a:pt x="1018" y="1496"/>
                    </a:lnTo>
                    <a:lnTo>
                      <a:pt x="1027" y="1496"/>
                    </a:lnTo>
                    <a:lnTo>
                      <a:pt x="1031" y="1496"/>
                    </a:lnTo>
                    <a:lnTo>
                      <a:pt x="1031" y="1494"/>
                    </a:lnTo>
                    <a:lnTo>
                      <a:pt x="1033" y="1490"/>
                    </a:lnTo>
                    <a:lnTo>
                      <a:pt x="1033" y="1490"/>
                    </a:lnTo>
                    <a:lnTo>
                      <a:pt x="1033" y="1488"/>
                    </a:lnTo>
                    <a:lnTo>
                      <a:pt x="1033" y="1486"/>
                    </a:lnTo>
                    <a:lnTo>
                      <a:pt x="1035" y="1484"/>
                    </a:lnTo>
                    <a:lnTo>
                      <a:pt x="1035" y="1484"/>
                    </a:lnTo>
                    <a:lnTo>
                      <a:pt x="1035" y="1484"/>
                    </a:lnTo>
                    <a:lnTo>
                      <a:pt x="1037" y="1482"/>
                    </a:lnTo>
                    <a:lnTo>
                      <a:pt x="1039" y="1482"/>
                    </a:lnTo>
                    <a:lnTo>
                      <a:pt x="1045" y="1484"/>
                    </a:lnTo>
                    <a:lnTo>
                      <a:pt x="1055" y="1484"/>
                    </a:lnTo>
                    <a:lnTo>
                      <a:pt x="1055" y="1480"/>
                    </a:lnTo>
                    <a:lnTo>
                      <a:pt x="1055" y="1480"/>
                    </a:lnTo>
                    <a:lnTo>
                      <a:pt x="1057" y="1478"/>
                    </a:lnTo>
                    <a:lnTo>
                      <a:pt x="1062" y="1482"/>
                    </a:lnTo>
                    <a:lnTo>
                      <a:pt x="1070" y="1486"/>
                    </a:lnTo>
                    <a:lnTo>
                      <a:pt x="1074" y="1488"/>
                    </a:lnTo>
                    <a:lnTo>
                      <a:pt x="1078" y="1486"/>
                    </a:lnTo>
                    <a:lnTo>
                      <a:pt x="1078" y="1486"/>
                    </a:lnTo>
                    <a:lnTo>
                      <a:pt x="1080" y="1484"/>
                    </a:lnTo>
                    <a:lnTo>
                      <a:pt x="1084" y="1480"/>
                    </a:lnTo>
                    <a:lnTo>
                      <a:pt x="1084" y="1480"/>
                    </a:lnTo>
                    <a:lnTo>
                      <a:pt x="1084" y="1480"/>
                    </a:lnTo>
                    <a:lnTo>
                      <a:pt x="1084" y="1480"/>
                    </a:lnTo>
                    <a:lnTo>
                      <a:pt x="1086" y="1480"/>
                    </a:lnTo>
                    <a:lnTo>
                      <a:pt x="1088" y="1480"/>
                    </a:lnTo>
                    <a:lnTo>
                      <a:pt x="1090" y="1480"/>
                    </a:lnTo>
                    <a:lnTo>
                      <a:pt x="1096" y="1478"/>
                    </a:lnTo>
                    <a:lnTo>
                      <a:pt x="1098" y="1480"/>
                    </a:lnTo>
                    <a:lnTo>
                      <a:pt x="1100" y="1480"/>
                    </a:lnTo>
                    <a:lnTo>
                      <a:pt x="1100" y="1480"/>
                    </a:lnTo>
                    <a:lnTo>
                      <a:pt x="1100" y="1480"/>
                    </a:lnTo>
                    <a:lnTo>
                      <a:pt x="1102" y="1482"/>
                    </a:lnTo>
                    <a:lnTo>
                      <a:pt x="1113" y="1498"/>
                    </a:lnTo>
                    <a:lnTo>
                      <a:pt x="1117" y="1500"/>
                    </a:lnTo>
                    <a:lnTo>
                      <a:pt x="1119" y="1500"/>
                    </a:lnTo>
                    <a:lnTo>
                      <a:pt x="1121" y="1500"/>
                    </a:lnTo>
                    <a:lnTo>
                      <a:pt x="1123" y="1500"/>
                    </a:lnTo>
                    <a:lnTo>
                      <a:pt x="1125" y="1500"/>
                    </a:lnTo>
                    <a:lnTo>
                      <a:pt x="1125" y="1500"/>
                    </a:lnTo>
                    <a:lnTo>
                      <a:pt x="1129" y="1502"/>
                    </a:lnTo>
                    <a:lnTo>
                      <a:pt x="1129" y="1502"/>
                    </a:lnTo>
                    <a:lnTo>
                      <a:pt x="1129" y="1502"/>
                    </a:lnTo>
                    <a:lnTo>
                      <a:pt x="1129" y="1502"/>
                    </a:lnTo>
                    <a:lnTo>
                      <a:pt x="1131" y="1506"/>
                    </a:lnTo>
                    <a:lnTo>
                      <a:pt x="1133" y="1507"/>
                    </a:lnTo>
                    <a:lnTo>
                      <a:pt x="1135" y="1507"/>
                    </a:lnTo>
                    <a:lnTo>
                      <a:pt x="1137" y="1507"/>
                    </a:lnTo>
                    <a:lnTo>
                      <a:pt x="1137" y="1507"/>
                    </a:lnTo>
                    <a:lnTo>
                      <a:pt x="1141" y="1506"/>
                    </a:lnTo>
                    <a:lnTo>
                      <a:pt x="1145" y="1504"/>
                    </a:lnTo>
                    <a:lnTo>
                      <a:pt x="1146" y="1502"/>
                    </a:lnTo>
                    <a:lnTo>
                      <a:pt x="1150" y="1496"/>
                    </a:lnTo>
                    <a:lnTo>
                      <a:pt x="1154" y="1492"/>
                    </a:lnTo>
                    <a:lnTo>
                      <a:pt x="1156" y="1492"/>
                    </a:lnTo>
                    <a:lnTo>
                      <a:pt x="1156" y="1492"/>
                    </a:lnTo>
                    <a:lnTo>
                      <a:pt x="1160" y="1492"/>
                    </a:lnTo>
                    <a:lnTo>
                      <a:pt x="1162" y="1490"/>
                    </a:lnTo>
                    <a:lnTo>
                      <a:pt x="1164" y="1488"/>
                    </a:lnTo>
                    <a:lnTo>
                      <a:pt x="1162" y="1484"/>
                    </a:lnTo>
                    <a:lnTo>
                      <a:pt x="1160" y="1484"/>
                    </a:lnTo>
                    <a:lnTo>
                      <a:pt x="1158" y="1482"/>
                    </a:lnTo>
                    <a:lnTo>
                      <a:pt x="1156" y="1480"/>
                    </a:lnTo>
                    <a:lnTo>
                      <a:pt x="1158" y="1476"/>
                    </a:lnTo>
                    <a:lnTo>
                      <a:pt x="1160" y="1476"/>
                    </a:lnTo>
                    <a:lnTo>
                      <a:pt x="1160" y="1476"/>
                    </a:lnTo>
                    <a:lnTo>
                      <a:pt x="1162" y="1474"/>
                    </a:lnTo>
                    <a:lnTo>
                      <a:pt x="1170" y="1474"/>
                    </a:lnTo>
                    <a:lnTo>
                      <a:pt x="1172" y="1474"/>
                    </a:lnTo>
                    <a:lnTo>
                      <a:pt x="1172" y="1474"/>
                    </a:lnTo>
                    <a:lnTo>
                      <a:pt x="1174" y="1476"/>
                    </a:lnTo>
                    <a:lnTo>
                      <a:pt x="1176" y="1478"/>
                    </a:lnTo>
                    <a:lnTo>
                      <a:pt x="1178" y="1478"/>
                    </a:lnTo>
                    <a:lnTo>
                      <a:pt x="1180" y="1480"/>
                    </a:lnTo>
                    <a:lnTo>
                      <a:pt x="1180" y="1480"/>
                    </a:lnTo>
                    <a:lnTo>
                      <a:pt x="1184" y="1480"/>
                    </a:lnTo>
                    <a:lnTo>
                      <a:pt x="1186" y="1476"/>
                    </a:lnTo>
                    <a:lnTo>
                      <a:pt x="1187" y="1476"/>
                    </a:lnTo>
                    <a:lnTo>
                      <a:pt x="1191" y="1468"/>
                    </a:lnTo>
                    <a:lnTo>
                      <a:pt x="1193" y="1468"/>
                    </a:lnTo>
                    <a:lnTo>
                      <a:pt x="1195" y="1466"/>
                    </a:lnTo>
                    <a:lnTo>
                      <a:pt x="1195" y="1466"/>
                    </a:lnTo>
                    <a:lnTo>
                      <a:pt x="1195" y="1466"/>
                    </a:lnTo>
                    <a:lnTo>
                      <a:pt x="1195" y="1466"/>
                    </a:lnTo>
                    <a:lnTo>
                      <a:pt x="1197" y="1468"/>
                    </a:lnTo>
                    <a:lnTo>
                      <a:pt x="1197" y="1468"/>
                    </a:lnTo>
                    <a:lnTo>
                      <a:pt x="1197" y="1468"/>
                    </a:lnTo>
                    <a:lnTo>
                      <a:pt x="1197" y="1468"/>
                    </a:lnTo>
                    <a:lnTo>
                      <a:pt x="1205" y="1472"/>
                    </a:lnTo>
                    <a:lnTo>
                      <a:pt x="1217" y="1476"/>
                    </a:lnTo>
                    <a:lnTo>
                      <a:pt x="1223" y="1476"/>
                    </a:lnTo>
                    <a:lnTo>
                      <a:pt x="1225" y="1476"/>
                    </a:lnTo>
                    <a:lnTo>
                      <a:pt x="1230" y="1476"/>
                    </a:lnTo>
                    <a:lnTo>
                      <a:pt x="1234" y="1476"/>
                    </a:lnTo>
                    <a:lnTo>
                      <a:pt x="1234" y="1476"/>
                    </a:lnTo>
                    <a:lnTo>
                      <a:pt x="1236" y="1476"/>
                    </a:lnTo>
                    <a:lnTo>
                      <a:pt x="1238" y="1474"/>
                    </a:lnTo>
                    <a:lnTo>
                      <a:pt x="1240" y="1474"/>
                    </a:lnTo>
                    <a:lnTo>
                      <a:pt x="1252" y="1472"/>
                    </a:lnTo>
                    <a:lnTo>
                      <a:pt x="1254" y="1474"/>
                    </a:lnTo>
                    <a:lnTo>
                      <a:pt x="1254" y="1474"/>
                    </a:lnTo>
                    <a:lnTo>
                      <a:pt x="1256" y="1474"/>
                    </a:lnTo>
                    <a:lnTo>
                      <a:pt x="1260" y="1478"/>
                    </a:lnTo>
                    <a:lnTo>
                      <a:pt x="1260" y="1478"/>
                    </a:lnTo>
                    <a:lnTo>
                      <a:pt x="1260" y="1478"/>
                    </a:lnTo>
                    <a:lnTo>
                      <a:pt x="1262" y="1478"/>
                    </a:lnTo>
                    <a:lnTo>
                      <a:pt x="1262" y="1480"/>
                    </a:lnTo>
                    <a:lnTo>
                      <a:pt x="1262" y="1480"/>
                    </a:lnTo>
                    <a:lnTo>
                      <a:pt x="1266" y="1478"/>
                    </a:lnTo>
                    <a:lnTo>
                      <a:pt x="1266" y="1478"/>
                    </a:lnTo>
                    <a:lnTo>
                      <a:pt x="1268" y="1482"/>
                    </a:lnTo>
                    <a:lnTo>
                      <a:pt x="1270" y="1482"/>
                    </a:lnTo>
                    <a:lnTo>
                      <a:pt x="1271" y="1486"/>
                    </a:lnTo>
                    <a:lnTo>
                      <a:pt x="1275" y="1490"/>
                    </a:lnTo>
                    <a:lnTo>
                      <a:pt x="1277" y="1492"/>
                    </a:lnTo>
                    <a:lnTo>
                      <a:pt x="1277" y="1492"/>
                    </a:lnTo>
                    <a:lnTo>
                      <a:pt x="1279" y="1492"/>
                    </a:lnTo>
                    <a:lnTo>
                      <a:pt x="1281" y="1490"/>
                    </a:lnTo>
                    <a:lnTo>
                      <a:pt x="1281" y="1488"/>
                    </a:lnTo>
                    <a:lnTo>
                      <a:pt x="1285" y="1486"/>
                    </a:lnTo>
                    <a:lnTo>
                      <a:pt x="1287" y="1486"/>
                    </a:lnTo>
                    <a:lnTo>
                      <a:pt x="1287" y="1486"/>
                    </a:lnTo>
                    <a:lnTo>
                      <a:pt x="1287" y="1486"/>
                    </a:lnTo>
                    <a:lnTo>
                      <a:pt x="1287" y="1486"/>
                    </a:lnTo>
                    <a:lnTo>
                      <a:pt x="1291" y="1488"/>
                    </a:lnTo>
                    <a:lnTo>
                      <a:pt x="1297" y="1494"/>
                    </a:lnTo>
                    <a:lnTo>
                      <a:pt x="1305" y="1498"/>
                    </a:lnTo>
                    <a:lnTo>
                      <a:pt x="1307" y="1498"/>
                    </a:lnTo>
                    <a:lnTo>
                      <a:pt x="1313" y="1504"/>
                    </a:lnTo>
                    <a:lnTo>
                      <a:pt x="1313" y="1504"/>
                    </a:lnTo>
                    <a:lnTo>
                      <a:pt x="1313" y="1504"/>
                    </a:lnTo>
                    <a:lnTo>
                      <a:pt x="1316" y="1511"/>
                    </a:lnTo>
                    <a:lnTo>
                      <a:pt x="1316" y="1511"/>
                    </a:lnTo>
                    <a:lnTo>
                      <a:pt x="1316" y="1511"/>
                    </a:lnTo>
                    <a:lnTo>
                      <a:pt x="1316" y="1511"/>
                    </a:lnTo>
                    <a:lnTo>
                      <a:pt x="1318" y="1519"/>
                    </a:lnTo>
                    <a:lnTo>
                      <a:pt x="1320" y="1529"/>
                    </a:lnTo>
                    <a:lnTo>
                      <a:pt x="1324" y="1531"/>
                    </a:lnTo>
                    <a:lnTo>
                      <a:pt x="1336" y="1533"/>
                    </a:lnTo>
                    <a:lnTo>
                      <a:pt x="1340" y="1535"/>
                    </a:lnTo>
                    <a:lnTo>
                      <a:pt x="1342" y="1537"/>
                    </a:lnTo>
                    <a:lnTo>
                      <a:pt x="1344" y="1539"/>
                    </a:lnTo>
                    <a:lnTo>
                      <a:pt x="1346" y="1539"/>
                    </a:lnTo>
                    <a:lnTo>
                      <a:pt x="1346" y="1539"/>
                    </a:lnTo>
                    <a:lnTo>
                      <a:pt x="1350" y="1539"/>
                    </a:lnTo>
                    <a:lnTo>
                      <a:pt x="1352" y="1539"/>
                    </a:lnTo>
                    <a:lnTo>
                      <a:pt x="1354" y="1539"/>
                    </a:lnTo>
                    <a:lnTo>
                      <a:pt x="1354" y="1541"/>
                    </a:lnTo>
                    <a:lnTo>
                      <a:pt x="1354" y="1543"/>
                    </a:lnTo>
                    <a:lnTo>
                      <a:pt x="1354" y="1543"/>
                    </a:lnTo>
                    <a:lnTo>
                      <a:pt x="1354" y="1545"/>
                    </a:lnTo>
                    <a:lnTo>
                      <a:pt x="1354" y="1545"/>
                    </a:lnTo>
                    <a:lnTo>
                      <a:pt x="1354" y="1547"/>
                    </a:lnTo>
                    <a:lnTo>
                      <a:pt x="1357" y="1547"/>
                    </a:lnTo>
                    <a:lnTo>
                      <a:pt x="1361" y="1548"/>
                    </a:lnTo>
                    <a:lnTo>
                      <a:pt x="1365" y="1548"/>
                    </a:lnTo>
                    <a:lnTo>
                      <a:pt x="1371" y="1548"/>
                    </a:lnTo>
                    <a:lnTo>
                      <a:pt x="1373" y="1548"/>
                    </a:lnTo>
                    <a:lnTo>
                      <a:pt x="1375" y="1550"/>
                    </a:lnTo>
                    <a:lnTo>
                      <a:pt x="1377" y="1550"/>
                    </a:lnTo>
                    <a:lnTo>
                      <a:pt x="1383" y="1558"/>
                    </a:lnTo>
                    <a:lnTo>
                      <a:pt x="1389" y="1560"/>
                    </a:lnTo>
                    <a:lnTo>
                      <a:pt x="1389" y="1560"/>
                    </a:lnTo>
                    <a:lnTo>
                      <a:pt x="1395" y="1560"/>
                    </a:lnTo>
                    <a:lnTo>
                      <a:pt x="1402" y="1560"/>
                    </a:lnTo>
                    <a:lnTo>
                      <a:pt x="1406" y="1562"/>
                    </a:lnTo>
                    <a:lnTo>
                      <a:pt x="1408" y="1564"/>
                    </a:lnTo>
                    <a:lnTo>
                      <a:pt x="1408" y="1564"/>
                    </a:lnTo>
                    <a:lnTo>
                      <a:pt x="1408" y="1564"/>
                    </a:lnTo>
                    <a:lnTo>
                      <a:pt x="1412" y="1560"/>
                    </a:lnTo>
                    <a:lnTo>
                      <a:pt x="1416" y="1560"/>
                    </a:lnTo>
                    <a:lnTo>
                      <a:pt x="1422" y="1568"/>
                    </a:lnTo>
                    <a:lnTo>
                      <a:pt x="1426" y="1570"/>
                    </a:lnTo>
                    <a:lnTo>
                      <a:pt x="1430" y="1572"/>
                    </a:lnTo>
                    <a:lnTo>
                      <a:pt x="1434" y="1570"/>
                    </a:lnTo>
                    <a:lnTo>
                      <a:pt x="1440" y="1572"/>
                    </a:lnTo>
                    <a:lnTo>
                      <a:pt x="1443" y="1570"/>
                    </a:lnTo>
                    <a:lnTo>
                      <a:pt x="1445" y="1570"/>
                    </a:lnTo>
                    <a:lnTo>
                      <a:pt x="1445" y="1572"/>
                    </a:lnTo>
                    <a:lnTo>
                      <a:pt x="1449" y="1576"/>
                    </a:lnTo>
                    <a:lnTo>
                      <a:pt x="1451" y="1578"/>
                    </a:lnTo>
                    <a:lnTo>
                      <a:pt x="1455" y="1578"/>
                    </a:lnTo>
                    <a:lnTo>
                      <a:pt x="1457" y="1582"/>
                    </a:lnTo>
                    <a:lnTo>
                      <a:pt x="1461" y="1584"/>
                    </a:lnTo>
                    <a:lnTo>
                      <a:pt x="1463" y="1580"/>
                    </a:lnTo>
                    <a:lnTo>
                      <a:pt x="1463" y="1578"/>
                    </a:lnTo>
                    <a:lnTo>
                      <a:pt x="1463" y="1578"/>
                    </a:lnTo>
                    <a:lnTo>
                      <a:pt x="1459" y="1574"/>
                    </a:lnTo>
                    <a:lnTo>
                      <a:pt x="1459" y="1570"/>
                    </a:lnTo>
                    <a:lnTo>
                      <a:pt x="1459" y="1568"/>
                    </a:lnTo>
                    <a:lnTo>
                      <a:pt x="1461" y="1562"/>
                    </a:lnTo>
                    <a:lnTo>
                      <a:pt x="1461" y="1560"/>
                    </a:lnTo>
                    <a:lnTo>
                      <a:pt x="1459" y="1558"/>
                    </a:lnTo>
                    <a:lnTo>
                      <a:pt x="1451" y="1554"/>
                    </a:lnTo>
                    <a:lnTo>
                      <a:pt x="1449" y="1550"/>
                    </a:lnTo>
                    <a:lnTo>
                      <a:pt x="1443" y="1545"/>
                    </a:lnTo>
                    <a:lnTo>
                      <a:pt x="1438" y="1541"/>
                    </a:lnTo>
                    <a:lnTo>
                      <a:pt x="1440" y="1541"/>
                    </a:lnTo>
                    <a:lnTo>
                      <a:pt x="1440" y="1541"/>
                    </a:lnTo>
                    <a:lnTo>
                      <a:pt x="1436" y="1539"/>
                    </a:lnTo>
                    <a:lnTo>
                      <a:pt x="1434" y="1541"/>
                    </a:lnTo>
                    <a:lnTo>
                      <a:pt x="1434" y="1543"/>
                    </a:lnTo>
                    <a:lnTo>
                      <a:pt x="1432" y="1541"/>
                    </a:lnTo>
                    <a:lnTo>
                      <a:pt x="1434" y="1537"/>
                    </a:lnTo>
                    <a:lnTo>
                      <a:pt x="1436" y="1533"/>
                    </a:lnTo>
                    <a:lnTo>
                      <a:pt x="1438" y="1523"/>
                    </a:lnTo>
                    <a:lnTo>
                      <a:pt x="1441" y="1515"/>
                    </a:lnTo>
                    <a:lnTo>
                      <a:pt x="1441" y="1511"/>
                    </a:lnTo>
                    <a:lnTo>
                      <a:pt x="1440" y="1488"/>
                    </a:lnTo>
                    <a:lnTo>
                      <a:pt x="1438" y="1484"/>
                    </a:lnTo>
                    <a:lnTo>
                      <a:pt x="1438" y="1482"/>
                    </a:lnTo>
                    <a:lnTo>
                      <a:pt x="1434" y="1478"/>
                    </a:lnTo>
                    <a:lnTo>
                      <a:pt x="1432" y="1474"/>
                    </a:lnTo>
                    <a:lnTo>
                      <a:pt x="1432" y="1474"/>
                    </a:lnTo>
                    <a:lnTo>
                      <a:pt x="1432" y="1470"/>
                    </a:lnTo>
                    <a:lnTo>
                      <a:pt x="1430" y="1459"/>
                    </a:lnTo>
                    <a:lnTo>
                      <a:pt x="1428" y="1457"/>
                    </a:lnTo>
                    <a:lnTo>
                      <a:pt x="1426" y="1447"/>
                    </a:lnTo>
                    <a:lnTo>
                      <a:pt x="1430" y="1437"/>
                    </a:lnTo>
                    <a:lnTo>
                      <a:pt x="1441" y="1420"/>
                    </a:lnTo>
                    <a:lnTo>
                      <a:pt x="1445" y="1412"/>
                    </a:lnTo>
                    <a:lnTo>
                      <a:pt x="1445" y="1410"/>
                    </a:lnTo>
                    <a:lnTo>
                      <a:pt x="1447" y="1408"/>
                    </a:lnTo>
                    <a:lnTo>
                      <a:pt x="1451" y="1406"/>
                    </a:lnTo>
                    <a:lnTo>
                      <a:pt x="1453" y="1406"/>
                    </a:lnTo>
                    <a:lnTo>
                      <a:pt x="1457" y="1404"/>
                    </a:lnTo>
                    <a:lnTo>
                      <a:pt x="1467" y="1384"/>
                    </a:lnTo>
                    <a:lnTo>
                      <a:pt x="1469" y="1383"/>
                    </a:lnTo>
                    <a:lnTo>
                      <a:pt x="1471" y="1383"/>
                    </a:lnTo>
                    <a:lnTo>
                      <a:pt x="1473" y="1381"/>
                    </a:lnTo>
                    <a:lnTo>
                      <a:pt x="1475" y="1379"/>
                    </a:lnTo>
                    <a:lnTo>
                      <a:pt x="1475" y="1377"/>
                    </a:lnTo>
                    <a:lnTo>
                      <a:pt x="1477" y="1373"/>
                    </a:lnTo>
                    <a:lnTo>
                      <a:pt x="1477" y="1371"/>
                    </a:lnTo>
                    <a:lnTo>
                      <a:pt x="1484" y="1363"/>
                    </a:lnTo>
                    <a:lnTo>
                      <a:pt x="1502" y="1336"/>
                    </a:lnTo>
                    <a:lnTo>
                      <a:pt x="1510" y="1328"/>
                    </a:lnTo>
                    <a:lnTo>
                      <a:pt x="1516" y="1324"/>
                    </a:lnTo>
                    <a:lnTo>
                      <a:pt x="1520" y="1316"/>
                    </a:lnTo>
                    <a:lnTo>
                      <a:pt x="1559" y="1275"/>
                    </a:lnTo>
                    <a:lnTo>
                      <a:pt x="1566" y="1269"/>
                    </a:lnTo>
                    <a:lnTo>
                      <a:pt x="1574" y="1261"/>
                    </a:lnTo>
                    <a:lnTo>
                      <a:pt x="1574" y="1261"/>
                    </a:lnTo>
                    <a:lnTo>
                      <a:pt x="1580" y="1258"/>
                    </a:lnTo>
                    <a:lnTo>
                      <a:pt x="1594" y="1244"/>
                    </a:lnTo>
                    <a:lnTo>
                      <a:pt x="1596" y="1240"/>
                    </a:lnTo>
                    <a:lnTo>
                      <a:pt x="1596" y="1240"/>
                    </a:lnTo>
                    <a:lnTo>
                      <a:pt x="1598" y="1232"/>
                    </a:lnTo>
                    <a:lnTo>
                      <a:pt x="1600" y="1228"/>
                    </a:lnTo>
                    <a:lnTo>
                      <a:pt x="1602" y="1226"/>
                    </a:lnTo>
                    <a:lnTo>
                      <a:pt x="1606" y="1226"/>
                    </a:lnTo>
                    <a:lnTo>
                      <a:pt x="1611" y="1224"/>
                    </a:lnTo>
                    <a:lnTo>
                      <a:pt x="1641" y="1222"/>
                    </a:lnTo>
                    <a:lnTo>
                      <a:pt x="1650" y="1220"/>
                    </a:lnTo>
                    <a:lnTo>
                      <a:pt x="1652" y="1211"/>
                    </a:lnTo>
                    <a:lnTo>
                      <a:pt x="1654" y="1209"/>
                    </a:lnTo>
                    <a:lnTo>
                      <a:pt x="1654" y="1205"/>
                    </a:lnTo>
                    <a:lnTo>
                      <a:pt x="1654" y="1199"/>
                    </a:lnTo>
                    <a:lnTo>
                      <a:pt x="1654" y="1197"/>
                    </a:lnTo>
                    <a:lnTo>
                      <a:pt x="1666" y="1191"/>
                    </a:lnTo>
                    <a:lnTo>
                      <a:pt x="1668" y="1187"/>
                    </a:lnTo>
                    <a:lnTo>
                      <a:pt x="1670" y="1185"/>
                    </a:lnTo>
                    <a:lnTo>
                      <a:pt x="1670" y="1183"/>
                    </a:lnTo>
                    <a:lnTo>
                      <a:pt x="1670" y="1183"/>
                    </a:lnTo>
                    <a:lnTo>
                      <a:pt x="1668" y="1179"/>
                    </a:lnTo>
                    <a:lnTo>
                      <a:pt x="1666" y="1168"/>
                    </a:lnTo>
                    <a:lnTo>
                      <a:pt x="1670" y="1160"/>
                    </a:lnTo>
                    <a:lnTo>
                      <a:pt x="1670" y="1160"/>
                    </a:lnTo>
                    <a:lnTo>
                      <a:pt x="1666" y="1150"/>
                    </a:lnTo>
                    <a:lnTo>
                      <a:pt x="1666" y="1144"/>
                    </a:lnTo>
                    <a:lnTo>
                      <a:pt x="1666" y="1138"/>
                    </a:lnTo>
                    <a:lnTo>
                      <a:pt x="1662" y="1138"/>
                    </a:lnTo>
                    <a:lnTo>
                      <a:pt x="1656" y="1135"/>
                    </a:lnTo>
                    <a:lnTo>
                      <a:pt x="1654" y="1131"/>
                    </a:lnTo>
                    <a:lnTo>
                      <a:pt x="1656" y="1127"/>
                    </a:lnTo>
                    <a:lnTo>
                      <a:pt x="1656" y="1125"/>
                    </a:lnTo>
                    <a:lnTo>
                      <a:pt x="1652" y="1125"/>
                    </a:lnTo>
                    <a:lnTo>
                      <a:pt x="1649" y="1123"/>
                    </a:lnTo>
                    <a:lnTo>
                      <a:pt x="1647" y="1119"/>
                    </a:lnTo>
                    <a:lnTo>
                      <a:pt x="1647" y="1113"/>
                    </a:lnTo>
                    <a:lnTo>
                      <a:pt x="1649" y="1109"/>
                    </a:lnTo>
                    <a:lnTo>
                      <a:pt x="1652" y="1105"/>
                    </a:lnTo>
                    <a:lnTo>
                      <a:pt x="1656" y="1105"/>
                    </a:lnTo>
                    <a:lnTo>
                      <a:pt x="1660" y="1107"/>
                    </a:lnTo>
                    <a:lnTo>
                      <a:pt x="1664" y="1107"/>
                    </a:lnTo>
                    <a:lnTo>
                      <a:pt x="1670" y="1107"/>
                    </a:lnTo>
                    <a:lnTo>
                      <a:pt x="1674" y="1105"/>
                    </a:lnTo>
                    <a:lnTo>
                      <a:pt x="1676" y="1101"/>
                    </a:lnTo>
                    <a:lnTo>
                      <a:pt x="1674" y="1097"/>
                    </a:lnTo>
                    <a:lnTo>
                      <a:pt x="1660" y="1090"/>
                    </a:lnTo>
                    <a:lnTo>
                      <a:pt x="1649" y="1080"/>
                    </a:lnTo>
                    <a:lnTo>
                      <a:pt x="1647" y="1076"/>
                    </a:lnTo>
                    <a:lnTo>
                      <a:pt x="1647" y="1072"/>
                    </a:lnTo>
                    <a:lnTo>
                      <a:pt x="1647" y="1070"/>
                    </a:lnTo>
                    <a:lnTo>
                      <a:pt x="1645" y="1068"/>
                    </a:lnTo>
                    <a:lnTo>
                      <a:pt x="1643" y="1064"/>
                    </a:lnTo>
                    <a:lnTo>
                      <a:pt x="1641" y="1062"/>
                    </a:lnTo>
                    <a:lnTo>
                      <a:pt x="1639" y="1062"/>
                    </a:lnTo>
                    <a:lnTo>
                      <a:pt x="1639" y="1060"/>
                    </a:lnTo>
                    <a:lnTo>
                      <a:pt x="1639" y="1058"/>
                    </a:lnTo>
                    <a:lnTo>
                      <a:pt x="1639" y="1056"/>
                    </a:lnTo>
                    <a:lnTo>
                      <a:pt x="1637" y="1047"/>
                    </a:lnTo>
                    <a:lnTo>
                      <a:pt x="1635" y="1043"/>
                    </a:lnTo>
                    <a:lnTo>
                      <a:pt x="1631" y="1035"/>
                    </a:lnTo>
                    <a:lnTo>
                      <a:pt x="1629" y="1031"/>
                    </a:lnTo>
                    <a:lnTo>
                      <a:pt x="1629" y="1027"/>
                    </a:lnTo>
                    <a:lnTo>
                      <a:pt x="1631" y="1027"/>
                    </a:lnTo>
                    <a:lnTo>
                      <a:pt x="1629" y="1023"/>
                    </a:lnTo>
                    <a:lnTo>
                      <a:pt x="1621" y="1015"/>
                    </a:lnTo>
                    <a:lnTo>
                      <a:pt x="1613" y="1010"/>
                    </a:lnTo>
                    <a:lnTo>
                      <a:pt x="1609" y="1006"/>
                    </a:lnTo>
                    <a:lnTo>
                      <a:pt x="1600" y="984"/>
                    </a:lnTo>
                    <a:lnTo>
                      <a:pt x="1598" y="984"/>
                    </a:lnTo>
                    <a:lnTo>
                      <a:pt x="1594" y="982"/>
                    </a:lnTo>
                    <a:lnTo>
                      <a:pt x="1592" y="982"/>
                    </a:lnTo>
                    <a:lnTo>
                      <a:pt x="1590" y="976"/>
                    </a:lnTo>
                    <a:lnTo>
                      <a:pt x="1592" y="973"/>
                    </a:lnTo>
                    <a:lnTo>
                      <a:pt x="1594" y="969"/>
                    </a:lnTo>
                    <a:lnTo>
                      <a:pt x="1598" y="965"/>
                    </a:lnTo>
                    <a:lnTo>
                      <a:pt x="1600" y="965"/>
                    </a:lnTo>
                    <a:lnTo>
                      <a:pt x="1600" y="961"/>
                    </a:lnTo>
                    <a:lnTo>
                      <a:pt x="1600" y="959"/>
                    </a:lnTo>
                    <a:lnTo>
                      <a:pt x="1600" y="957"/>
                    </a:lnTo>
                    <a:lnTo>
                      <a:pt x="1602" y="955"/>
                    </a:lnTo>
                    <a:lnTo>
                      <a:pt x="1602" y="951"/>
                    </a:lnTo>
                    <a:lnTo>
                      <a:pt x="1594" y="941"/>
                    </a:lnTo>
                    <a:lnTo>
                      <a:pt x="1594" y="939"/>
                    </a:lnTo>
                    <a:lnTo>
                      <a:pt x="1596" y="935"/>
                    </a:lnTo>
                    <a:lnTo>
                      <a:pt x="1594" y="933"/>
                    </a:lnTo>
                    <a:lnTo>
                      <a:pt x="1590" y="932"/>
                    </a:lnTo>
                    <a:lnTo>
                      <a:pt x="1588" y="930"/>
                    </a:lnTo>
                    <a:lnTo>
                      <a:pt x="1588" y="926"/>
                    </a:lnTo>
                    <a:lnTo>
                      <a:pt x="1586" y="926"/>
                    </a:lnTo>
                    <a:lnTo>
                      <a:pt x="1586" y="922"/>
                    </a:lnTo>
                    <a:lnTo>
                      <a:pt x="1584" y="920"/>
                    </a:lnTo>
                    <a:lnTo>
                      <a:pt x="1582" y="920"/>
                    </a:lnTo>
                    <a:lnTo>
                      <a:pt x="1582" y="920"/>
                    </a:lnTo>
                    <a:lnTo>
                      <a:pt x="1582" y="920"/>
                    </a:lnTo>
                    <a:lnTo>
                      <a:pt x="1582" y="920"/>
                    </a:lnTo>
                    <a:lnTo>
                      <a:pt x="1580" y="914"/>
                    </a:lnTo>
                    <a:lnTo>
                      <a:pt x="1580" y="914"/>
                    </a:lnTo>
                    <a:lnTo>
                      <a:pt x="1580" y="914"/>
                    </a:lnTo>
                    <a:lnTo>
                      <a:pt x="1580" y="914"/>
                    </a:lnTo>
                    <a:lnTo>
                      <a:pt x="1580" y="914"/>
                    </a:lnTo>
                    <a:lnTo>
                      <a:pt x="1580" y="914"/>
                    </a:lnTo>
                    <a:lnTo>
                      <a:pt x="1582" y="914"/>
                    </a:lnTo>
                    <a:lnTo>
                      <a:pt x="1578" y="908"/>
                    </a:lnTo>
                    <a:lnTo>
                      <a:pt x="1578" y="908"/>
                    </a:lnTo>
                    <a:lnTo>
                      <a:pt x="1576" y="904"/>
                    </a:lnTo>
                    <a:lnTo>
                      <a:pt x="1576" y="900"/>
                    </a:lnTo>
                    <a:lnTo>
                      <a:pt x="1576" y="900"/>
                    </a:lnTo>
                    <a:lnTo>
                      <a:pt x="1576" y="900"/>
                    </a:lnTo>
                    <a:lnTo>
                      <a:pt x="1576" y="900"/>
                    </a:lnTo>
                    <a:lnTo>
                      <a:pt x="1576" y="894"/>
                    </a:lnTo>
                    <a:lnTo>
                      <a:pt x="1576" y="892"/>
                    </a:lnTo>
                    <a:lnTo>
                      <a:pt x="1576" y="891"/>
                    </a:lnTo>
                    <a:lnTo>
                      <a:pt x="1576" y="891"/>
                    </a:lnTo>
                    <a:lnTo>
                      <a:pt x="1574" y="889"/>
                    </a:lnTo>
                    <a:lnTo>
                      <a:pt x="1574" y="889"/>
                    </a:lnTo>
                    <a:lnTo>
                      <a:pt x="1574" y="889"/>
                    </a:lnTo>
                    <a:lnTo>
                      <a:pt x="1574" y="887"/>
                    </a:lnTo>
                    <a:lnTo>
                      <a:pt x="1574" y="887"/>
                    </a:lnTo>
                    <a:lnTo>
                      <a:pt x="1574" y="887"/>
                    </a:lnTo>
                    <a:lnTo>
                      <a:pt x="1576" y="887"/>
                    </a:lnTo>
                    <a:lnTo>
                      <a:pt x="1576" y="887"/>
                    </a:lnTo>
                    <a:lnTo>
                      <a:pt x="1576" y="887"/>
                    </a:lnTo>
                    <a:lnTo>
                      <a:pt x="1578" y="885"/>
                    </a:lnTo>
                    <a:lnTo>
                      <a:pt x="1580" y="883"/>
                    </a:lnTo>
                    <a:lnTo>
                      <a:pt x="1578" y="883"/>
                    </a:lnTo>
                    <a:lnTo>
                      <a:pt x="1578" y="881"/>
                    </a:lnTo>
                    <a:lnTo>
                      <a:pt x="1578" y="881"/>
                    </a:lnTo>
                    <a:lnTo>
                      <a:pt x="1576" y="879"/>
                    </a:lnTo>
                    <a:lnTo>
                      <a:pt x="1578" y="879"/>
                    </a:lnTo>
                    <a:lnTo>
                      <a:pt x="1578" y="877"/>
                    </a:lnTo>
                    <a:lnTo>
                      <a:pt x="1578" y="877"/>
                    </a:lnTo>
                    <a:lnTo>
                      <a:pt x="1578" y="875"/>
                    </a:lnTo>
                    <a:lnTo>
                      <a:pt x="1578" y="873"/>
                    </a:lnTo>
                    <a:lnTo>
                      <a:pt x="1576" y="873"/>
                    </a:lnTo>
                    <a:lnTo>
                      <a:pt x="1578" y="867"/>
                    </a:lnTo>
                    <a:lnTo>
                      <a:pt x="1578" y="865"/>
                    </a:lnTo>
                    <a:lnTo>
                      <a:pt x="1578" y="863"/>
                    </a:lnTo>
                    <a:lnTo>
                      <a:pt x="1580" y="861"/>
                    </a:lnTo>
                    <a:lnTo>
                      <a:pt x="1582" y="857"/>
                    </a:lnTo>
                    <a:lnTo>
                      <a:pt x="1584" y="855"/>
                    </a:lnTo>
                    <a:lnTo>
                      <a:pt x="1586" y="855"/>
                    </a:lnTo>
                    <a:lnTo>
                      <a:pt x="1586" y="855"/>
                    </a:lnTo>
                    <a:lnTo>
                      <a:pt x="1588" y="853"/>
                    </a:lnTo>
                    <a:lnTo>
                      <a:pt x="1590" y="848"/>
                    </a:lnTo>
                    <a:lnTo>
                      <a:pt x="1590" y="846"/>
                    </a:lnTo>
                    <a:lnTo>
                      <a:pt x="1590" y="844"/>
                    </a:lnTo>
                    <a:lnTo>
                      <a:pt x="1588" y="842"/>
                    </a:lnTo>
                    <a:lnTo>
                      <a:pt x="1586" y="842"/>
                    </a:lnTo>
                    <a:lnTo>
                      <a:pt x="1584" y="838"/>
                    </a:lnTo>
                    <a:lnTo>
                      <a:pt x="1584" y="838"/>
                    </a:lnTo>
                    <a:lnTo>
                      <a:pt x="1584" y="838"/>
                    </a:lnTo>
                    <a:lnTo>
                      <a:pt x="1586" y="836"/>
                    </a:lnTo>
                    <a:lnTo>
                      <a:pt x="1586" y="836"/>
                    </a:lnTo>
                    <a:lnTo>
                      <a:pt x="1588" y="830"/>
                    </a:lnTo>
                    <a:lnTo>
                      <a:pt x="1590" y="828"/>
                    </a:lnTo>
                    <a:lnTo>
                      <a:pt x="1590" y="828"/>
                    </a:lnTo>
                    <a:lnTo>
                      <a:pt x="1590" y="826"/>
                    </a:lnTo>
                    <a:lnTo>
                      <a:pt x="1590" y="826"/>
                    </a:lnTo>
                    <a:lnTo>
                      <a:pt x="1590" y="826"/>
                    </a:lnTo>
                    <a:lnTo>
                      <a:pt x="1588" y="826"/>
                    </a:lnTo>
                    <a:lnTo>
                      <a:pt x="1588" y="826"/>
                    </a:lnTo>
                    <a:lnTo>
                      <a:pt x="1588" y="826"/>
                    </a:lnTo>
                    <a:lnTo>
                      <a:pt x="1590" y="822"/>
                    </a:lnTo>
                    <a:lnTo>
                      <a:pt x="1590" y="814"/>
                    </a:lnTo>
                    <a:lnTo>
                      <a:pt x="1590" y="809"/>
                    </a:lnTo>
                    <a:lnTo>
                      <a:pt x="1590" y="809"/>
                    </a:lnTo>
                    <a:lnTo>
                      <a:pt x="1590" y="809"/>
                    </a:lnTo>
                    <a:lnTo>
                      <a:pt x="1592" y="807"/>
                    </a:lnTo>
                    <a:lnTo>
                      <a:pt x="1594" y="803"/>
                    </a:lnTo>
                    <a:lnTo>
                      <a:pt x="1594" y="803"/>
                    </a:lnTo>
                    <a:lnTo>
                      <a:pt x="1596" y="799"/>
                    </a:lnTo>
                    <a:lnTo>
                      <a:pt x="1598" y="797"/>
                    </a:lnTo>
                    <a:lnTo>
                      <a:pt x="1598" y="795"/>
                    </a:lnTo>
                    <a:lnTo>
                      <a:pt x="1596" y="791"/>
                    </a:lnTo>
                    <a:lnTo>
                      <a:pt x="1596" y="791"/>
                    </a:lnTo>
                    <a:lnTo>
                      <a:pt x="1596" y="791"/>
                    </a:lnTo>
                    <a:lnTo>
                      <a:pt x="1594" y="781"/>
                    </a:lnTo>
                    <a:lnTo>
                      <a:pt x="1594" y="779"/>
                    </a:lnTo>
                    <a:lnTo>
                      <a:pt x="1594" y="777"/>
                    </a:lnTo>
                    <a:lnTo>
                      <a:pt x="1592" y="775"/>
                    </a:lnTo>
                    <a:lnTo>
                      <a:pt x="1592" y="771"/>
                    </a:lnTo>
                    <a:lnTo>
                      <a:pt x="1592" y="771"/>
                    </a:lnTo>
                    <a:lnTo>
                      <a:pt x="1590" y="771"/>
                    </a:lnTo>
                    <a:lnTo>
                      <a:pt x="1590" y="769"/>
                    </a:lnTo>
                    <a:lnTo>
                      <a:pt x="1588" y="769"/>
                    </a:lnTo>
                    <a:lnTo>
                      <a:pt x="1588" y="769"/>
                    </a:lnTo>
                    <a:lnTo>
                      <a:pt x="1588" y="769"/>
                    </a:lnTo>
                    <a:lnTo>
                      <a:pt x="1588" y="768"/>
                    </a:lnTo>
                    <a:lnTo>
                      <a:pt x="1586" y="766"/>
                    </a:lnTo>
                    <a:lnTo>
                      <a:pt x="1586" y="764"/>
                    </a:lnTo>
                    <a:lnTo>
                      <a:pt x="1584" y="764"/>
                    </a:lnTo>
                    <a:lnTo>
                      <a:pt x="1582" y="762"/>
                    </a:lnTo>
                    <a:lnTo>
                      <a:pt x="1576" y="762"/>
                    </a:lnTo>
                    <a:lnTo>
                      <a:pt x="1574" y="762"/>
                    </a:lnTo>
                    <a:lnTo>
                      <a:pt x="1572" y="762"/>
                    </a:lnTo>
                    <a:lnTo>
                      <a:pt x="1570" y="762"/>
                    </a:lnTo>
                    <a:lnTo>
                      <a:pt x="1570" y="762"/>
                    </a:lnTo>
                    <a:lnTo>
                      <a:pt x="1570" y="762"/>
                    </a:lnTo>
                    <a:lnTo>
                      <a:pt x="1566" y="752"/>
                    </a:lnTo>
                    <a:lnTo>
                      <a:pt x="1566" y="752"/>
                    </a:lnTo>
                    <a:lnTo>
                      <a:pt x="1566" y="752"/>
                    </a:lnTo>
                    <a:lnTo>
                      <a:pt x="1566" y="752"/>
                    </a:lnTo>
                    <a:lnTo>
                      <a:pt x="1566" y="750"/>
                    </a:lnTo>
                    <a:lnTo>
                      <a:pt x="1568" y="748"/>
                    </a:lnTo>
                    <a:lnTo>
                      <a:pt x="1566" y="746"/>
                    </a:lnTo>
                    <a:lnTo>
                      <a:pt x="1566" y="746"/>
                    </a:lnTo>
                    <a:lnTo>
                      <a:pt x="1565" y="748"/>
                    </a:lnTo>
                    <a:lnTo>
                      <a:pt x="1565" y="748"/>
                    </a:lnTo>
                    <a:lnTo>
                      <a:pt x="1565" y="748"/>
                    </a:lnTo>
                    <a:lnTo>
                      <a:pt x="1563" y="748"/>
                    </a:lnTo>
                    <a:lnTo>
                      <a:pt x="1563" y="746"/>
                    </a:lnTo>
                    <a:lnTo>
                      <a:pt x="1561" y="746"/>
                    </a:lnTo>
                    <a:lnTo>
                      <a:pt x="1561" y="746"/>
                    </a:lnTo>
                    <a:lnTo>
                      <a:pt x="1561" y="744"/>
                    </a:lnTo>
                    <a:lnTo>
                      <a:pt x="1561" y="746"/>
                    </a:lnTo>
                    <a:lnTo>
                      <a:pt x="1559" y="748"/>
                    </a:lnTo>
                    <a:lnTo>
                      <a:pt x="1557" y="748"/>
                    </a:lnTo>
                    <a:lnTo>
                      <a:pt x="1557" y="746"/>
                    </a:lnTo>
                    <a:lnTo>
                      <a:pt x="1555" y="746"/>
                    </a:lnTo>
                    <a:lnTo>
                      <a:pt x="1555" y="744"/>
                    </a:lnTo>
                    <a:lnTo>
                      <a:pt x="1553" y="744"/>
                    </a:lnTo>
                    <a:lnTo>
                      <a:pt x="1553" y="744"/>
                    </a:lnTo>
                    <a:lnTo>
                      <a:pt x="1551" y="746"/>
                    </a:lnTo>
                    <a:lnTo>
                      <a:pt x="1551" y="744"/>
                    </a:lnTo>
                    <a:lnTo>
                      <a:pt x="1551" y="744"/>
                    </a:lnTo>
                    <a:lnTo>
                      <a:pt x="1551" y="744"/>
                    </a:lnTo>
                    <a:lnTo>
                      <a:pt x="1551" y="744"/>
                    </a:lnTo>
                    <a:lnTo>
                      <a:pt x="1551" y="742"/>
                    </a:lnTo>
                    <a:lnTo>
                      <a:pt x="1551" y="740"/>
                    </a:lnTo>
                    <a:lnTo>
                      <a:pt x="1549" y="740"/>
                    </a:lnTo>
                    <a:lnTo>
                      <a:pt x="1549" y="740"/>
                    </a:lnTo>
                    <a:lnTo>
                      <a:pt x="1545" y="738"/>
                    </a:lnTo>
                    <a:lnTo>
                      <a:pt x="1537" y="736"/>
                    </a:lnTo>
                    <a:lnTo>
                      <a:pt x="1537" y="736"/>
                    </a:lnTo>
                    <a:lnTo>
                      <a:pt x="1535" y="734"/>
                    </a:lnTo>
                    <a:lnTo>
                      <a:pt x="1535" y="734"/>
                    </a:lnTo>
                    <a:lnTo>
                      <a:pt x="1533" y="734"/>
                    </a:lnTo>
                    <a:lnTo>
                      <a:pt x="1531" y="734"/>
                    </a:lnTo>
                    <a:lnTo>
                      <a:pt x="1522" y="732"/>
                    </a:lnTo>
                    <a:lnTo>
                      <a:pt x="1518" y="730"/>
                    </a:lnTo>
                    <a:lnTo>
                      <a:pt x="1518" y="725"/>
                    </a:lnTo>
                    <a:lnTo>
                      <a:pt x="1518" y="721"/>
                    </a:lnTo>
                    <a:lnTo>
                      <a:pt x="1516" y="719"/>
                    </a:lnTo>
                    <a:lnTo>
                      <a:pt x="1516" y="717"/>
                    </a:lnTo>
                    <a:lnTo>
                      <a:pt x="1514" y="717"/>
                    </a:lnTo>
                    <a:lnTo>
                      <a:pt x="1514" y="717"/>
                    </a:lnTo>
                    <a:lnTo>
                      <a:pt x="1514" y="717"/>
                    </a:lnTo>
                    <a:lnTo>
                      <a:pt x="1514" y="717"/>
                    </a:lnTo>
                    <a:lnTo>
                      <a:pt x="1514" y="717"/>
                    </a:lnTo>
                    <a:lnTo>
                      <a:pt x="1514" y="717"/>
                    </a:lnTo>
                    <a:lnTo>
                      <a:pt x="1522" y="701"/>
                    </a:lnTo>
                    <a:lnTo>
                      <a:pt x="1522" y="699"/>
                    </a:lnTo>
                    <a:lnTo>
                      <a:pt x="1524" y="695"/>
                    </a:lnTo>
                    <a:lnTo>
                      <a:pt x="1531" y="687"/>
                    </a:lnTo>
                    <a:lnTo>
                      <a:pt x="1551" y="656"/>
                    </a:lnTo>
                    <a:lnTo>
                      <a:pt x="1555" y="652"/>
                    </a:lnTo>
                    <a:lnTo>
                      <a:pt x="1566" y="645"/>
                    </a:lnTo>
                    <a:lnTo>
                      <a:pt x="1580" y="637"/>
                    </a:lnTo>
                    <a:lnTo>
                      <a:pt x="1580" y="635"/>
                    </a:lnTo>
                    <a:lnTo>
                      <a:pt x="1609" y="627"/>
                    </a:lnTo>
                    <a:lnTo>
                      <a:pt x="1619" y="619"/>
                    </a:lnTo>
                    <a:lnTo>
                      <a:pt x="1631" y="611"/>
                    </a:lnTo>
                    <a:lnTo>
                      <a:pt x="1635" y="607"/>
                    </a:lnTo>
                    <a:lnTo>
                      <a:pt x="1637" y="604"/>
                    </a:lnTo>
                    <a:lnTo>
                      <a:pt x="1641" y="592"/>
                    </a:lnTo>
                    <a:lnTo>
                      <a:pt x="1639" y="584"/>
                    </a:lnTo>
                    <a:lnTo>
                      <a:pt x="1639" y="551"/>
                    </a:lnTo>
                    <a:lnTo>
                      <a:pt x="1637" y="549"/>
                    </a:lnTo>
                    <a:lnTo>
                      <a:pt x="1637" y="547"/>
                    </a:lnTo>
                    <a:lnTo>
                      <a:pt x="1637" y="547"/>
                    </a:lnTo>
                    <a:lnTo>
                      <a:pt x="1637" y="545"/>
                    </a:lnTo>
                    <a:lnTo>
                      <a:pt x="1637" y="543"/>
                    </a:lnTo>
                    <a:lnTo>
                      <a:pt x="1637" y="541"/>
                    </a:lnTo>
                    <a:lnTo>
                      <a:pt x="1637" y="539"/>
                    </a:lnTo>
                    <a:lnTo>
                      <a:pt x="1639" y="537"/>
                    </a:lnTo>
                    <a:lnTo>
                      <a:pt x="1639" y="535"/>
                    </a:lnTo>
                    <a:lnTo>
                      <a:pt x="1639" y="535"/>
                    </a:lnTo>
                    <a:lnTo>
                      <a:pt x="1639" y="533"/>
                    </a:lnTo>
                    <a:lnTo>
                      <a:pt x="1639" y="533"/>
                    </a:lnTo>
                    <a:lnTo>
                      <a:pt x="1639" y="529"/>
                    </a:lnTo>
                    <a:lnTo>
                      <a:pt x="1637" y="525"/>
                    </a:lnTo>
                    <a:lnTo>
                      <a:pt x="1637" y="523"/>
                    </a:lnTo>
                    <a:lnTo>
                      <a:pt x="1639" y="520"/>
                    </a:lnTo>
                    <a:lnTo>
                      <a:pt x="1639" y="520"/>
                    </a:lnTo>
                    <a:lnTo>
                      <a:pt x="1637" y="518"/>
                    </a:lnTo>
                    <a:lnTo>
                      <a:pt x="1637" y="514"/>
                    </a:lnTo>
                    <a:lnTo>
                      <a:pt x="1635" y="514"/>
                    </a:lnTo>
                    <a:lnTo>
                      <a:pt x="1635" y="512"/>
                    </a:lnTo>
                    <a:lnTo>
                      <a:pt x="1631" y="506"/>
                    </a:lnTo>
                    <a:lnTo>
                      <a:pt x="1629" y="504"/>
                    </a:lnTo>
                    <a:lnTo>
                      <a:pt x="1629" y="502"/>
                    </a:lnTo>
                    <a:lnTo>
                      <a:pt x="1629" y="500"/>
                    </a:lnTo>
                    <a:lnTo>
                      <a:pt x="1629" y="496"/>
                    </a:lnTo>
                    <a:lnTo>
                      <a:pt x="1631" y="494"/>
                    </a:lnTo>
                    <a:lnTo>
                      <a:pt x="1631" y="492"/>
                    </a:lnTo>
                    <a:lnTo>
                      <a:pt x="1631" y="492"/>
                    </a:lnTo>
                    <a:lnTo>
                      <a:pt x="1633" y="490"/>
                    </a:lnTo>
                    <a:lnTo>
                      <a:pt x="1635" y="486"/>
                    </a:lnTo>
                    <a:lnTo>
                      <a:pt x="1635" y="486"/>
                    </a:lnTo>
                    <a:lnTo>
                      <a:pt x="1635" y="482"/>
                    </a:lnTo>
                    <a:lnTo>
                      <a:pt x="1635" y="479"/>
                    </a:lnTo>
                    <a:lnTo>
                      <a:pt x="1633" y="475"/>
                    </a:lnTo>
                    <a:lnTo>
                      <a:pt x="1631" y="473"/>
                    </a:lnTo>
                    <a:lnTo>
                      <a:pt x="1629" y="473"/>
                    </a:lnTo>
                    <a:lnTo>
                      <a:pt x="1627" y="471"/>
                    </a:lnTo>
                    <a:lnTo>
                      <a:pt x="1625" y="465"/>
                    </a:lnTo>
                    <a:lnTo>
                      <a:pt x="1625" y="463"/>
                    </a:lnTo>
                    <a:lnTo>
                      <a:pt x="1623" y="461"/>
                    </a:lnTo>
                    <a:lnTo>
                      <a:pt x="1623" y="459"/>
                    </a:lnTo>
                    <a:lnTo>
                      <a:pt x="1623" y="457"/>
                    </a:lnTo>
                    <a:lnTo>
                      <a:pt x="1619" y="453"/>
                    </a:lnTo>
                    <a:lnTo>
                      <a:pt x="1617" y="445"/>
                    </a:lnTo>
                    <a:lnTo>
                      <a:pt x="1613" y="434"/>
                    </a:lnTo>
                    <a:lnTo>
                      <a:pt x="1609" y="420"/>
                    </a:lnTo>
                    <a:lnTo>
                      <a:pt x="1608" y="414"/>
                    </a:lnTo>
                    <a:lnTo>
                      <a:pt x="1606" y="410"/>
                    </a:lnTo>
                    <a:lnTo>
                      <a:pt x="1598" y="395"/>
                    </a:lnTo>
                    <a:lnTo>
                      <a:pt x="1584" y="350"/>
                    </a:lnTo>
                    <a:lnTo>
                      <a:pt x="1580" y="330"/>
                    </a:lnTo>
                    <a:lnTo>
                      <a:pt x="1580" y="313"/>
                    </a:lnTo>
                    <a:lnTo>
                      <a:pt x="1576" y="307"/>
                    </a:lnTo>
                    <a:lnTo>
                      <a:pt x="1576" y="307"/>
                    </a:lnTo>
                    <a:lnTo>
                      <a:pt x="1574" y="301"/>
                    </a:lnTo>
                    <a:lnTo>
                      <a:pt x="1574" y="293"/>
                    </a:lnTo>
                    <a:lnTo>
                      <a:pt x="1572" y="287"/>
                    </a:lnTo>
                    <a:lnTo>
                      <a:pt x="1570" y="279"/>
                    </a:lnTo>
                    <a:lnTo>
                      <a:pt x="1570" y="279"/>
                    </a:lnTo>
                    <a:lnTo>
                      <a:pt x="1568" y="274"/>
                    </a:lnTo>
                    <a:lnTo>
                      <a:pt x="1568" y="274"/>
                    </a:lnTo>
                    <a:lnTo>
                      <a:pt x="1568" y="274"/>
                    </a:lnTo>
                    <a:lnTo>
                      <a:pt x="1568" y="274"/>
                    </a:lnTo>
                    <a:lnTo>
                      <a:pt x="1566" y="266"/>
                    </a:lnTo>
                    <a:lnTo>
                      <a:pt x="1566" y="258"/>
                    </a:lnTo>
                    <a:lnTo>
                      <a:pt x="1566" y="258"/>
                    </a:lnTo>
                    <a:lnTo>
                      <a:pt x="1566" y="256"/>
                    </a:lnTo>
                    <a:lnTo>
                      <a:pt x="1568" y="254"/>
                    </a:lnTo>
                    <a:lnTo>
                      <a:pt x="1568" y="254"/>
                    </a:lnTo>
                    <a:lnTo>
                      <a:pt x="1566" y="254"/>
                    </a:lnTo>
                    <a:lnTo>
                      <a:pt x="1566" y="252"/>
                    </a:lnTo>
                    <a:lnTo>
                      <a:pt x="1566" y="252"/>
                    </a:lnTo>
                    <a:lnTo>
                      <a:pt x="1566" y="252"/>
                    </a:lnTo>
                    <a:lnTo>
                      <a:pt x="1565" y="250"/>
                    </a:lnTo>
                    <a:lnTo>
                      <a:pt x="1563" y="248"/>
                    </a:lnTo>
                    <a:lnTo>
                      <a:pt x="1563" y="248"/>
                    </a:lnTo>
                    <a:lnTo>
                      <a:pt x="1563" y="246"/>
                    </a:lnTo>
                    <a:lnTo>
                      <a:pt x="1563" y="246"/>
                    </a:lnTo>
                    <a:lnTo>
                      <a:pt x="1563" y="244"/>
                    </a:lnTo>
                    <a:lnTo>
                      <a:pt x="1563" y="242"/>
                    </a:lnTo>
                    <a:lnTo>
                      <a:pt x="1563" y="242"/>
                    </a:lnTo>
                    <a:lnTo>
                      <a:pt x="1563" y="240"/>
                    </a:lnTo>
                    <a:lnTo>
                      <a:pt x="1565" y="240"/>
                    </a:lnTo>
                    <a:lnTo>
                      <a:pt x="1565" y="240"/>
                    </a:lnTo>
                    <a:lnTo>
                      <a:pt x="1566" y="238"/>
                    </a:lnTo>
                    <a:lnTo>
                      <a:pt x="1566" y="238"/>
                    </a:lnTo>
                    <a:lnTo>
                      <a:pt x="1568" y="234"/>
                    </a:lnTo>
                    <a:lnTo>
                      <a:pt x="1568" y="229"/>
                    </a:lnTo>
                    <a:lnTo>
                      <a:pt x="1566" y="215"/>
                    </a:lnTo>
                    <a:lnTo>
                      <a:pt x="1565" y="209"/>
                    </a:lnTo>
                    <a:lnTo>
                      <a:pt x="1565" y="205"/>
                    </a:lnTo>
                    <a:lnTo>
                      <a:pt x="1563" y="201"/>
                    </a:lnTo>
                    <a:lnTo>
                      <a:pt x="1561" y="197"/>
                    </a:lnTo>
                    <a:lnTo>
                      <a:pt x="1561" y="195"/>
                    </a:lnTo>
                    <a:lnTo>
                      <a:pt x="1559" y="192"/>
                    </a:lnTo>
                    <a:lnTo>
                      <a:pt x="1557" y="192"/>
                    </a:lnTo>
                    <a:lnTo>
                      <a:pt x="1553" y="190"/>
                    </a:lnTo>
                    <a:lnTo>
                      <a:pt x="1551" y="190"/>
                    </a:lnTo>
                    <a:lnTo>
                      <a:pt x="1551" y="190"/>
                    </a:lnTo>
                    <a:lnTo>
                      <a:pt x="1549" y="188"/>
                    </a:lnTo>
                    <a:lnTo>
                      <a:pt x="1547" y="182"/>
                    </a:lnTo>
                    <a:lnTo>
                      <a:pt x="1545" y="180"/>
                    </a:lnTo>
                    <a:lnTo>
                      <a:pt x="1545" y="178"/>
                    </a:lnTo>
                    <a:lnTo>
                      <a:pt x="1543" y="178"/>
                    </a:lnTo>
                    <a:lnTo>
                      <a:pt x="1541" y="176"/>
                    </a:lnTo>
                    <a:lnTo>
                      <a:pt x="1539" y="174"/>
                    </a:lnTo>
                    <a:lnTo>
                      <a:pt x="1531" y="170"/>
                    </a:lnTo>
                    <a:lnTo>
                      <a:pt x="1525" y="168"/>
                    </a:lnTo>
                    <a:lnTo>
                      <a:pt x="1518" y="164"/>
                    </a:lnTo>
                    <a:lnTo>
                      <a:pt x="1508" y="156"/>
                    </a:lnTo>
                    <a:lnTo>
                      <a:pt x="1506" y="154"/>
                    </a:lnTo>
                    <a:lnTo>
                      <a:pt x="1504" y="154"/>
                    </a:lnTo>
                    <a:lnTo>
                      <a:pt x="1502" y="154"/>
                    </a:lnTo>
                    <a:lnTo>
                      <a:pt x="1498" y="156"/>
                    </a:lnTo>
                    <a:lnTo>
                      <a:pt x="1498" y="156"/>
                    </a:lnTo>
                    <a:lnTo>
                      <a:pt x="1494" y="156"/>
                    </a:lnTo>
                    <a:lnTo>
                      <a:pt x="1490" y="152"/>
                    </a:lnTo>
                    <a:lnTo>
                      <a:pt x="1490" y="152"/>
                    </a:lnTo>
                    <a:lnTo>
                      <a:pt x="1490" y="149"/>
                    </a:lnTo>
                    <a:lnTo>
                      <a:pt x="1490" y="149"/>
                    </a:lnTo>
                    <a:lnTo>
                      <a:pt x="1492" y="147"/>
                    </a:lnTo>
                    <a:lnTo>
                      <a:pt x="1492" y="143"/>
                    </a:lnTo>
                    <a:lnTo>
                      <a:pt x="1492" y="143"/>
                    </a:lnTo>
                    <a:lnTo>
                      <a:pt x="1492" y="141"/>
                    </a:lnTo>
                    <a:lnTo>
                      <a:pt x="1490" y="141"/>
                    </a:lnTo>
                    <a:lnTo>
                      <a:pt x="1486" y="141"/>
                    </a:lnTo>
                    <a:lnTo>
                      <a:pt x="1484" y="141"/>
                    </a:lnTo>
                    <a:lnTo>
                      <a:pt x="1484" y="139"/>
                    </a:lnTo>
                    <a:lnTo>
                      <a:pt x="1482" y="139"/>
                    </a:lnTo>
                    <a:lnTo>
                      <a:pt x="1482" y="137"/>
                    </a:lnTo>
                    <a:lnTo>
                      <a:pt x="1482" y="135"/>
                    </a:lnTo>
                    <a:lnTo>
                      <a:pt x="1481" y="133"/>
                    </a:lnTo>
                    <a:lnTo>
                      <a:pt x="1481" y="133"/>
                    </a:lnTo>
                    <a:lnTo>
                      <a:pt x="1479" y="131"/>
                    </a:lnTo>
                    <a:lnTo>
                      <a:pt x="1477" y="131"/>
                    </a:lnTo>
                    <a:lnTo>
                      <a:pt x="1475" y="131"/>
                    </a:lnTo>
                    <a:lnTo>
                      <a:pt x="1473" y="131"/>
                    </a:lnTo>
                    <a:lnTo>
                      <a:pt x="1473" y="131"/>
                    </a:lnTo>
                    <a:lnTo>
                      <a:pt x="1473" y="131"/>
                    </a:lnTo>
                    <a:lnTo>
                      <a:pt x="1461" y="127"/>
                    </a:lnTo>
                    <a:lnTo>
                      <a:pt x="1461" y="127"/>
                    </a:lnTo>
                    <a:lnTo>
                      <a:pt x="1459" y="125"/>
                    </a:lnTo>
                    <a:lnTo>
                      <a:pt x="1453" y="127"/>
                    </a:lnTo>
                    <a:lnTo>
                      <a:pt x="1453" y="127"/>
                    </a:lnTo>
                    <a:lnTo>
                      <a:pt x="1453" y="129"/>
                    </a:lnTo>
                    <a:lnTo>
                      <a:pt x="1449" y="137"/>
                    </a:lnTo>
                    <a:lnTo>
                      <a:pt x="1447" y="139"/>
                    </a:lnTo>
                    <a:lnTo>
                      <a:pt x="1447" y="139"/>
                    </a:lnTo>
                    <a:lnTo>
                      <a:pt x="1447" y="139"/>
                    </a:lnTo>
                    <a:lnTo>
                      <a:pt x="1436" y="143"/>
                    </a:lnTo>
                    <a:lnTo>
                      <a:pt x="1404" y="141"/>
                    </a:lnTo>
                    <a:lnTo>
                      <a:pt x="1365" y="139"/>
                    </a:lnTo>
                    <a:lnTo>
                      <a:pt x="1318" y="137"/>
                    </a:lnTo>
                    <a:lnTo>
                      <a:pt x="1271" y="135"/>
                    </a:lnTo>
                    <a:lnTo>
                      <a:pt x="1199" y="131"/>
                    </a:lnTo>
                    <a:lnTo>
                      <a:pt x="1139" y="127"/>
                    </a:lnTo>
                    <a:lnTo>
                      <a:pt x="1090" y="125"/>
                    </a:lnTo>
                    <a:lnTo>
                      <a:pt x="1043" y="121"/>
                    </a:lnTo>
                    <a:lnTo>
                      <a:pt x="978" y="119"/>
                    </a:lnTo>
                    <a:lnTo>
                      <a:pt x="943" y="117"/>
                    </a:lnTo>
                    <a:lnTo>
                      <a:pt x="943" y="117"/>
                    </a:lnTo>
                    <a:lnTo>
                      <a:pt x="943" y="117"/>
                    </a:lnTo>
                    <a:lnTo>
                      <a:pt x="941" y="117"/>
                    </a:lnTo>
                    <a:lnTo>
                      <a:pt x="941" y="117"/>
                    </a:lnTo>
                    <a:lnTo>
                      <a:pt x="941" y="121"/>
                    </a:lnTo>
                    <a:lnTo>
                      <a:pt x="941" y="123"/>
                    </a:lnTo>
                    <a:lnTo>
                      <a:pt x="939" y="123"/>
                    </a:lnTo>
                    <a:lnTo>
                      <a:pt x="937" y="125"/>
                    </a:lnTo>
                    <a:lnTo>
                      <a:pt x="937" y="129"/>
                    </a:lnTo>
                    <a:lnTo>
                      <a:pt x="935" y="131"/>
                    </a:lnTo>
                    <a:lnTo>
                      <a:pt x="934" y="131"/>
                    </a:lnTo>
                    <a:lnTo>
                      <a:pt x="932" y="131"/>
                    </a:lnTo>
                    <a:lnTo>
                      <a:pt x="920" y="139"/>
                    </a:lnTo>
                    <a:lnTo>
                      <a:pt x="914" y="141"/>
                    </a:lnTo>
                    <a:lnTo>
                      <a:pt x="910" y="141"/>
                    </a:lnTo>
                    <a:lnTo>
                      <a:pt x="896" y="151"/>
                    </a:lnTo>
                    <a:lnTo>
                      <a:pt x="894" y="151"/>
                    </a:lnTo>
                    <a:lnTo>
                      <a:pt x="893" y="152"/>
                    </a:lnTo>
                    <a:lnTo>
                      <a:pt x="889" y="156"/>
                    </a:lnTo>
                    <a:lnTo>
                      <a:pt x="885" y="162"/>
                    </a:lnTo>
                    <a:lnTo>
                      <a:pt x="883" y="164"/>
                    </a:lnTo>
                    <a:lnTo>
                      <a:pt x="883" y="166"/>
                    </a:lnTo>
                    <a:lnTo>
                      <a:pt x="879" y="174"/>
                    </a:lnTo>
                    <a:lnTo>
                      <a:pt x="877" y="176"/>
                    </a:lnTo>
                    <a:lnTo>
                      <a:pt x="877" y="172"/>
                    </a:lnTo>
                    <a:lnTo>
                      <a:pt x="879" y="168"/>
                    </a:lnTo>
                    <a:lnTo>
                      <a:pt x="879" y="164"/>
                    </a:lnTo>
                    <a:lnTo>
                      <a:pt x="881" y="164"/>
                    </a:lnTo>
                    <a:lnTo>
                      <a:pt x="881" y="162"/>
                    </a:lnTo>
                    <a:lnTo>
                      <a:pt x="877" y="162"/>
                    </a:lnTo>
                    <a:lnTo>
                      <a:pt x="861" y="160"/>
                    </a:lnTo>
                    <a:lnTo>
                      <a:pt x="857" y="158"/>
                    </a:lnTo>
                    <a:lnTo>
                      <a:pt x="857" y="154"/>
                    </a:lnTo>
                    <a:lnTo>
                      <a:pt x="857" y="154"/>
                    </a:lnTo>
                    <a:lnTo>
                      <a:pt x="859" y="152"/>
                    </a:lnTo>
                    <a:lnTo>
                      <a:pt x="859" y="152"/>
                    </a:lnTo>
                    <a:lnTo>
                      <a:pt x="859" y="151"/>
                    </a:lnTo>
                    <a:lnTo>
                      <a:pt x="855" y="147"/>
                    </a:lnTo>
                    <a:lnTo>
                      <a:pt x="855" y="145"/>
                    </a:lnTo>
                    <a:lnTo>
                      <a:pt x="861" y="141"/>
                    </a:lnTo>
                    <a:lnTo>
                      <a:pt x="875" y="141"/>
                    </a:lnTo>
                    <a:lnTo>
                      <a:pt x="883" y="139"/>
                    </a:lnTo>
                    <a:lnTo>
                      <a:pt x="891" y="135"/>
                    </a:lnTo>
                    <a:lnTo>
                      <a:pt x="920" y="111"/>
                    </a:lnTo>
                    <a:lnTo>
                      <a:pt x="918" y="110"/>
                    </a:lnTo>
                    <a:lnTo>
                      <a:pt x="916" y="111"/>
                    </a:lnTo>
                    <a:lnTo>
                      <a:pt x="904" y="121"/>
                    </a:lnTo>
                    <a:lnTo>
                      <a:pt x="900" y="125"/>
                    </a:lnTo>
                    <a:lnTo>
                      <a:pt x="893" y="125"/>
                    </a:lnTo>
                    <a:lnTo>
                      <a:pt x="879" y="133"/>
                    </a:lnTo>
                    <a:lnTo>
                      <a:pt x="816" y="143"/>
                    </a:lnTo>
                    <a:lnTo>
                      <a:pt x="812" y="141"/>
                    </a:lnTo>
                    <a:lnTo>
                      <a:pt x="810" y="139"/>
                    </a:lnTo>
                    <a:lnTo>
                      <a:pt x="809" y="139"/>
                    </a:lnTo>
                    <a:lnTo>
                      <a:pt x="803" y="141"/>
                    </a:lnTo>
                    <a:lnTo>
                      <a:pt x="797" y="141"/>
                    </a:lnTo>
                    <a:lnTo>
                      <a:pt x="769" y="131"/>
                    </a:lnTo>
                    <a:lnTo>
                      <a:pt x="766" y="127"/>
                    </a:lnTo>
                    <a:lnTo>
                      <a:pt x="766" y="125"/>
                    </a:lnTo>
                    <a:lnTo>
                      <a:pt x="762" y="123"/>
                    </a:lnTo>
                    <a:lnTo>
                      <a:pt x="760" y="123"/>
                    </a:lnTo>
                    <a:lnTo>
                      <a:pt x="758" y="123"/>
                    </a:lnTo>
                    <a:lnTo>
                      <a:pt x="756" y="121"/>
                    </a:lnTo>
                    <a:lnTo>
                      <a:pt x="750" y="117"/>
                    </a:lnTo>
                    <a:lnTo>
                      <a:pt x="748" y="117"/>
                    </a:lnTo>
                    <a:lnTo>
                      <a:pt x="744" y="111"/>
                    </a:lnTo>
                    <a:lnTo>
                      <a:pt x="744" y="102"/>
                    </a:lnTo>
                    <a:lnTo>
                      <a:pt x="744" y="90"/>
                    </a:lnTo>
                    <a:lnTo>
                      <a:pt x="744" y="82"/>
                    </a:lnTo>
                    <a:lnTo>
                      <a:pt x="742" y="80"/>
                    </a:lnTo>
                    <a:lnTo>
                      <a:pt x="738" y="67"/>
                    </a:lnTo>
                    <a:lnTo>
                      <a:pt x="736" y="65"/>
                    </a:lnTo>
                    <a:lnTo>
                      <a:pt x="736" y="61"/>
                    </a:lnTo>
                    <a:lnTo>
                      <a:pt x="736" y="55"/>
                    </a:lnTo>
                    <a:lnTo>
                      <a:pt x="734" y="59"/>
                    </a:lnTo>
                    <a:lnTo>
                      <a:pt x="730" y="59"/>
                    </a:lnTo>
                    <a:lnTo>
                      <a:pt x="728" y="57"/>
                    </a:lnTo>
                    <a:lnTo>
                      <a:pt x="730" y="51"/>
                    </a:lnTo>
                    <a:lnTo>
                      <a:pt x="728" y="49"/>
                    </a:lnTo>
                    <a:lnTo>
                      <a:pt x="728" y="47"/>
                    </a:lnTo>
                    <a:lnTo>
                      <a:pt x="728" y="45"/>
                    </a:lnTo>
                    <a:lnTo>
                      <a:pt x="728" y="43"/>
                    </a:lnTo>
                    <a:lnTo>
                      <a:pt x="726" y="39"/>
                    </a:lnTo>
                    <a:lnTo>
                      <a:pt x="725" y="35"/>
                    </a:lnTo>
                    <a:lnTo>
                      <a:pt x="723" y="33"/>
                    </a:lnTo>
                    <a:lnTo>
                      <a:pt x="719" y="31"/>
                    </a:lnTo>
                    <a:lnTo>
                      <a:pt x="719" y="31"/>
                    </a:lnTo>
                    <a:lnTo>
                      <a:pt x="719" y="26"/>
                    </a:lnTo>
                    <a:lnTo>
                      <a:pt x="719" y="26"/>
                    </a:lnTo>
                    <a:lnTo>
                      <a:pt x="721" y="16"/>
                    </a:lnTo>
                    <a:lnTo>
                      <a:pt x="723" y="16"/>
                    </a:lnTo>
                    <a:lnTo>
                      <a:pt x="725" y="14"/>
                    </a:lnTo>
                    <a:lnTo>
                      <a:pt x="725" y="14"/>
                    </a:lnTo>
                    <a:lnTo>
                      <a:pt x="730" y="20"/>
                    </a:lnTo>
                    <a:lnTo>
                      <a:pt x="732" y="22"/>
                    </a:lnTo>
                    <a:lnTo>
                      <a:pt x="742" y="26"/>
                    </a:lnTo>
                    <a:lnTo>
                      <a:pt x="752" y="33"/>
                    </a:lnTo>
                    <a:lnTo>
                      <a:pt x="758" y="33"/>
                    </a:lnTo>
                    <a:lnTo>
                      <a:pt x="758" y="37"/>
                    </a:lnTo>
                    <a:lnTo>
                      <a:pt x="760" y="37"/>
                    </a:lnTo>
                    <a:lnTo>
                      <a:pt x="766" y="39"/>
                    </a:lnTo>
                    <a:lnTo>
                      <a:pt x="767" y="39"/>
                    </a:lnTo>
                    <a:lnTo>
                      <a:pt x="775" y="53"/>
                    </a:lnTo>
                    <a:lnTo>
                      <a:pt x="777" y="57"/>
                    </a:lnTo>
                    <a:lnTo>
                      <a:pt x="779" y="63"/>
                    </a:lnTo>
                    <a:lnTo>
                      <a:pt x="783" y="65"/>
                    </a:lnTo>
                    <a:lnTo>
                      <a:pt x="783" y="67"/>
                    </a:lnTo>
                    <a:lnTo>
                      <a:pt x="785" y="69"/>
                    </a:lnTo>
                    <a:lnTo>
                      <a:pt x="785" y="69"/>
                    </a:lnTo>
                    <a:lnTo>
                      <a:pt x="789" y="69"/>
                    </a:lnTo>
                    <a:lnTo>
                      <a:pt x="789" y="65"/>
                    </a:lnTo>
                    <a:lnTo>
                      <a:pt x="787" y="59"/>
                    </a:lnTo>
                    <a:lnTo>
                      <a:pt x="785" y="57"/>
                    </a:lnTo>
                    <a:lnTo>
                      <a:pt x="775" y="43"/>
                    </a:lnTo>
                    <a:lnTo>
                      <a:pt x="717" y="8"/>
                    </a:lnTo>
                    <a:lnTo>
                      <a:pt x="715" y="8"/>
                    </a:lnTo>
                    <a:lnTo>
                      <a:pt x="711" y="6"/>
                    </a:lnTo>
                    <a:lnTo>
                      <a:pt x="705" y="2"/>
                    </a:lnTo>
                    <a:lnTo>
                      <a:pt x="701" y="0"/>
                    </a:lnTo>
                    <a:lnTo>
                      <a:pt x="674" y="0"/>
                    </a:lnTo>
                    <a:lnTo>
                      <a:pt x="629" y="4"/>
                    </a:lnTo>
                    <a:lnTo>
                      <a:pt x="601" y="14"/>
                    </a:lnTo>
                    <a:lnTo>
                      <a:pt x="539" y="26"/>
                    </a:lnTo>
                    <a:lnTo>
                      <a:pt x="488" y="49"/>
                    </a:lnTo>
                    <a:lnTo>
                      <a:pt x="472" y="67"/>
                    </a:lnTo>
                    <a:lnTo>
                      <a:pt x="465" y="69"/>
                    </a:lnTo>
                    <a:lnTo>
                      <a:pt x="459" y="70"/>
                    </a:lnTo>
                    <a:lnTo>
                      <a:pt x="445" y="76"/>
                    </a:lnTo>
                    <a:lnTo>
                      <a:pt x="410" y="80"/>
                    </a:lnTo>
                    <a:lnTo>
                      <a:pt x="398" y="88"/>
                    </a:lnTo>
                    <a:lnTo>
                      <a:pt x="392" y="94"/>
                    </a:lnTo>
                    <a:lnTo>
                      <a:pt x="388" y="102"/>
                    </a:lnTo>
                    <a:lnTo>
                      <a:pt x="390" y="98"/>
                    </a:lnTo>
                    <a:lnTo>
                      <a:pt x="394" y="98"/>
                    </a:lnTo>
                    <a:lnTo>
                      <a:pt x="394" y="100"/>
                    </a:lnTo>
                    <a:lnTo>
                      <a:pt x="394" y="104"/>
                    </a:lnTo>
                    <a:lnTo>
                      <a:pt x="390" y="106"/>
                    </a:lnTo>
                    <a:lnTo>
                      <a:pt x="388" y="106"/>
                    </a:lnTo>
                    <a:lnTo>
                      <a:pt x="387" y="106"/>
                    </a:lnTo>
                    <a:lnTo>
                      <a:pt x="388" y="104"/>
                    </a:lnTo>
                    <a:lnTo>
                      <a:pt x="388" y="102"/>
                    </a:lnTo>
                    <a:lnTo>
                      <a:pt x="369" y="125"/>
                    </a:lnTo>
                    <a:lnTo>
                      <a:pt x="361" y="139"/>
                    </a:lnTo>
                    <a:lnTo>
                      <a:pt x="363" y="135"/>
                    </a:lnTo>
                    <a:lnTo>
                      <a:pt x="365" y="133"/>
                    </a:lnTo>
                    <a:lnTo>
                      <a:pt x="369" y="135"/>
                    </a:lnTo>
                    <a:lnTo>
                      <a:pt x="371" y="139"/>
                    </a:lnTo>
                    <a:lnTo>
                      <a:pt x="369" y="141"/>
                    </a:lnTo>
                    <a:lnTo>
                      <a:pt x="363" y="143"/>
                    </a:lnTo>
                    <a:lnTo>
                      <a:pt x="359" y="147"/>
                    </a:lnTo>
                    <a:lnTo>
                      <a:pt x="357" y="147"/>
                    </a:lnTo>
                    <a:lnTo>
                      <a:pt x="355" y="149"/>
                    </a:lnTo>
                    <a:lnTo>
                      <a:pt x="353" y="149"/>
                    </a:lnTo>
                    <a:lnTo>
                      <a:pt x="355" y="147"/>
                    </a:lnTo>
                    <a:lnTo>
                      <a:pt x="359" y="143"/>
                    </a:lnTo>
                    <a:lnTo>
                      <a:pt x="361" y="139"/>
                    </a:lnTo>
                    <a:lnTo>
                      <a:pt x="349" y="151"/>
                    </a:lnTo>
                    <a:lnTo>
                      <a:pt x="344" y="154"/>
                    </a:lnTo>
                    <a:lnTo>
                      <a:pt x="338" y="158"/>
                    </a:lnTo>
                    <a:lnTo>
                      <a:pt x="346" y="154"/>
                    </a:lnTo>
                    <a:lnTo>
                      <a:pt x="349" y="154"/>
                    </a:lnTo>
                    <a:lnTo>
                      <a:pt x="349" y="160"/>
                    </a:lnTo>
                    <a:lnTo>
                      <a:pt x="351" y="160"/>
                    </a:lnTo>
                    <a:lnTo>
                      <a:pt x="351" y="160"/>
                    </a:lnTo>
                    <a:lnTo>
                      <a:pt x="351" y="160"/>
                    </a:lnTo>
                    <a:lnTo>
                      <a:pt x="351" y="162"/>
                    </a:lnTo>
                    <a:lnTo>
                      <a:pt x="344" y="162"/>
                    </a:lnTo>
                    <a:lnTo>
                      <a:pt x="344" y="164"/>
                    </a:lnTo>
                    <a:lnTo>
                      <a:pt x="344" y="164"/>
                    </a:lnTo>
                    <a:lnTo>
                      <a:pt x="344" y="166"/>
                    </a:lnTo>
                    <a:lnTo>
                      <a:pt x="330" y="168"/>
                    </a:lnTo>
                    <a:lnTo>
                      <a:pt x="326" y="166"/>
                    </a:lnTo>
                    <a:lnTo>
                      <a:pt x="334" y="162"/>
                    </a:lnTo>
                    <a:lnTo>
                      <a:pt x="336" y="160"/>
                    </a:lnTo>
                    <a:lnTo>
                      <a:pt x="318" y="166"/>
                    </a:lnTo>
                    <a:lnTo>
                      <a:pt x="291" y="170"/>
                    </a:lnTo>
                    <a:lnTo>
                      <a:pt x="258" y="184"/>
                    </a:lnTo>
                    <a:lnTo>
                      <a:pt x="224" y="193"/>
                    </a:lnTo>
                    <a:lnTo>
                      <a:pt x="195" y="201"/>
                    </a:lnTo>
                    <a:lnTo>
                      <a:pt x="148" y="221"/>
                    </a:lnTo>
                    <a:lnTo>
                      <a:pt x="111" y="231"/>
                    </a:lnTo>
                    <a:lnTo>
                      <a:pt x="66" y="250"/>
                    </a:lnTo>
                    <a:lnTo>
                      <a:pt x="54" y="260"/>
                    </a:lnTo>
                    <a:lnTo>
                      <a:pt x="47" y="262"/>
                    </a:lnTo>
                    <a:lnTo>
                      <a:pt x="41" y="264"/>
                    </a:lnTo>
                    <a:lnTo>
                      <a:pt x="25" y="262"/>
                    </a:lnTo>
                    <a:lnTo>
                      <a:pt x="19" y="260"/>
                    </a:lnTo>
                    <a:lnTo>
                      <a:pt x="17" y="260"/>
                    </a:lnTo>
                    <a:lnTo>
                      <a:pt x="15" y="258"/>
                    </a:lnTo>
                    <a:lnTo>
                      <a:pt x="11" y="266"/>
                    </a:lnTo>
                    <a:lnTo>
                      <a:pt x="11" y="266"/>
                    </a:lnTo>
                    <a:lnTo>
                      <a:pt x="10" y="268"/>
                    </a:lnTo>
                    <a:lnTo>
                      <a:pt x="11" y="270"/>
                    </a:lnTo>
                    <a:lnTo>
                      <a:pt x="13" y="275"/>
                    </a:lnTo>
                    <a:lnTo>
                      <a:pt x="13" y="275"/>
                    </a:lnTo>
                    <a:lnTo>
                      <a:pt x="17" y="277"/>
                    </a:lnTo>
                    <a:lnTo>
                      <a:pt x="25" y="289"/>
                    </a:lnTo>
                    <a:lnTo>
                      <a:pt x="29" y="291"/>
                    </a:lnTo>
                    <a:lnTo>
                      <a:pt x="31" y="291"/>
                    </a:lnTo>
                    <a:lnTo>
                      <a:pt x="33" y="291"/>
                    </a:lnTo>
                    <a:lnTo>
                      <a:pt x="35" y="293"/>
                    </a:lnTo>
                    <a:lnTo>
                      <a:pt x="37" y="291"/>
                    </a:lnTo>
                    <a:lnTo>
                      <a:pt x="37" y="291"/>
                    </a:lnTo>
                    <a:lnTo>
                      <a:pt x="35" y="291"/>
                    </a:lnTo>
                    <a:lnTo>
                      <a:pt x="35" y="289"/>
                    </a:lnTo>
                    <a:lnTo>
                      <a:pt x="37" y="287"/>
                    </a:lnTo>
                    <a:lnTo>
                      <a:pt x="39" y="287"/>
                    </a:lnTo>
                    <a:lnTo>
                      <a:pt x="43" y="285"/>
                    </a:lnTo>
                    <a:lnTo>
                      <a:pt x="45" y="285"/>
                    </a:lnTo>
                    <a:lnTo>
                      <a:pt x="47" y="285"/>
                    </a:lnTo>
                    <a:lnTo>
                      <a:pt x="49" y="281"/>
                    </a:lnTo>
                    <a:lnTo>
                      <a:pt x="49" y="279"/>
                    </a:lnTo>
                    <a:lnTo>
                      <a:pt x="49" y="277"/>
                    </a:lnTo>
                    <a:lnTo>
                      <a:pt x="45" y="275"/>
                    </a:lnTo>
                    <a:lnTo>
                      <a:pt x="41" y="275"/>
                    </a:lnTo>
                    <a:lnTo>
                      <a:pt x="43" y="274"/>
                    </a:lnTo>
                    <a:lnTo>
                      <a:pt x="43" y="272"/>
                    </a:lnTo>
                    <a:lnTo>
                      <a:pt x="45" y="270"/>
                    </a:lnTo>
                    <a:lnTo>
                      <a:pt x="45" y="270"/>
                    </a:lnTo>
                    <a:lnTo>
                      <a:pt x="47" y="270"/>
                    </a:lnTo>
                    <a:lnTo>
                      <a:pt x="49" y="270"/>
                    </a:lnTo>
                    <a:lnTo>
                      <a:pt x="51" y="270"/>
                    </a:lnTo>
                    <a:lnTo>
                      <a:pt x="52" y="268"/>
                    </a:lnTo>
                    <a:lnTo>
                      <a:pt x="52" y="268"/>
                    </a:lnTo>
                    <a:lnTo>
                      <a:pt x="52" y="268"/>
                    </a:lnTo>
                    <a:lnTo>
                      <a:pt x="52" y="268"/>
                    </a:lnTo>
                    <a:lnTo>
                      <a:pt x="52" y="270"/>
                    </a:lnTo>
                    <a:lnTo>
                      <a:pt x="51" y="274"/>
                    </a:lnTo>
                    <a:lnTo>
                      <a:pt x="52" y="277"/>
                    </a:lnTo>
                    <a:lnTo>
                      <a:pt x="72" y="279"/>
                    </a:lnTo>
                    <a:lnTo>
                      <a:pt x="76" y="281"/>
                    </a:lnTo>
                    <a:lnTo>
                      <a:pt x="78" y="287"/>
                    </a:lnTo>
                    <a:lnTo>
                      <a:pt x="78" y="287"/>
                    </a:lnTo>
                    <a:lnTo>
                      <a:pt x="76" y="289"/>
                    </a:lnTo>
                    <a:lnTo>
                      <a:pt x="74" y="291"/>
                    </a:lnTo>
                    <a:lnTo>
                      <a:pt x="76" y="291"/>
                    </a:lnTo>
                    <a:lnTo>
                      <a:pt x="76" y="293"/>
                    </a:lnTo>
                    <a:lnTo>
                      <a:pt x="78" y="293"/>
                    </a:lnTo>
                    <a:lnTo>
                      <a:pt x="80" y="293"/>
                    </a:lnTo>
                    <a:lnTo>
                      <a:pt x="78" y="293"/>
                    </a:lnTo>
                    <a:lnTo>
                      <a:pt x="82" y="287"/>
                    </a:lnTo>
                    <a:lnTo>
                      <a:pt x="84" y="285"/>
                    </a:lnTo>
                    <a:lnTo>
                      <a:pt x="84" y="283"/>
                    </a:lnTo>
                    <a:lnTo>
                      <a:pt x="86" y="283"/>
                    </a:lnTo>
                    <a:lnTo>
                      <a:pt x="84" y="287"/>
                    </a:lnTo>
                    <a:lnTo>
                      <a:pt x="84" y="293"/>
                    </a:lnTo>
                    <a:lnTo>
                      <a:pt x="82" y="299"/>
                    </a:lnTo>
                    <a:lnTo>
                      <a:pt x="84" y="305"/>
                    </a:lnTo>
                    <a:lnTo>
                      <a:pt x="82" y="307"/>
                    </a:lnTo>
                    <a:lnTo>
                      <a:pt x="80" y="307"/>
                    </a:lnTo>
                    <a:lnTo>
                      <a:pt x="78" y="307"/>
                    </a:lnTo>
                    <a:lnTo>
                      <a:pt x="76" y="305"/>
                    </a:lnTo>
                    <a:lnTo>
                      <a:pt x="72" y="318"/>
                    </a:lnTo>
                    <a:lnTo>
                      <a:pt x="70" y="324"/>
                    </a:lnTo>
                    <a:lnTo>
                      <a:pt x="76" y="336"/>
                    </a:lnTo>
                    <a:lnTo>
                      <a:pt x="78" y="338"/>
                    </a:lnTo>
                    <a:lnTo>
                      <a:pt x="82" y="338"/>
                    </a:lnTo>
                    <a:lnTo>
                      <a:pt x="84" y="338"/>
                    </a:lnTo>
                    <a:lnTo>
                      <a:pt x="84" y="340"/>
                    </a:lnTo>
                    <a:lnTo>
                      <a:pt x="84" y="342"/>
                    </a:lnTo>
                    <a:lnTo>
                      <a:pt x="84" y="342"/>
                    </a:lnTo>
                    <a:lnTo>
                      <a:pt x="82" y="344"/>
                    </a:lnTo>
                    <a:lnTo>
                      <a:pt x="80" y="346"/>
                    </a:lnTo>
                    <a:lnTo>
                      <a:pt x="80" y="348"/>
                    </a:lnTo>
                    <a:lnTo>
                      <a:pt x="80" y="354"/>
                    </a:lnTo>
                    <a:lnTo>
                      <a:pt x="78" y="354"/>
                    </a:lnTo>
                    <a:lnTo>
                      <a:pt x="76" y="352"/>
                    </a:lnTo>
                    <a:lnTo>
                      <a:pt x="70" y="340"/>
                    </a:lnTo>
                    <a:lnTo>
                      <a:pt x="68" y="338"/>
                    </a:lnTo>
                    <a:lnTo>
                      <a:pt x="66" y="334"/>
                    </a:lnTo>
                    <a:lnTo>
                      <a:pt x="56" y="332"/>
                    </a:lnTo>
                    <a:lnTo>
                      <a:pt x="49" y="330"/>
                    </a:lnTo>
                    <a:lnTo>
                      <a:pt x="47" y="328"/>
                    </a:lnTo>
                    <a:lnTo>
                      <a:pt x="43" y="324"/>
                    </a:lnTo>
                    <a:lnTo>
                      <a:pt x="39" y="322"/>
                    </a:lnTo>
                    <a:lnTo>
                      <a:pt x="37" y="320"/>
                    </a:lnTo>
                    <a:lnTo>
                      <a:pt x="35" y="316"/>
                    </a:lnTo>
                    <a:lnTo>
                      <a:pt x="33" y="315"/>
                    </a:lnTo>
                    <a:lnTo>
                      <a:pt x="31" y="313"/>
                    </a:lnTo>
                    <a:lnTo>
                      <a:pt x="29" y="311"/>
                    </a:lnTo>
                    <a:lnTo>
                      <a:pt x="27" y="313"/>
                    </a:lnTo>
                    <a:lnTo>
                      <a:pt x="29" y="315"/>
                    </a:lnTo>
                    <a:lnTo>
                      <a:pt x="29" y="315"/>
                    </a:lnTo>
                    <a:lnTo>
                      <a:pt x="29" y="316"/>
                    </a:lnTo>
                    <a:lnTo>
                      <a:pt x="27" y="316"/>
                    </a:lnTo>
                    <a:lnTo>
                      <a:pt x="31" y="318"/>
                    </a:lnTo>
                    <a:lnTo>
                      <a:pt x="31" y="322"/>
                    </a:lnTo>
                    <a:lnTo>
                      <a:pt x="29" y="324"/>
                    </a:lnTo>
                    <a:lnTo>
                      <a:pt x="25" y="324"/>
                    </a:lnTo>
                    <a:lnTo>
                      <a:pt x="23" y="324"/>
                    </a:lnTo>
                    <a:lnTo>
                      <a:pt x="23" y="334"/>
                    </a:lnTo>
                    <a:lnTo>
                      <a:pt x="23" y="338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 dirty="0"/>
              </a:p>
            </p:txBody>
          </p:sp>
          <p:sp>
            <p:nvSpPr>
              <p:cNvPr id="606" name="Freeform 1309">
                <a:extLst>
                  <a:ext uri="{FF2B5EF4-FFF2-40B4-BE49-F238E27FC236}">
                    <a16:creationId xmlns:a16="http://schemas.microsoft.com/office/drawing/2014/main" id="{93A1234C-95AE-442D-B640-B792B10DCB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6" y="3144"/>
                <a:ext cx="3" cy="4"/>
              </a:xfrm>
              <a:custGeom>
                <a:avLst/>
                <a:gdLst>
                  <a:gd name="T0" fmla="*/ 2 w 3"/>
                  <a:gd name="T1" fmla="*/ 2 h 4"/>
                  <a:gd name="T2" fmla="*/ 3 w 3"/>
                  <a:gd name="T3" fmla="*/ 4 h 4"/>
                  <a:gd name="T4" fmla="*/ 2 w 3"/>
                  <a:gd name="T5" fmla="*/ 2 h 4"/>
                  <a:gd name="T6" fmla="*/ 0 w 3"/>
                  <a:gd name="T7" fmla="*/ 0 h 4"/>
                  <a:gd name="T8" fmla="*/ 0 w 3"/>
                  <a:gd name="T9" fmla="*/ 0 h 4"/>
                  <a:gd name="T10" fmla="*/ 0 w 3"/>
                  <a:gd name="T11" fmla="*/ 0 h 4"/>
                  <a:gd name="T12" fmla="*/ 2 w 3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2" y="2"/>
                    </a:moveTo>
                    <a:lnTo>
                      <a:pt x="3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07" name="Freeform 1310">
                <a:extLst>
                  <a:ext uri="{FF2B5EF4-FFF2-40B4-BE49-F238E27FC236}">
                    <a16:creationId xmlns:a16="http://schemas.microsoft.com/office/drawing/2014/main" id="{7D85AC9A-7E83-48A1-A319-3F3F5E813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7" y="3191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2 w 4"/>
                  <a:gd name="T3" fmla="*/ 2 h 4"/>
                  <a:gd name="T4" fmla="*/ 0 w 4"/>
                  <a:gd name="T5" fmla="*/ 0 h 4"/>
                  <a:gd name="T6" fmla="*/ 2 w 4"/>
                  <a:gd name="T7" fmla="*/ 2 h 4"/>
                  <a:gd name="T8" fmla="*/ 4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08" name="Freeform 1311">
                <a:extLst>
                  <a:ext uri="{FF2B5EF4-FFF2-40B4-BE49-F238E27FC236}">
                    <a16:creationId xmlns:a16="http://schemas.microsoft.com/office/drawing/2014/main" id="{229ED90C-4452-4B0D-85CF-F7C0182A7C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3" y="3185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0 w 2"/>
                  <a:gd name="T5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09" name="Freeform 1312">
                <a:extLst>
                  <a:ext uri="{FF2B5EF4-FFF2-40B4-BE49-F238E27FC236}">
                    <a16:creationId xmlns:a16="http://schemas.microsoft.com/office/drawing/2014/main" id="{2CE66902-C2BC-4460-B731-7B7006126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3" y="3197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10" name="Rectangle 1313">
                <a:extLst>
                  <a:ext uri="{FF2B5EF4-FFF2-40B4-BE49-F238E27FC236}">
                    <a16:creationId xmlns:a16="http://schemas.microsoft.com/office/drawing/2014/main" id="{9F9A8168-E52C-4520-AA4F-13DF916D01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4" y="323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11" name="Freeform 1314">
                <a:extLst>
                  <a:ext uri="{FF2B5EF4-FFF2-40B4-BE49-F238E27FC236}">
                    <a16:creationId xmlns:a16="http://schemas.microsoft.com/office/drawing/2014/main" id="{5ACEAB7E-F2F3-469E-AA7D-2DF45FA689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5" y="3193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6 w 6"/>
                  <a:gd name="T3" fmla="*/ 0 h 4"/>
                  <a:gd name="T4" fmla="*/ 4 w 6"/>
                  <a:gd name="T5" fmla="*/ 4 h 4"/>
                  <a:gd name="T6" fmla="*/ 0 w 6"/>
                  <a:gd name="T7" fmla="*/ 4 h 4"/>
                  <a:gd name="T8" fmla="*/ 4 w 6"/>
                  <a:gd name="T9" fmla="*/ 4 h 4"/>
                  <a:gd name="T10" fmla="*/ 6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6" y="0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12" name="Freeform 1315">
                <a:extLst>
                  <a:ext uri="{FF2B5EF4-FFF2-40B4-BE49-F238E27FC236}">
                    <a16:creationId xmlns:a16="http://schemas.microsoft.com/office/drawing/2014/main" id="{63717A84-E637-42E6-AADE-786381A087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2" y="3193"/>
                <a:ext cx="17" cy="0"/>
              </a:xfrm>
              <a:custGeom>
                <a:avLst/>
                <a:gdLst>
                  <a:gd name="T0" fmla="*/ 8 w 17"/>
                  <a:gd name="T1" fmla="*/ 13 w 17"/>
                  <a:gd name="T2" fmla="*/ 17 w 17"/>
                  <a:gd name="T3" fmla="*/ 17 w 17"/>
                  <a:gd name="T4" fmla="*/ 17 w 17"/>
                  <a:gd name="T5" fmla="*/ 13 w 17"/>
                  <a:gd name="T6" fmla="*/ 8 w 17"/>
                  <a:gd name="T7" fmla="*/ 6 w 17"/>
                  <a:gd name="T8" fmla="*/ 0 w 17"/>
                  <a:gd name="T9" fmla="*/ 6 w 17"/>
                  <a:gd name="T10" fmla="*/ 8 w 1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</a:cxnLst>
                <a:rect l="0" t="0" r="r" b="b"/>
                <a:pathLst>
                  <a:path w="17">
                    <a:moveTo>
                      <a:pt x="8" y="0"/>
                    </a:moveTo>
                    <a:lnTo>
                      <a:pt x="13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13" name="Freeform 1316">
                <a:extLst>
                  <a:ext uri="{FF2B5EF4-FFF2-40B4-BE49-F238E27FC236}">
                    <a16:creationId xmlns:a16="http://schemas.microsoft.com/office/drawing/2014/main" id="{46720563-0BD3-49A8-9F8D-31BDC59013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3" y="3185"/>
                <a:ext cx="4" cy="0"/>
              </a:xfrm>
              <a:custGeom>
                <a:avLst/>
                <a:gdLst>
                  <a:gd name="T0" fmla="*/ 4 w 4"/>
                  <a:gd name="T1" fmla="*/ 0 w 4"/>
                  <a:gd name="T2" fmla="*/ 4 w 4"/>
                  <a:gd name="T3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14" name="Rectangle 1317">
                <a:extLst>
                  <a:ext uri="{FF2B5EF4-FFF2-40B4-BE49-F238E27FC236}">
                    <a16:creationId xmlns:a16="http://schemas.microsoft.com/office/drawing/2014/main" id="{7F5E99CF-958D-475A-9E57-AA1D6FF1A2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5" y="319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15" name="Freeform 1318">
                <a:extLst>
                  <a:ext uri="{FF2B5EF4-FFF2-40B4-BE49-F238E27FC236}">
                    <a16:creationId xmlns:a16="http://schemas.microsoft.com/office/drawing/2014/main" id="{0CB60A76-610C-491F-BCAE-BC6B972DC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2" y="3185"/>
                <a:ext cx="6" cy="8"/>
              </a:xfrm>
              <a:custGeom>
                <a:avLst/>
                <a:gdLst>
                  <a:gd name="T0" fmla="*/ 6 w 6"/>
                  <a:gd name="T1" fmla="*/ 0 h 8"/>
                  <a:gd name="T2" fmla="*/ 4 w 6"/>
                  <a:gd name="T3" fmla="*/ 0 h 8"/>
                  <a:gd name="T4" fmla="*/ 0 w 6"/>
                  <a:gd name="T5" fmla="*/ 8 h 8"/>
                  <a:gd name="T6" fmla="*/ 4 w 6"/>
                  <a:gd name="T7" fmla="*/ 0 h 8"/>
                  <a:gd name="T8" fmla="*/ 6 w 6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8">
                    <a:moveTo>
                      <a:pt x="6" y="0"/>
                    </a:moveTo>
                    <a:lnTo>
                      <a:pt x="4" y="0"/>
                    </a:lnTo>
                    <a:lnTo>
                      <a:pt x="0" y="8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16" name="Freeform 1319">
                <a:extLst>
                  <a:ext uri="{FF2B5EF4-FFF2-40B4-BE49-F238E27FC236}">
                    <a16:creationId xmlns:a16="http://schemas.microsoft.com/office/drawing/2014/main" id="{394318A2-9463-44B0-AC7D-742609DD8D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9" y="3168"/>
                <a:ext cx="4" cy="14"/>
              </a:xfrm>
              <a:custGeom>
                <a:avLst/>
                <a:gdLst>
                  <a:gd name="T0" fmla="*/ 4 w 4"/>
                  <a:gd name="T1" fmla="*/ 14 h 14"/>
                  <a:gd name="T2" fmla="*/ 4 w 4"/>
                  <a:gd name="T3" fmla="*/ 14 h 14"/>
                  <a:gd name="T4" fmla="*/ 4 w 4"/>
                  <a:gd name="T5" fmla="*/ 14 h 14"/>
                  <a:gd name="T6" fmla="*/ 2 w 4"/>
                  <a:gd name="T7" fmla="*/ 6 h 14"/>
                  <a:gd name="T8" fmla="*/ 0 w 4"/>
                  <a:gd name="T9" fmla="*/ 0 h 14"/>
                  <a:gd name="T10" fmla="*/ 2 w 4"/>
                  <a:gd name="T11" fmla="*/ 6 h 14"/>
                  <a:gd name="T12" fmla="*/ 4 w 4"/>
                  <a:gd name="T1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4">
                    <a:moveTo>
                      <a:pt x="4" y="14"/>
                    </a:moveTo>
                    <a:lnTo>
                      <a:pt x="4" y="14"/>
                    </a:lnTo>
                    <a:lnTo>
                      <a:pt x="4" y="14"/>
                    </a:lnTo>
                    <a:lnTo>
                      <a:pt x="2" y="6"/>
                    </a:lnTo>
                    <a:lnTo>
                      <a:pt x="0" y="0"/>
                    </a:lnTo>
                    <a:lnTo>
                      <a:pt x="2" y="6"/>
                    </a:lnTo>
                    <a:lnTo>
                      <a:pt x="4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17" name="Freeform 1320">
                <a:extLst>
                  <a:ext uri="{FF2B5EF4-FFF2-40B4-BE49-F238E27FC236}">
                    <a16:creationId xmlns:a16="http://schemas.microsoft.com/office/drawing/2014/main" id="{F02A1A37-E255-4459-9DF2-50AC079D62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3" y="3195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0 h 2"/>
                  <a:gd name="T4" fmla="*/ 0 w 4"/>
                  <a:gd name="T5" fmla="*/ 0 h 2"/>
                  <a:gd name="T6" fmla="*/ 2 w 4"/>
                  <a:gd name="T7" fmla="*/ 0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18" name="Freeform 1321">
                <a:extLst>
                  <a:ext uri="{FF2B5EF4-FFF2-40B4-BE49-F238E27FC236}">
                    <a16:creationId xmlns:a16="http://schemas.microsoft.com/office/drawing/2014/main" id="{635572C4-9E79-4613-B550-A2A91FACCF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3" y="3189"/>
                <a:ext cx="16" cy="2"/>
              </a:xfrm>
              <a:custGeom>
                <a:avLst/>
                <a:gdLst>
                  <a:gd name="T0" fmla="*/ 14 w 16"/>
                  <a:gd name="T1" fmla="*/ 0 h 2"/>
                  <a:gd name="T2" fmla="*/ 16 w 16"/>
                  <a:gd name="T3" fmla="*/ 2 h 2"/>
                  <a:gd name="T4" fmla="*/ 16 w 16"/>
                  <a:gd name="T5" fmla="*/ 2 h 2"/>
                  <a:gd name="T6" fmla="*/ 16 w 16"/>
                  <a:gd name="T7" fmla="*/ 2 h 2"/>
                  <a:gd name="T8" fmla="*/ 14 w 16"/>
                  <a:gd name="T9" fmla="*/ 0 h 2"/>
                  <a:gd name="T10" fmla="*/ 2 w 16"/>
                  <a:gd name="T11" fmla="*/ 2 h 2"/>
                  <a:gd name="T12" fmla="*/ 0 w 16"/>
                  <a:gd name="T13" fmla="*/ 2 h 2"/>
                  <a:gd name="T14" fmla="*/ 2 w 16"/>
                  <a:gd name="T15" fmla="*/ 2 h 2"/>
                  <a:gd name="T16" fmla="*/ 14 w 16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2">
                    <a:moveTo>
                      <a:pt x="14" y="0"/>
                    </a:move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19" name="Freeform 1322">
                <a:extLst>
                  <a:ext uri="{FF2B5EF4-FFF2-40B4-BE49-F238E27FC236}">
                    <a16:creationId xmlns:a16="http://schemas.microsoft.com/office/drawing/2014/main" id="{821A7426-993A-4E6C-901D-62DF7E079D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1" y="3152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20" name="Freeform 1323">
                <a:extLst>
                  <a:ext uri="{FF2B5EF4-FFF2-40B4-BE49-F238E27FC236}">
                    <a16:creationId xmlns:a16="http://schemas.microsoft.com/office/drawing/2014/main" id="{332BBE0D-82B8-4240-B35A-86B0EEBE84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7" y="3195"/>
                <a:ext cx="6" cy="4"/>
              </a:xfrm>
              <a:custGeom>
                <a:avLst/>
                <a:gdLst>
                  <a:gd name="T0" fmla="*/ 4 w 6"/>
                  <a:gd name="T1" fmla="*/ 0 h 4"/>
                  <a:gd name="T2" fmla="*/ 6 w 6"/>
                  <a:gd name="T3" fmla="*/ 4 h 4"/>
                  <a:gd name="T4" fmla="*/ 4 w 6"/>
                  <a:gd name="T5" fmla="*/ 0 h 4"/>
                  <a:gd name="T6" fmla="*/ 4 w 6"/>
                  <a:gd name="T7" fmla="*/ 0 h 4"/>
                  <a:gd name="T8" fmla="*/ 0 w 6"/>
                  <a:gd name="T9" fmla="*/ 2 h 4"/>
                  <a:gd name="T10" fmla="*/ 4 w 6"/>
                  <a:gd name="T11" fmla="*/ 0 h 4"/>
                  <a:gd name="T12" fmla="*/ 4 w 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6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21" name="Freeform 1324">
                <a:extLst>
                  <a:ext uri="{FF2B5EF4-FFF2-40B4-BE49-F238E27FC236}">
                    <a16:creationId xmlns:a16="http://schemas.microsoft.com/office/drawing/2014/main" id="{9A379935-1C53-467D-861F-060A4B48C7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6" y="3183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22" name="Freeform 1325">
                <a:extLst>
                  <a:ext uri="{FF2B5EF4-FFF2-40B4-BE49-F238E27FC236}">
                    <a16:creationId xmlns:a16="http://schemas.microsoft.com/office/drawing/2014/main" id="{B845EC35-BEF6-4CCB-9763-E82874CA50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2" y="3264"/>
                <a:ext cx="8" cy="1"/>
              </a:xfrm>
              <a:custGeom>
                <a:avLst/>
                <a:gdLst>
                  <a:gd name="T0" fmla="*/ 8 w 8"/>
                  <a:gd name="T1" fmla="*/ 1 h 1"/>
                  <a:gd name="T2" fmla="*/ 4 w 8"/>
                  <a:gd name="T3" fmla="*/ 1 h 1"/>
                  <a:gd name="T4" fmla="*/ 0 w 8"/>
                  <a:gd name="T5" fmla="*/ 0 h 1"/>
                  <a:gd name="T6" fmla="*/ 4 w 8"/>
                  <a:gd name="T7" fmla="*/ 1 h 1"/>
                  <a:gd name="T8" fmla="*/ 8 w 8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">
                    <a:moveTo>
                      <a:pt x="8" y="1"/>
                    </a:moveTo>
                    <a:lnTo>
                      <a:pt x="4" y="1"/>
                    </a:lnTo>
                    <a:lnTo>
                      <a:pt x="0" y="0"/>
                    </a:lnTo>
                    <a:lnTo>
                      <a:pt x="4" y="1"/>
                    </a:lnTo>
                    <a:lnTo>
                      <a:pt x="8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23" name="Freeform 1326">
                <a:extLst>
                  <a:ext uri="{FF2B5EF4-FFF2-40B4-BE49-F238E27FC236}">
                    <a16:creationId xmlns:a16="http://schemas.microsoft.com/office/drawing/2014/main" id="{E621425C-2143-4001-8BD4-A70DFB155A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5" y="3195"/>
                <a:ext cx="18" cy="6"/>
              </a:xfrm>
              <a:custGeom>
                <a:avLst/>
                <a:gdLst>
                  <a:gd name="T0" fmla="*/ 8 w 18"/>
                  <a:gd name="T1" fmla="*/ 4 h 6"/>
                  <a:gd name="T2" fmla="*/ 14 w 18"/>
                  <a:gd name="T3" fmla="*/ 0 h 6"/>
                  <a:gd name="T4" fmla="*/ 18 w 18"/>
                  <a:gd name="T5" fmla="*/ 0 h 6"/>
                  <a:gd name="T6" fmla="*/ 18 w 18"/>
                  <a:gd name="T7" fmla="*/ 0 h 6"/>
                  <a:gd name="T8" fmla="*/ 14 w 18"/>
                  <a:gd name="T9" fmla="*/ 0 h 6"/>
                  <a:gd name="T10" fmla="*/ 8 w 18"/>
                  <a:gd name="T11" fmla="*/ 4 h 6"/>
                  <a:gd name="T12" fmla="*/ 2 w 18"/>
                  <a:gd name="T13" fmla="*/ 6 h 6"/>
                  <a:gd name="T14" fmla="*/ 0 w 18"/>
                  <a:gd name="T15" fmla="*/ 4 h 6"/>
                  <a:gd name="T16" fmla="*/ 2 w 18"/>
                  <a:gd name="T17" fmla="*/ 6 h 6"/>
                  <a:gd name="T18" fmla="*/ 8 w 18"/>
                  <a:gd name="T1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6">
                    <a:moveTo>
                      <a:pt x="8" y="4"/>
                    </a:move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24" name="Freeform 1327">
                <a:extLst>
                  <a:ext uri="{FF2B5EF4-FFF2-40B4-BE49-F238E27FC236}">
                    <a16:creationId xmlns:a16="http://schemas.microsoft.com/office/drawing/2014/main" id="{45EA7641-E72B-4F26-8971-7F78B1378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1" y="3256"/>
                <a:ext cx="8" cy="0"/>
              </a:xfrm>
              <a:custGeom>
                <a:avLst/>
                <a:gdLst>
                  <a:gd name="T0" fmla="*/ 4 w 8"/>
                  <a:gd name="T1" fmla="*/ 6 w 8"/>
                  <a:gd name="T2" fmla="*/ 8 w 8"/>
                  <a:gd name="T3" fmla="*/ 6 w 8"/>
                  <a:gd name="T4" fmla="*/ 4 w 8"/>
                  <a:gd name="T5" fmla="*/ 0 w 8"/>
                  <a:gd name="T6" fmla="*/ 0 w 8"/>
                  <a:gd name="T7" fmla="*/ 0 w 8"/>
                  <a:gd name="T8" fmla="*/ 4 w 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</a:cxnLst>
                <a:rect l="0" t="0" r="r" b="b"/>
                <a:pathLst>
                  <a:path w="8">
                    <a:moveTo>
                      <a:pt x="4" y="0"/>
                    </a:moveTo>
                    <a:lnTo>
                      <a:pt x="6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25" name="Freeform 1328">
                <a:extLst>
                  <a:ext uri="{FF2B5EF4-FFF2-40B4-BE49-F238E27FC236}">
                    <a16:creationId xmlns:a16="http://schemas.microsoft.com/office/drawing/2014/main" id="{890EC51B-F9A8-4F16-BF72-9492576779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3" y="3195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8 w 8"/>
                  <a:gd name="T5" fmla="*/ 0 h 4"/>
                  <a:gd name="T6" fmla="*/ 2 w 8"/>
                  <a:gd name="T7" fmla="*/ 4 h 4"/>
                  <a:gd name="T8" fmla="*/ 0 w 8"/>
                  <a:gd name="T9" fmla="*/ 4 h 4"/>
                  <a:gd name="T10" fmla="*/ 2 w 8"/>
                  <a:gd name="T11" fmla="*/ 4 h 4"/>
                  <a:gd name="T12" fmla="*/ 8 w 8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26" name="Freeform 1329">
                <a:extLst>
                  <a:ext uri="{FF2B5EF4-FFF2-40B4-BE49-F238E27FC236}">
                    <a16:creationId xmlns:a16="http://schemas.microsoft.com/office/drawing/2014/main" id="{6AE9A4D2-F108-42FA-A2C3-3B39BE1673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1" y="3279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27" name="Freeform 1330">
                <a:extLst>
                  <a:ext uri="{FF2B5EF4-FFF2-40B4-BE49-F238E27FC236}">
                    <a16:creationId xmlns:a16="http://schemas.microsoft.com/office/drawing/2014/main" id="{BC05E60A-CDBE-49EE-82D4-DF47B0EBD0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4" y="3195"/>
                <a:ext cx="1" cy="4"/>
              </a:xfrm>
              <a:custGeom>
                <a:avLst/>
                <a:gdLst>
                  <a:gd name="T0" fmla="*/ 1 w 1"/>
                  <a:gd name="T1" fmla="*/ 4 h 4"/>
                  <a:gd name="T2" fmla="*/ 1 w 1"/>
                  <a:gd name="T3" fmla="*/ 4 h 4"/>
                  <a:gd name="T4" fmla="*/ 0 w 1"/>
                  <a:gd name="T5" fmla="*/ 2 h 4"/>
                  <a:gd name="T6" fmla="*/ 0 w 1"/>
                  <a:gd name="T7" fmla="*/ 0 h 4"/>
                  <a:gd name="T8" fmla="*/ 0 w 1"/>
                  <a:gd name="T9" fmla="*/ 2 h 4"/>
                  <a:gd name="T10" fmla="*/ 1 w 1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4">
                    <a:moveTo>
                      <a:pt x="1" y="4"/>
                    </a:moveTo>
                    <a:lnTo>
                      <a:pt x="1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28" name="Freeform 1331">
                <a:extLst>
                  <a:ext uri="{FF2B5EF4-FFF2-40B4-BE49-F238E27FC236}">
                    <a16:creationId xmlns:a16="http://schemas.microsoft.com/office/drawing/2014/main" id="{0CB0D941-90E8-4E45-A12D-0B70A11EC6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8" y="3265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2 h 2"/>
                  <a:gd name="T4" fmla="*/ 0 w 4"/>
                  <a:gd name="T5" fmla="*/ 0 h 2"/>
                  <a:gd name="T6" fmla="*/ 2 w 4"/>
                  <a:gd name="T7" fmla="*/ 2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29" name="Freeform 1332">
                <a:extLst>
                  <a:ext uri="{FF2B5EF4-FFF2-40B4-BE49-F238E27FC236}">
                    <a16:creationId xmlns:a16="http://schemas.microsoft.com/office/drawing/2014/main" id="{9E019250-F820-44D2-832C-6CE79F4144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4" y="3277"/>
                <a:ext cx="6" cy="0"/>
              </a:xfrm>
              <a:custGeom>
                <a:avLst/>
                <a:gdLst>
                  <a:gd name="T0" fmla="*/ 6 w 6"/>
                  <a:gd name="T1" fmla="*/ 0 w 6"/>
                  <a:gd name="T2" fmla="*/ 0 w 6"/>
                  <a:gd name="T3" fmla="*/ 0 w 6"/>
                  <a:gd name="T4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30" name="Freeform 1333">
                <a:extLst>
                  <a:ext uri="{FF2B5EF4-FFF2-40B4-BE49-F238E27FC236}">
                    <a16:creationId xmlns:a16="http://schemas.microsoft.com/office/drawing/2014/main" id="{3FB702AA-3EE8-4800-BB18-9D12D61DF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6" y="3166"/>
                <a:ext cx="8" cy="12"/>
              </a:xfrm>
              <a:custGeom>
                <a:avLst/>
                <a:gdLst>
                  <a:gd name="T0" fmla="*/ 4 w 8"/>
                  <a:gd name="T1" fmla="*/ 4 h 12"/>
                  <a:gd name="T2" fmla="*/ 6 w 8"/>
                  <a:gd name="T3" fmla="*/ 2 h 12"/>
                  <a:gd name="T4" fmla="*/ 8 w 8"/>
                  <a:gd name="T5" fmla="*/ 0 h 12"/>
                  <a:gd name="T6" fmla="*/ 6 w 8"/>
                  <a:gd name="T7" fmla="*/ 2 h 12"/>
                  <a:gd name="T8" fmla="*/ 4 w 8"/>
                  <a:gd name="T9" fmla="*/ 4 h 12"/>
                  <a:gd name="T10" fmla="*/ 2 w 8"/>
                  <a:gd name="T11" fmla="*/ 8 h 12"/>
                  <a:gd name="T12" fmla="*/ 0 w 8"/>
                  <a:gd name="T13" fmla="*/ 12 h 12"/>
                  <a:gd name="T14" fmla="*/ 2 w 8"/>
                  <a:gd name="T15" fmla="*/ 8 h 12"/>
                  <a:gd name="T16" fmla="*/ 4 w 8"/>
                  <a:gd name="T17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4" y="4"/>
                    </a:moveTo>
                    <a:lnTo>
                      <a:pt x="6" y="2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31" name="Freeform 1334">
                <a:extLst>
                  <a:ext uri="{FF2B5EF4-FFF2-40B4-BE49-F238E27FC236}">
                    <a16:creationId xmlns:a16="http://schemas.microsoft.com/office/drawing/2014/main" id="{5F6A43DE-BB08-4B8A-8C18-E298BF149F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6" y="3203"/>
                <a:ext cx="6" cy="6"/>
              </a:xfrm>
              <a:custGeom>
                <a:avLst/>
                <a:gdLst>
                  <a:gd name="T0" fmla="*/ 6 w 6"/>
                  <a:gd name="T1" fmla="*/ 6 h 6"/>
                  <a:gd name="T2" fmla="*/ 4 w 6"/>
                  <a:gd name="T3" fmla="*/ 4 h 6"/>
                  <a:gd name="T4" fmla="*/ 0 w 6"/>
                  <a:gd name="T5" fmla="*/ 0 h 6"/>
                  <a:gd name="T6" fmla="*/ 4 w 6"/>
                  <a:gd name="T7" fmla="*/ 4 h 6"/>
                  <a:gd name="T8" fmla="*/ 6 w 6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4" y="4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32" name="Freeform 1335">
                <a:extLst>
                  <a:ext uri="{FF2B5EF4-FFF2-40B4-BE49-F238E27FC236}">
                    <a16:creationId xmlns:a16="http://schemas.microsoft.com/office/drawing/2014/main" id="{221223AC-9534-4891-ABA0-9F0DD92F5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4" y="3164"/>
                <a:ext cx="4" cy="0"/>
              </a:xfrm>
              <a:custGeom>
                <a:avLst/>
                <a:gdLst>
                  <a:gd name="T0" fmla="*/ 4 w 4"/>
                  <a:gd name="T1" fmla="*/ 4 w 4"/>
                  <a:gd name="T2" fmla="*/ 2 w 4"/>
                  <a:gd name="T3" fmla="*/ 0 w 4"/>
                  <a:gd name="T4" fmla="*/ 2 w 4"/>
                  <a:gd name="T5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33" name="Freeform 1336">
                <a:extLst>
                  <a:ext uri="{FF2B5EF4-FFF2-40B4-BE49-F238E27FC236}">
                    <a16:creationId xmlns:a16="http://schemas.microsoft.com/office/drawing/2014/main" id="{CD7D5AC0-87D9-4EF9-A684-C412A338BC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8" y="3146"/>
                <a:ext cx="16" cy="18"/>
              </a:xfrm>
              <a:custGeom>
                <a:avLst/>
                <a:gdLst>
                  <a:gd name="T0" fmla="*/ 16 w 16"/>
                  <a:gd name="T1" fmla="*/ 0 h 18"/>
                  <a:gd name="T2" fmla="*/ 16 w 16"/>
                  <a:gd name="T3" fmla="*/ 0 h 18"/>
                  <a:gd name="T4" fmla="*/ 16 w 16"/>
                  <a:gd name="T5" fmla="*/ 0 h 18"/>
                  <a:gd name="T6" fmla="*/ 2 w 16"/>
                  <a:gd name="T7" fmla="*/ 16 h 18"/>
                  <a:gd name="T8" fmla="*/ 0 w 16"/>
                  <a:gd name="T9" fmla="*/ 18 h 18"/>
                  <a:gd name="T10" fmla="*/ 2 w 16"/>
                  <a:gd name="T11" fmla="*/ 16 h 18"/>
                  <a:gd name="T12" fmla="*/ 16 w 1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18">
                    <a:moveTo>
                      <a:pt x="16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2" y="16"/>
                    </a:lnTo>
                    <a:lnTo>
                      <a:pt x="0" y="18"/>
                    </a:lnTo>
                    <a:lnTo>
                      <a:pt x="2" y="16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34" name="Freeform 1337">
                <a:extLst>
                  <a:ext uri="{FF2B5EF4-FFF2-40B4-BE49-F238E27FC236}">
                    <a16:creationId xmlns:a16="http://schemas.microsoft.com/office/drawing/2014/main" id="{DF31A164-E98E-4801-8596-366166481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6" y="3203"/>
                <a:ext cx="6" cy="4"/>
              </a:xfrm>
              <a:custGeom>
                <a:avLst/>
                <a:gdLst>
                  <a:gd name="T0" fmla="*/ 4 w 6"/>
                  <a:gd name="T1" fmla="*/ 0 h 4"/>
                  <a:gd name="T2" fmla="*/ 6 w 6"/>
                  <a:gd name="T3" fmla="*/ 0 h 4"/>
                  <a:gd name="T4" fmla="*/ 4 w 6"/>
                  <a:gd name="T5" fmla="*/ 0 h 4"/>
                  <a:gd name="T6" fmla="*/ 0 w 6"/>
                  <a:gd name="T7" fmla="*/ 2 h 4"/>
                  <a:gd name="T8" fmla="*/ 0 w 6"/>
                  <a:gd name="T9" fmla="*/ 4 h 4"/>
                  <a:gd name="T10" fmla="*/ 0 w 6"/>
                  <a:gd name="T11" fmla="*/ 2 h 4"/>
                  <a:gd name="T12" fmla="*/ 4 w 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35" name="Freeform 1338">
                <a:extLst>
                  <a:ext uri="{FF2B5EF4-FFF2-40B4-BE49-F238E27FC236}">
                    <a16:creationId xmlns:a16="http://schemas.microsoft.com/office/drawing/2014/main" id="{BA3D262E-F092-47C7-9514-58271BDE2A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3" y="3193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36" name="Freeform 1339">
                <a:extLst>
                  <a:ext uri="{FF2B5EF4-FFF2-40B4-BE49-F238E27FC236}">
                    <a16:creationId xmlns:a16="http://schemas.microsoft.com/office/drawing/2014/main" id="{1E6328B1-3995-4EA5-935C-BB2E8B435D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2" y="3203"/>
                <a:ext cx="18" cy="12"/>
              </a:xfrm>
              <a:custGeom>
                <a:avLst/>
                <a:gdLst>
                  <a:gd name="T0" fmla="*/ 10 w 18"/>
                  <a:gd name="T1" fmla="*/ 8 h 12"/>
                  <a:gd name="T2" fmla="*/ 18 w 18"/>
                  <a:gd name="T3" fmla="*/ 12 h 12"/>
                  <a:gd name="T4" fmla="*/ 10 w 18"/>
                  <a:gd name="T5" fmla="*/ 8 h 12"/>
                  <a:gd name="T6" fmla="*/ 4 w 18"/>
                  <a:gd name="T7" fmla="*/ 2 h 12"/>
                  <a:gd name="T8" fmla="*/ 0 w 18"/>
                  <a:gd name="T9" fmla="*/ 0 h 12"/>
                  <a:gd name="T10" fmla="*/ 0 w 18"/>
                  <a:gd name="T11" fmla="*/ 0 h 12"/>
                  <a:gd name="T12" fmla="*/ 4 w 18"/>
                  <a:gd name="T13" fmla="*/ 2 h 12"/>
                  <a:gd name="T14" fmla="*/ 10 w 18"/>
                  <a:gd name="T15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2">
                    <a:moveTo>
                      <a:pt x="10" y="8"/>
                    </a:moveTo>
                    <a:lnTo>
                      <a:pt x="18" y="12"/>
                    </a:lnTo>
                    <a:lnTo>
                      <a:pt x="10" y="8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37" name="Freeform 1340">
                <a:extLst>
                  <a:ext uri="{FF2B5EF4-FFF2-40B4-BE49-F238E27FC236}">
                    <a16:creationId xmlns:a16="http://schemas.microsoft.com/office/drawing/2014/main" id="{EDA929CE-E611-4200-8506-0E380FCC51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1" y="3228"/>
                <a:ext cx="24" cy="24"/>
              </a:xfrm>
              <a:custGeom>
                <a:avLst/>
                <a:gdLst>
                  <a:gd name="T0" fmla="*/ 4 w 24"/>
                  <a:gd name="T1" fmla="*/ 18 h 24"/>
                  <a:gd name="T2" fmla="*/ 8 w 24"/>
                  <a:gd name="T3" fmla="*/ 20 h 24"/>
                  <a:gd name="T4" fmla="*/ 20 w 24"/>
                  <a:gd name="T5" fmla="*/ 22 h 24"/>
                  <a:gd name="T6" fmla="*/ 24 w 24"/>
                  <a:gd name="T7" fmla="*/ 24 h 24"/>
                  <a:gd name="T8" fmla="*/ 20 w 24"/>
                  <a:gd name="T9" fmla="*/ 22 h 24"/>
                  <a:gd name="T10" fmla="*/ 8 w 24"/>
                  <a:gd name="T11" fmla="*/ 20 h 24"/>
                  <a:gd name="T12" fmla="*/ 4 w 24"/>
                  <a:gd name="T13" fmla="*/ 18 h 24"/>
                  <a:gd name="T14" fmla="*/ 2 w 24"/>
                  <a:gd name="T15" fmla="*/ 8 h 24"/>
                  <a:gd name="T16" fmla="*/ 0 w 24"/>
                  <a:gd name="T17" fmla="*/ 0 h 24"/>
                  <a:gd name="T18" fmla="*/ 2 w 24"/>
                  <a:gd name="T19" fmla="*/ 8 h 24"/>
                  <a:gd name="T20" fmla="*/ 4 w 24"/>
                  <a:gd name="T21" fmla="*/ 1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24">
                    <a:moveTo>
                      <a:pt x="4" y="18"/>
                    </a:moveTo>
                    <a:lnTo>
                      <a:pt x="8" y="20"/>
                    </a:lnTo>
                    <a:lnTo>
                      <a:pt x="20" y="22"/>
                    </a:lnTo>
                    <a:lnTo>
                      <a:pt x="24" y="24"/>
                    </a:lnTo>
                    <a:lnTo>
                      <a:pt x="20" y="22"/>
                    </a:lnTo>
                    <a:lnTo>
                      <a:pt x="8" y="20"/>
                    </a:lnTo>
                    <a:lnTo>
                      <a:pt x="4" y="18"/>
                    </a:lnTo>
                    <a:lnTo>
                      <a:pt x="2" y="8"/>
                    </a:lnTo>
                    <a:lnTo>
                      <a:pt x="0" y="0"/>
                    </a:lnTo>
                    <a:lnTo>
                      <a:pt x="2" y="8"/>
                    </a:lnTo>
                    <a:lnTo>
                      <a:pt x="4" y="1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38" name="Freeform 1341">
                <a:extLst>
                  <a:ext uri="{FF2B5EF4-FFF2-40B4-BE49-F238E27FC236}">
                    <a16:creationId xmlns:a16="http://schemas.microsoft.com/office/drawing/2014/main" id="{7FF856AE-C274-4A46-B5EB-811085878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5" y="3154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39" name="Rectangle 1342">
                <a:extLst>
                  <a:ext uri="{FF2B5EF4-FFF2-40B4-BE49-F238E27FC236}">
                    <a16:creationId xmlns:a16="http://schemas.microsoft.com/office/drawing/2014/main" id="{F08010DA-0732-4124-A239-DBFA3BD0BA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9" y="326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40" name="Rectangle 1343">
                <a:extLst>
                  <a:ext uri="{FF2B5EF4-FFF2-40B4-BE49-F238E27FC236}">
                    <a16:creationId xmlns:a16="http://schemas.microsoft.com/office/drawing/2014/main" id="{C5C188B7-37CA-4B25-AA07-56D74F35CE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2" y="322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41" name="Freeform 1344">
                <a:extLst>
                  <a:ext uri="{FF2B5EF4-FFF2-40B4-BE49-F238E27FC236}">
                    <a16:creationId xmlns:a16="http://schemas.microsoft.com/office/drawing/2014/main" id="{984F14CC-219B-4FE7-9B1B-0648B9EF7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8" y="3170"/>
                <a:ext cx="12" cy="0"/>
              </a:xfrm>
              <a:custGeom>
                <a:avLst/>
                <a:gdLst>
                  <a:gd name="T0" fmla="*/ 12 w 12"/>
                  <a:gd name="T1" fmla="*/ 12 w 12"/>
                  <a:gd name="T2" fmla="*/ 0 w 12"/>
                  <a:gd name="T3" fmla="*/ 12 w 12"/>
                  <a:gd name="T4" fmla="*/ 12 w 1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2">
                    <a:moveTo>
                      <a:pt x="12" y="0"/>
                    </a:moveTo>
                    <a:lnTo>
                      <a:pt x="12" y="0"/>
                    </a:lnTo>
                    <a:lnTo>
                      <a:pt x="0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42" name="Freeform 1345">
                <a:extLst>
                  <a:ext uri="{FF2B5EF4-FFF2-40B4-BE49-F238E27FC236}">
                    <a16:creationId xmlns:a16="http://schemas.microsoft.com/office/drawing/2014/main" id="{71CD143C-5409-45D4-AB6D-499412CC8B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8" y="3221"/>
                <a:ext cx="3" cy="7"/>
              </a:xfrm>
              <a:custGeom>
                <a:avLst/>
                <a:gdLst>
                  <a:gd name="T0" fmla="*/ 3 w 3"/>
                  <a:gd name="T1" fmla="*/ 7 h 7"/>
                  <a:gd name="T2" fmla="*/ 0 w 3"/>
                  <a:gd name="T3" fmla="*/ 0 h 7"/>
                  <a:gd name="T4" fmla="*/ 0 w 3"/>
                  <a:gd name="T5" fmla="*/ 0 h 7"/>
                  <a:gd name="T6" fmla="*/ 3 w 3"/>
                  <a:gd name="T7" fmla="*/ 7 h 7"/>
                  <a:gd name="T8" fmla="*/ 3 w 3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7">
                    <a:moveTo>
                      <a:pt x="3" y="7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7"/>
                    </a:lnTo>
                    <a:lnTo>
                      <a:pt x="3" y="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43" name="Rectangle 1346">
                <a:extLst>
                  <a:ext uri="{FF2B5EF4-FFF2-40B4-BE49-F238E27FC236}">
                    <a16:creationId xmlns:a16="http://schemas.microsoft.com/office/drawing/2014/main" id="{A40AA3B2-5BE5-489C-A693-F08B61E4C2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66" y="318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44" name="Freeform 1347">
                <a:extLst>
                  <a:ext uri="{FF2B5EF4-FFF2-40B4-BE49-F238E27FC236}">
                    <a16:creationId xmlns:a16="http://schemas.microsoft.com/office/drawing/2014/main" id="{7F9528AD-AA87-4F5D-828D-36B3316192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0" y="3197"/>
                <a:ext cx="14" cy="26"/>
              </a:xfrm>
              <a:custGeom>
                <a:avLst/>
                <a:gdLst>
                  <a:gd name="T0" fmla="*/ 8 w 14"/>
                  <a:gd name="T1" fmla="*/ 0 h 26"/>
                  <a:gd name="T2" fmla="*/ 10 w 14"/>
                  <a:gd name="T3" fmla="*/ 2 h 26"/>
                  <a:gd name="T4" fmla="*/ 12 w 14"/>
                  <a:gd name="T5" fmla="*/ 6 h 26"/>
                  <a:gd name="T6" fmla="*/ 12 w 14"/>
                  <a:gd name="T7" fmla="*/ 10 h 26"/>
                  <a:gd name="T8" fmla="*/ 14 w 14"/>
                  <a:gd name="T9" fmla="*/ 24 h 26"/>
                  <a:gd name="T10" fmla="*/ 12 w 14"/>
                  <a:gd name="T11" fmla="*/ 24 h 26"/>
                  <a:gd name="T12" fmla="*/ 12 w 14"/>
                  <a:gd name="T13" fmla="*/ 26 h 26"/>
                  <a:gd name="T14" fmla="*/ 12 w 14"/>
                  <a:gd name="T15" fmla="*/ 24 h 26"/>
                  <a:gd name="T16" fmla="*/ 14 w 14"/>
                  <a:gd name="T17" fmla="*/ 24 h 26"/>
                  <a:gd name="T18" fmla="*/ 12 w 14"/>
                  <a:gd name="T19" fmla="*/ 10 h 26"/>
                  <a:gd name="T20" fmla="*/ 12 w 14"/>
                  <a:gd name="T21" fmla="*/ 6 h 26"/>
                  <a:gd name="T22" fmla="*/ 10 w 14"/>
                  <a:gd name="T23" fmla="*/ 2 h 26"/>
                  <a:gd name="T24" fmla="*/ 8 w 14"/>
                  <a:gd name="T25" fmla="*/ 0 h 26"/>
                  <a:gd name="T26" fmla="*/ 2 w 14"/>
                  <a:gd name="T27" fmla="*/ 2 h 26"/>
                  <a:gd name="T28" fmla="*/ 0 w 14"/>
                  <a:gd name="T29" fmla="*/ 2 h 26"/>
                  <a:gd name="T30" fmla="*/ 2 w 14"/>
                  <a:gd name="T31" fmla="*/ 2 h 26"/>
                  <a:gd name="T32" fmla="*/ 8 w 14"/>
                  <a:gd name="T33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26">
                    <a:moveTo>
                      <a:pt x="8" y="0"/>
                    </a:moveTo>
                    <a:lnTo>
                      <a:pt x="10" y="2"/>
                    </a:lnTo>
                    <a:lnTo>
                      <a:pt x="12" y="6"/>
                    </a:lnTo>
                    <a:lnTo>
                      <a:pt x="12" y="10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12" y="26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45" name="Freeform 1348">
                <a:extLst>
                  <a:ext uri="{FF2B5EF4-FFF2-40B4-BE49-F238E27FC236}">
                    <a16:creationId xmlns:a16="http://schemas.microsoft.com/office/drawing/2014/main" id="{588724AC-9831-4784-8731-D5DE08D94B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2" y="3224"/>
                <a:ext cx="4" cy="4"/>
              </a:xfrm>
              <a:custGeom>
                <a:avLst/>
                <a:gdLst>
                  <a:gd name="T0" fmla="*/ 2 w 4"/>
                  <a:gd name="T1" fmla="*/ 2 h 4"/>
                  <a:gd name="T2" fmla="*/ 2 w 4"/>
                  <a:gd name="T3" fmla="*/ 2 h 4"/>
                  <a:gd name="T4" fmla="*/ 2 w 4"/>
                  <a:gd name="T5" fmla="*/ 2 h 4"/>
                  <a:gd name="T6" fmla="*/ 4 w 4"/>
                  <a:gd name="T7" fmla="*/ 4 h 4"/>
                  <a:gd name="T8" fmla="*/ 4 w 4"/>
                  <a:gd name="T9" fmla="*/ 4 h 4"/>
                  <a:gd name="T10" fmla="*/ 4 w 4"/>
                  <a:gd name="T11" fmla="*/ 4 h 4"/>
                  <a:gd name="T12" fmla="*/ 2 w 4"/>
                  <a:gd name="T13" fmla="*/ 2 h 4"/>
                  <a:gd name="T14" fmla="*/ 2 w 4"/>
                  <a:gd name="T15" fmla="*/ 2 h 4"/>
                  <a:gd name="T16" fmla="*/ 2 w 4"/>
                  <a:gd name="T17" fmla="*/ 2 h 4"/>
                  <a:gd name="T18" fmla="*/ 0 w 4"/>
                  <a:gd name="T19" fmla="*/ 0 h 4"/>
                  <a:gd name="T20" fmla="*/ 0 w 4"/>
                  <a:gd name="T21" fmla="*/ 0 h 4"/>
                  <a:gd name="T22" fmla="*/ 0 w 4"/>
                  <a:gd name="T23" fmla="*/ 0 h 4"/>
                  <a:gd name="T24" fmla="*/ 2 w 4"/>
                  <a:gd name="T2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4">
                    <a:moveTo>
                      <a:pt x="2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46" name="Freeform 1349">
                <a:extLst>
                  <a:ext uri="{FF2B5EF4-FFF2-40B4-BE49-F238E27FC236}">
                    <a16:creationId xmlns:a16="http://schemas.microsoft.com/office/drawing/2014/main" id="{B12DEF41-D022-4460-916B-B02FA27BA8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6" y="3244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2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47" name="Freeform 1350">
                <a:extLst>
                  <a:ext uri="{FF2B5EF4-FFF2-40B4-BE49-F238E27FC236}">
                    <a16:creationId xmlns:a16="http://schemas.microsoft.com/office/drawing/2014/main" id="{98E9CB76-A3DD-4917-8A9B-9BAB93BDFD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1" y="3213"/>
                <a:ext cx="21" cy="8"/>
              </a:xfrm>
              <a:custGeom>
                <a:avLst/>
                <a:gdLst>
                  <a:gd name="T0" fmla="*/ 4 w 21"/>
                  <a:gd name="T1" fmla="*/ 8 h 8"/>
                  <a:gd name="T2" fmla="*/ 6 w 21"/>
                  <a:gd name="T3" fmla="*/ 6 h 8"/>
                  <a:gd name="T4" fmla="*/ 10 w 21"/>
                  <a:gd name="T5" fmla="*/ 2 h 8"/>
                  <a:gd name="T6" fmla="*/ 12 w 21"/>
                  <a:gd name="T7" fmla="*/ 0 h 8"/>
                  <a:gd name="T8" fmla="*/ 21 w 21"/>
                  <a:gd name="T9" fmla="*/ 0 h 8"/>
                  <a:gd name="T10" fmla="*/ 12 w 21"/>
                  <a:gd name="T11" fmla="*/ 0 h 8"/>
                  <a:gd name="T12" fmla="*/ 10 w 21"/>
                  <a:gd name="T13" fmla="*/ 2 h 8"/>
                  <a:gd name="T14" fmla="*/ 6 w 21"/>
                  <a:gd name="T15" fmla="*/ 6 h 8"/>
                  <a:gd name="T16" fmla="*/ 4 w 21"/>
                  <a:gd name="T17" fmla="*/ 8 h 8"/>
                  <a:gd name="T18" fmla="*/ 0 w 21"/>
                  <a:gd name="T19" fmla="*/ 8 h 8"/>
                  <a:gd name="T20" fmla="*/ 0 w 21"/>
                  <a:gd name="T21" fmla="*/ 8 h 8"/>
                  <a:gd name="T22" fmla="*/ 0 w 21"/>
                  <a:gd name="T23" fmla="*/ 8 h 8"/>
                  <a:gd name="T24" fmla="*/ 0 w 21"/>
                  <a:gd name="T25" fmla="*/ 8 h 8"/>
                  <a:gd name="T26" fmla="*/ 4 w 21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8">
                    <a:moveTo>
                      <a:pt x="4" y="8"/>
                    </a:moveTo>
                    <a:lnTo>
                      <a:pt x="6" y="6"/>
                    </a:lnTo>
                    <a:lnTo>
                      <a:pt x="10" y="2"/>
                    </a:lnTo>
                    <a:lnTo>
                      <a:pt x="12" y="0"/>
                    </a:lnTo>
                    <a:lnTo>
                      <a:pt x="21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48" name="Freeform 1351">
                <a:extLst>
                  <a:ext uri="{FF2B5EF4-FFF2-40B4-BE49-F238E27FC236}">
                    <a16:creationId xmlns:a16="http://schemas.microsoft.com/office/drawing/2014/main" id="{95E3EBD4-A319-4416-84F4-223E30510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6" y="323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49" name="Rectangle 1352">
                <a:extLst>
                  <a:ext uri="{FF2B5EF4-FFF2-40B4-BE49-F238E27FC236}">
                    <a16:creationId xmlns:a16="http://schemas.microsoft.com/office/drawing/2014/main" id="{8200A8DC-8DAB-45F6-B4DC-35549FD2D3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11" y="324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50" name="Freeform 1353">
                <a:extLst>
                  <a:ext uri="{FF2B5EF4-FFF2-40B4-BE49-F238E27FC236}">
                    <a16:creationId xmlns:a16="http://schemas.microsoft.com/office/drawing/2014/main" id="{BD676958-BF6A-49F1-A52D-C547A216BB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0" y="3232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4 w 4"/>
                  <a:gd name="T3" fmla="*/ 0 h 6"/>
                  <a:gd name="T4" fmla="*/ 4 w 4"/>
                  <a:gd name="T5" fmla="*/ 0 h 6"/>
                  <a:gd name="T6" fmla="*/ 4 w 4"/>
                  <a:gd name="T7" fmla="*/ 0 h 6"/>
                  <a:gd name="T8" fmla="*/ 0 w 4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51" name="Freeform 1354">
                <a:extLst>
                  <a:ext uri="{FF2B5EF4-FFF2-40B4-BE49-F238E27FC236}">
                    <a16:creationId xmlns:a16="http://schemas.microsoft.com/office/drawing/2014/main" id="{B0D07111-1255-407A-8D55-7CF95DCC1F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7" y="3224"/>
                <a:ext cx="2" cy="8"/>
              </a:xfrm>
              <a:custGeom>
                <a:avLst/>
                <a:gdLst>
                  <a:gd name="T0" fmla="*/ 0 w 2"/>
                  <a:gd name="T1" fmla="*/ 4 h 8"/>
                  <a:gd name="T2" fmla="*/ 2 w 2"/>
                  <a:gd name="T3" fmla="*/ 0 h 8"/>
                  <a:gd name="T4" fmla="*/ 0 w 2"/>
                  <a:gd name="T5" fmla="*/ 4 h 8"/>
                  <a:gd name="T6" fmla="*/ 0 w 2"/>
                  <a:gd name="T7" fmla="*/ 8 h 8"/>
                  <a:gd name="T8" fmla="*/ 0 w 2"/>
                  <a:gd name="T9" fmla="*/ 8 h 8"/>
                  <a:gd name="T10" fmla="*/ 0 w 2"/>
                  <a:gd name="T1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8">
                    <a:moveTo>
                      <a:pt x="0" y="4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52" name="Rectangle 1355">
                <a:extLst>
                  <a:ext uri="{FF2B5EF4-FFF2-40B4-BE49-F238E27FC236}">
                    <a16:creationId xmlns:a16="http://schemas.microsoft.com/office/drawing/2014/main" id="{AE4E3485-B66F-4292-B046-E810E45FBB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0" y="318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53" name="Freeform 1356">
                <a:extLst>
                  <a:ext uri="{FF2B5EF4-FFF2-40B4-BE49-F238E27FC236}">
                    <a16:creationId xmlns:a16="http://schemas.microsoft.com/office/drawing/2014/main" id="{9303871E-50E6-4E08-8DDA-60772ED411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7" y="3199"/>
                <a:ext cx="19" cy="18"/>
              </a:xfrm>
              <a:custGeom>
                <a:avLst/>
                <a:gdLst>
                  <a:gd name="T0" fmla="*/ 15 w 19"/>
                  <a:gd name="T1" fmla="*/ 18 h 18"/>
                  <a:gd name="T2" fmla="*/ 17 w 19"/>
                  <a:gd name="T3" fmla="*/ 18 h 18"/>
                  <a:gd name="T4" fmla="*/ 19 w 19"/>
                  <a:gd name="T5" fmla="*/ 18 h 18"/>
                  <a:gd name="T6" fmla="*/ 17 w 19"/>
                  <a:gd name="T7" fmla="*/ 18 h 18"/>
                  <a:gd name="T8" fmla="*/ 15 w 19"/>
                  <a:gd name="T9" fmla="*/ 18 h 18"/>
                  <a:gd name="T10" fmla="*/ 11 w 19"/>
                  <a:gd name="T11" fmla="*/ 16 h 18"/>
                  <a:gd name="T12" fmla="*/ 0 w 19"/>
                  <a:gd name="T13" fmla="*/ 0 h 18"/>
                  <a:gd name="T14" fmla="*/ 11 w 19"/>
                  <a:gd name="T15" fmla="*/ 16 h 18"/>
                  <a:gd name="T16" fmla="*/ 15 w 19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8">
                    <a:moveTo>
                      <a:pt x="15" y="18"/>
                    </a:moveTo>
                    <a:lnTo>
                      <a:pt x="17" y="18"/>
                    </a:lnTo>
                    <a:lnTo>
                      <a:pt x="19" y="18"/>
                    </a:lnTo>
                    <a:lnTo>
                      <a:pt x="17" y="18"/>
                    </a:lnTo>
                    <a:lnTo>
                      <a:pt x="15" y="18"/>
                    </a:lnTo>
                    <a:lnTo>
                      <a:pt x="11" y="16"/>
                    </a:lnTo>
                    <a:lnTo>
                      <a:pt x="0" y="0"/>
                    </a:lnTo>
                    <a:lnTo>
                      <a:pt x="11" y="16"/>
                    </a:lnTo>
                    <a:lnTo>
                      <a:pt x="15" y="1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54" name="Rectangle 1357">
                <a:extLst>
                  <a:ext uri="{FF2B5EF4-FFF2-40B4-BE49-F238E27FC236}">
                    <a16:creationId xmlns:a16="http://schemas.microsoft.com/office/drawing/2014/main" id="{F4A6B45F-FFCD-4F8F-A1BC-9471DEE0B1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4" y="3178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55" name="Freeform 1358">
                <a:extLst>
                  <a:ext uri="{FF2B5EF4-FFF2-40B4-BE49-F238E27FC236}">
                    <a16:creationId xmlns:a16="http://schemas.microsoft.com/office/drawing/2014/main" id="{204A7CFD-226E-4D00-8A97-ED722AA35B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8" y="3203"/>
                <a:ext cx="0" cy="4"/>
              </a:xfrm>
              <a:custGeom>
                <a:avLst/>
                <a:gdLst>
                  <a:gd name="T0" fmla="*/ 0 h 4"/>
                  <a:gd name="T1" fmla="*/ 2 h 4"/>
                  <a:gd name="T2" fmla="*/ 4 h 4"/>
                  <a:gd name="T3" fmla="*/ 2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56" name="Freeform 1359">
                <a:extLst>
                  <a:ext uri="{FF2B5EF4-FFF2-40B4-BE49-F238E27FC236}">
                    <a16:creationId xmlns:a16="http://schemas.microsoft.com/office/drawing/2014/main" id="{34A9FAA4-0752-4361-AA23-CA4DFE8246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3201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0 w 4"/>
                  <a:gd name="T3" fmla="*/ 0 h 4"/>
                  <a:gd name="T4" fmla="*/ 2 w 4"/>
                  <a:gd name="T5" fmla="*/ 0 h 4"/>
                  <a:gd name="T6" fmla="*/ 4 w 4"/>
                  <a:gd name="T7" fmla="*/ 4 h 4"/>
                  <a:gd name="T8" fmla="*/ 4 w 4"/>
                  <a:gd name="T9" fmla="*/ 4 h 4"/>
                  <a:gd name="T10" fmla="*/ 2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57" name="Freeform 1360">
                <a:extLst>
                  <a:ext uri="{FF2B5EF4-FFF2-40B4-BE49-F238E27FC236}">
                    <a16:creationId xmlns:a16="http://schemas.microsoft.com/office/drawing/2014/main" id="{85FA0389-7AEF-40C5-AB94-6DFD62F0C9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4" y="3219"/>
                <a:ext cx="4" cy="5"/>
              </a:xfrm>
              <a:custGeom>
                <a:avLst/>
                <a:gdLst>
                  <a:gd name="T0" fmla="*/ 4 w 4"/>
                  <a:gd name="T1" fmla="*/ 5 h 5"/>
                  <a:gd name="T2" fmla="*/ 2 w 4"/>
                  <a:gd name="T3" fmla="*/ 4 h 5"/>
                  <a:gd name="T4" fmla="*/ 0 w 4"/>
                  <a:gd name="T5" fmla="*/ 0 h 5"/>
                  <a:gd name="T6" fmla="*/ 2 w 4"/>
                  <a:gd name="T7" fmla="*/ 4 h 5"/>
                  <a:gd name="T8" fmla="*/ 4 w 4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58" name="Freeform 1361">
                <a:extLst>
                  <a:ext uri="{FF2B5EF4-FFF2-40B4-BE49-F238E27FC236}">
                    <a16:creationId xmlns:a16="http://schemas.microsoft.com/office/drawing/2014/main" id="{E7AF6A61-AFC2-46BE-84BD-3984E6493C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1" y="3207"/>
                <a:ext cx="6" cy="2"/>
              </a:xfrm>
              <a:custGeom>
                <a:avLst/>
                <a:gdLst>
                  <a:gd name="T0" fmla="*/ 4 w 6"/>
                  <a:gd name="T1" fmla="*/ 2 h 2"/>
                  <a:gd name="T2" fmla="*/ 6 w 6"/>
                  <a:gd name="T3" fmla="*/ 0 h 2"/>
                  <a:gd name="T4" fmla="*/ 6 w 6"/>
                  <a:gd name="T5" fmla="*/ 0 h 2"/>
                  <a:gd name="T6" fmla="*/ 4 w 6"/>
                  <a:gd name="T7" fmla="*/ 2 h 2"/>
                  <a:gd name="T8" fmla="*/ 0 w 6"/>
                  <a:gd name="T9" fmla="*/ 2 h 2"/>
                  <a:gd name="T10" fmla="*/ 0 w 6"/>
                  <a:gd name="T11" fmla="*/ 2 h 2"/>
                  <a:gd name="T12" fmla="*/ 0 w 6"/>
                  <a:gd name="T13" fmla="*/ 2 h 2"/>
                  <a:gd name="T14" fmla="*/ 4 w 6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2">
                    <a:moveTo>
                      <a:pt x="4" y="2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59" name="Freeform 1362">
                <a:extLst>
                  <a:ext uri="{FF2B5EF4-FFF2-40B4-BE49-F238E27FC236}">
                    <a16:creationId xmlns:a16="http://schemas.microsoft.com/office/drawing/2014/main" id="{F58B4A7A-BB8B-4F9F-8BC4-D55945ED1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" y="3195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2 h 2"/>
                  <a:gd name="T3" fmla="*/ 0 h 2"/>
                  <a:gd name="T4" fmla="*/ 0 h 2"/>
                  <a:gd name="T5" fmla="*/ 0 h 2"/>
                  <a:gd name="T6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60" name="Freeform 1363">
                <a:extLst>
                  <a:ext uri="{FF2B5EF4-FFF2-40B4-BE49-F238E27FC236}">
                    <a16:creationId xmlns:a16="http://schemas.microsoft.com/office/drawing/2014/main" id="{45FB1907-2DB4-4CEC-8EE8-3F2AB0FFF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2" y="3219"/>
                <a:ext cx="9" cy="5"/>
              </a:xfrm>
              <a:custGeom>
                <a:avLst/>
                <a:gdLst>
                  <a:gd name="T0" fmla="*/ 4 w 9"/>
                  <a:gd name="T1" fmla="*/ 4 h 5"/>
                  <a:gd name="T2" fmla="*/ 8 w 9"/>
                  <a:gd name="T3" fmla="*/ 2 h 5"/>
                  <a:gd name="T4" fmla="*/ 9 w 9"/>
                  <a:gd name="T5" fmla="*/ 0 h 5"/>
                  <a:gd name="T6" fmla="*/ 8 w 9"/>
                  <a:gd name="T7" fmla="*/ 2 h 5"/>
                  <a:gd name="T8" fmla="*/ 4 w 9"/>
                  <a:gd name="T9" fmla="*/ 4 h 5"/>
                  <a:gd name="T10" fmla="*/ 0 w 9"/>
                  <a:gd name="T11" fmla="*/ 5 h 5"/>
                  <a:gd name="T12" fmla="*/ 0 w 9"/>
                  <a:gd name="T13" fmla="*/ 5 h 5"/>
                  <a:gd name="T14" fmla="*/ 0 w 9"/>
                  <a:gd name="T15" fmla="*/ 5 h 5"/>
                  <a:gd name="T16" fmla="*/ 4 w 9"/>
                  <a:gd name="T1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5">
                    <a:moveTo>
                      <a:pt x="4" y="4"/>
                    </a:moveTo>
                    <a:lnTo>
                      <a:pt x="8" y="2"/>
                    </a:lnTo>
                    <a:lnTo>
                      <a:pt x="9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61" name="Freeform 1364">
                <a:extLst>
                  <a:ext uri="{FF2B5EF4-FFF2-40B4-BE49-F238E27FC236}">
                    <a16:creationId xmlns:a16="http://schemas.microsoft.com/office/drawing/2014/main" id="{F3ED9C89-649E-48BD-958D-5792114CBD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7" y="3199"/>
                <a:ext cx="16" cy="6"/>
              </a:xfrm>
              <a:custGeom>
                <a:avLst/>
                <a:gdLst>
                  <a:gd name="T0" fmla="*/ 12 w 16"/>
                  <a:gd name="T1" fmla="*/ 6 h 6"/>
                  <a:gd name="T2" fmla="*/ 16 w 16"/>
                  <a:gd name="T3" fmla="*/ 4 h 6"/>
                  <a:gd name="T4" fmla="*/ 16 w 16"/>
                  <a:gd name="T5" fmla="*/ 4 h 6"/>
                  <a:gd name="T6" fmla="*/ 16 w 16"/>
                  <a:gd name="T7" fmla="*/ 4 h 6"/>
                  <a:gd name="T8" fmla="*/ 12 w 16"/>
                  <a:gd name="T9" fmla="*/ 6 h 6"/>
                  <a:gd name="T10" fmla="*/ 8 w 16"/>
                  <a:gd name="T11" fmla="*/ 4 h 6"/>
                  <a:gd name="T12" fmla="*/ 0 w 16"/>
                  <a:gd name="T13" fmla="*/ 0 h 6"/>
                  <a:gd name="T14" fmla="*/ 8 w 16"/>
                  <a:gd name="T15" fmla="*/ 4 h 6"/>
                  <a:gd name="T16" fmla="*/ 12 w 16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6">
                    <a:moveTo>
                      <a:pt x="12" y="6"/>
                    </a:move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6"/>
                    </a:lnTo>
                    <a:lnTo>
                      <a:pt x="8" y="4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62" name="Freeform 1365">
                <a:extLst>
                  <a:ext uri="{FF2B5EF4-FFF2-40B4-BE49-F238E27FC236}">
                    <a16:creationId xmlns:a16="http://schemas.microsoft.com/office/drawing/2014/main" id="{745B75BD-8B1E-4874-99CB-593B49511E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0" y="3217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2 h 2"/>
                  <a:gd name="T4" fmla="*/ 0 w 4"/>
                  <a:gd name="T5" fmla="*/ 0 h 2"/>
                  <a:gd name="T6" fmla="*/ 0 w 4"/>
                  <a:gd name="T7" fmla="*/ 0 h 2"/>
                  <a:gd name="T8" fmla="*/ 0 w 4"/>
                  <a:gd name="T9" fmla="*/ 0 h 2"/>
                  <a:gd name="T10" fmla="*/ 4 w 4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63" name="Rectangle 1366">
                <a:extLst>
                  <a:ext uri="{FF2B5EF4-FFF2-40B4-BE49-F238E27FC236}">
                    <a16:creationId xmlns:a16="http://schemas.microsoft.com/office/drawing/2014/main" id="{43603A47-3862-4DEC-94EC-3FFEEFD402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2" y="318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64" name="Freeform 1367">
                <a:extLst>
                  <a:ext uri="{FF2B5EF4-FFF2-40B4-BE49-F238E27FC236}">
                    <a16:creationId xmlns:a16="http://schemas.microsoft.com/office/drawing/2014/main" id="{6A015727-65E0-40A3-8E9B-08944C8EFD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0" y="3197"/>
                <a:ext cx="20" cy="4"/>
              </a:xfrm>
              <a:custGeom>
                <a:avLst/>
                <a:gdLst>
                  <a:gd name="T0" fmla="*/ 2 w 20"/>
                  <a:gd name="T1" fmla="*/ 2 h 4"/>
                  <a:gd name="T2" fmla="*/ 4 w 20"/>
                  <a:gd name="T3" fmla="*/ 2 h 4"/>
                  <a:gd name="T4" fmla="*/ 10 w 20"/>
                  <a:gd name="T5" fmla="*/ 4 h 4"/>
                  <a:gd name="T6" fmla="*/ 20 w 20"/>
                  <a:gd name="T7" fmla="*/ 4 h 4"/>
                  <a:gd name="T8" fmla="*/ 20 w 20"/>
                  <a:gd name="T9" fmla="*/ 0 h 4"/>
                  <a:gd name="T10" fmla="*/ 20 w 20"/>
                  <a:gd name="T11" fmla="*/ 0 h 4"/>
                  <a:gd name="T12" fmla="*/ 20 w 20"/>
                  <a:gd name="T13" fmla="*/ 0 h 4"/>
                  <a:gd name="T14" fmla="*/ 20 w 20"/>
                  <a:gd name="T15" fmla="*/ 4 h 4"/>
                  <a:gd name="T16" fmla="*/ 10 w 20"/>
                  <a:gd name="T17" fmla="*/ 4 h 4"/>
                  <a:gd name="T18" fmla="*/ 4 w 20"/>
                  <a:gd name="T19" fmla="*/ 2 h 4"/>
                  <a:gd name="T20" fmla="*/ 2 w 20"/>
                  <a:gd name="T21" fmla="*/ 2 h 4"/>
                  <a:gd name="T22" fmla="*/ 0 w 20"/>
                  <a:gd name="T23" fmla="*/ 4 h 4"/>
                  <a:gd name="T24" fmla="*/ 0 w 20"/>
                  <a:gd name="T25" fmla="*/ 4 h 4"/>
                  <a:gd name="T26" fmla="*/ 0 w 20"/>
                  <a:gd name="T27" fmla="*/ 4 h 4"/>
                  <a:gd name="T28" fmla="*/ 2 w 20"/>
                  <a:gd name="T2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" h="4">
                    <a:moveTo>
                      <a:pt x="2" y="2"/>
                    </a:moveTo>
                    <a:lnTo>
                      <a:pt x="4" y="2"/>
                    </a:lnTo>
                    <a:lnTo>
                      <a:pt x="1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10" y="4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65" name="Freeform 1368">
                <a:extLst>
                  <a:ext uri="{FF2B5EF4-FFF2-40B4-BE49-F238E27FC236}">
                    <a16:creationId xmlns:a16="http://schemas.microsoft.com/office/drawing/2014/main" id="{2AF6B569-65DB-4D17-BB69-9E3E5F5D5E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8" y="3242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2 w 4"/>
                  <a:gd name="T3" fmla="*/ 2 h 4"/>
                  <a:gd name="T4" fmla="*/ 0 w 4"/>
                  <a:gd name="T5" fmla="*/ 4 h 4"/>
                  <a:gd name="T6" fmla="*/ 2 w 4"/>
                  <a:gd name="T7" fmla="*/ 2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66" name="Freeform 1369">
                <a:extLst>
                  <a:ext uri="{FF2B5EF4-FFF2-40B4-BE49-F238E27FC236}">
                    <a16:creationId xmlns:a16="http://schemas.microsoft.com/office/drawing/2014/main" id="{3FA5D5C3-4AB2-45ED-9410-51B8283724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9" y="3197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0 w 4"/>
                  <a:gd name="T4" fmla="*/ 2 w 4"/>
                  <a:gd name="T5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67" name="Freeform 1370">
                <a:extLst>
                  <a:ext uri="{FF2B5EF4-FFF2-40B4-BE49-F238E27FC236}">
                    <a16:creationId xmlns:a16="http://schemas.microsoft.com/office/drawing/2014/main" id="{39A649D3-5A64-45B6-8CE5-81C188C9A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2" y="1844"/>
                <a:ext cx="6" cy="12"/>
              </a:xfrm>
              <a:custGeom>
                <a:avLst/>
                <a:gdLst>
                  <a:gd name="T0" fmla="*/ 2 w 6"/>
                  <a:gd name="T1" fmla="*/ 10 h 12"/>
                  <a:gd name="T2" fmla="*/ 0 w 6"/>
                  <a:gd name="T3" fmla="*/ 12 h 12"/>
                  <a:gd name="T4" fmla="*/ 0 w 6"/>
                  <a:gd name="T5" fmla="*/ 12 h 12"/>
                  <a:gd name="T6" fmla="*/ 2 w 6"/>
                  <a:gd name="T7" fmla="*/ 10 h 12"/>
                  <a:gd name="T8" fmla="*/ 6 w 6"/>
                  <a:gd name="T9" fmla="*/ 2 h 12"/>
                  <a:gd name="T10" fmla="*/ 6 w 6"/>
                  <a:gd name="T11" fmla="*/ 0 h 12"/>
                  <a:gd name="T12" fmla="*/ 6 w 6"/>
                  <a:gd name="T13" fmla="*/ 2 h 12"/>
                  <a:gd name="T14" fmla="*/ 2 w 6"/>
                  <a:gd name="T15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2" y="10"/>
                    </a:moveTo>
                    <a:lnTo>
                      <a:pt x="0" y="12"/>
                    </a:lnTo>
                    <a:lnTo>
                      <a:pt x="0" y="12"/>
                    </a:lnTo>
                    <a:lnTo>
                      <a:pt x="2" y="10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68" name="Freeform 1371">
                <a:extLst>
                  <a:ext uri="{FF2B5EF4-FFF2-40B4-BE49-F238E27FC236}">
                    <a16:creationId xmlns:a16="http://schemas.microsoft.com/office/drawing/2014/main" id="{A829AF8A-693F-44BB-B72F-ED3B76A2DC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959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69" name="Freeform 1372">
                <a:extLst>
                  <a:ext uri="{FF2B5EF4-FFF2-40B4-BE49-F238E27FC236}">
                    <a16:creationId xmlns:a16="http://schemas.microsoft.com/office/drawing/2014/main" id="{9A3F4687-BBC6-4446-B819-16006AAF7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0" y="1897"/>
                <a:ext cx="6" cy="10"/>
              </a:xfrm>
              <a:custGeom>
                <a:avLst/>
                <a:gdLst>
                  <a:gd name="T0" fmla="*/ 4 w 6"/>
                  <a:gd name="T1" fmla="*/ 8 h 10"/>
                  <a:gd name="T2" fmla="*/ 2 w 6"/>
                  <a:gd name="T3" fmla="*/ 2 h 10"/>
                  <a:gd name="T4" fmla="*/ 0 w 6"/>
                  <a:gd name="T5" fmla="*/ 0 h 10"/>
                  <a:gd name="T6" fmla="*/ 2 w 6"/>
                  <a:gd name="T7" fmla="*/ 2 h 10"/>
                  <a:gd name="T8" fmla="*/ 4 w 6"/>
                  <a:gd name="T9" fmla="*/ 8 h 10"/>
                  <a:gd name="T10" fmla="*/ 6 w 6"/>
                  <a:gd name="T11" fmla="*/ 10 h 10"/>
                  <a:gd name="T12" fmla="*/ 6 w 6"/>
                  <a:gd name="T13" fmla="*/ 10 h 10"/>
                  <a:gd name="T14" fmla="*/ 6 w 6"/>
                  <a:gd name="T15" fmla="*/ 10 h 10"/>
                  <a:gd name="T16" fmla="*/ 4 w 6"/>
                  <a:gd name="T1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0">
                    <a:moveTo>
                      <a:pt x="4" y="8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70" name="Freeform 1373">
                <a:extLst>
                  <a:ext uri="{FF2B5EF4-FFF2-40B4-BE49-F238E27FC236}">
                    <a16:creationId xmlns:a16="http://schemas.microsoft.com/office/drawing/2014/main" id="{0B4CEEAD-57EE-4AA0-AC63-7C513156D4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6" y="1887"/>
                <a:ext cx="12" cy="8"/>
              </a:xfrm>
              <a:custGeom>
                <a:avLst/>
                <a:gdLst>
                  <a:gd name="T0" fmla="*/ 8 w 12"/>
                  <a:gd name="T1" fmla="*/ 4 h 8"/>
                  <a:gd name="T2" fmla="*/ 0 w 12"/>
                  <a:gd name="T3" fmla="*/ 0 h 8"/>
                  <a:gd name="T4" fmla="*/ 8 w 12"/>
                  <a:gd name="T5" fmla="*/ 4 h 8"/>
                  <a:gd name="T6" fmla="*/ 10 w 12"/>
                  <a:gd name="T7" fmla="*/ 6 h 8"/>
                  <a:gd name="T8" fmla="*/ 12 w 12"/>
                  <a:gd name="T9" fmla="*/ 8 h 8"/>
                  <a:gd name="T10" fmla="*/ 10 w 12"/>
                  <a:gd name="T11" fmla="*/ 6 h 8"/>
                  <a:gd name="T12" fmla="*/ 8 w 12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8">
                    <a:moveTo>
                      <a:pt x="8" y="4"/>
                    </a:moveTo>
                    <a:lnTo>
                      <a:pt x="0" y="0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2" y="8"/>
                    </a:lnTo>
                    <a:lnTo>
                      <a:pt x="10" y="6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71" name="Freeform 1374">
                <a:extLst>
                  <a:ext uri="{FF2B5EF4-FFF2-40B4-BE49-F238E27FC236}">
                    <a16:creationId xmlns:a16="http://schemas.microsoft.com/office/drawing/2014/main" id="{6193B3CD-09F9-4B5E-A786-8905724731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" y="1914"/>
                <a:ext cx="4" cy="8"/>
              </a:xfrm>
              <a:custGeom>
                <a:avLst/>
                <a:gdLst>
                  <a:gd name="T0" fmla="*/ 0 w 4"/>
                  <a:gd name="T1" fmla="*/ 0 h 8"/>
                  <a:gd name="T2" fmla="*/ 2 w 4"/>
                  <a:gd name="T3" fmla="*/ 4 h 8"/>
                  <a:gd name="T4" fmla="*/ 4 w 4"/>
                  <a:gd name="T5" fmla="*/ 8 h 8"/>
                  <a:gd name="T6" fmla="*/ 2 w 4"/>
                  <a:gd name="T7" fmla="*/ 4 h 8"/>
                  <a:gd name="T8" fmla="*/ 0 w 4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2" y="4"/>
                    </a:lnTo>
                    <a:lnTo>
                      <a:pt x="4" y="8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72" name="Freeform 1375">
                <a:extLst>
                  <a:ext uri="{FF2B5EF4-FFF2-40B4-BE49-F238E27FC236}">
                    <a16:creationId xmlns:a16="http://schemas.microsoft.com/office/drawing/2014/main" id="{FEC6F37E-08B9-4A2B-98C5-3E066C933D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7" y="1856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73" name="Freeform 1376">
                <a:extLst>
                  <a:ext uri="{FF2B5EF4-FFF2-40B4-BE49-F238E27FC236}">
                    <a16:creationId xmlns:a16="http://schemas.microsoft.com/office/drawing/2014/main" id="{7F5629AD-6748-45C8-BDFA-38AE137137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3" y="1871"/>
                <a:ext cx="6" cy="2"/>
              </a:xfrm>
              <a:custGeom>
                <a:avLst/>
                <a:gdLst>
                  <a:gd name="T0" fmla="*/ 0 w 6"/>
                  <a:gd name="T1" fmla="*/ 2 h 2"/>
                  <a:gd name="T2" fmla="*/ 4 w 6"/>
                  <a:gd name="T3" fmla="*/ 0 h 2"/>
                  <a:gd name="T4" fmla="*/ 6 w 6"/>
                  <a:gd name="T5" fmla="*/ 0 h 2"/>
                  <a:gd name="T6" fmla="*/ 4 w 6"/>
                  <a:gd name="T7" fmla="*/ 0 h 2"/>
                  <a:gd name="T8" fmla="*/ 0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0" y="2"/>
                    </a:move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74" name="Freeform 1377">
                <a:extLst>
                  <a:ext uri="{FF2B5EF4-FFF2-40B4-BE49-F238E27FC236}">
                    <a16:creationId xmlns:a16="http://schemas.microsoft.com/office/drawing/2014/main" id="{67A9E210-6104-4784-8BE0-D444728133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858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75" name="Freeform 1378">
                <a:extLst>
                  <a:ext uri="{FF2B5EF4-FFF2-40B4-BE49-F238E27FC236}">
                    <a16:creationId xmlns:a16="http://schemas.microsoft.com/office/drawing/2014/main" id="{4523E255-B115-4DB3-B5BE-5CAB98F3C2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0" y="1955"/>
                <a:ext cx="1" cy="2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0 w 1"/>
                  <a:gd name="T5" fmla="*/ 2 h 2"/>
                  <a:gd name="T6" fmla="*/ 0 w 1"/>
                  <a:gd name="T7" fmla="*/ 2 h 2"/>
                  <a:gd name="T8" fmla="*/ 1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76" name="Freeform 1379">
                <a:extLst>
                  <a:ext uri="{FF2B5EF4-FFF2-40B4-BE49-F238E27FC236}">
                    <a16:creationId xmlns:a16="http://schemas.microsoft.com/office/drawing/2014/main" id="{CCB21E46-CD3C-4DEF-B0FF-1F79BF5F4A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6" y="1850"/>
                <a:ext cx="1" cy="2"/>
              </a:xfrm>
              <a:custGeom>
                <a:avLst/>
                <a:gdLst>
                  <a:gd name="T0" fmla="*/ 0 w 1"/>
                  <a:gd name="T1" fmla="*/ 0 h 2"/>
                  <a:gd name="T2" fmla="*/ 0 w 1"/>
                  <a:gd name="T3" fmla="*/ 0 h 2"/>
                  <a:gd name="T4" fmla="*/ 1 w 1"/>
                  <a:gd name="T5" fmla="*/ 2 h 2"/>
                  <a:gd name="T6" fmla="*/ 1 w 1"/>
                  <a:gd name="T7" fmla="*/ 2 h 2"/>
                  <a:gd name="T8" fmla="*/ 0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77" name="Freeform 1380">
                <a:extLst>
                  <a:ext uri="{FF2B5EF4-FFF2-40B4-BE49-F238E27FC236}">
                    <a16:creationId xmlns:a16="http://schemas.microsoft.com/office/drawing/2014/main" id="{DC4F4FC8-8CA4-4CC1-B4C3-3B51DDB8E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963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78" name="Freeform 1381">
                <a:extLst>
                  <a:ext uri="{FF2B5EF4-FFF2-40B4-BE49-F238E27FC236}">
                    <a16:creationId xmlns:a16="http://schemas.microsoft.com/office/drawing/2014/main" id="{0E66424A-E3C8-49D9-9102-4AA1BC0B9F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1969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79" name="Freeform 1382">
                <a:extLst>
                  <a:ext uri="{FF2B5EF4-FFF2-40B4-BE49-F238E27FC236}">
                    <a16:creationId xmlns:a16="http://schemas.microsoft.com/office/drawing/2014/main" id="{577ACC6C-F28C-45A1-87B5-D2B3D4F4EF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1971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2 h 4"/>
                  <a:gd name="T4" fmla="*/ 0 w 2"/>
                  <a:gd name="T5" fmla="*/ 4 h 4"/>
                  <a:gd name="T6" fmla="*/ 0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80" name="Freeform 1383">
                <a:extLst>
                  <a:ext uri="{FF2B5EF4-FFF2-40B4-BE49-F238E27FC236}">
                    <a16:creationId xmlns:a16="http://schemas.microsoft.com/office/drawing/2014/main" id="{0AA64959-04C4-402A-9BC7-B914F798D9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860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0 h 6"/>
                  <a:gd name="T4" fmla="*/ 2 w 2"/>
                  <a:gd name="T5" fmla="*/ 4 h 6"/>
                  <a:gd name="T6" fmla="*/ 0 w 2"/>
                  <a:gd name="T7" fmla="*/ 6 h 6"/>
                  <a:gd name="T8" fmla="*/ 0 w 2"/>
                  <a:gd name="T9" fmla="*/ 6 h 6"/>
                  <a:gd name="T10" fmla="*/ 2 w 2"/>
                  <a:gd name="T11" fmla="*/ 4 h 6"/>
                  <a:gd name="T12" fmla="*/ 2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81" name="Freeform 1384">
                <a:extLst>
                  <a:ext uri="{FF2B5EF4-FFF2-40B4-BE49-F238E27FC236}">
                    <a16:creationId xmlns:a16="http://schemas.microsoft.com/office/drawing/2014/main" id="{658241BA-30EB-4F52-A851-6B3374C17E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0" y="1848"/>
                <a:ext cx="6" cy="2"/>
              </a:xfrm>
              <a:custGeom>
                <a:avLst/>
                <a:gdLst>
                  <a:gd name="T0" fmla="*/ 2 w 6"/>
                  <a:gd name="T1" fmla="*/ 0 h 2"/>
                  <a:gd name="T2" fmla="*/ 0 w 6"/>
                  <a:gd name="T3" fmla="*/ 0 h 2"/>
                  <a:gd name="T4" fmla="*/ 2 w 6"/>
                  <a:gd name="T5" fmla="*/ 0 h 2"/>
                  <a:gd name="T6" fmla="*/ 4 w 6"/>
                  <a:gd name="T7" fmla="*/ 0 h 2"/>
                  <a:gd name="T8" fmla="*/ 6 w 6"/>
                  <a:gd name="T9" fmla="*/ 2 h 2"/>
                  <a:gd name="T10" fmla="*/ 4 w 6"/>
                  <a:gd name="T11" fmla="*/ 0 h 2"/>
                  <a:gd name="T12" fmla="*/ 2 w 6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82" name="Freeform 1385">
                <a:extLst>
                  <a:ext uri="{FF2B5EF4-FFF2-40B4-BE49-F238E27FC236}">
                    <a16:creationId xmlns:a16="http://schemas.microsoft.com/office/drawing/2014/main" id="{DFE76A7A-DD83-4D5C-826A-58AA80154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" y="1844"/>
                <a:ext cx="12" cy="4"/>
              </a:xfrm>
              <a:custGeom>
                <a:avLst/>
                <a:gdLst>
                  <a:gd name="T0" fmla="*/ 0 w 12"/>
                  <a:gd name="T1" fmla="*/ 0 h 4"/>
                  <a:gd name="T2" fmla="*/ 0 w 12"/>
                  <a:gd name="T3" fmla="*/ 0 h 4"/>
                  <a:gd name="T4" fmla="*/ 0 w 12"/>
                  <a:gd name="T5" fmla="*/ 0 h 4"/>
                  <a:gd name="T6" fmla="*/ 12 w 12"/>
                  <a:gd name="T7" fmla="*/ 4 h 4"/>
                  <a:gd name="T8" fmla="*/ 12 w 12"/>
                  <a:gd name="T9" fmla="*/ 4 h 4"/>
                  <a:gd name="T10" fmla="*/ 12 w 12"/>
                  <a:gd name="T11" fmla="*/ 4 h 4"/>
                  <a:gd name="T12" fmla="*/ 0 w 1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83" name="Freeform 1386">
                <a:extLst>
                  <a:ext uri="{FF2B5EF4-FFF2-40B4-BE49-F238E27FC236}">
                    <a16:creationId xmlns:a16="http://schemas.microsoft.com/office/drawing/2014/main" id="{57D90377-462F-4488-A9D8-8CFC428C8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809"/>
                <a:ext cx="0" cy="7"/>
              </a:xfrm>
              <a:custGeom>
                <a:avLst/>
                <a:gdLst>
                  <a:gd name="T0" fmla="*/ 0 h 7"/>
                  <a:gd name="T1" fmla="*/ 5 h 7"/>
                  <a:gd name="T2" fmla="*/ 7 h 7"/>
                  <a:gd name="T3" fmla="*/ 5 h 7"/>
                  <a:gd name="T4" fmla="*/ 0 h 7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7">
                    <a:moveTo>
                      <a:pt x="0" y="0"/>
                    </a:moveTo>
                    <a:lnTo>
                      <a:pt x="0" y="5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84" name="Freeform 1387">
                <a:extLst>
                  <a:ext uri="{FF2B5EF4-FFF2-40B4-BE49-F238E27FC236}">
                    <a16:creationId xmlns:a16="http://schemas.microsoft.com/office/drawing/2014/main" id="{989440C8-7961-4ED6-97BF-134CC961D8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8" y="2785"/>
                <a:ext cx="8" cy="8"/>
              </a:xfrm>
              <a:custGeom>
                <a:avLst/>
                <a:gdLst>
                  <a:gd name="T0" fmla="*/ 6 w 8"/>
                  <a:gd name="T1" fmla="*/ 2 h 8"/>
                  <a:gd name="T2" fmla="*/ 8 w 8"/>
                  <a:gd name="T3" fmla="*/ 8 h 8"/>
                  <a:gd name="T4" fmla="*/ 6 w 8"/>
                  <a:gd name="T5" fmla="*/ 2 h 8"/>
                  <a:gd name="T6" fmla="*/ 2 w 8"/>
                  <a:gd name="T7" fmla="*/ 0 h 8"/>
                  <a:gd name="T8" fmla="*/ 0 w 8"/>
                  <a:gd name="T9" fmla="*/ 0 h 8"/>
                  <a:gd name="T10" fmla="*/ 2 w 8"/>
                  <a:gd name="T11" fmla="*/ 0 h 8"/>
                  <a:gd name="T12" fmla="*/ 6 w 8"/>
                  <a:gd name="T1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6" y="2"/>
                    </a:moveTo>
                    <a:lnTo>
                      <a:pt x="8" y="8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85" name="Freeform 1388">
                <a:extLst>
                  <a:ext uri="{FF2B5EF4-FFF2-40B4-BE49-F238E27FC236}">
                    <a16:creationId xmlns:a16="http://schemas.microsoft.com/office/drawing/2014/main" id="{6A75DDEB-14C4-463A-A29D-6D4B42E530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799"/>
                <a:ext cx="2" cy="4"/>
              </a:xfrm>
              <a:custGeom>
                <a:avLst/>
                <a:gdLst>
                  <a:gd name="T0" fmla="*/ 0 w 2"/>
                  <a:gd name="T1" fmla="*/ 2 h 4"/>
                  <a:gd name="T2" fmla="*/ 2 w 2"/>
                  <a:gd name="T3" fmla="*/ 0 h 4"/>
                  <a:gd name="T4" fmla="*/ 2 w 2"/>
                  <a:gd name="T5" fmla="*/ 0 h 4"/>
                  <a:gd name="T6" fmla="*/ 0 w 2"/>
                  <a:gd name="T7" fmla="*/ 2 h 4"/>
                  <a:gd name="T8" fmla="*/ 0 w 2"/>
                  <a:gd name="T9" fmla="*/ 4 h 4"/>
                  <a:gd name="T10" fmla="*/ 0 w 2"/>
                  <a:gd name="T11" fmla="*/ 4 h 4"/>
                  <a:gd name="T12" fmla="*/ 0 w 2"/>
                  <a:gd name="T13" fmla="*/ 4 h 4"/>
                  <a:gd name="T14" fmla="*/ 0 w 2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86" name="Rectangle 1389">
                <a:extLst>
                  <a:ext uri="{FF2B5EF4-FFF2-40B4-BE49-F238E27FC236}">
                    <a16:creationId xmlns:a16="http://schemas.microsoft.com/office/drawing/2014/main" id="{3A2E52EC-3AF8-41FF-94E1-AC40BEF545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9" y="280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87" name="Freeform 1390">
                <a:extLst>
                  <a:ext uri="{FF2B5EF4-FFF2-40B4-BE49-F238E27FC236}">
                    <a16:creationId xmlns:a16="http://schemas.microsoft.com/office/drawing/2014/main" id="{D47122AA-6A15-46A4-97CC-EF4F996EFA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5" y="2779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88" name="Freeform 1391">
                <a:extLst>
                  <a:ext uri="{FF2B5EF4-FFF2-40B4-BE49-F238E27FC236}">
                    <a16:creationId xmlns:a16="http://schemas.microsoft.com/office/drawing/2014/main" id="{0EB4C78F-7587-4CA2-8A23-4E6F233C59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0" y="2816"/>
                <a:ext cx="14" cy="2"/>
              </a:xfrm>
              <a:custGeom>
                <a:avLst/>
                <a:gdLst>
                  <a:gd name="T0" fmla="*/ 10 w 14"/>
                  <a:gd name="T1" fmla="*/ 0 h 2"/>
                  <a:gd name="T2" fmla="*/ 14 w 14"/>
                  <a:gd name="T3" fmla="*/ 0 h 2"/>
                  <a:gd name="T4" fmla="*/ 10 w 14"/>
                  <a:gd name="T5" fmla="*/ 0 h 2"/>
                  <a:gd name="T6" fmla="*/ 4 w 14"/>
                  <a:gd name="T7" fmla="*/ 2 h 2"/>
                  <a:gd name="T8" fmla="*/ 0 w 14"/>
                  <a:gd name="T9" fmla="*/ 0 h 2"/>
                  <a:gd name="T10" fmla="*/ 4 w 14"/>
                  <a:gd name="T11" fmla="*/ 2 h 2"/>
                  <a:gd name="T12" fmla="*/ 10 w 1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">
                    <a:moveTo>
                      <a:pt x="10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89" name="Freeform 1392">
                <a:extLst>
                  <a:ext uri="{FF2B5EF4-FFF2-40B4-BE49-F238E27FC236}">
                    <a16:creationId xmlns:a16="http://schemas.microsoft.com/office/drawing/2014/main" id="{18D6B0EE-C8A1-46E7-BDBE-22EFAF38C1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3" y="2773"/>
                <a:ext cx="6" cy="4"/>
              </a:xfrm>
              <a:custGeom>
                <a:avLst/>
                <a:gdLst>
                  <a:gd name="T0" fmla="*/ 6 w 6"/>
                  <a:gd name="T1" fmla="*/ 4 h 4"/>
                  <a:gd name="T2" fmla="*/ 2 w 6"/>
                  <a:gd name="T3" fmla="*/ 4 h 4"/>
                  <a:gd name="T4" fmla="*/ 0 w 6"/>
                  <a:gd name="T5" fmla="*/ 0 h 4"/>
                  <a:gd name="T6" fmla="*/ 0 w 6"/>
                  <a:gd name="T7" fmla="*/ 0 h 4"/>
                  <a:gd name="T8" fmla="*/ 2 w 6"/>
                  <a:gd name="T9" fmla="*/ 4 h 4"/>
                  <a:gd name="T10" fmla="*/ 6 w 6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6" y="4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90" name="Rectangle 1393">
                <a:extLst>
                  <a:ext uri="{FF2B5EF4-FFF2-40B4-BE49-F238E27FC236}">
                    <a16:creationId xmlns:a16="http://schemas.microsoft.com/office/drawing/2014/main" id="{3141DD96-036F-4163-8C1A-E2DCDCDBC7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3" y="2783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91" name="Freeform 1394">
                <a:extLst>
                  <a:ext uri="{FF2B5EF4-FFF2-40B4-BE49-F238E27FC236}">
                    <a16:creationId xmlns:a16="http://schemas.microsoft.com/office/drawing/2014/main" id="{C062AE1F-C7E0-4EAE-AB3C-7FB9CA183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9" y="2785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92" name="Freeform 1395">
                <a:extLst>
                  <a:ext uri="{FF2B5EF4-FFF2-40B4-BE49-F238E27FC236}">
                    <a16:creationId xmlns:a16="http://schemas.microsoft.com/office/drawing/2014/main" id="{F466905E-4749-44EC-ACA9-E71BA81E9B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5" y="2777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2 h 2"/>
                  <a:gd name="T4" fmla="*/ 4 w 4"/>
                  <a:gd name="T5" fmla="*/ 0 h 2"/>
                  <a:gd name="T6" fmla="*/ 2 w 4"/>
                  <a:gd name="T7" fmla="*/ 0 h 2"/>
                  <a:gd name="T8" fmla="*/ 0 w 4"/>
                  <a:gd name="T9" fmla="*/ 0 h 2"/>
                  <a:gd name="T10" fmla="*/ 2 w 4"/>
                  <a:gd name="T11" fmla="*/ 0 h 2"/>
                  <a:gd name="T12" fmla="*/ 4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93" name="Freeform 1396">
                <a:extLst>
                  <a:ext uri="{FF2B5EF4-FFF2-40B4-BE49-F238E27FC236}">
                    <a16:creationId xmlns:a16="http://schemas.microsoft.com/office/drawing/2014/main" id="{5BE91176-0855-4058-A643-BCC93DC4CE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789"/>
                <a:ext cx="2" cy="6"/>
              </a:xfrm>
              <a:custGeom>
                <a:avLst/>
                <a:gdLst>
                  <a:gd name="T0" fmla="*/ 0 w 2"/>
                  <a:gd name="T1" fmla="*/ 0 h 6"/>
                  <a:gd name="T2" fmla="*/ 2 w 2"/>
                  <a:gd name="T3" fmla="*/ 2 h 6"/>
                  <a:gd name="T4" fmla="*/ 2 w 2"/>
                  <a:gd name="T5" fmla="*/ 6 h 6"/>
                  <a:gd name="T6" fmla="*/ 2 w 2"/>
                  <a:gd name="T7" fmla="*/ 2 h 6"/>
                  <a:gd name="T8" fmla="*/ 0 w 2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0" y="0"/>
                    </a:moveTo>
                    <a:lnTo>
                      <a:pt x="2" y="2"/>
                    </a:lnTo>
                    <a:lnTo>
                      <a:pt x="2" y="6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94" name="Freeform 1397">
                <a:extLst>
                  <a:ext uri="{FF2B5EF4-FFF2-40B4-BE49-F238E27FC236}">
                    <a16:creationId xmlns:a16="http://schemas.microsoft.com/office/drawing/2014/main" id="{9FF8B4A5-4C38-4828-98B4-2C4B51365B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" y="2779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2 w 4"/>
                  <a:gd name="T3" fmla="*/ 0 h 2"/>
                  <a:gd name="T4" fmla="*/ 4 w 4"/>
                  <a:gd name="T5" fmla="*/ 0 h 2"/>
                  <a:gd name="T6" fmla="*/ 4 w 4"/>
                  <a:gd name="T7" fmla="*/ 0 h 2"/>
                  <a:gd name="T8" fmla="*/ 4 w 4"/>
                  <a:gd name="T9" fmla="*/ 0 h 2"/>
                  <a:gd name="T10" fmla="*/ 2 w 4"/>
                  <a:gd name="T11" fmla="*/ 0 h 2"/>
                  <a:gd name="T12" fmla="*/ 2 w 4"/>
                  <a:gd name="T13" fmla="*/ 0 h 2"/>
                  <a:gd name="T14" fmla="*/ 0 w 4"/>
                  <a:gd name="T15" fmla="*/ 2 h 2"/>
                  <a:gd name="T16" fmla="*/ 0 w 4"/>
                  <a:gd name="T17" fmla="*/ 2 h 2"/>
                  <a:gd name="T18" fmla="*/ 0 w 4"/>
                  <a:gd name="T19" fmla="*/ 2 h 2"/>
                  <a:gd name="T20" fmla="*/ 2 w 4"/>
                  <a:gd name="T2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95" name="Freeform 1398">
                <a:extLst>
                  <a:ext uri="{FF2B5EF4-FFF2-40B4-BE49-F238E27FC236}">
                    <a16:creationId xmlns:a16="http://schemas.microsoft.com/office/drawing/2014/main" id="{3ACA4941-30E3-4E27-92C0-CD6E26EA99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1" y="2775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96" name="Freeform 1399">
                <a:extLst>
                  <a:ext uri="{FF2B5EF4-FFF2-40B4-BE49-F238E27FC236}">
                    <a16:creationId xmlns:a16="http://schemas.microsoft.com/office/drawing/2014/main" id="{E002D632-A27B-4E63-822F-D96CBF2F82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1" y="3045"/>
                <a:ext cx="14" cy="6"/>
              </a:xfrm>
              <a:custGeom>
                <a:avLst/>
                <a:gdLst>
                  <a:gd name="T0" fmla="*/ 10 w 14"/>
                  <a:gd name="T1" fmla="*/ 2 h 6"/>
                  <a:gd name="T2" fmla="*/ 12 w 14"/>
                  <a:gd name="T3" fmla="*/ 4 h 6"/>
                  <a:gd name="T4" fmla="*/ 14 w 14"/>
                  <a:gd name="T5" fmla="*/ 6 h 6"/>
                  <a:gd name="T6" fmla="*/ 12 w 14"/>
                  <a:gd name="T7" fmla="*/ 4 h 6"/>
                  <a:gd name="T8" fmla="*/ 10 w 14"/>
                  <a:gd name="T9" fmla="*/ 2 h 6"/>
                  <a:gd name="T10" fmla="*/ 0 w 14"/>
                  <a:gd name="T11" fmla="*/ 0 h 6"/>
                  <a:gd name="T12" fmla="*/ 0 w 14"/>
                  <a:gd name="T13" fmla="*/ 0 h 6"/>
                  <a:gd name="T14" fmla="*/ 10 w 14"/>
                  <a:gd name="T1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6">
                    <a:moveTo>
                      <a:pt x="10" y="2"/>
                    </a:moveTo>
                    <a:lnTo>
                      <a:pt x="12" y="4"/>
                    </a:lnTo>
                    <a:lnTo>
                      <a:pt x="14" y="6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97" name="Freeform 1400">
                <a:extLst>
                  <a:ext uri="{FF2B5EF4-FFF2-40B4-BE49-F238E27FC236}">
                    <a16:creationId xmlns:a16="http://schemas.microsoft.com/office/drawing/2014/main" id="{3460A98B-AB2E-4202-8958-2D74C4C8FF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8" y="2986"/>
                <a:ext cx="6" cy="6"/>
              </a:xfrm>
              <a:custGeom>
                <a:avLst/>
                <a:gdLst>
                  <a:gd name="T0" fmla="*/ 4 w 6"/>
                  <a:gd name="T1" fmla="*/ 0 h 6"/>
                  <a:gd name="T2" fmla="*/ 6 w 6"/>
                  <a:gd name="T3" fmla="*/ 0 h 6"/>
                  <a:gd name="T4" fmla="*/ 6 w 6"/>
                  <a:gd name="T5" fmla="*/ 0 h 6"/>
                  <a:gd name="T6" fmla="*/ 6 w 6"/>
                  <a:gd name="T7" fmla="*/ 0 h 6"/>
                  <a:gd name="T8" fmla="*/ 4 w 6"/>
                  <a:gd name="T9" fmla="*/ 0 h 6"/>
                  <a:gd name="T10" fmla="*/ 0 w 6"/>
                  <a:gd name="T11" fmla="*/ 4 h 6"/>
                  <a:gd name="T12" fmla="*/ 0 w 6"/>
                  <a:gd name="T13" fmla="*/ 6 h 6"/>
                  <a:gd name="T14" fmla="*/ 0 w 6"/>
                  <a:gd name="T15" fmla="*/ 4 h 6"/>
                  <a:gd name="T16" fmla="*/ 4 w 6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98" name="Freeform 1401">
                <a:extLst>
                  <a:ext uri="{FF2B5EF4-FFF2-40B4-BE49-F238E27FC236}">
                    <a16:creationId xmlns:a16="http://schemas.microsoft.com/office/drawing/2014/main" id="{D0953BC5-0085-424C-A8E3-61DF612685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2" y="2965"/>
                <a:ext cx="0" cy="8"/>
              </a:xfrm>
              <a:custGeom>
                <a:avLst/>
                <a:gdLst>
                  <a:gd name="T0" fmla="*/ 8 h 8"/>
                  <a:gd name="T1" fmla="*/ 8 h 8"/>
                  <a:gd name="T2" fmla="*/ 4 h 8"/>
                  <a:gd name="T3" fmla="*/ 0 h 8"/>
                  <a:gd name="T4" fmla="*/ 0 h 8"/>
                  <a:gd name="T5" fmla="*/ 4 h 8"/>
                  <a:gd name="T6" fmla="*/ 8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8">
                    <a:moveTo>
                      <a:pt x="0" y="8"/>
                    </a:moveTo>
                    <a:lnTo>
                      <a:pt x="0" y="8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699" name="Freeform 1402">
                <a:extLst>
                  <a:ext uri="{FF2B5EF4-FFF2-40B4-BE49-F238E27FC236}">
                    <a16:creationId xmlns:a16="http://schemas.microsoft.com/office/drawing/2014/main" id="{4E1A3B59-BC31-457E-9ED1-BAF7C0B704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9" y="2990"/>
                <a:ext cx="4" cy="12"/>
              </a:xfrm>
              <a:custGeom>
                <a:avLst/>
                <a:gdLst>
                  <a:gd name="T0" fmla="*/ 4 w 4"/>
                  <a:gd name="T1" fmla="*/ 12 h 12"/>
                  <a:gd name="T2" fmla="*/ 4 w 4"/>
                  <a:gd name="T3" fmla="*/ 12 h 12"/>
                  <a:gd name="T4" fmla="*/ 4 w 4"/>
                  <a:gd name="T5" fmla="*/ 12 h 12"/>
                  <a:gd name="T6" fmla="*/ 2 w 4"/>
                  <a:gd name="T7" fmla="*/ 2 h 12"/>
                  <a:gd name="T8" fmla="*/ 0 w 4"/>
                  <a:gd name="T9" fmla="*/ 0 h 12"/>
                  <a:gd name="T10" fmla="*/ 2 w 4"/>
                  <a:gd name="T11" fmla="*/ 2 h 12"/>
                  <a:gd name="T12" fmla="*/ 4 w 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2">
                    <a:moveTo>
                      <a:pt x="4" y="12"/>
                    </a:moveTo>
                    <a:lnTo>
                      <a:pt x="4" y="12"/>
                    </a:lnTo>
                    <a:lnTo>
                      <a:pt x="4" y="1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00" name="Freeform 1403">
                <a:extLst>
                  <a:ext uri="{FF2B5EF4-FFF2-40B4-BE49-F238E27FC236}">
                    <a16:creationId xmlns:a16="http://schemas.microsoft.com/office/drawing/2014/main" id="{DE11EAC6-69FB-44DF-BA5C-EA00007E1B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3" y="2850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01" name="Freeform 1404">
                <a:extLst>
                  <a:ext uri="{FF2B5EF4-FFF2-40B4-BE49-F238E27FC236}">
                    <a16:creationId xmlns:a16="http://schemas.microsoft.com/office/drawing/2014/main" id="{48F4DDAC-8292-468E-9160-5CE76D63B5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0" y="2832"/>
                <a:ext cx="41" cy="14"/>
              </a:xfrm>
              <a:custGeom>
                <a:avLst/>
                <a:gdLst>
                  <a:gd name="T0" fmla="*/ 39 w 41"/>
                  <a:gd name="T1" fmla="*/ 12 h 14"/>
                  <a:gd name="T2" fmla="*/ 41 w 41"/>
                  <a:gd name="T3" fmla="*/ 14 h 14"/>
                  <a:gd name="T4" fmla="*/ 39 w 41"/>
                  <a:gd name="T5" fmla="*/ 12 h 14"/>
                  <a:gd name="T6" fmla="*/ 5 w 41"/>
                  <a:gd name="T7" fmla="*/ 0 h 14"/>
                  <a:gd name="T8" fmla="*/ 0 w 41"/>
                  <a:gd name="T9" fmla="*/ 2 h 14"/>
                  <a:gd name="T10" fmla="*/ 0 w 41"/>
                  <a:gd name="T11" fmla="*/ 2 h 14"/>
                  <a:gd name="T12" fmla="*/ 5 w 41"/>
                  <a:gd name="T13" fmla="*/ 0 h 14"/>
                  <a:gd name="T14" fmla="*/ 39 w 41"/>
                  <a:gd name="T15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14">
                    <a:moveTo>
                      <a:pt x="39" y="12"/>
                    </a:moveTo>
                    <a:lnTo>
                      <a:pt x="41" y="14"/>
                    </a:lnTo>
                    <a:lnTo>
                      <a:pt x="39" y="12"/>
                    </a:lnTo>
                    <a:lnTo>
                      <a:pt x="5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5" y="0"/>
                    </a:lnTo>
                    <a:lnTo>
                      <a:pt x="39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02" name="Freeform 1405">
                <a:extLst>
                  <a:ext uri="{FF2B5EF4-FFF2-40B4-BE49-F238E27FC236}">
                    <a16:creationId xmlns:a16="http://schemas.microsoft.com/office/drawing/2014/main" id="{F1EB64A2-D21B-4424-BDA1-363D57E203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9" y="2982"/>
                <a:ext cx="0" cy="4"/>
              </a:xfrm>
              <a:custGeom>
                <a:avLst/>
                <a:gdLst>
                  <a:gd name="T0" fmla="*/ 4 h 4"/>
                  <a:gd name="T1" fmla="*/ 0 h 4"/>
                  <a:gd name="T2" fmla="*/ 0 h 4"/>
                  <a:gd name="T3" fmla="*/ 0 h 4"/>
                  <a:gd name="T4" fmla="*/ 4 h 4"/>
                  <a:gd name="T5" fmla="*/ 4 h 4"/>
                  <a:gd name="T6" fmla="*/ 4 h 4"/>
                  <a:gd name="T7" fmla="*/ 4 h 4"/>
                  <a:gd name="T8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03" name="Freeform 1406">
                <a:extLst>
                  <a:ext uri="{FF2B5EF4-FFF2-40B4-BE49-F238E27FC236}">
                    <a16:creationId xmlns:a16="http://schemas.microsoft.com/office/drawing/2014/main" id="{4A72700A-EFA3-4425-8650-885B4C9F6C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6" y="2992"/>
                <a:ext cx="8" cy="2"/>
              </a:xfrm>
              <a:custGeom>
                <a:avLst/>
                <a:gdLst>
                  <a:gd name="T0" fmla="*/ 4 w 8"/>
                  <a:gd name="T1" fmla="*/ 0 h 2"/>
                  <a:gd name="T2" fmla="*/ 6 w 8"/>
                  <a:gd name="T3" fmla="*/ 2 h 2"/>
                  <a:gd name="T4" fmla="*/ 8 w 8"/>
                  <a:gd name="T5" fmla="*/ 0 h 2"/>
                  <a:gd name="T6" fmla="*/ 6 w 8"/>
                  <a:gd name="T7" fmla="*/ 2 h 2"/>
                  <a:gd name="T8" fmla="*/ 4 w 8"/>
                  <a:gd name="T9" fmla="*/ 0 h 2"/>
                  <a:gd name="T10" fmla="*/ 0 w 8"/>
                  <a:gd name="T11" fmla="*/ 2 h 2"/>
                  <a:gd name="T12" fmla="*/ 0 w 8"/>
                  <a:gd name="T13" fmla="*/ 2 h 2"/>
                  <a:gd name="T14" fmla="*/ 0 w 8"/>
                  <a:gd name="T15" fmla="*/ 2 h 2"/>
                  <a:gd name="T16" fmla="*/ 4 w 8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2">
                    <a:moveTo>
                      <a:pt x="4" y="0"/>
                    </a:moveTo>
                    <a:lnTo>
                      <a:pt x="6" y="2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04" name="Freeform 1407">
                <a:extLst>
                  <a:ext uri="{FF2B5EF4-FFF2-40B4-BE49-F238E27FC236}">
                    <a16:creationId xmlns:a16="http://schemas.microsoft.com/office/drawing/2014/main" id="{38FFC7AF-29A1-4823-B7B2-BD4F420E00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8" y="3000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05" name="Freeform 1408">
                <a:extLst>
                  <a:ext uri="{FF2B5EF4-FFF2-40B4-BE49-F238E27FC236}">
                    <a16:creationId xmlns:a16="http://schemas.microsoft.com/office/drawing/2014/main" id="{67EDB39F-DA42-4D80-B1E6-9B62C3FB7B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5" y="3008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2 w 4"/>
                  <a:gd name="T3" fmla="*/ 2 h 4"/>
                  <a:gd name="T4" fmla="*/ 0 w 4"/>
                  <a:gd name="T5" fmla="*/ 0 h 4"/>
                  <a:gd name="T6" fmla="*/ 2 w 4"/>
                  <a:gd name="T7" fmla="*/ 2 h 4"/>
                  <a:gd name="T8" fmla="*/ 4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06" name="Freeform 1409">
                <a:extLst>
                  <a:ext uri="{FF2B5EF4-FFF2-40B4-BE49-F238E27FC236}">
                    <a16:creationId xmlns:a16="http://schemas.microsoft.com/office/drawing/2014/main" id="{1444F561-5BC7-497D-B700-12C96AE6C6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" y="3018"/>
                <a:ext cx="7" cy="0"/>
              </a:xfrm>
              <a:custGeom>
                <a:avLst/>
                <a:gdLst>
                  <a:gd name="T0" fmla="*/ 7 w 7"/>
                  <a:gd name="T1" fmla="*/ 2 w 7"/>
                  <a:gd name="T2" fmla="*/ 0 w 7"/>
                  <a:gd name="T3" fmla="*/ 2 w 7"/>
                  <a:gd name="T4" fmla="*/ 7 w 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7">
                    <a:moveTo>
                      <a:pt x="7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  <p:sp>
            <p:nvSpPr>
              <p:cNvPr id="707" name="Freeform 1410">
                <a:extLst>
                  <a:ext uri="{FF2B5EF4-FFF2-40B4-BE49-F238E27FC236}">
                    <a16:creationId xmlns:a16="http://schemas.microsoft.com/office/drawing/2014/main" id="{C8896424-7CF6-4F58-8AC3-4F8CB99C9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4" y="3006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da-DK" sz="919"/>
              </a:p>
            </p:txBody>
          </p:sp>
        </p:grpSp>
        <p:sp>
          <p:nvSpPr>
            <p:cNvPr id="348" name="Rectangle 1412">
              <a:extLst>
                <a:ext uri="{FF2B5EF4-FFF2-40B4-BE49-F238E27FC236}">
                  <a16:creationId xmlns:a16="http://schemas.microsoft.com/office/drawing/2014/main" id="{C3123FD4-7B25-402B-9444-285EEDA30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9333" y="4515212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49" name="Freeform 1413">
              <a:extLst>
                <a:ext uri="{FF2B5EF4-FFF2-40B4-BE49-F238E27FC236}">
                  <a16:creationId xmlns:a16="http://schemas.microsoft.com/office/drawing/2014/main" id="{536429FB-068A-4B5C-BEC7-869CCC4AE7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3683" y="4704184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0 w 2"/>
                <a:gd name="T5" fmla="*/ 2 h 2"/>
                <a:gd name="T6" fmla="*/ 2 w 2"/>
                <a:gd name="T7" fmla="*/ 0 h 2"/>
                <a:gd name="T8" fmla="*/ 2 w 2"/>
                <a:gd name="T9" fmla="*/ 0 h 2"/>
                <a:gd name="T10" fmla="*/ 2 w 2"/>
                <a:gd name="T11" fmla="*/ 0 h 2"/>
                <a:gd name="T12" fmla="*/ 0 w 2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50" name="Freeform 1414">
              <a:extLst>
                <a:ext uri="{FF2B5EF4-FFF2-40B4-BE49-F238E27FC236}">
                  <a16:creationId xmlns:a16="http://schemas.microsoft.com/office/drawing/2014/main" id="{1395373E-A5E3-46EF-A6C0-7316819C6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8895" y="4651780"/>
              <a:ext cx="15875" cy="3176"/>
            </a:xfrm>
            <a:custGeom>
              <a:avLst/>
              <a:gdLst>
                <a:gd name="T0" fmla="*/ 4 w 10"/>
                <a:gd name="T1" fmla="*/ 0 h 2"/>
                <a:gd name="T2" fmla="*/ 10 w 10"/>
                <a:gd name="T3" fmla="*/ 2 h 2"/>
                <a:gd name="T4" fmla="*/ 4 w 10"/>
                <a:gd name="T5" fmla="*/ 0 h 2"/>
                <a:gd name="T6" fmla="*/ 0 w 10"/>
                <a:gd name="T7" fmla="*/ 0 h 2"/>
                <a:gd name="T8" fmla="*/ 0 w 10"/>
                <a:gd name="T9" fmla="*/ 0 h 2"/>
                <a:gd name="T10" fmla="*/ 0 w 10"/>
                <a:gd name="T11" fmla="*/ 0 h 2"/>
                <a:gd name="T12" fmla="*/ 4 w 10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">
                  <a:moveTo>
                    <a:pt x="4" y="0"/>
                  </a:moveTo>
                  <a:lnTo>
                    <a:pt x="10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51" name="Rectangle 1415">
              <a:extLst>
                <a:ext uri="{FF2B5EF4-FFF2-40B4-BE49-F238E27FC236}">
                  <a16:creationId xmlns:a16="http://schemas.microsoft.com/office/drawing/2014/main" id="{45DC103D-8FAE-4C2C-A2BC-BEBC1640FE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3346" y="4666072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52" name="Freeform 1416">
              <a:extLst>
                <a:ext uri="{FF2B5EF4-FFF2-40B4-BE49-F238E27FC236}">
                  <a16:creationId xmlns:a16="http://schemas.microsoft.com/office/drawing/2014/main" id="{6234BD2E-D2B8-43CF-9AE0-33F79975F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9221" y="4666072"/>
              <a:ext cx="3175" cy="3176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2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0 h 2"/>
                <a:gd name="T10" fmla="*/ 2 w 2"/>
                <a:gd name="T11" fmla="*/ 0 h 2"/>
                <a:gd name="T12" fmla="*/ 2 w 2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53" name="Freeform 1417">
              <a:extLst>
                <a:ext uri="{FF2B5EF4-FFF2-40B4-BE49-F238E27FC236}">
                  <a16:creationId xmlns:a16="http://schemas.microsoft.com/office/drawing/2014/main" id="{2D65DCD9-7A2C-4F91-85FE-1673DA14F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8207" y="4499332"/>
              <a:ext cx="3175" cy="3176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0 w 2"/>
                <a:gd name="T5" fmla="*/ 2 h 2"/>
                <a:gd name="T6" fmla="*/ 2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54" name="Freeform 1418">
              <a:extLst>
                <a:ext uri="{FF2B5EF4-FFF2-40B4-BE49-F238E27FC236}">
                  <a16:creationId xmlns:a16="http://schemas.microsoft.com/office/drawing/2014/main" id="{18387C79-BEA7-413E-A2E6-DB0A71779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7158" y="4685128"/>
              <a:ext cx="31750" cy="9528"/>
            </a:xfrm>
            <a:custGeom>
              <a:avLst/>
              <a:gdLst>
                <a:gd name="T0" fmla="*/ 6 w 20"/>
                <a:gd name="T1" fmla="*/ 4 h 6"/>
                <a:gd name="T2" fmla="*/ 10 w 20"/>
                <a:gd name="T3" fmla="*/ 4 h 6"/>
                <a:gd name="T4" fmla="*/ 18 w 20"/>
                <a:gd name="T5" fmla="*/ 4 h 6"/>
                <a:gd name="T6" fmla="*/ 20 w 20"/>
                <a:gd name="T7" fmla="*/ 6 h 6"/>
                <a:gd name="T8" fmla="*/ 18 w 20"/>
                <a:gd name="T9" fmla="*/ 4 h 6"/>
                <a:gd name="T10" fmla="*/ 10 w 20"/>
                <a:gd name="T11" fmla="*/ 4 h 6"/>
                <a:gd name="T12" fmla="*/ 6 w 20"/>
                <a:gd name="T13" fmla="*/ 4 h 6"/>
                <a:gd name="T14" fmla="*/ 0 w 20"/>
                <a:gd name="T15" fmla="*/ 0 h 6"/>
                <a:gd name="T16" fmla="*/ 0 w 20"/>
                <a:gd name="T17" fmla="*/ 0 h 6"/>
                <a:gd name="T18" fmla="*/ 6 w 20"/>
                <a:gd name="T1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6">
                  <a:moveTo>
                    <a:pt x="6" y="4"/>
                  </a:moveTo>
                  <a:lnTo>
                    <a:pt x="10" y="4"/>
                  </a:lnTo>
                  <a:lnTo>
                    <a:pt x="18" y="4"/>
                  </a:lnTo>
                  <a:lnTo>
                    <a:pt x="20" y="6"/>
                  </a:lnTo>
                  <a:lnTo>
                    <a:pt x="18" y="4"/>
                  </a:lnTo>
                  <a:lnTo>
                    <a:pt x="10" y="4"/>
                  </a:lnTo>
                  <a:lnTo>
                    <a:pt x="6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55" name="Freeform 1419">
              <a:extLst>
                <a:ext uri="{FF2B5EF4-FFF2-40B4-BE49-F238E27FC236}">
                  <a16:creationId xmlns:a16="http://schemas.microsoft.com/office/drawing/2014/main" id="{ED2C21D4-A47A-403B-94A5-0A32EBFAC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2396" y="4675600"/>
              <a:ext cx="4763" cy="9528"/>
            </a:xfrm>
            <a:custGeom>
              <a:avLst/>
              <a:gdLst>
                <a:gd name="T0" fmla="*/ 1 w 3"/>
                <a:gd name="T1" fmla="*/ 4 h 6"/>
                <a:gd name="T2" fmla="*/ 3 w 3"/>
                <a:gd name="T3" fmla="*/ 6 h 6"/>
                <a:gd name="T4" fmla="*/ 1 w 3"/>
                <a:gd name="T5" fmla="*/ 4 h 6"/>
                <a:gd name="T6" fmla="*/ 0 w 3"/>
                <a:gd name="T7" fmla="*/ 2 h 6"/>
                <a:gd name="T8" fmla="*/ 0 w 3"/>
                <a:gd name="T9" fmla="*/ 0 h 6"/>
                <a:gd name="T10" fmla="*/ 0 w 3"/>
                <a:gd name="T11" fmla="*/ 2 h 6"/>
                <a:gd name="T12" fmla="*/ 1 w 3"/>
                <a:gd name="T13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6">
                  <a:moveTo>
                    <a:pt x="1" y="4"/>
                  </a:moveTo>
                  <a:lnTo>
                    <a:pt x="3" y="6"/>
                  </a:lnTo>
                  <a:lnTo>
                    <a:pt x="1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56" name="Freeform 1420">
              <a:extLst>
                <a:ext uri="{FF2B5EF4-FFF2-40B4-BE49-F238E27FC236}">
                  <a16:creationId xmlns:a16="http://schemas.microsoft.com/office/drawing/2014/main" id="{97D60C21-5E50-4BBB-9852-96B8820E1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1595" y="4728004"/>
              <a:ext cx="3175" cy="9528"/>
            </a:xfrm>
            <a:custGeom>
              <a:avLst/>
              <a:gdLst>
                <a:gd name="T0" fmla="*/ 2 w 2"/>
                <a:gd name="T1" fmla="*/ 0 h 6"/>
                <a:gd name="T2" fmla="*/ 2 w 2"/>
                <a:gd name="T3" fmla="*/ 2 h 6"/>
                <a:gd name="T4" fmla="*/ 0 w 2"/>
                <a:gd name="T5" fmla="*/ 6 h 6"/>
                <a:gd name="T6" fmla="*/ 2 w 2"/>
                <a:gd name="T7" fmla="*/ 2 h 6"/>
                <a:gd name="T8" fmla="*/ 2 w 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57" name="Freeform 1421">
              <a:extLst>
                <a:ext uri="{FF2B5EF4-FFF2-40B4-BE49-F238E27FC236}">
                  <a16:creationId xmlns:a16="http://schemas.microsoft.com/office/drawing/2014/main" id="{55680564-59F5-40C3-9575-5D3AD2779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746" y="4694656"/>
              <a:ext cx="4763" cy="3176"/>
            </a:xfrm>
            <a:custGeom>
              <a:avLst/>
              <a:gdLst>
                <a:gd name="T0" fmla="*/ 3 w 3"/>
                <a:gd name="T1" fmla="*/ 2 h 2"/>
                <a:gd name="T2" fmla="*/ 1 w 3"/>
                <a:gd name="T3" fmla="*/ 0 h 2"/>
                <a:gd name="T4" fmla="*/ 0 w 3"/>
                <a:gd name="T5" fmla="*/ 0 h 2"/>
                <a:gd name="T6" fmla="*/ 1 w 3"/>
                <a:gd name="T7" fmla="*/ 0 h 2"/>
                <a:gd name="T8" fmla="*/ 3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58" name="Freeform 1422">
              <a:extLst>
                <a:ext uri="{FF2B5EF4-FFF2-40B4-BE49-F238E27FC236}">
                  <a16:creationId xmlns:a16="http://schemas.microsoft.com/office/drawing/2014/main" id="{1373F367-8609-4221-B9C7-38EA2279EE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8420" y="4707360"/>
              <a:ext cx="3175" cy="14292"/>
            </a:xfrm>
            <a:custGeom>
              <a:avLst/>
              <a:gdLst>
                <a:gd name="T0" fmla="*/ 0 w 2"/>
                <a:gd name="T1" fmla="*/ 4 h 9"/>
                <a:gd name="T2" fmla="*/ 0 w 2"/>
                <a:gd name="T3" fmla="*/ 0 h 9"/>
                <a:gd name="T4" fmla="*/ 0 w 2"/>
                <a:gd name="T5" fmla="*/ 4 h 9"/>
                <a:gd name="T6" fmla="*/ 2 w 2"/>
                <a:gd name="T7" fmla="*/ 9 h 9"/>
                <a:gd name="T8" fmla="*/ 2 w 2"/>
                <a:gd name="T9" fmla="*/ 9 h 9"/>
                <a:gd name="T10" fmla="*/ 2 w 2"/>
                <a:gd name="T11" fmla="*/ 9 h 9"/>
                <a:gd name="T12" fmla="*/ 0 w 2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9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59" name="Freeform 1423">
              <a:extLst>
                <a:ext uri="{FF2B5EF4-FFF2-40B4-BE49-F238E27FC236}">
                  <a16:creationId xmlns:a16="http://schemas.microsoft.com/office/drawing/2014/main" id="{232CA0A8-4075-4595-9AFE-09E4E950A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4133" y="4691480"/>
              <a:ext cx="4763" cy="6352"/>
            </a:xfrm>
            <a:custGeom>
              <a:avLst/>
              <a:gdLst>
                <a:gd name="T0" fmla="*/ 0 w 3"/>
                <a:gd name="T1" fmla="*/ 0 h 4"/>
                <a:gd name="T2" fmla="*/ 1 w 3"/>
                <a:gd name="T3" fmla="*/ 4 h 4"/>
                <a:gd name="T4" fmla="*/ 3 w 3"/>
                <a:gd name="T5" fmla="*/ 4 h 4"/>
                <a:gd name="T6" fmla="*/ 1 w 3"/>
                <a:gd name="T7" fmla="*/ 4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1" y="4"/>
                  </a:lnTo>
                  <a:lnTo>
                    <a:pt x="3" y="4"/>
                  </a:lnTo>
                  <a:lnTo>
                    <a:pt x="1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60" name="Freeform 1424">
              <a:extLst>
                <a:ext uri="{FF2B5EF4-FFF2-40B4-BE49-F238E27FC236}">
                  <a16:creationId xmlns:a16="http://schemas.microsoft.com/office/drawing/2014/main" id="{217D6B1C-699B-4AE4-8C49-85B3E1718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608" y="4645428"/>
              <a:ext cx="9525" cy="3176"/>
            </a:xfrm>
            <a:custGeom>
              <a:avLst/>
              <a:gdLst>
                <a:gd name="T0" fmla="*/ 6 w 6"/>
                <a:gd name="T1" fmla="*/ 2 h 2"/>
                <a:gd name="T2" fmla="*/ 2 w 6"/>
                <a:gd name="T3" fmla="*/ 0 h 2"/>
                <a:gd name="T4" fmla="*/ 0 w 6"/>
                <a:gd name="T5" fmla="*/ 0 h 2"/>
                <a:gd name="T6" fmla="*/ 2 w 6"/>
                <a:gd name="T7" fmla="*/ 0 h 2"/>
                <a:gd name="T8" fmla="*/ 6 w 6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6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61" name="Freeform 1425">
              <a:extLst>
                <a:ext uri="{FF2B5EF4-FFF2-40B4-BE49-F238E27FC236}">
                  <a16:creationId xmlns:a16="http://schemas.microsoft.com/office/drawing/2014/main" id="{473AE2BB-6DE8-45EE-9EB2-8A7915308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1595" y="4734356"/>
              <a:ext cx="0" cy="3176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62" name="Rectangle 1426">
              <a:extLst>
                <a:ext uri="{FF2B5EF4-FFF2-40B4-BE49-F238E27FC236}">
                  <a16:creationId xmlns:a16="http://schemas.microsoft.com/office/drawing/2014/main" id="{8A65ADFE-CB14-4F37-864C-59DBEF72A0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8383" y="454220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63" name="Freeform 1427">
              <a:extLst>
                <a:ext uri="{FF2B5EF4-FFF2-40B4-BE49-F238E27FC236}">
                  <a16:creationId xmlns:a16="http://schemas.microsoft.com/office/drawing/2014/main" id="{0A572996-B65F-4A4B-9AC7-AF30EA854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2683" y="4551736"/>
              <a:ext cx="34925" cy="31760"/>
            </a:xfrm>
            <a:custGeom>
              <a:avLst/>
              <a:gdLst>
                <a:gd name="T0" fmla="*/ 6 w 22"/>
                <a:gd name="T1" fmla="*/ 2 h 20"/>
                <a:gd name="T2" fmla="*/ 22 w 22"/>
                <a:gd name="T3" fmla="*/ 18 h 20"/>
                <a:gd name="T4" fmla="*/ 22 w 22"/>
                <a:gd name="T5" fmla="*/ 20 h 20"/>
                <a:gd name="T6" fmla="*/ 22 w 22"/>
                <a:gd name="T7" fmla="*/ 18 h 20"/>
                <a:gd name="T8" fmla="*/ 6 w 22"/>
                <a:gd name="T9" fmla="*/ 2 h 20"/>
                <a:gd name="T10" fmla="*/ 2 w 22"/>
                <a:gd name="T11" fmla="*/ 0 h 20"/>
                <a:gd name="T12" fmla="*/ 0 w 22"/>
                <a:gd name="T13" fmla="*/ 0 h 20"/>
                <a:gd name="T14" fmla="*/ 2 w 22"/>
                <a:gd name="T15" fmla="*/ 0 h 20"/>
                <a:gd name="T16" fmla="*/ 6 w 22"/>
                <a:gd name="T1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0">
                  <a:moveTo>
                    <a:pt x="6" y="2"/>
                  </a:moveTo>
                  <a:lnTo>
                    <a:pt x="22" y="18"/>
                  </a:lnTo>
                  <a:lnTo>
                    <a:pt x="22" y="20"/>
                  </a:lnTo>
                  <a:lnTo>
                    <a:pt x="22" y="18"/>
                  </a:lnTo>
                  <a:lnTo>
                    <a:pt x="6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64" name="Freeform 1428">
              <a:extLst>
                <a:ext uri="{FF2B5EF4-FFF2-40B4-BE49-F238E27FC236}">
                  <a16:creationId xmlns:a16="http://schemas.microsoft.com/office/drawing/2014/main" id="{BB3FD937-B9E5-4222-89E7-2342892BD9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8083" y="4597788"/>
              <a:ext cx="3175" cy="12704"/>
            </a:xfrm>
            <a:custGeom>
              <a:avLst/>
              <a:gdLst>
                <a:gd name="T0" fmla="*/ 0 w 2"/>
                <a:gd name="T1" fmla="*/ 0 h 8"/>
                <a:gd name="T2" fmla="*/ 0 w 2"/>
                <a:gd name="T3" fmla="*/ 2 h 8"/>
                <a:gd name="T4" fmla="*/ 0 w 2"/>
                <a:gd name="T5" fmla="*/ 4 h 8"/>
                <a:gd name="T6" fmla="*/ 0 w 2"/>
                <a:gd name="T7" fmla="*/ 6 h 8"/>
                <a:gd name="T8" fmla="*/ 0 w 2"/>
                <a:gd name="T9" fmla="*/ 6 h 8"/>
                <a:gd name="T10" fmla="*/ 0 w 2"/>
                <a:gd name="T11" fmla="*/ 8 h 8"/>
                <a:gd name="T12" fmla="*/ 0 w 2"/>
                <a:gd name="T13" fmla="*/ 8 h 8"/>
                <a:gd name="T14" fmla="*/ 0 w 2"/>
                <a:gd name="T15" fmla="*/ 6 h 8"/>
                <a:gd name="T16" fmla="*/ 0 w 2"/>
                <a:gd name="T17" fmla="*/ 6 h 8"/>
                <a:gd name="T18" fmla="*/ 0 w 2"/>
                <a:gd name="T19" fmla="*/ 4 h 8"/>
                <a:gd name="T20" fmla="*/ 0 w 2"/>
                <a:gd name="T21" fmla="*/ 2 h 8"/>
                <a:gd name="T22" fmla="*/ 0 w 2"/>
                <a:gd name="T23" fmla="*/ 0 h 8"/>
                <a:gd name="T24" fmla="*/ 2 w 2"/>
                <a:gd name="T25" fmla="*/ 0 h 8"/>
                <a:gd name="T26" fmla="*/ 2 w 2"/>
                <a:gd name="T27" fmla="*/ 0 h 8"/>
                <a:gd name="T28" fmla="*/ 2 w 2"/>
                <a:gd name="T29" fmla="*/ 0 h 8"/>
                <a:gd name="T30" fmla="*/ 0 w 2"/>
                <a:gd name="T3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" h="8">
                  <a:moveTo>
                    <a:pt x="0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65" name="Freeform 1429">
              <a:extLst>
                <a:ext uri="{FF2B5EF4-FFF2-40B4-BE49-F238E27FC236}">
                  <a16:creationId xmlns:a16="http://schemas.microsoft.com/office/drawing/2014/main" id="{57823B78-1D00-4710-BDC0-C08B5B92A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9033" y="4620020"/>
              <a:ext cx="9525" cy="0"/>
            </a:xfrm>
            <a:custGeom>
              <a:avLst/>
              <a:gdLst>
                <a:gd name="T0" fmla="*/ 0 w 6"/>
                <a:gd name="T1" fmla="*/ 4 w 6"/>
                <a:gd name="T2" fmla="*/ 6 w 6"/>
                <a:gd name="T3" fmla="*/ 4 w 6"/>
                <a:gd name="T4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4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66" name="Freeform 1430">
              <a:extLst>
                <a:ext uri="{FF2B5EF4-FFF2-40B4-BE49-F238E27FC236}">
                  <a16:creationId xmlns:a16="http://schemas.microsoft.com/office/drawing/2014/main" id="{ED31328E-BEC4-4B66-BD4E-0B85839FE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9983" y="4626372"/>
              <a:ext cx="6350" cy="6352"/>
            </a:xfrm>
            <a:custGeom>
              <a:avLst/>
              <a:gdLst>
                <a:gd name="T0" fmla="*/ 0 w 4"/>
                <a:gd name="T1" fmla="*/ 2 h 4"/>
                <a:gd name="T2" fmla="*/ 0 w 4"/>
                <a:gd name="T3" fmla="*/ 4 h 4"/>
                <a:gd name="T4" fmla="*/ 0 w 4"/>
                <a:gd name="T5" fmla="*/ 2 h 4"/>
                <a:gd name="T6" fmla="*/ 4 w 4"/>
                <a:gd name="T7" fmla="*/ 2 h 4"/>
                <a:gd name="T8" fmla="*/ 4 w 4"/>
                <a:gd name="T9" fmla="*/ 0 h 4"/>
                <a:gd name="T10" fmla="*/ 4 w 4"/>
                <a:gd name="T11" fmla="*/ 2 h 4"/>
                <a:gd name="T12" fmla="*/ 0 w 4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0" y="2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67" name="Freeform 1431">
              <a:extLst>
                <a:ext uri="{FF2B5EF4-FFF2-40B4-BE49-F238E27FC236}">
                  <a16:creationId xmlns:a16="http://schemas.microsoft.com/office/drawing/2014/main" id="{675F7F7D-B098-448B-9E09-CD1059771C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0508" y="4716888"/>
              <a:ext cx="0" cy="4764"/>
            </a:xfrm>
            <a:custGeom>
              <a:avLst/>
              <a:gdLst>
                <a:gd name="T0" fmla="*/ 3 h 3"/>
                <a:gd name="T1" fmla="*/ 2 h 3"/>
                <a:gd name="T2" fmla="*/ 0 h 3"/>
                <a:gd name="T3" fmla="*/ 2 h 3"/>
                <a:gd name="T4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68" name="Freeform 1432">
              <a:extLst>
                <a:ext uri="{FF2B5EF4-FFF2-40B4-BE49-F238E27FC236}">
                  <a16:creationId xmlns:a16="http://schemas.microsoft.com/office/drawing/2014/main" id="{D5A729F2-6C49-4F49-BC63-640F5F13EE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8545" y="4545384"/>
              <a:ext cx="6350" cy="19056"/>
            </a:xfrm>
            <a:custGeom>
              <a:avLst/>
              <a:gdLst>
                <a:gd name="T0" fmla="*/ 2 w 4"/>
                <a:gd name="T1" fmla="*/ 6 h 12"/>
                <a:gd name="T2" fmla="*/ 4 w 4"/>
                <a:gd name="T3" fmla="*/ 10 h 12"/>
                <a:gd name="T4" fmla="*/ 4 w 4"/>
                <a:gd name="T5" fmla="*/ 12 h 12"/>
                <a:gd name="T6" fmla="*/ 4 w 4"/>
                <a:gd name="T7" fmla="*/ 12 h 12"/>
                <a:gd name="T8" fmla="*/ 4 w 4"/>
                <a:gd name="T9" fmla="*/ 10 h 12"/>
                <a:gd name="T10" fmla="*/ 2 w 4"/>
                <a:gd name="T11" fmla="*/ 6 h 12"/>
                <a:gd name="T12" fmla="*/ 2 w 4"/>
                <a:gd name="T13" fmla="*/ 2 h 12"/>
                <a:gd name="T14" fmla="*/ 0 w 4"/>
                <a:gd name="T15" fmla="*/ 0 h 12"/>
                <a:gd name="T16" fmla="*/ 2 w 4"/>
                <a:gd name="T17" fmla="*/ 2 h 12"/>
                <a:gd name="T18" fmla="*/ 2 w 4"/>
                <a:gd name="T1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2">
                  <a:moveTo>
                    <a:pt x="2" y="6"/>
                  </a:moveTo>
                  <a:lnTo>
                    <a:pt x="4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0"/>
                  </a:lnTo>
                  <a:lnTo>
                    <a:pt x="2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69" name="Rectangle 1433">
              <a:extLst>
                <a:ext uri="{FF2B5EF4-FFF2-40B4-BE49-F238E27FC236}">
                  <a16:creationId xmlns:a16="http://schemas.microsoft.com/office/drawing/2014/main" id="{1E780D37-68B0-4E30-83B9-452F738F33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3683" y="472482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70" name="Rectangle 1434">
              <a:extLst>
                <a:ext uri="{FF2B5EF4-FFF2-40B4-BE49-F238E27FC236}">
                  <a16:creationId xmlns:a16="http://schemas.microsoft.com/office/drawing/2014/main" id="{A44D502E-6F00-4993-A6CF-486D560D71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2520" y="4564440"/>
              <a:ext cx="3175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71" name="Freeform 1435">
              <a:extLst>
                <a:ext uri="{FF2B5EF4-FFF2-40B4-BE49-F238E27FC236}">
                  <a16:creationId xmlns:a16="http://schemas.microsoft.com/office/drawing/2014/main" id="{D5190E9F-3756-464A-B5E2-A5C0D8EF38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9020" y="4535856"/>
              <a:ext cx="6350" cy="3176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2 h 2"/>
                <a:gd name="T4" fmla="*/ 0 w 4"/>
                <a:gd name="T5" fmla="*/ 0 h 2"/>
                <a:gd name="T6" fmla="*/ 2 w 4"/>
                <a:gd name="T7" fmla="*/ 2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72" name="Freeform 1436">
              <a:extLst>
                <a:ext uri="{FF2B5EF4-FFF2-40B4-BE49-F238E27FC236}">
                  <a16:creationId xmlns:a16="http://schemas.microsoft.com/office/drawing/2014/main" id="{0B7F73D3-D403-420C-B0CB-69CD8006C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8545" y="4564440"/>
              <a:ext cx="6350" cy="9528"/>
            </a:xfrm>
            <a:custGeom>
              <a:avLst/>
              <a:gdLst>
                <a:gd name="T0" fmla="*/ 0 w 4"/>
                <a:gd name="T1" fmla="*/ 4 h 6"/>
                <a:gd name="T2" fmla="*/ 0 w 4"/>
                <a:gd name="T3" fmla="*/ 4 h 6"/>
                <a:gd name="T4" fmla="*/ 0 w 4"/>
                <a:gd name="T5" fmla="*/ 4 h 6"/>
                <a:gd name="T6" fmla="*/ 0 w 4"/>
                <a:gd name="T7" fmla="*/ 6 h 6"/>
                <a:gd name="T8" fmla="*/ 2 w 4"/>
                <a:gd name="T9" fmla="*/ 6 h 6"/>
                <a:gd name="T10" fmla="*/ 0 w 4"/>
                <a:gd name="T11" fmla="*/ 6 h 6"/>
                <a:gd name="T12" fmla="*/ 0 w 4"/>
                <a:gd name="T13" fmla="*/ 4 h 6"/>
                <a:gd name="T14" fmla="*/ 0 w 4"/>
                <a:gd name="T15" fmla="*/ 4 h 6"/>
                <a:gd name="T16" fmla="*/ 0 w 4"/>
                <a:gd name="T17" fmla="*/ 4 h 6"/>
                <a:gd name="T18" fmla="*/ 0 w 4"/>
                <a:gd name="T19" fmla="*/ 2 h 6"/>
                <a:gd name="T20" fmla="*/ 4 w 4"/>
                <a:gd name="T21" fmla="*/ 0 h 6"/>
                <a:gd name="T22" fmla="*/ 0 w 4"/>
                <a:gd name="T23" fmla="*/ 2 h 6"/>
                <a:gd name="T24" fmla="*/ 0 w 4"/>
                <a:gd name="T2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" h="6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73" name="Freeform 1437">
              <a:extLst>
                <a:ext uri="{FF2B5EF4-FFF2-40B4-BE49-F238E27FC236}">
                  <a16:creationId xmlns:a16="http://schemas.microsoft.com/office/drawing/2014/main" id="{BC4991AC-0641-4E99-9192-51C98790C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871" y="4778820"/>
              <a:ext cx="6350" cy="3176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2 h 2"/>
                <a:gd name="T4" fmla="*/ 0 w 4"/>
                <a:gd name="T5" fmla="*/ 0 h 2"/>
                <a:gd name="T6" fmla="*/ 2 w 4"/>
                <a:gd name="T7" fmla="*/ 2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74" name="Freeform 1438">
              <a:extLst>
                <a:ext uri="{FF2B5EF4-FFF2-40B4-BE49-F238E27FC236}">
                  <a16:creationId xmlns:a16="http://schemas.microsoft.com/office/drawing/2014/main" id="{19D67497-5AE9-4785-BA3A-673F6652C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0508" y="4786760"/>
              <a:ext cx="3175" cy="6352"/>
            </a:xfrm>
            <a:custGeom>
              <a:avLst/>
              <a:gdLst>
                <a:gd name="T0" fmla="*/ 0 w 2"/>
                <a:gd name="T1" fmla="*/ 2 h 4"/>
                <a:gd name="T2" fmla="*/ 2 w 2"/>
                <a:gd name="T3" fmla="*/ 4 h 4"/>
                <a:gd name="T4" fmla="*/ 2 w 2"/>
                <a:gd name="T5" fmla="*/ 4 h 4"/>
                <a:gd name="T6" fmla="*/ 0 w 2"/>
                <a:gd name="T7" fmla="*/ 2 h 4"/>
                <a:gd name="T8" fmla="*/ 2 w 2"/>
                <a:gd name="T9" fmla="*/ 0 h 4"/>
                <a:gd name="T10" fmla="*/ 2 w 2"/>
                <a:gd name="T11" fmla="*/ 0 h 4"/>
                <a:gd name="T12" fmla="*/ 2 w 2"/>
                <a:gd name="T13" fmla="*/ 0 h 4"/>
                <a:gd name="T14" fmla="*/ 0 w 2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75" name="Freeform 1439">
              <a:extLst>
                <a:ext uri="{FF2B5EF4-FFF2-40B4-BE49-F238E27FC236}">
                  <a16:creationId xmlns:a16="http://schemas.microsoft.com/office/drawing/2014/main" id="{EE51EDDE-3C88-4438-8E78-00955D8F3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7283" y="4651780"/>
              <a:ext cx="12700" cy="17468"/>
            </a:xfrm>
            <a:custGeom>
              <a:avLst/>
              <a:gdLst>
                <a:gd name="T0" fmla="*/ 6 w 8"/>
                <a:gd name="T1" fmla="*/ 3 h 11"/>
                <a:gd name="T2" fmla="*/ 8 w 8"/>
                <a:gd name="T3" fmla="*/ 9 h 11"/>
                <a:gd name="T4" fmla="*/ 8 w 8"/>
                <a:gd name="T5" fmla="*/ 11 h 11"/>
                <a:gd name="T6" fmla="*/ 8 w 8"/>
                <a:gd name="T7" fmla="*/ 9 h 11"/>
                <a:gd name="T8" fmla="*/ 6 w 8"/>
                <a:gd name="T9" fmla="*/ 3 h 11"/>
                <a:gd name="T10" fmla="*/ 0 w 8"/>
                <a:gd name="T11" fmla="*/ 2 h 11"/>
                <a:gd name="T12" fmla="*/ 0 w 8"/>
                <a:gd name="T13" fmla="*/ 0 h 11"/>
                <a:gd name="T14" fmla="*/ 0 w 8"/>
                <a:gd name="T15" fmla="*/ 2 h 11"/>
                <a:gd name="T16" fmla="*/ 6 w 8"/>
                <a:gd name="T17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1">
                  <a:moveTo>
                    <a:pt x="6" y="3"/>
                  </a:moveTo>
                  <a:lnTo>
                    <a:pt x="8" y="9"/>
                  </a:lnTo>
                  <a:lnTo>
                    <a:pt x="8" y="11"/>
                  </a:lnTo>
                  <a:lnTo>
                    <a:pt x="8" y="9"/>
                  </a:lnTo>
                  <a:lnTo>
                    <a:pt x="6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6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76" name="Freeform 1440">
              <a:extLst>
                <a:ext uri="{FF2B5EF4-FFF2-40B4-BE49-F238E27FC236}">
                  <a16:creationId xmlns:a16="http://schemas.microsoft.com/office/drawing/2014/main" id="{1ECF1361-38B2-419F-B195-23C4E11D01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9508" y="4669248"/>
              <a:ext cx="15875" cy="0"/>
            </a:xfrm>
            <a:custGeom>
              <a:avLst/>
              <a:gdLst>
                <a:gd name="T0" fmla="*/ 10 w 10"/>
                <a:gd name="T1" fmla="*/ 10 w 10"/>
                <a:gd name="T2" fmla="*/ 10 w 10"/>
                <a:gd name="T3" fmla="*/ 2 w 10"/>
                <a:gd name="T4" fmla="*/ 0 w 10"/>
                <a:gd name="T5" fmla="*/ 2 w 10"/>
                <a:gd name="T6" fmla="*/ 10 w 1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10">
                  <a:moveTo>
                    <a:pt x="10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77" name="Freeform 1441">
              <a:extLst>
                <a:ext uri="{FF2B5EF4-FFF2-40B4-BE49-F238E27FC236}">
                  <a16:creationId xmlns:a16="http://schemas.microsoft.com/office/drawing/2014/main" id="{D0D37E3D-2CA4-4DE6-9E08-61D757055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733" y="4688304"/>
              <a:ext cx="26988" cy="25408"/>
            </a:xfrm>
            <a:custGeom>
              <a:avLst/>
              <a:gdLst>
                <a:gd name="T0" fmla="*/ 10 w 17"/>
                <a:gd name="T1" fmla="*/ 6 h 16"/>
                <a:gd name="T2" fmla="*/ 12 w 17"/>
                <a:gd name="T3" fmla="*/ 8 h 16"/>
                <a:gd name="T4" fmla="*/ 15 w 17"/>
                <a:gd name="T5" fmla="*/ 12 h 16"/>
                <a:gd name="T6" fmla="*/ 17 w 17"/>
                <a:gd name="T7" fmla="*/ 16 h 16"/>
                <a:gd name="T8" fmla="*/ 15 w 17"/>
                <a:gd name="T9" fmla="*/ 12 h 16"/>
                <a:gd name="T10" fmla="*/ 12 w 17"/>
                <a:gd name="T11" fmla="*/ 8 h 16"/>
                <a:gd name="T12" fmla="*/ 10 w 17"/>
                <a:gd name="T13" fmla="*/ 6 h 16"/>
                <a:gd name="T14" fmla="*/ 2 w 17"/>
                <a:gd name="T15" fmla="*/ 2 h 16"/>
                <a:gd name="T16" fmla="*/ 0 w 17"/>
                <a:gd name="T17" fmla="*/ 0 h 16"/>
                <a:gd name="T18" fmla="*/ 2 w 17"/>
                <a:gd name="T19" fmla="*/ 2 h 16"/>
                <a:gd name="T20" fmla="*/ 10 w 17"/>
                <a:gd name="T21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6">
                  <a:moveTo>
                    <a:pt x="10" y="6"/>
                  </a:moveTo>
                  <a:lnTo>
                    <a:pt x="12" y="8"/>
                  </a:lnTo>
                  <a:lnTo>
                    <a:pt x="15" y="12"/>
                  </a:lnTo>
                  <a:lnTo>
                    <a:pt x="17" y="16"/>
                  </a:lnTo>
                  <a:lnTo>
                    <a:pt x="15" y="12"/>
                  </a:lnTo>
                  <a:lnTo>
                    <a:pt x="12" y="8"/>
                  </a:lnTo>
                  <a:lnTo>
                    <a:pt x="10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78" name="Freeform 1442">
              <a:extLst>
                <a:ext uri="{FF2B5EF4-FFF2-40B4-BE49-F238E27FC236}">
                  <a16:creationId xmlns:a16="http://schemas.microsoft.com/office/drawing/2014/main" id="{9B8B5CBF-CC28-46DC-87D5-543C0F7C8C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558" y="4678776"/>
              <a:ext cx="0" cy="6352"/>
            </a:xfrm>
            <a:custGeom>
              <a:avLst/>
              <a:gdLst>
                <a:gd name="T0" fmla="*/ 4 h 4"/>
                <a:gd name="T1" fmla="*/ 4 h 4"/>
                <a:gd name="T2" fmla="*/ 2 h 4"/>
                <a:gd name="T3" fmla="*/ 0 h 4"/>
                <a:gd name="T4" fmla="*/ 2 h 4"/>
                <a:gd name="T5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79" name="Rectangle 1443">
              <a:extLst>
                <a:ext uri="{FF2B5EF4-FFF2-40B4-BE49-F238E27FC236}">
                  <a16:creationId xmlns:a16="http://schemas.microsoft.com/office/drawing/2014/main" id="{B0D6762F-0357-4678-A970-382EBA9D59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0458" y="4635900"/>
              <a:ext cx="1588" cy="3176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80" name="Freeform 1444">
              <a:extLst>
                <a:ext uri="{FF2B5EF4-FFF2-40B4-BE49-F238E27FC236}">
                  <a16:creationId xmlns:a16="http://schemas.microsoft.com/office/drawing/2014/main" id="{19330FB8-3FDC-4C00-9684-2FF3EABC3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2508" y="4521564"/>
              <a:ext cx="12700" cy="20644"/>
            </a:xfrm>
            <a:custGeom>
              <a:avLst/>
              <a:gdLst>
                <a:gd name="T0" fmla="*/ 8 w 8"/>
                <a:gd name="T1" fmla="*/ 13 h 13"/>
                <a:gd name="T2" fmla="*/ 8 w 8"/>
                <a:gd name="T3" fmla="*/ 13 h 13"/>
                <a:gd name="T4" fmla="*/ 8 w 8"/>
                <a:gd name="T5" fmla="*/ 13 h 13"/>
                <a:gd name="T6" fmla="*/ 0 w 8"/>
                <a:gd name="T7" fmla="*/ 0 h 13"/>
                <a:gd name="T8" fmla="*/ 0 w 8"/>
                <a:gd name="T9" fmla="*/ 0 h 13"/>
                <a:gd name="T10" fmla="*/ 0 w 8"/>
                <a:gd name="T11" fmla="*/ 0 h 13"/>
                <a:gd name="T12" fmla="*/ 8 w 8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3">
                  <a:moveTo>
                    <a:pt x="8" y="13"/>
                  </a:moveTo>
                  <a:lnTo>
                    <a:pt x="8" y="13"/>
                  </a:lnTo>
                  <a:lnTo>
                    <a:pt x="8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1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81" name="Freeform 1445">
              <a:extLst>
                <a:ext uri="{FF2B5EF4-FFF2-40B4-BE49-F238E27FC236}">
                  <a16:creationId xmlns:a16="http://schemas.microsoft.com/office/drawing/2014/main" id="{30B1249B-7702-40A4-A275-6806BC81F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7333" y="4743884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82" name="Freeform 1446">
              <a:extLst>
                <a:ext uri="{FF2B5EF4-FFF2-40B4-BE49-F238E27FC236}">
                  <a16:creationId xmlns:a16="http://schemas.microsoft.com/office/drawing/2014/main" id="{BE2B5495-3959-48AB-BA74-5AEE38B8F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7283" y="4642252"/>
              <a:ext cx="3175" cy="0"/>
            </a:xfrm>
            <a:custGeom>
              <a:avLst/>
              <a:gdLst>
                <a:gd name="T0" fmla="*/ 0 w 2"/>
                <a:gd name="T1" fmla="*/ 2 w 2"/>
                <a:gd name="T2" fmla="*/ 0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83" name="Freeform 1447">
              <a:extLst>
                <a:ext uri="{FF2B5EF4-FFF2-40B4-BE49-F238E27FC236}">
                  <a16:creationId xmlns:a16="http://schemas.microsoft.com/office/drawing/2014/main" id="{17011F82-A5E9-4CE6-8E44-AEEF995C1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3683" y="478517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84" name="Freeform 1448">
              <a:extLst>
                <a:ext uri="{FF2B5EF4-FFF2-40B4-BE49-F238E27FC236}">
                  <a16:creationId xmlns:a16="http://schemas.microsoft.com/office/drawing/2014/main" id="{384DF2B7-F818-4C5C-8B2E-DFC702433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5070" y="4721652"/>
              <a:ext cx="9525" cy="15880"/>
            </a:xfrm>
            <a:custGeom>
              <a:avLst/>
              <a:gdLst>
                <a:gd name="T0" fmla="*/ 2 w 6"/>
                <a:gd name="T1" fmla="*/ 4 h 10"/>
                <a:gd name="T2" fmla="*/ 6 w 6"/>
                <a:gd name="T3" fmla="*/ 10 h 10"/>
                <a:gd name="T4" fmla="*/ 2 w 6"/>
                <a:gd name="T5" fmla="*/ 4 h 10"/>
                <a:gd name="T6" fmla="*/ 0 w 6"/>
                <a:gd name="T7" fmla="*/ 0 h 10"/>
                <a:gd name="T8" fmla="*/ 0 w 6"/>
                <a:gd name="T9" fmla="*/ 0 h 10"/>
                <a:gd name="T10" fmla="*/ 0 w 6"/>
                <a:gd name="T11" fmla="*/ 0 h 10"/>
                <a:gd name="T12" fmla="*/ 2 w 6"/>
                <a:gd name="T13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0">
                  <a:moveTo>
                    <a:pt x="2" y="4"/>
                  </a:moveTo>
                  <a:lnTo>
                    <a:pt x="6" y="10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85" name="Freeform 1449">
              <a:extLst>
                <a:ext uri="{FF2B5EF4-FFF2-40B4-BE49-F238E27FC236}">
                  <a16:creationId xmlns:a16="http://schemas.microsoft.com/office/drawing/2014/main" id="{ABA2A9C8-D50C-46B8-937F-8794368DD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5733" y="4694656"/>
              <a:ext cx="3175" cy="6352"/>
            </a:xfrm>
            <a:custGeom>
              <a:avLst/>
              <a:gdLst>
                <a:gd name="T0" fmla="*/ 0 w 2"/>
                <a:gd name="T1" fmla="*/ 2 h 4"/>
                <a:gd name="T2" fmla="*/ 0 w 2"/>
                <a:gd name="T3" fmla="*/ 2 h 4"/>
                <a:gd name="T4" fmla="*/ 2 w 2"/>
                <a:gd name="T5" fmla="*/ 4 h 4"/>
                <a:gd name="T6" fmla="*/ 2 w 2"/>
                <a:gd name="T7" fmla="*/ 4 h 4"/>
                <a:gd name="T8" fmla="*/ 2 w 2"/>
                <a:gd name="T9" fmla="*/ 4 h 4"/>
                <a:gd name="T10" fmla="*/ 0 w 2"/>
                <a:gd name="T11" fmla="*/ 2 h 4"/>
                <a:gd name="T12" fmla="*/ 0 w 2"/>
                <a:gd name="T13" fmla="*/ 2 h 4"/>
                <a:gd name="T14" fmla="*/ 0 w 2"/>
                <a:gd name="T15" fmla="*/ 0 h 4"/>
                <a:gd name="T16" fmla="*/ 0 w 2"/>
                <a:gd name="T17" fmla="*/ 0 h 4"/>
                <a:gd name="T18" fmla="*/ 0 w 2"/>
                <a:gd name="T1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lnTo>
                    <a:pt x="0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86" name="Freeform 1450">
              <a:extLst>
                <a:ext uri="{FF2B5EF4-FFF2-40B4-BE49-F238E27FC236}">
                  <a16:creationId xmlns:a16="http://schemas.microsoft.com/office/drawing/2014/main" id="{AE1167B5-F2FB-4DB7-86F9-A71E1BA02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8908" y="4694656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87" name="Rectangle 1451">
              <a:extLst>
                <a:ext uri="{FF2B5EF4-FFF2-40B4-BE49-F238E27FC236}">
                  <a16:creationId xmlns:a16="http://schemas.microsoft.com/office/drawing/2014/main" id="{8B03A528-C27E-4587-9840-DF87C4B90A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5608" y="485186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88" name="Freeform 1452">
              <a:extLst>
                <a:ext uri="{FF2B5EF4-FFF2-40B4-BE49-F238E27FC236}">
                  <a16:creationId xmlns:a16="http://schemas.microsoft.com/office/drawing/2014/main" id="{53EEAE41-B828-453D-BDD1-39326426E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608" y="4710536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89" name="Freeform 1453">
              <a:extLst>
                <a:ext uri="{FF2B5EF4-FFF2-40B4-BE49-F238E27FC236}">
                  <a16:creationId xmlns:a16="http://schemas.microsoft.com/office/drawing/2014/main" id="{E2CB2CB4-8D11-458E-BA41-5248A6A24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2433" y="4851868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2 w 2"/>
                <a:gd name="T4" fmla="*/ 2 w 2"/>
                <a:gd name="T5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90" name="Freeform 1454">
              <a:extLst>
                <a:ext uri="{FF2B5EF4-FFF2-40B4-BE49-F238E27FC236}">
                  <a16:creationId xmlns:a16="http://schemas.microsoft.com/office/drawing/2014/main" id="{F2F4E93A-13C3-4A57-A432-997C8F226B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1958" y="4851868"/>
              <a:ext cx="22225" cy="6352"/>
            </a:xfrm>
            <a:custGeom>
              <a:avLst/>
              <a:gdLst>
                <a:gd name="T0" fmla="*/ 8 w 14"/>
                <a:gd name="T1" fmla="*/ 2 h 4"/>
                <a:gd name="T2" fmla="*/ 14 w 14"/>
                <a:gd name="T3" fmla="*/ 4 h 4"/>
                <a:gd name="T4" fmla="*/ 8 w 14"/>
                <a:gd name="T5" fmla="*/ 2 h 4"/>
                <a:gd name="T6" fmla="*/ 2 w 14"/>
                <a:gd name="T7" fmla="*/ 0 h 4"/>
                <a:gd name="T8" fmla="*/ 0 w 14"/>
                <a:gd name="T9" fmla="*/ 0 h 4"/>
                <a:gd name="T10" fmla="*/ 2 w 14"/>
                <a:gd name="T11" fmla="*/ 0 h 4"/>
                <a:gd name="T12" fmla="*/ 8 w 14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4">
                  <a:moveTo>
                    <a:pt x="8" y="2"/>
                  </a:moveTo>
                  <a:lnTo>
                    <a:pt x="14" y="4"/>
                  </a:lnTo>
                  <a:lnTo>
                    <a:pt x="8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91" name="Freeform 1455">
              <a:extLst>
                <a:ext uri="{FF2B5EF4-FFF2-40B4-BE49-F238E27FC236}">
                  <a16:creationId xmlns:a16="http://schemas.microsoft.com/office/drawing/2014/main" id="{48306531-88FF-40EE-A510-A9B9BB064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5083" y="4648604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92" name="Freeform 1456">
              <a:extLst>
                <a:ext uri="{FF2B5EF4-FFF2-40B4-BE49-F238E27FC236}">
                  <a16:creationId xmlns:a16="http://schemas.microsoft.com/office/drawing/2014/main" id="{2243F87F-C5F1-41BE-B58D-7B4AD734E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9508" y="4620020"/>
              <a:ext cx="0" cy="3176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93" name="Rectangle 1457">
              <a:extLst>
                <a:ext uri="{FF2B5EF4-FFF2-40B4-BE49-F238E27FC236}">
                  <a16:creationId xmlns:a16="http://schemas.microsoft.com/office/drawing/2014/main" id="{2ED5DDEE-5AE2-4D4B-9CA7-91C0452B74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558" y="4620020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94" name="Freeform 1458">
              <a:extLst>
                <a:ext uri="{FF2B5EF4-FFF2-40B4-BE49-F238E27FC236}">
                  <a16:creationId xmlns:a16="http://schemas.microsoft.com/office/drawing/2014/main" id="{3A876835-3421-4A71-A74B-C424F6E057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558" y="4672424"/>
              <a:ext cx="0" cy="3176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95" name="Freeform 1459">
              <a:extLst>
                <a:ext uri="{FF2B5EF4-FFF2-40B4-BE49-F238E27FC236}">
                  <a16:creationId xmlns:a16="http://schemas.microsoft.com/office/drawing/2014/main" id="{203FDC1A-D4EF-4D88-98C3-BFDF53E28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5083" y="4654956"/>
              <a:ext cx="3175" cy="4764"/>
            </a:xfrm>
            <a:custGeom>
              <a:avLst/>
              <a:gdLst>
                <a:gd name="T0" fmla="*/ 0 w 2"/>
                <a:gd name="T1" fmla="*/ 0 h 3"/>
                <a:gd name="T2" fmla="*/ 2 w 2"/>
                <a:gd name="T3" fmla="*/ 3 h 3"/>
                <a:gd name="T4" fmla="*/ 0 w 2"/>
                <a:gd name="T5" fmla="*/ 0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2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96" name="Freeform 1460">
              <a:extLst>
                <a:ext uri="{FF2B5EF4-FFF2-40B4-BE49-F238E27FC236}">
                  <a16:creationId xmlns:a16="http://schemas.microsoft.com/office/drawing/2014/main" id="{D347B88D-199F-4A27-BFB2-A0AE61F1B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4433" y="4589848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97" name="Rectangle 1461">
              <a:extLst>
                <a:ext uri="{FF2B5EF4-FFF2-40B4-BE49-F238E27FC236}">
                  <a16:creationId xmlns:a16="http://schemas.microsoft.com/office/drawing/2014/main" id="{7AA17D3D-E35D-4E8C-8627-E2A314685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3633" y="4642252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98" name="Rectangle 1462">
              <a:extLst>
                <a:ext uri="{FF2B5EF4-FFF2-40B4-BE49-F238E27FC236}">
                  <a16:creationId xmlns:a16="http://schemas.microsoft.com/office/drawing/2014/main" id="{3CDDED7A-FD02-4937-A703-6FE79E6B49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7521" y="4893156"/>
              <a:ext cx="1588" cy="3176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399" name="Freeform 1463">
              <a:extLst>
                <a:ext uri="{FF2B5EF4-FFF2-40B4-BE49-F238E27FC236}">
                  <a16:creationId xmlns:a16="http://schemas.microsoft.com/office/drawing/2014/main" id="{2C796AFD-1D0A-4E5F-935C-4E2942EC0F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646" y="4858220"/>
              <a:ext cx="12700" cy="6352"/>
            </a:xfrm>
            <a:custGeom>
              <a:avLst/>
              <a:gdLst>
                <a:gd name="T0" fmla="*/ 8 w 8"/>
                <a:gd name="T1" fmla="*/ 2 h 4"/>
                <a:gd name="T2" fmla="*/ 6 w 8"/>
                <a:gd name="T3" fmla="*/ 0 h 4"/>
                <a:gd name="T4" fmla="*/ 0 w 8"/>
                <a:gd name="T5" fmla="*/ 4 h 4"/>
                <a:gd name="T6" fmla="*/ 6 w 8"/>
                <a:gd name="T7" fmla="*/ 0 h 4"/>
                <a:gd name="T8" fmla="*/ 8 w 8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8" y="2"/>
                  </a:moveTo>
                  <a:lnTo>
                    <a:pt x="6" y="0"/>
                  </a:lnTo>
                  <a:lnTo>
                    <a:pt x="0" y="4"/>
                  </a:lnTo>
                  <a:lnTo>
                    <a:pt x="6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00" name="Freeform 1464">
              <a:extLst>
                <a:ext uri="{FF2B5EF4-FFF2-40B4-BE49-F238E27FC236}">
                  <a16:creationId xmlns:a16="http://schemas.microsoft.com/office/drawing/2014/main" id="{1540C7E3-9D97-442D-AD38-B3D9E3472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6259" y="4970968"/>
              <a:ext cx="12700" cy="52404"/>
            </a:xfrm>
            <a:custGeom>
              <a:avLst/>
              <a:gdLst>
                <a:gd name="T0" fmla="*/ 2 w 8"/>
                <a:gd name="T1" fmla="*/ 6 h 33"/>
                <a:gd name="T2" fmla="*/ 4 w 8"/>
                <a:gd name="T3" fmla="*/ 11 h 33"/>
                <a:gd name="T4" fmla="*/ 6 w 8"/>
                <a:gd name="T5" fmla="*/ 13 h 33"/>
                <a:gd name="T6" fmla="*/ 8 w 8"/>
                <a:gd name="T7" fmla="*/ 23 h 33"/>
                <a:gd name="T8" fmla="*/ 8 w 8"/>
                <a:gd name="T9" fmla="*/ 29 h 33"/>
                <a:gd name="T10" fmla="*/ 8 w 8"/>
                <a:gd name="T11" fmla="*/ 33 h 33"/>
                <a:gd name="T12" fmla="*/ 8 w 8"/>
                <a:gd name="T13" fmla="*/ 33 h 33"/>
                <a:gd name="T14" fmla="*/ 8 w 8"/>
                <a:gd name="T15" fmla="*/ 29 h 33"/>
                <a:gd name="T16" fmla="*/ 8 w 8"/>
                <a:gd name="T17" fmla="*/ 23 h 33"/>
                <a:gd name="T18" fmla="*/ 6 w 8"/>
                <a:gd name="T19" fmla="*/ 13 h 33"/>
                <a:gd name="T20" fmla="*/ 4 w 8"/>
                <a:gd name="T21" fmla="*/ 11 h 33"/>
                <a:gd name="T22" fmla="*/ 2 w 8"/>
                <a:gd name="T23" fmla="*/ 6 h 33"/>
                <a:gd name="T24" fmla="*/ 2 w 8"/>
                <a:gd name="T25" fmla="*/ 4 h 33"/>
                <a:gd name="T26" fmla="*/ 0 w 8"/>
                <a:gd name="T27" fmla="*/ 0 h 33"/>
                <a:gd name="T28" fmla="*/ 2 w 8"/>
                <a:gd name="T29" fmla="*/ 4 h 33"/>
                <a:gd name="T30" fmla="*/ 2 w 8"/>
                <a:gd name="T31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33">
                  <a:moveTo>
                    <a:pt x="2" y="6"/>
                  </a:moveTo>
                  <a:lnTo>
                    <a:pt x="4" y="11"/>
                  </a:lnTo>
                  <a:lnTo>
                    <a:pt x="6" y="13"/>
                  </a:lnTo>
                  <a:lnTo>
                    <a:pt x="8" y="23"/>
                  </a:lnTo>
                  <a:lnTo>
                    <a:pt x="8" y="29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29"/>
                  </a:lnTo>
                  <a:lnTo>
                    <a:pt x="8" y="23"/>
                  </a:lnTo>
                  <a:lnTo>
                    <a:pt x="6" y="13"/>
                  </a:lnTo>
                  <a:lnTo>
                    <a:pt x="4" y="11"/>
                  </a:lnTo>
                  <a:lnTo>
                    <a:pt x="2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2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01" name="Freeform 1465">
              <a:extLst>
                <a:ext uri="{FF2B5EF4-FFF2-40B4-BE49-F238E27FC236}">
                  <a16:creationId xmlns:a16="http://schemas.microsoft.com/office/drawing/2014/main" id="{BDB88C21-B043-431B-B100-E3F06AF01B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521" y="4880452"/>
              <a:ext cx="6350" cy="3176"/>
            </a:xfrm>
            <a:custGeom>
              <a:avLst/>
              <a:gdLst>
                <a:gd name="T0" fmla="*/ 4 w 4"/>
                <a:gd name="T1" fmla="*/ 2 h 2"/>
                <a:gd name="T2" fmla="*/ 4 w 4"/>
                <a:gd name="T3" fmla="*/ 2 h 2"/>
                <a:gd name="T4" fmla="*/ 0 w 4"/>
                <a:gd name="T5" fmla="*/ 0 h 2"/>
                <a:gd name="T6" fmla="*/ 0 w 4"/>
                <a:gd name="T7" fmla="*/ 0 h 2"/>
                <a:gd name="T8" fmla="*/ 0 w 4"/>
                <a:gd name="T9" fmla="*/ 0 h 2"/>
                <a:gd name="T10" fmla="*/ 4 w 4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02" name="Freeform 1466">
              <a:extLst>
                <a:ext uri="{FF2B5EF4-FFF2-40B4-BE49-F238E27FC236}">
                  <a16:creationId xmlns:a16="http://schemas.microsoft.com/office/drawing/2014/main" id="{4EA72AD4-ABD8-454D-B1D3-936445929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3084" y="4958264"/>
              <a:ext cx="3175" cy="3176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0 h 2"/>
                <a:gd name="T4" fmla="*/ 0 w 2"/>
                <a:gd name="T5" fmla="*/ 0 h 2"/>
                <a:gd name="T6" fmla="*/ 2 w 2"/>
                <a:gd name="T7" fmla="*/ 0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03" name="Freeform 1467">
              <a:extLst>
                <a:ext uri="{FF2B5EF4-FFF2-40B4-BE49-F238E27FC236}">
                  <a16:creationId xmlns:a16="http://schemas.microsoft.com/office/drawing/2014/main" id="{C23C68F5-474F-41A9-BD5A-E1A2F1648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096" y="4948736"/>
              <a:ext cx="6350" cy="3176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0 h 2"/>
                <a:gd name="T4" fmla="*/ 0 w 4"/>
                <a:gd name="T5" fmla="*/ 0 h 2"/>
                <a:gd name="T6" fmla="*/ 2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04" name="Freeform 1468">
              <a:extLst>
                <a:ext uri="{FF2B5EF4-FFF2-40B4-BE49-F238E27FC236}">
                  <a16:creationId xmlns:a16="http://schemas.microsoft.com/office/drawing/2014/main" id="{DB0B0C79-9293-440C-AB04-754C55141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3683" y="4704184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05" name="Freeform 1469">
              <a:extLst>
                <a:ext uri="{FF2B5EF4-FFF2-40B4-BE49-F238E27FC236}">
                  <a16:creationId xmlns:a16="http://schemas.microsoft.com/office/drawing/2014/main" id="{E2198B21-3A1F-4F6F-BF7F-F6450CE27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0508" y="4697832"/>
              <a:ext cx="3175" cy="3176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06" name="Freeform 1470">
              <a:extLst>
                <a:ext uri="{FF2B5EF4-FFF2-40B4-BE49-F238E27FC236}">
                  <a16:creationId xmlns:a16="http://schemas.microsoft.com/office/drawing/2014/main" id="{0A7ECD45-47F2-4B35-AAA0-43E82E5B98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4346" y="4861396"/>
              <a:ext cx="3175" cy="9528"/>
            </a:xfrm>
            <a:custGeom>
              <a:avLst/>
              <a:gdLst>
                <a:gd name="T0" fmla="*/ 2 w 2"/>
                <a:gd name="T1" fmla="*/ 6 h 6"/>
                <a:gd name="T2" fmla="*/ 2 w 2"/>
                <a:gd name="T3" fmla="*/ 4 h 6"/>
                <a:gd name="T4" fmla="*/ 0 w 2"/>
                <a:gd name="T5" fmla="*/ 0 h 6"/>
                <a:gd name="T6" fmla="*/ 2 w 2"/>
                <a:gd name="T7" fmla="*/ 4 h 6"/>
                <a:gd name="T8" fmla="*/ 2 w 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6"/>
                  </a:moveTo>
                  <a:lnTo>
                    <a:pt x="2" y="4"/>
                  </a:lnTo>
                  <a:lnTo>
                    <a:pt x="0" y="0"/>
                  </a:lnTo>
                  <a:lnTo>
                    <a:pt x="2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07" name="Rectangle 1471">
              <a:extLst>
                <a:ext uri="{FF2B5EF4-FFF2-40B4-BE49-F238E27FC236}">
                  <a16:creationId xmlns:a16="http://schemas.microsoft.com/office/drawing/2014/main" id="{B5202E3F-C63B-4581-9522-D7E90DD7B6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8296" y="481216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08" name="Freeform 1472">
              <a:extLst>
                <a:ext uri="{FF2B5EF4-FFF2-40B4-BE49-F238E27FC236}">
                  <a16:creationId xmlns:a16="http://schemas.microsoft.com/office/drawing/2014/main" id="{070AA3EA-1296-4072-BDDB-CFD58F183B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2571" y="4694656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0 w 2"/>
                <a:gd name="T4" fmla="*/ 0 w 2"/>
                <a:gd name="T5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09" name="Rectangle 1473">
              <a:extLst>
                <a:ext uri="{FF2B5EF4-FFF2-40B4-BE49-F238E27FC236}">
                  <a16:creationId xmlns:a16="http://schemas.microsoft.com/office/drawing/2014/main" id="{690768F0-EF67-4C7D-B827-319C00E1D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8670" y="441516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10" name="Freeform 1474">
              <a:extLst>
                <a:ext uri="{FF2B5EF4-FFF2-40B4-BE49-F238E27FC236}">
                  <a16:creationId xmlns:a16="http://schemas.microsoft.com/office/drawing/2014/main" id="{9C2384CA-5E0C-413B-97ED-751B0BB16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5121" y="4818520"/>
              <a:ext cx="9525" cy="6352"/>
            </a:xfrm>
            <a:custGeom>
              <a:avLst/>
              <a:gdLst>
                <a:gd name="T0" fmla="*/ 6 w 6"/>
                <a:gd name="T1" fmla="*/ 2 h 4"/>
                <a:gd name="T2" fmla="*/ 6 w 6"/>
                <a:gd name="T3" fmla="*/ 0 h 4"/>
                <a:gd name="T4" fmla="*/ 6 w 6"/>
                <a:gd name="T5" fmla="*/ 2 h 4"/>
                <a:gd name="T6" fmla="*/ 6 w 6"/>
                <a:gd name="T7" fmla="*/ 2 h 4"/>
                <a:gd name="T8" fmla="*/ 0 w 6"/>
                <a:gd name="T9" fmla="*/ 4 h 4"/>
                <a:gd name="T10" fmla="*/ 6 w 6"/>
                <a:gd name="T11" fmla="*/ 2 h 4"/>
                <a:gd name="T12" fmla="*/ 6 w 6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6" y="2"/>
                  </a:move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0" y="4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11" name="Rectangle 1475">
              <a:extLst>
                <a:ext uri="{FF2B5EF4-FFF2-40B4-BE49-F238E27FC236}">
                  <a16:creationId xmlns:a16="http://schemas.microsoft.com/office/drawing/2014/main" id="{CC80C234-85A0-4316-A315-3CAC0C57FA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8682" y="4477100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12" name="Freeform 1476">
              <a:extLst>
                <a:ext uri="{FF2B5EF4-FFF2-40B4-BE49-F238E27FC236}">
                  <a16:creationId xmlns:a16="http://schemas.microsoft.com/office/drawing/2014/main" id="{688774E6-CCAB-43EC-AA5D-763D9EDC6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1308" y="4824872"/>
              <a:ext cx="23813" cy="9528"/>
            </a:xfrm>
            <a:custGeom>
              <a:avLst/>
              <a:gdLst>
                <a:gd name="T0" fmla="*/ 6 w 15"/>
                <a:gd name="T1" fmla="*/ 2 h 6"/>
                <a:gd name="T2" fmla="*/ 9 w 15"/>
                <a:gd name="T3" fmla="*/ 0 h 6"/>
                <a:gd name="T4" fmla="*/ 15 w 15"/>
                <a:gd name="T5" fmla="*/ 0 h 6"/>
                <a:gd name="T6" fmla="*/ 15 w 15"/>
                <a:gd name="T7" fmla="*/ 0 h 6"/>
                <a:gd name="T8" fmla="*/ 9 w 15"/>
                <a:gd name="T9" fmla="*/ 0 h 6"/>
                <a:gd name="T10" fmla="*/ 6 w 15"/>
                <a:gd name="T11" fmla="*/ 2 h 6"/>
                <a:gd name="T12" fmla="*/ 2 w 15"/>
                <a:gd name="T13" fmla="*/ 6 h 6"/>
                <a:gd name="T14" fmla="*/ 0 w 15"/>
                <a:gd name="T15" fmla="*/ 6 h 6"/>
                <a:gd name="T16" fmla="*/ 2 w 15"/>
                <a:gd name="T17" fmla="*/ 6 h 6"/>
                <a:gd name="T18" fmla="*/ 6 w 15"/>
                <a:gd name="T1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6">
                  <a:moveTo>
                    <a:pt x="6" y="2"/>
                  </a:moveTo>
                  <a:lnTo>
                    <a:pt x="9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13" name="Freeform 1477">
              <a:extLst>
                <a:ext uri="{FF2B5EF4-FFF2-40B4-BE49-F238E27FC236}">
                  <a16:creationId xmlns:a16="http://schemas.microsoft.com/office/drawing/2014/main" id="{43C8342C-0E2C-4B0E-A49C-E1A6809B4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6645" y="4554912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14" name="Freeform 1478">
              <a:extLst>
                <a:ext uri="{FF2B5EF4-FFF2-40B4-BE49-F238E27FC236}">
                  <a16:creationId xmlns:a16="http://schemas.microsoft.com/office/drawing/2014/main" id="{3827705A-CCE0-49FB-8EF9-CE4F31733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632" y="4453280"/>
              <a:ext cx="9525" cy="17468"/>
            </a:xfrm>
            <a:custGeom>
              <a:avLst/>
              <a:gdLst>
                <a:gd name="T0" fmla="*/ 2 w 6"/>
                <a:gd name="T1" fmla="*/ 5 h 11"/>
                <a:gd name="T2" fmla="*/ 4 w 6"/>
                <a:gd name="T3" fmla="*/ 9 h 11"/>
                <a:gd name="T4" fmla="*/ 6 w 6"/>
                <a:gd name="T5" fmla="*/ 11 h 11"/>
                <a:gd name="T6" fmla="*/ 4 w 6"/>
                <a:gd name="T7" fmla="*/ 9 h 11"/>
                <a:gd name="T8" fmla="*/ 2 w 6"/>
                <a:gd name="T9" fmla="*/ 5 h 11"/>
                <a:gd name="T10" fmla="*/ 0 w 6"/>
                <a:gd name="T11" fmla="*/ 2 h 11"/>
                <a:gd name="T12" fmla="*/ 0 w 6"/>
                <a:gd name="T13" fmla="*/ 0 h 11"/>
                <a:gd name="T14" fmla="*/ 0 w 6"/>
                <a:gd name="T15" fmla="*/ 2 h 11"/>
                <a:gd name="T16" fmla="*/ 2 w 6"/>
                <a:gd name="T17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11">
                  <a:moveTo>
                    <a:pt x="2" y="5"/>
                  </a:moveTo>
                  <a:lnTo>
                    <a:pt x="4" y="9"/>
                  </a:lnTo>
                  <a:lnTo>
                    <a:pt x="6" y="11"/>
                  </a:lnTo>
                  <a:lnTo>
                    <a:pt x="4" y="9"/>
                  </a:lnTo>
                  <a:lnTo>
                    <a:pt x="2" y="5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15" name="Freeform 1479">
              <a:extLst>
                <a:ext uri="{FF2B5EF4-FFF2-40B4-BE49-F238E27FC236}">
                  <a16:creationId xmlns:a16="http://schemas.microsoft.com/office/drawing/2014/main" id="{748DADF5-5A98-4A86-9CF4-5C1859D98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632" y="4427872"/>
              <a:ext cx="0" cy="6352"/>
            </a:xfrm>
            <a:custGeom>
              <a:avLst/>
              <a:gdLst>
                <a:gd name="T0" fmla="*/ 4 h 4"/>
                <a:gd name="T1" fmla="*/ 2 h 4"/>
                <a:gd name="T2" fmla="*/ 0 h 4"/>
                <a:gd name="T3" fmla="*/ 0 h 4"/>
                <a:gd name="T4" fmla="*/ 2 h 4"/>
                <a:gd name="T5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16" name="Freeform 1480">
              <a:extLst>
                <a:ext uri="{FF2B5EF4-FFF2-40B4-BE49-F238E27FC236}">
                  <a16:creationId xmlns:a16="http://schemas.microsoft.com/office/drawing/2014/main" id="{E22CFD86-0330-4B0F-844B-533BE0A7BA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8908" y="4713712"/>
              <a:ext cx="6350" cy="6352"/>
            </a:xfrm>
            <a:custGeom>
              <a:avLst/>
              <a:gdLst>
                <a:gd name="T0" fmla="*/ 4 w 4"/>
                <a:gd name="T1" fmla="*/ 4 h 4"/>
                <a:gd name="T2" fmla="*/ 4 w 4"/>
                <a:gd name="T3" fmla="*/ 4 h 4"/>
                <a:gd name="T4" fmla="*/ 2 w 4"/>
                <a:gd name="T5" fmla="*/ 2 h 4"/>
                <a:gd name="T6" fmla="*/ 0 w 4"/>
                <a:gd name="T7" fmla="*/ 0 h 4"/>
                <a:gd name="T8" fmla="*/ 2 w 4"/>
                <a:gd name="T9" fmla="*/ 2 h 4"/>
                <a:gd name="T10" fmla="*/ 4 w 4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17" name="Freeform 1481">
              <a:extLst>
                <a:ext uri="{FF2B5EF4-FFF2-40B4-BE49-F238E27FC236}">
                  <a16:creationId xmlns:a16="http://schemas.microsoft.com/office/drawing/2014/main" id="{9F03F0DB-30F7-4E58-80B6-6D59E35D0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3683" y="4793112"/>
              <a:ext cx="9525" cy="15880"/>
            </a:xfrm>
            <a:custGeom>
              <a:avLst/>
              <a:gdLst>
                <a:gd name="T0" fmla="*/ 2 w 6"/>
                <a:gd name="T1" fmla="*/ 2 h 10"/>
                <a:gd name="T2" fmla="*/ 4 w 6"/>
                <a:gd name="T3" fmla="*/ 6 h 10"/>
                <a:gd name="T4" fmla="*/ 4 w 6"/>
                <a:gd name="T5" fmla="*/ 10 h 10"/>
                <a:gd name="T6" fmla="*/ 6 w 6"/>
                <a:gd name="T7" fmla="*/ 10 h 10"/>
                <a:gd name="T8" fmla="*/ 4 w 6"/>
                <a:gd name="T9" fmla="*/ 10 h 10"/>
                <a:gd name="T10" fmla="*/ 4 w 6"/>
                <a:gd name="T11" fmla="*/ 6 h 10"/>
                <a:gd name="T12" fmla="*/ 2 w 6"/>
                <a:gd name="T13" fmla="*/ 2 h 10"/>
                <a:gd name="T14" fmla="*/ 0 w 6"/>
                <a:gd name="T15" fmla="*/ 0 h 10"/>
                <a:gd name="T16" fmla="*/ 0 w 6"/>
                <a:gd name="T17" fmla="*/ 0 h 10"/>
                <a:gd name="T18" fmla="*/ 0 w 6"/>
                <a:gd name="T19" fmla="*/ 0 h 10"/>
                <a:gd name="T20" fmla="*/ 2 w 6"/>
                <a:gd name="T21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10">
                  <a:moveTo>
                    <a:pt x="2" y="2"/>
                  </a:moveTo>
                  <a:lnTo>
                    <a:pt x="4" y="6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4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18" name="Freeform 1482">
              <a:extLst>
                <a:ext uri="{FF2B5EF4-FFF2-40B4-BE49-F238E27FC236}">
                  <a16:creationId xmlns:a16="http://schemas.microsoft.com/office/drawing/2014/main" id="{8E5763B9-8579-45A3-94E5-4AC3FCB53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6383" y="4815344"/>
              <a:ext cx="3175" cy="6352"/>
            </a:xfrm>
            <a:custGeom>
              <a:avLst/>
              <a:gdLst>
                <a:gd name="T0" fmla="*/ 2 w 2"/>
                <a:gd name="T1" fmla="*/ 4 h 4"/>
                <a:gd name="T2" fmla="*/ 0 w 2"/>
                <a:gd name="T3" fmla="*/ 2 h 4"/>
                <a:gd name="T4" fmla="*/ 0 w 2"/>
                <a:gd name="T5" fmla="*/ 0 h 4"/>
                <a:gd name="T6" fmla="*/ 0 w 2"/>
                <a:gd name="T7" fmla="*/ 2 h 4"/>
                <a:gd name="T8" fmla="*/ 2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19" name="Freeform 1483">
              <a:extLst>
                <a:ext uri="{FF2B5EF4-FFF2-40B4-BE49-F238E27FC236}">
                  <a16:creationId xmlns:a16="http://schemas.microsoft.com/office/drawing/2014/main" id="{74075DCD-8A40-40B8-B0B3-050EE2268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1857" y="4480276"/>
              <a:ext cx="6350" cy="22232"/>
            </a:xfrm>
            <a:custGeom>
              <a:avLst/>
              <a:gdLst>
                <a:gd name="T0" fmla="*/ 2 w 4"/>
                <a:gd name="T1" fmla="*/ 6 h 14"/>
                <a:gd name="T2" fmla="*/ 0 w 4"/>
                <a:gd name="T3" fmla="*/ 8 h 14"/>
                <a:gd name="T4" fmla="*/ 0 w 4"/>
                <a:gd name="T5" fmla="*/ 12 h 14"/>
                <a:gd name="T6" fmla="*/ 2 w 4"/>
                <a:gd name="T7" fmla="*/ 14 h 14"/>
                <a:gd name="T8" fmla="*/ 4 w 4"/>
                <a:gd name="T9" fmla="*/ 14 h 14"/>
                <a:gd name="T10" fmla="*/ 4 w 4"/>
                <a:gd name="T11" fmla="*/ 14 h 14"/>
                <a:gd name="T12" fmla="*/ 4 w 4"/>
                <a:gd name="T13" fmla="*/ 14 h 14"/>
                <a:gd name="T14" fmla="*/ 2 w 4"/>
                <a:gd name="T15" fmla="*/ 14 h 14"/>
                <a:gd name="T16" fmla="*/ 0 w 4"/>
                <a:gd name="T17" fmla="*/ 12 h 14"/>
                <a:gd name="T18" fmla="*/ 0 w 4"/>
                <a:gd name="T19" fmla="*/ 8 h 14"/>
                <a:gd name="T20" fmla="*/ 2 w 4"/>
                <a:gd name="T21" fmla="*/ 6 h 14"/>
                <a:gd name="T22" fmla="*/ 2 w 4"/>
                <a:gd name="T23" fmla="*/ 4 h 14"/>
                <a:gd name="T24" fmla="*/ 0 w 4"/>
                <a:gd name="T25" fmla="*/ 0 h 14"/>
                <a:gd name="T26" fmla="*/ 2 w 4"/>
                <a:gd name="T27" fmla="*/ 4 h 14"/>
                <a:gd name="T28" fmla="*/ 2 w 4"/>
                <a:gd name="T2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" h="14">
                  <a:moveTo>
                    <a:pt x="2" y="6"/>
                  </a:moveTo>
                  <a:lnTo>
                    <a:pt x="0" y="8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2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2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20" name="Freeform 1484">
              <a:extLst>
                <a:ext uri="{FF2B5EF4-FFF2-40B4-BE49-F238E27FC236}">
                  <a16:creationId xmlns:a16="http://schemas.microsoft.com/office/drawing/2014/main" id="{F14DC5CC-3759-4A10-AECA-3031A6D945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471" y="4812168"/>
              <a:ext cx="3175" cy="3176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0 h 2"/>
                <a:gd name="T8" fmla="*/ 2 w 2"/>
                <a:gd name="T9" fmla="*/ 2 h 2"/>
                <a:gd name="T10" fmla="*/ 2 w 2"/>
                <a:gd name="T11" fmla="*/ 0 h 2"/>
                <a:gd name="T12" fmla="*/ 0 w 2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21" name="Freeform 1485">
              <a:extLst>
                <a:ext uri="{FF2B5EF4-FFF2-40B4-BE49-F238E27FC236}">
                  <a16:creationId xmlns:a16="http://schemas.microsoft.com/office/drawing/2014/main" id="{BDF570CD-3EBB-411D-AEF8-883B72EA2A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1133" y="4716888"/>
              <a:ext cx="3175" cy="4764"/>
            </a:xfrm>
            <a:custGeom>
              <a:avLst/>
              <a:gdLst>
                <a:gd name="T0" fmla="*/ 2 w 2"/>
                <a:gd name="T1" fmla="*/ 3 h 3"/>
                <a:gd name="T2" fmla="*/ 2 w 2"/>
                <a:gd name="T3" fmla="*/ 3 h 3"/>
                <a:gd name="T4" fmla="*/ 0 w 2"/>
                <a:gd name="T5" fmla="*/ 0 h 3"/>
                <a:gd name="T6" fmla="*/ 2 w 2"/>
                <a:gd name="T7" fmla="*/ 3 h 3"/>
                <a:gd name="T8" fmla="*/ 2 w 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lnTo>
                    <a:pt x="2" y="3"/>
                  </a:lnTo>
                  <a:lnTo>
                    <a:pt x="0" y="0"/>
                  </a:lnTo>
                  <a:lnTo>
                    <a:pt x="2" y="3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22" name="Freeform 1486">
              <a:extLst>
                <a:ext uri="{FF2B5EF4-FFF2-40B4-BE49-F238E27FC236}">
                  <a16:creationId xmlns:a16="http://schemas.microsoft.com/office/drawing/2014/main" id="{62303C7E-16CE-4EFF-A88A-DC0818B63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471" y="4805816"/>
              <a:ext cx="19050" cy="9528"/>
            </a:xfrm>
            <a:custGeom>
              <a:avLst/>
              <a:gdLst>
                <a:gd name="T0" fmla="*/ 12 w 12"/>
                <a:gd name="T1" fmla="*/ 6 h 6"/>
                <a:gd name="T2" fmla="*/ 2 w 12"/>
                <a:gd name="T3" fmla="*/ 0 h 6"/>
                <a:gd name="T4" fmla="*/ 0 w 12"/>
                <a:gd name="T5" fmla="*/ 0 h 6"/>
                <a:gd name="T6" fmla="*/ 2 w 12"/>
                <a:gd name="T7" fmla="*/ 0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23" name="Freeform 1487">
              <a:extLst>
                <a:ext uri="{FF2B5EF4-FFF2-40B4-BE49-F238E27FC236}">
                  <a16:creationId xmlns:a16="http://schemas.microsoft.com/office/drawing/2014/main" id="{308799E0-953A-4A5E-9A7C-A3AF978995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0521" y="4818520"/>
              <a:ext cx="0" cy="6352"/>
            </a:xfrm>
            <a:custGeom>
              <a:avLst/>
              <a:gdLst>
                <a:gd name="T0" fmla="*/ 4 h 4"/>
                <a:gd name="T1" fmla="*/ 0 h 4"/>
                <a:gd name="T2" fmla="*/ 4 h 4"/>
                <a:gd name="T3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24" name="Freeform 1488">
              <a:extLst>
                <a:ext uri="{FF2B5EF4-FFF2-40B4-BE49-F238E27FC236}">
                  <a16:creationId xmlns:a16="http://schemas.microsoft.com/office/drawing/2014/main" id="{FD5E8068-02EF-4AC5-B238-C674C52A2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5121" y="4802640"/>
              <a:ext cx="3175" cy="9528"/>
            </a:xfrm>
            <a:custGeom>
              <a:avLst/>
              <a:gdLst>
                <a:gd name="T0" fmla="*/ 2 w 2"/>
                <a:gd name="T1" fmla="*/ 0 h 6"/>
                <a:gd name="T2" fmla="*/ 0 w 2"/>
                <a:gd name="T3" fmla="*/ 0 h 6"/>
                <a:gd name="T4" fmla="*/ 2 w 2"/>
                <a:gd name="T5" fmla="*/ 6 h 6"/>
                <a:gd name="T6" fmla="*/ 0 w 2"/>
                <a:gd name="T7" fmla="*/ 0 h 6"/>
                <a:gd name="T8" fmla="*/ 2 w 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lnTo>
                    <a:pt x="0" y="0"/>
                  </a:lnTo>
                  <a:lnTo>
                    <a:pt x="2" y="6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25" name="Freeform 1489">
              <a:extLst>
                <a:ext uri="{FF2B5EF4-FFF2-40B4-BE49-F238E27FC236}">
                  <a16:creationId xmlns:a16="http://schemas.microsoft.com/office/drawing/2014/main" id="{EBD8AB20-FB41-4508-906A-07158A8ED7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7033" y="4843928"/>
              <a:ext cx="9525" cy="11116"/>
            </a:xfrm>
            <a:custGeom>
              <a:avLst/>
              <a:gdLst>
                <a:gd name="T0" fmla="*/ 4 w 6"/>
                <a:gd name="T1" fmla="*/ 2 h 7"/>
                <a:gd name="T2" fmla="*/ 6 w 6"/>
                <a:gd name="T3" fmla="*/ 2 h 7"/>
                <a:gd name="T4" fmla="*/ 6 w 6"/>
                <a:gd name="T5" fmla="*/ 5 h 7"/>
                <a:gd name="T6" fmla="*/ 6 w 6"/>
                <a:gd name="T7" fmla="*/ 7 h 7"/>
                <a:gd name="T8" fmla="*/ 6 w 6"/>
                <a:gd name="T9" fmla="*/ 5 h 7"/>
                <a:gd name="T10" fmla="*/ 6 w 6"/>
                <a:gd name="T11" fmla="*/ 2 h 7"/>
                <a:gd name="T12" fmla="*/ 4 w 6"/>
                <a:gd name="T13" fmla="*/ 2 h 7"/>
                <a:gd name="T14" fmla="*/ 2 w 6"/>
                <a:gd name="T15" fmla="*/ 0 h 7"/>
                <a:gd name="T16" fmla="*/ 0 w 6"/>
                <a:gd name="T17" fmla="*/ 0 h 7"/>
                <a:gd name="T18" fmla="*/ 2 w 6"/>
                <a:gd name="T19" fmla="*/ 0 h 7"/>
                <a:gd name="T20" fmla="*/ 4 w 6"/>
                <a:gd name="T21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7">
                  <a:moveTo>
                    <a:pt x="4" y="2"/>
                  </a:moveTo>
                  <a:lnTo>
                    <a:pt x="6" y="2"/>
                  </a:lnTo>
                  <a:lnTo>
                    <a:pt x="6" y="5"/>
                  </a:lnTo>
                  <a:lnTo>
                    <a:pt x="6" y="7"/>
                  </a:lnTo>
                  <a:lnTo>
                    <a:pt x="6" y="5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26" name="Freeform 1490">
              <a:extLst>
                <a:ext uri="{FF2B5EF4-FFF2-40B4-BE49-F238E27FC236}">
                  <a16:creationId xmlns:a16="http://schemas.microsoft.com/office/drawing/2014/main" id="{514EE549-FACE-4088-89E4-453897431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871" y="4710536"/>
              <a:ext cx="6350" cy="3176"/>
            </a:xfrm>
            <a:custGeom>
              <a:avLst/>
              <a:gdLst>
                <a:gd name="T0" fmla="*/ 4 w 4"/>
                <a:gd name="T1" fmla="*/ 0 h 2"/>
                <a:gd name="T2" fmla="*/ 2 w 4"/>
                <a:gd name="T3" fmla="*/ 0 h 2"/>
                <a:gd name="T4" fmla="*/ 0 w 4"/>
                <a:gd name="T5" fmla="*/ 2 h 2"/>
                <a:gd name="T6" fmla="*/ 2 w 4"/>
                <a:gd name="T7" fmla="*/ 0 h 2"/>
                <a:gd name="T8" fmla="*/ 4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27" name="Rectangle 1491">
              <a:extLst>
                <a:ext uri="{FF2B5EF4-FFF2-40B4-BE49-F238E27FC236}">
                  <a16:creationId xmlns:a16="http://schemas.microsoft.com/office/drawing/2014/main" id="{BAA7E00B-279D-4331-86F5-FBA411C43B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2571" y="4697832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28" name="Freeform 1492">
              <a:extLst>
                <a:ext uri="{FF2B5EF4-FFF2-40B4-BE49-F238E27FC236}">
                  <a16:creationId xmlns:a16="http://schemas.microsoft.com/office/drawing/2014/main" id="{DBD232A0-6B05-476A-897C-CC799B556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7483" y="4721652"/>
              <a:ext cx="0" cy="3176"/>
            </a:xfrm>
            <a:custGeom>
              <a:avLst/>
              <a:gdLst>
                <a:gd name="T0" fmla="*/ 0 h 2"/>
                <a:gd name="T1" fmla="*/ 2 h 2"/>
                <a:gd name="T2" fmla="*/ 2 h 2"/>
                <a:gd name="T3" fmla="*/ 2 h 2"/>
                <a:gd name="T4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29" name="Freeform 1493">
              <a:extLst>
                <a:ext uri="{FF2B5EF4-FFF2-40B4-BE49-F238E27FC236}">
                  <a16:creationId xmlns:a16="http://schemas.microsoft.com/office/drawing/2014/main" id="{160BC13C-548E-4A10-9520-9260A9325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2908" y="4855044"/>
              <a:ext cx="9525" cy="6352"/>
            </a:xfrm>
            <a:custGeom>
              <a:avLst/>
              <a:gdLst>
                <a:gd name="T0" fmla="*/ 4 w 6"/>
                <a:gd name="T1" fmla="*/ 4 h 4"/>
                <a:gd name="T2" fmla="*/ 6 w 6"/>
                <a:gd name="T3" fmla="*/ 0 h 4"/>
                <a:gd name="T4" fmla="*/ 4 w 6"/>
                <a:gd name="T5" fmla="*/ 4 h 4"/>
                <a:gd name="T6" fmla="*/ 0 w 6"/>
                <a:gd name="T7" fmla="*/ 4 h 4"/>
                <a:gd name="T8" fmla="*/ 0 w 6"/>
                <a:gd name="T9" fmla="*/ 4 h 4"/>
                <a:gd name="T10" fmla="*/ 4 w 6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4" y="4"/>
                  </a:moveTo>
                  <a:lnTo>
                    <a:pt x="6" y="0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30" name="Rectangle 1494">
              <a:extLst>
                <a:ext uri="{FF2B5EF4-FFF2-40B4-BE49-F238E27FC236}">
                  <a16:creationId xmlns:a16="http://schemas.microsoft.com/office/drawing/2014/main" id="{47D6AB7B-7FB0-461B-8B6D-F880CE5767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4673" y="4170616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31" name="Rectangle 1495">
              <a:extLst>
                <a:ext uri="{FF2B5EF4-FFF2-40B4-BE49-F238E27FC236}">
                  <a16:creationId xmlns:a16="http://schemas.microsoft.com/office/drawing/2014/main" id="{A073A670-5414-43E8-B924-943201CD1E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7848" y="4180144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32" name="Rectangle 1496">
              <a:extLst>
                <a:ext uri="{FF2B5EF4-FFF2-40B4-BE49-F238E27FC236}">
                  <a16:creationId xmlns:a16="http://schemas.microsoft.com/office/drawing/2014/main" id="{5DC65619-E8EF-43D1-9CD0-824CB4552A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5148" y="4127740"/>
              <a:ext cx="3175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33" name="Freeform 1497">
              <a:extLst>
                <a:ext uri="{FF2B5EF4-FFF2-40B4-BE49-F238E27FC236}">
                  <a16:creationId xmlns:a16="http://schemas.microsoft.com/office/drawing/2014/main" id="{285509A8-CD5A-4996-8383-E57823402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4148384"/>
              <a:ext cx="3175" cy="12704"/>
            </a:xfrm>
            <a:custGeom>
              <a:avLst/>
              <a:gdLst>
                <a:gd name="T0" fmla="*/ 2 w 2"/>
                <a:gd name="T1" fmla="*/ 8 h 8"/>
                <a:gd name="T2" fmla="*/ 0 w 2"/>
                <a:gd name="T3" fmla="*/ 4 h 8"/>
                <a:gd name="T4" fmla="*/ 0 w 2"/>
                <a:gd name="T5" fmla="*/ 0 h 8"/>
                <a:gd name="T6" fmla="*/ 0 w 2"/>
                <a:gd name="T7" fmla="*/ 4 h 8"/>
                <a:gd name="T8" fmla="*/ 2 w 2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8">
                  <a:moveTo>
                    <a:pt x="2" y="8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34" name="Freeform 1498">
              <a:extLst>
                <a:ext uri="{FF2B5EF4-FFF2-40B4-BE49-F238E27FC236}">
                  <a16:creationId xmlns:a16="http://schemas.microsoft.com/office/drawing/2014/main" id="{7E8C8556-DDAD-459F-B8CB-FED1CC0E4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5148" y="4130916"/>
              <a:ext cx="3175" cy="3176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35" name="Freeform 1499">
              <a:extLst>
                <a:ext uri="{FF2B5EF4-FFF2-40B4-BE49-F238E27FC236}">
                  <a16:creationId xmlns:a16="http://schemas.microsoft.com/office/drawing/2014/main" id="{637F9740-0D7A-43C4-90D0-EC809132B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4135680"/>
              <a:ext cx="0" cy="12704"/>
            </a:xfrm>
            <a:custGeom>
              <a:avLst/>
              <a:gdLst>
                <a:gd name="T0" fmla="*/ 8 h 8"/>
                <a:gd name="T1" fmla="*/ 8 h 8"/>
                <a:gd name="T2" fmla="*/ 2 h 8"/>
                <a:gd name="T3" fmla="*/ 0 h 8"/>
                <a:gd name="T4" fmla="*/ 2 h 8"/>
                <a:gd name="T5" fmla="*/ 8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8">
                  <a:moveTo>
                    <a:pt x="0" y="8"/>
                  </a:moveTo>
                  <a:lnTo>
                    <a:pt x="0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36" name="Freeform 1500">
              <a:extLst>
                <a:ext uri="{FF2B5EF4-FFF2-40B4-BE49-F238E27FC236}">
                  <a16:creationId xmlns:a16="http://schemas.microsoft.com/office/drawing/2014/main" id="{BF3738E9-0D01-482E-B80A-661177C15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8336" y="3565588"/>
              <a:ext cx="0" cy="3176"/>
            </a:xfrm>
            <a:custGeom>
              <a:avLst/>
              <a:gdLst>
                <a:gd name="T0" fmla="*/ 2 h 2"/>
                <a:gd name="T1" fmla="*/ 2 h 2"/>
                <a:gd name="T2" fmla="*/ 0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37" name="Freeform 1501">
              <a:extLst>
                <a:ext uri="{FF2B5EF4-FFF2-40B4-BE49-F238E27FC236}">
                  <a16:creationId xmlns:a16="http://schemas.microsoft.com/office/drawing/2014/main" id="{32A777AB-6038-4034-8719-08228D68F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2936" y="3448076"/>
              <a:ext cx="3175" cy="6352"/>
            </a:xfrm>
            <a:custGeom>
              <a:avLst/>
              <a:gdLst>
                <a:gd name="T0" fmla="*/ 2 w 2"/>
                <a:gd name="T1" fmla="*/ 4 h 4"/>
                <a:gd name="T2" fmla="*/ 0 w 2"/>
                <a:gd name="T3" fmla="*/ 2 h 4"/>
                <a:gd name="T4" fmla="*/ 0 w 2"/>
                <a:gd name="T5" fmla="*/ 0 h 4"/>
                <a:gd name="T6" fmla="*/ 0 w 2"/>
                <a:gd name="T7" fmla="*/ 2 h 4"/>
                <a:gd name="T8" fmla="*/ 2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38" name="Freeform 1502">
              <a:extLst>
                <a:ext uri="{FF2B5EF4-FFF2-40B4-BE49-F238E27FC236}">
                  <a16:creationId xmlns:a16="http://schemas.microsoft.com/office/drawing/2014/main" id="{75CB39E2-8B4F-4346-9564-5CB72F237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2461" y="3513184"/>
              <a:ext cx="0" cy="6352"/>
            </a:xfrm>
            <a:custGeom>
              <a:avLst/>
              <a:gdLst>
                <a:gd name="T0" fmla="*/ 4 h 4"/>
                <a:gd name="T1" fmla="*/ 2 h 4"/>
                <a:gd name="T2" fmla="*/ 0 h 4"/>
                <a:gd name="T3" fmla="*/ 2 h 4"/>
                <a:gd name="T4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39" name="Freeform 1503">
              <a:extLst>
                <a:ext uri="{FF2B5EF4-FFF2-40B4-BE49-F238E27FC236}">
                  <a16:creationId xmlns:a16="http://schemas.microsoft.com/office/drawing/2014/main" id="{7996E943-6CBE-431E-91E9-2DEB86F8B9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5636" y="3500480"/>
              <a:ext cx="0" cy="3176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0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40" name="Freeform 1504">
              <a:extLst>
                <a:ext uri="{FF2B5EF4-FFF2-40B4-BE49-F238E27FC236}">
                  <a16:creationId xmlns:a16="http://schemas.microsoft.com/office/drawing/2014/main" id="{C56130AC-BEF2-4CB6-83FC-F8CBB3AD6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2461" y="3470308"/>
              <a:ext cx="9525" cy="9528"/>
            </a:xfrm>
            <a:custGeom>
              <a:avLst/>
              <a:gdLst>
                <a:gd name="T0" fmla="*/ 4 w 6"/>
                <a:gd name="T1" fmla="*/ 2 h 6"/>
                <a:gd name="T2" fmla="*/ 6 w 6"/>
                <a:gd name="T3" fmla="*/ 6 h 6"/>
                <a:gd name="T4" fmla="*/ 6 w 6"/>
                <a:gd name="T5" fmla="*/ 6 h 6"/>
                <a:gd name="T6" fmla="*/ 4 w 6"/>
                <a:gd name="T7" fmla="*/ 2 h 6"/>
                <a:gd name="T8" fmla="*/ 2 w 6"/>
                <a:gd name="T9" fmla="*/ 0 h 6"/>
                <a:gd name="T10" fmla="*/ 0 w 6"/>
                <a:gd name="T11" fmla="*/ 0 h 6"/>
                <a:gd name="T12" fmla="*/ 2 w 6"/>
                <a:gd name="T13" fmla="*/ 0 h 6"/>
                <a:gd name="T14" fmla="*/ 4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4" y="2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41" name="Freeform 1505">
              <a:extLst>
                <a:ext uri="{FF2B5EF4-FFF2-40B4-BE49-F238E27FC236}">
                  <a16:creationId xmlns:a16="http://schemas.microsoft.com/office/drawing/2014/main" id="{2BF57140-44CB-41FF-ACC7-E08706B3D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1986" y="3484600"/>
              <a:ext cx="0" cy="6352"/>
            </a:xfrm>
            <a:custGeom>
              <a:avLst/>
              <a:gdLst>
                <a:gd name="T0" fmla="*/ 4 h 4"/>
                <a:gd name="T1" fmla="*/ 4 h 4"/>
                <a:gd name="T2" fmla="*/ 0 h 4"/>
                <a:gd name="T3" fmla="*/ 4 h 4"/>
                <a:gd name="T4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42" name="Freeform 1506">
              <a:extLst>
                <a:ext uri="{FF2B5EF4-FFF2-40B4-BE49-F238E27FC236}">
                  <a16:creationId xmlns:a16="http://schemas.microsoft.com/office/drawing/2014/main" id="{E16EB47B-ACAC-4F5C-8427-10A017424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1986" y="3532240"/>
              <a:ext cx="3175" cy="3176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2 h 2"/>
                <a:gd name="T4" fmla="*/ 0 w 2"/>
                <a:gd name="T5" fmla="*/ 0 h 2"/>
                <a:gd name="T6" fmla="*/ 0 w 2"/>
                <a:gd name="T7" fmla="*/ 2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43" name="Freeform 1507">
              <a:extLst>
                <a:ext uri="{FF2B5EF4-FFF2-40B4-BE49-F238E27FC236}">
                  <a16:creationId xmlns:a16="http://schemas.microsoft.com/office/drawing/2014/main" id="{702D4C71-2359-480A-BF40-B45F71515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4985" y="3730740"/>
              <a:ext cx="39688" cy="23820"/>
            </a:xfrm>
            <a:custGeom>
              <a:avLst/>
              <a:gdLst>
                <a:gd name="T0" fmla="*/ 0 w 25"/>
                <a:gd name="T1" fmla="*/ 15 h 15"/>
                <a:gd name="T2" fmla="*/ 11 w 25"/>
                <a:gd name="T3" fmla="*/ 8 h 15"/>
                <a:gd name="T4" fmla="*/ 25 w 25"/>
                <a:gd name="T5" fmla="*/ 0 h 15"/>
                <a:gd name="T6" fmla="*/ 11 w 25"/>
                <a:gd name="T7" fmla="*/ 8 h 15"/>
                <a:gd name="T8" fmla="*/ 0 w 2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5">
                  <a:moveTo>
                    <a:pt x="0" y="15"/>
                  </a:moveTo>
                  <a:lnTo>
                    <a:pt x="11" y="8"/>
                  </a:lnTo>
                  <a:lnTo>
                    <a:pt x="25" y="0"/>
                  </a:lnTo>
                  <a:lnTo>
                    <a:pt x="11" y="8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44" name="Freeform 1508">
              <a:extLst>
                <a:ext uri="{FF2B5EF4-FFF2-40B4-BE49-F238E27FC236}">
                  <a16:creationId xmlns:a16="http://schemas.microsoft.com/office/drawing/2014/main" id="{8A7ECBC6-23CC-4F1F-AE8F-02698476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598" y="3810140"/>
              <a:ext cx="14288" cy="19056"/>
            </a:xfrm>
            <a:custGeom>
              <a:avLst/>
              <a:gdLst>
                <a:gd name="T0" fmla="*/ 0 w 9"/>
                <a:gd name="T1" fmla="*/ 12 h 12"/>
                <a:gd name="T2" fmla="*/ 2 w 9"/>
                <a:gd name="T3" fmla="*/ 8 h 12"/>
                <a:gd name="T4" fmla="*/ 9 w 9"/>
                <a:gd name="T5" fmla="*/ 0 h 12"/>
                <a:gd name="T6" fmla="*/ 9 w 9"/>
                <a:gd name="T7" fmla="*/ 0 h 12"/>
                <a:gd name="T8" fmla="*/ 2 w 9"/>
                <a:gd name="T9" fmla="*/ 8 h 12"/>
                <a:gd name="T10" fmla="*/ 0 w 9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2">
                  <a:moveTo>
                    <a:pt x="0" y="12"/>
                  </a:moveTo>
                  <a:lnTo>
                    <a:pt x="2" y="8"/>
                  </a:lnTo>
                  <a:lnTo>
                    <a:pt x="9" y="0"/>
                  </a:lnTo>
                  <a:lnTo>
                    <a:pt x="9" y="0"/>
                  </a:lnTo>
                  <a:lnTo>
                    <a:pt x="2" y="8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45" name="Freeform 1509">
              <a:extLst>
                <a:ext uri="{FF2B5EF4-FFF2-40B4-BE49-F238E27FC236}">
                  <a16:creationId xmlns:a16="http://schemas.microsoft.com/office/drawing/2014/main" id="{909D950D-D811-4E55-9F2C-1C5E56778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161" y="3578292"/>
              <a:ext cx="0" cy="9528"/>
            </a:xfrm>
            <a:custGeom>
              <a:avLst/>
              <a:gdLst>
                <a:gd name="T0" fmla="*/ 4 h 6"/>
                <a:gd name="T1" fmla="*/ 6 h 6"/>
                <a:gd name="T2" fmla="*/ 6 h 6"/>
                <a:gd name="T3" fmla="*/ 6 h 6"/>
                <a:gd name="T4" fmla="*/ 4 h 6"/>
                <a:gd name="T5" fmla="*/ 2 h 6"/>
                <a:gd name="T6" fmla="*/ 0 h 6"/>
                <a:gd name="T7" fmla="*/ 2 h 6"/>
                <a:gd name="T8" fmla="*/ 4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</a:cxnLst>
              <a:rect l="0" t="0" r="r" b="b"/>
              <a:pathLst>
                <a:path h="6">
                  <a:moveTo>
                    <a:pt x="0" y="4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46" name="Freeform 1510">
              <a:extLst>
                <a:ext uri="{FF2B5EF4-FFF2-40B4-BE49-F238E27FC236}">
                  <a16:creationId xmlns:a16="http://schemas.microsoft.com/office/drawing/2014/main" id="{BB2178A4-8E2C-4515-A073-816C129B7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6586" y="3683100"/>
              <a:ext cx="25400" cy="19056"/>
            </a:xfrm>
            <a:custGeom>
              <a:avLst/>
              <a:gdLst>
                <a:gd name="T0" fmla="*/ 0 w 16"/>
                <a:gd name="T1" fmla="*/ 12 h 12"/>
                <a:gd name="T2" fmla="*/ 12 w 16"/>
                <a:gd name="T3" fmla="*/ 4 h 12"/>
                <a:gd name="T4" fmla="*/ 16 w 16"/>
                <a:gd name="T5" fmla="*/ 0 h 12"/>
                <a:gd name="T6" fmla="*/ 12 w 16"/>
                <a:gd name="T7" fmla="*/ 4 h 12"/>
                <a:gd name="T8" fmla="*/ 0 w 1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2">
                  <a:moveTo>
                    <a:pt x="0" y="12"/>
                  </a:moveTo>
                  <a:lnTo>
                    <a:pt x="12" y="4"/>
                  </a:lnTo>
                  <a:lnTo>
                    <a:pt x="16" y="0"/>
                  </a:lnTo>
                  <a:lnTo>
                    <a:pt x="12" y="4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47" name="Freeform 1511">
              <a:extLst>
                <a:ext uri="{FF2B5EF4-FFF2-40B4-BE49-F238E27FC236}">
                  <a16:creationId xmlns:a16="http://schemas.microsoft.com/office/drawing/2014/main" id="{D8C24079-B9F0-45D5-9E69-1E6266EF4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161" y="3544944"/>
              <a:ext cx="3175" cy="14292"/>
            </a:xfrm>
            <a:custGeom>
              <a:avLst/>
              <a:gdLst>
                <a:gd name="T0" fmla="*/ 0 w 2"/>
                <a:gd name="T1" fmla="*/ 5 h 9"/>
                <a:gd name="T2" fmla="*/ 2 w 2"/>
                <a:gd name="T3" fmla="*/ 9 h 9"/>
                <a:gd name="T4" fmla="*/ 0 w 2"/>
                <a:gd name="T5" fmla="*/ 5 h 9"/>
                <a:gd name="T6" fmla="*/ 0 w 2"/>
                <a:gd name="T7" fmla="*/ 3 h 9"/>
                <a:gd name="T8" fmla="*/ 2 w 2"/>
                <a:gd name="T9" fmla="*/ 0 h 9"/>
                <a:gd name="T10" fmla="*/ 0 w 2"/>
                <a:gd name="T11" fmla="*/ 3 h 9"/>
                <a:gd name="T12" fmla="*/ 0 w 2"/>
                <a:gd name="T1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9">
                  <a:moveTo>
                    <a:pt x="0" y="5"/>
                  </a:moveTo>
                  <a:lnTo>
                    <a:pt x="2" y="9"/>
                  </a:lnTo>
                  <a:lnTo>
                    <a:pt x="0" y="5"/>
                  </a:lnTo>
                  <a:lnTo>
                    <a:pt x="0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48" name="Rectangle 1512">
              <a:extLst>
                <a:ext uri="{FF2B5EF4-FFF2-40B4-BE49-F238E27FC236}">
                  <a16:creationId xmlns:a16="http://schemas.microsoft.com/office/drawing/2014/main" id="{C7440E37-38E3-4244-84A5-DADF5AC63B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9898" y="3857780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49" name="Freeform 1513">
              <a:extLst>
                <a:ext uri="{FF2B5EF4-FFF2-40B4-BE49-F238E27FC236}">
                  <a16:creationId xmlns:a16="http://schemas.microsoft.com/office/drawing/2014/main" id="{28B69647-8FD6-46A2-8A9C-3581F28593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9123" y="3376616"/>
              <a:ext cx="7938" cy="31760"/>
            </a:xfrm>
            <a:custGeom>
              <a:avLst/>
              <a:gdLst>
                <a:gd name="T0" fmla="*/ 5 w 5"/>
                <a:gd name="T1" fmla="*/ 20 h 20"/>
                <a:gd name="T2" fmla="*/ 1 w 5"/>
                <a:gd name="T3" fmla="*/ 6 h 20"/>
                <a:gd name="T4" fmla="*/ 0 w 5"/>
                <a:gd name="T5" fmla="*/ 0 h 20"/>
                <a:gd name="T6" fmla="*/ 1 w 5"/>
                <a:gd name="T7" fmla="*/ 6 h 20"/>
                <a:gd name="T8" fmla="*/ 5 w 5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0">
                  <a:moveTo>
                    <a:pt x="5" y="20"/>
                  </a:moveTo>
                  <a:lnTo>
                    <a:pt x="1" y="6"/>
                  </a:lnTo>
                  <a:lnTo>
                    <a:pt x="0" y="0"/>
                  </a:lnTo>
                  <a:lnTo>
                    <a:pt x="1" y="6"/>
                  </a:lnTo>
                  <a:lnTo>
                    <a:pt x="5" y="2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50" name="Rectangle 1514">
              <a:extLst>
                <a:ext uri="{FF2B5EF4-FFF2-40B4-BE49-F238E27FC236}">
                  <a16:creationId xmlns:a16="http://schemas.microsoft.com/office/drawing/2014/main" id="{5FD5C181-B713-4552-AFB9-F3DF301686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0548" y="403404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51" name="Freeform 1515">
              <a:extLst>
                <a:ext uri="{FF2B5EF4-FFF2-40B4-BE49-F238E27FC236}">
                  <a16:creationId xmlns:a16="http://schemas.microsoft.com/office/drawing/2014/main" id="{D955FFFB-80B8-4D9D-8D73-49D94F5F7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1023" y="3932416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52" name="Rectangle 1516">
              <a:extLst>
                <a:ext uri="{FF2B5EF4-FFF2-40B4-BE49-F238E27FC236}">
                  <a16:creationId xmlns:a16="http://schemas.microsoft.com/office/drawing/2014/main" id="{951FF672-5CC5-47EF-B313-4E95673612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9898" y="3857780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53" name="Freeform 1517">
              <a:extLst>
                <a:ext uri="{FF2B5EF4-FFF2-40B4-BE49-F238E27FC236}">
                  <a16:creationId xmlns:a16="http://schemas.microsoft.com/office/drawing/2014/main" id="{AD220AAD-73E0-4F8A-9A6A-E92D5D40E4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510" y="3900656"/>
              <a:ext cx="0" cy="3176"/>
            </a:xfrm>
            <a:custGeom>
              <a:avLst/>
              <a:gdLst>
                <a:gd name="T0" fmla="*/ 0 h 2"/>
                <a:gd name="T1" fmla="*/ 2 h 2"/>
                <a:gd name="T2" fmla="*/ 0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54" name="Freeform 1518">
              <a:extLst>
                <a:ext uri="{FF2B5EF4-FFF2-40B4-BE49-F238E27FC236}">
                  <a16:creationId xmlns:a16="http://schemas.microsoft.com/office/drawing/2014/main" id="{0E51318E-9F98-4CD7-AAF6-F6F0755D3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1023" y="4076924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55" name="Freeform 1519">
              <a:extLst>
                <a:ext uri="{FF2B5EF4-FFF2-40B4-BE49-F238E27FC236}">
                  <a16:creationId xmlns:a16="http://schemas.microsoft.com/office/drawing/2014/main" id="{AD4BEBE5-BFC8-4258-8C24-E96538FBD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3206700"/>
              <a:ext cx="6350" cy="9528"/>
            </a:xfrm>
            <a:custGeom>
              <a:avLst/>
              <a:gdLst>
                <a:gd name="T0" fmla="*/ 4 w 4"/>
                <a:gd name="T1" fmla="*/ 6 h 6"/>
                <a:gd name="T2" fmla="*/ 4 w 4"/>
                <a:gd name="T3" fmla="*/ 6 h 6"/>
                <a:gd name="T4" fmla="*/ 0 w 4"/>
                <a:gd name="T5" fmla="*/ 0 h 6"/>
                <a:gd name="T6" fmla="*/ 0 w 4"/>
                <a:gd name="T7" fmla="*/ 0 h 6"/>
                <a:gd name="T8" fmla="*/ 0 w 4"/>
                <a:gd name="T9" fmla="*/ 0 h 6"/>
                <a:gd name="T10" fmla="*/ 4 w 4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lnTo>
                    <a:pt x="4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56" name="Freeform 1520">
              <a:extLst>
                <a:ext uri="{FF2B5EF4-FFF2-40B4-BE49-F238E27FC236}">
                  <a16:creationId xmlns:a16="http://schemas.microsoft.com/office/drawing/2014/main" id="{02D6897E-3D5C-46BA-A5C8-31E453197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673" y="4170616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57" name="Freeform 1521">
              <a:extLst>
                <a:ext uri="{FF2B5EF4-FFF2-40B4-BE49-F238E27FC236}">
                  <a16:creationId xmlns:a16="http://schemas.microsoft.com/office/drawing/2014/main" id="{EC461410-EF5A-42B5-A32E-3AE80062D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8798" y="3162236"/>
              <a:ext cx="6350" cy="22232"/>
            </a:xfrm>
            <a:custGeom>
              <a:avLst/>
              <a:gdLst>
                <a:gd name="T0" fmla="*/ 4 w 4"/>
                <a:gd name="T1" fmla="*/ 14 h 14"/>
                <a:gd name="T2" fmla="*/ 2 w 4"/>
                <a:gd name="T3" fmla="*/ 8 h 14"/>
                <a:gd name="T4" fmla="*/ 0 w 4"/>
                <a:gd name="T5" fmla="*/ 0 h 14"/>
                <a:gd name="T6" fmla="*/ 2 w 4"/>
                <a:gd name="T7" fmla="*/ 8 h 14"/>
                <a:gd name="T8" fmla="*/ 4 w 4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4">
                  <a:moveTo>
                    <a:pt x="4" y="14"/>
                  </a:moveTo>
                  <a:lnTo>
                    <a:pt x="2" y="8"/>
                  </a:lnTo>
                  <a:lnTo>
                    <a:pt x="0" y="0"/>
                  </a:lnTo>
                  <a:lnTo>
                    <a:pt x="2" y="8"/>
                  </a:lnTo>
                  <a:lnTo>
                    <a:pt x="4" y="1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58" name="Rectangle 1522">
              <a:extLst>
                <a:ext uri="{FF2B5EF4-FFF2-40B4-BE49-F238E27FC236}">
                  <a16:creationId xmlns:a16="http://schemas.microsoft.com/office/drawing/2014/main" id="{2D3A3283-EFA2-4A7E-887E-1AE89FEDFF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5623" y="3154296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59" name="Freeform 1523">
              <a:extLst>
                <a:ext uri="{FF2B5EF4-FFF2-40B4-BE49-F238E27FC236}">
                  <a16:creationId xmlns:a16="http://schemas.microsoft.com/office/drawing/2014/main" id="{AD91C292-D242-484D-BE30-E9844AFE9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4111860"/>
              <a:ext cx="3175" cy="6352"/>
            </a:xfrm>
            <a:custGeom>
              <a:avLst/>
              <a:gdLst>
                <a:gd name="T0" fmla="*/ 0 w 2"/>
                <a:gd name="T1" fmla="*/ 2 h 4"/>
                <a:gd name="T2" fmla="*/ 2 w 2"/>
                <a:gd name="T3" fmla="*/ 4 h 4"/>
                <a:gd name="T4" fmla="*/ 2 w 2"/>
                <a:gd name="T5" fmla="*/ 4 h 4"/>
                <a:gd name="T6" fmla="*/ 2 w 2"/>
                <a:gd name="T7" fmla="*/ 4 h 4"/>
                <a:gd name="T8" fmla="*/ 0 w 2"/>
                <a:gd name="T9" fmla="*/ 2 h 4"/>
                <a:gd name="T10" fmla="*/ 2 w 2"/>
                <a:gd name="T11" fmla="*/ 2 h 4"/>
                <a:gd name="T12" fmla="*/ 2 w 2"/>
                <a:gd name="T13" fmla="*/ 0 h 4"/>
                <a:gd name="T14" fmla="*/ 2 w 2"/>
                <a:gd name="T15" fmla="*/ 2 h 4"/>
                <a:gd name="T16" fmla="*/ 0 w 2"/>
                <a:gd name="T1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60" name="Freeform 1524">
              <a:extLst>
                <a:ext uri="{FF2B5EF4-FFF2-40B4-BE49-F238E27FC236}">
                  <a16:creationId xmlns:a16="http://schemas.microsoft.com/office/drawing/2014/main" id="{50627557-1B65-4253-BFD1-ED84F0BF1D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0548" y="4000700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0 w 2"/>
                <a:gd name="T5" fmla="*/ 2 h 2"/>
                <a:gd name="T6" fmla="*/ 0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61" name="Freeform 1525">
              <a:extLst>
                <a:ext uri="{FF2B5EF4-FFF2-40B4-BE49-F238E27FC236}">
                  <a16:creationId xmlns:a16="http://schemas.microsoft.com/office/drawing/2014/main" id="{AB31205B-F21A-4FB9-B6F3-4E72DADAB7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6885" y="3884776"/>
              <a:ext cx="6350" cy="0"/>
            </a:xfrm>
            <a:custGeom>
              <a:avLst/>
              <a:gdLst>
                <a:gd name="T0" fmla="*/ 4 w 4"/>
                <a:gd name="T1" fmla="*/ 2 w 4"/>
                <a:gd name="T2" fmla="*/ 0 w 4"/>
                <a:gd name="T3" fmla="*/ 2 w 4"/>
                <a:gd name="T4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62" name="Freeform 1526">
              <a:extLst>
                <a:ext uri="{FF2B5EF4-FFF2-40B4-BE49-F238E27FC236}">
                  <a16:creationId xmlns:a16="http://schemas.microsoft.com/office/drawing/2014/main" id="{51F83608-6961-41C0-B087-7A36C515FB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3723" y="3943532"/>
              <a:ext cx="3175" cy="9528"/>
            </a:xfrm>
            <a:custGeom>
              <a:avLst/>
              <a:gdLst>
                <a:gd name="T0" fmla="*/ 0 w 2"/>
                <a:gd name="T1" fmla="*/ 4 h 6"/>
                <a:gd name="T2" fmla="*/ 2 w 2"/>
                <a:gd name="T3" fmla="*/ 6 h 6"/>
                <a:gd name="T4" fmla="*/ 0 w 2"/>
                <a:gd name="T5" fmla="*/ 4 h 6"/>
                <a:gd name="T6" fmla="*/ 0 w 2"/>
                <a:gd name="T7" fmla="*/ 0 h 6"/>
                <a:gd name="T8" fmla="*/ 0 w 2"/>
                <a:gd name="T9" fmla="*/ 0 h 6"/>
                <a:gd name="T10" fmla="*/ 0 w 2"/>
                <a:gd name="T11" fmla="*/ 0 h 6"/>
                <a:gd name="T12" fmla="*/ 0 w 2"/>
                <a:gd name="T13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6">
                  <a:moveTo>
                    <a:pt x="0" y="4"/>
                  </a:moveTo>
                  <a:lnTo>
                    <a:pt x="2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63" name="Freeform 1527">
              <a:extLst>
                <a:ext uri="{FF2B5EF4-FFF2-40B4-BE49-F238E27FC236}">
                  <a16:creationId xmlns:a16="http://schemas.microsoft.com/office/drawing/2014/main" id="{524A33AB-8F00-4DEB-904C-579E8F258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1023" y="4046752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0 w 2"/>
                <a:gd name="T5" fmla="*/ 2 h 2"/>
                <a:gd name="T6" fmla="*/ 0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64" name="Freeform 1528">
              <a:extLst>
                <a:ext uri="{FF2B5EF4-FFF2-40B4-BE49-F238E27FC236}">
                  <a16:creationId xmlns:a16="http://schemas.microsoft.com/office/drawing/2014/main" id="{9ECABA3D-8E53-43D4-89C7-A1F5D8CDB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073" y="3975292"/>
              <a:ext cx="3175" cy="6352"/>
            </a:xfrm>
            <a:custGeom>
              <a:avLst/>
              <a:gdLst>
                <a:gd name="T0" fmla="*/ 2 w 2"/>
                <a:gd name="T1" fmla="*/ 4 h 4"/>
                <a:gd name="T2" fmla="*/ 0 w 2"/>
                <a:gd name="T3" fmla="*/ 0 h 4"/>
                <a:gd name="T4" fmla="*/ 0 w 2"/>
                <a:gd name="T5" fmla="*/ 0 h 4"/>
                <a:gd name="T6" fmla="*/ 2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65" name="Freeform 1529">
              <a:extLst>
                <a:ext uri="{FF2B5EF4-FFF2-40B4-BE49-F238E27FC236}">
                  <a16:creationId xmlns:a16="http://schemas.microsoft.com/office/drawing/2014/main" id="{6CD2D15D-5B5A-42C6-BD69-178FF4A3F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898" y="3984820"/>
              <a:ext cx="6350" cy="9528"/>
            </a:xfrm>
            <a:custGeom>
              <a:avLst/>
              <a:gdLst>
                <a:gd name="T0" fmla="*/ 0 w 4"/>
                <a:gd name="T1" fmla="*/ 6 h 6"/>
                <a:gd name="T2" fmla="*/ 2 w 4"/>
                <a:gd name="T3" fmla="*/ 2 h 6"/>
                <a:gd name="T4" fmla="*/ 4 w 4"/>
                <a:gd name="T5" fmla="*/ 0 h 6"/>
                <a:gd name="T6" fmla="*/ 4 w 4"/>
                <a:gd name="T7" fmla="*/ 0 h 6"/>
                <a:gd name="T8" fmla="*/ 2 w 4"/>
                <a:gd name="T9" fmla="*/ 2 h 6"/>
                <a:gd name="T10" fmla="*/ 0 w 4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6"/>
                  </a:move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66" name="Freeform 1530">
              <a:extLst>
                <a:ext uri="{FF2B5EF4-FFF2-40B4-BE49-F238E27FC236}">
                  <a16:creationId xmlns:a16="http://schemas.microsoft.com/office/drawing/2014/main" id="{C579CB27-677D-4ED5-8CB3-F208D8868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4095980"/>
              <a:ext cx="3175" cy="15880"/>
            </a:xfrm>
            <a:custGeom>
              <a:avLst/>
              <a:gdLst>
                <a:gd name="T0" fmla="*/ 2 w 2"/>
                <a:gd name="T1" fmla="*/ 6 h 10"/>
                <a:gd name="T2" fmla="*/ 2 w 2"/>
                <a:gd name="T3" fmla="*/ 8 h 10"/>
                <a:gd name="T4" fmla="*/ 2 w 2"/>
                <a:gd name="T5" fmla="*/ 10 h 10"/>
                <a:gd name="T6" fmla="*/ 2 w 2"/>
                <a:gd name="T7" fmla="*/ 10 h 10"/>
                <a:gd name="T8" fmla="*/ 2 w 2"/>
                <a:gd name="T9" fmla="*/ 8 h 10"/>
                <a:gd name="T10" fmla="*/ 2 w 2"/>
                <a:gd name="T11" fmla="*/ 6 h 10"/>
                <a:gd name="T12" fmla="*/ 0 w 2"/>
                <a:gd name="T13" fmla="*/ 6 h 10"/>
                <a:gd name="T14" fmla="*/ 2 w 2"/>
                <a:gd name="T15" fmla="*/ 0 h 10"/>
                <a:gd name="T16" fmla="*/ 0 w 2"/>
                <a:gd name="T17" fmla="*/ 6 h 10"/>
                <a:gd name="T18" fmla="*/ 2 w 2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10">
                  <a:moveTo>
                    <a:pt x="2" y="6"/>
                  </a:moveTo>
                  <a:lnTo>
                    <a:pt x="2" y="8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2" y="6"/>
                  </a:lnTo>
                  <a:lnTo>
                    <a:pt x="0" y="6"/>
                  </a:lnTo>
                  <a:lnTo>
                    <a:pt x="2" y="0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67" name="Freeform 1531">
              <a:extLst>
                <a:ext uri="{FF2B5EF4-FFF2-40B4-BE49-F238E27FC236}">
                  <a16:creationId xmlns:a16="http://schemas.microsoft.com/office/drawing/2014/main" id="{5676389A-33AE-4494-BEE1-A3D49973B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4124564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2 w 2"/>
                <a:gd name="T5" fmla="*/ 0 h 2"/>
                <a:gd name="T6" fmla="*/ 0 w 2"/>
                <a:gd name="T7" fmla="*/ 2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68" name="Freeform 1532">
              <a:extLst>
                <a:ext uri="{FF2B5EF4-FFF2-40B4-BE49-F238E27FC236}">
                  <a16:creationId xmlns:a16="http://schemas.microsoft.com/office/drawing/2014/main" id="{366DC204-FACD-4CD5-81BE-CA86F6AC08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4198" y="4065808"/>
              <a:ext cx="6350" cy="11116"/>
            </a:xfrm>
            <a:custGeom>
              <a:avLst/>
              <a:gdLst>
                <a:gd name="T0" fmla="*/ 0 w 4"/>
                <a:gd name="T1" fmla="*/ 7 h 7"/>
                <a:gd name="T2" fmla="*/ 2 w 4"/>
                <a:gd name="T3" fmla="*/ 5 h 7"/>
                <a:gd name="T4" fmla="*/ 4 w 4"/>
                <a:gd name="T5" fmla="*/ 0 h 7"/>
                <a:gd name="T6" fmla="*/ 2 w 4"/>
                <a:gd name="T7" fmla="*/ 5 h 7"/>
                <a:gd name="T8" fmla="*/ 0 w 4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0" y="7"/>
                  </a:moveTo>
                  <a:lnTo>
                    <a:pt x="2" y="5"/>
                  </a:lnTo>
                  <a:lnTo>
                    <a:pt x="4" y="0"/>
                  </a:lnTo>
                  <a:lnTo>
                    <a:pt x="2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69" name="Freeform 1533">
              <a:extLst>
                <a:ext uri="{FF2B5EF4-FFF2-40B4-BE49-F238E27FC236}">
                  <a16:creationId xmlns:a16="http://schemas.microsoft.com/office/drawing/2014/main" id="{1FE141B6-671E-45C7-B7EB-F206BE04A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4198" y="4056280"/>
              <a:ext cx="6350" cy="3176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0 h 2"/>
                <a:gd name="T4" fmla="*/ 0 w 4"/>
                <a:gd name="T5" fmla="*/ 0 h 2"/>
                <a:gd name="T6" fmla="*/ 2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70" name="Rectangle 1534">
              <a:extLst>
                <a:ext uri="{FF2B5EF4-FFF2-40B4-BE49-F238E27FC236}">
                  <a16:creationId xmlns:a16="http://schemas.microsoft.com/office/drawing/2014/main" id="{C18D03F8-0E18-4B11-B52B-431BE376F0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7373" y="4030872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71" name="Freeform 1535">
              <a:extLst>
                <a:ext uri="{FF2B5EF4-FFF2-40B4-BE49-F238E27FC236}">
                  <a16:creationId xmlns:a16="http://schemas.microsoft.com/office/drawing/2014/main" id="{8C639AC3-0EA9-4F5F-8308-C8EBBF918C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0860" y="3903832"/>
              <a:ext cx="1588" cy="3176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0 w 1"/>
                <a:gd name="T5" fmla="*/ 2 h 2"/>
                <a:gd name="T6" fmla="*/ 1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72" name="Freeform 1536">
              <a:extLst>
                <a:ext uri="{FF2B5EF4-FFF2-40B4-BE49-F238E27FC236}">
                  <a16:creationId xmlns:a16="http://schemas.microsoft.com/office/drawing/2014/main" id="{331666D2-BEB7-49F4-817A-71884F7E95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5460" y="3894304"/>
              <a:ext cx="3175" cy="6352"/>
            </a:xfrm>
            <a:custGeom>
              <a:avLst/>
              <a:gdLst>
                <a:gd name="T0" fmla="*/ 2 w 2"/>
                <a:gd name="T1" fmla="*/ 2 h 4"/>
                <a:gd name="T2" fmla="*/ 2 w 2"/>
                <a:gd name="T3" fmla="*/ 4 h 4"/>
                <a:gd name="T4" fmla="*/ 2 w 2"/>
                <a:gd name="T5" fmla="*/ 2 h 4"/>
                <a:gd name="T6" fmla="*/ 2 w 2"/>
                <a:gd name="T7" fmla="*/ 0 h 4"/>
                <a:gd name="T8" fmla="*/ 0 w 2"/>
                <a:gd name="T9" fmla="*/ 0 h 4"/>
                <a:gd name="T10" fmla="*/ 2 w 2"/>
                <a:gd name="T11" fmla="*/ 0 h 4"/>
                <a:gd name="T12" fmla="*/ 2 w 2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">
                  <a:moveTo>
                    <a:pt x="2" y="2"/>
                  </a:moveTo>
                  <a:lnTo>
                    <a:pt x="2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73" name="Freeform 1537">
              <a:extLst>
                <a:ext uri="{FF2B5EF4-FFF2-40B4-BE49-F238E27FC236}">
                  <a16:creationId xmlns:a16="http://schemas.microsoft.com/office/drawing/2014/main" id="{8009736E-0B4E-44A1-B53F-B8975629B7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6410" y="3887952"/>
              <a:ext cx="12700" cy="3176"/>
            </a:xfrm>
            <a:custGeom>
              <a:avLst/>
              <a:gdLst>
                <a:gd name="T0" fmla="*/ 8 w 8"/>
                <a:gd name="T1" fmla="*/ 2 h 2"/>
                <a:gd name="T2" fmla="*/ 0 w 8"/>
                <a:gd name="T3" fmla="*/ 0 h 2"/>
                <a:gd name="T4" fmla="*/ 0 w 8"/>
                <a:gd name="T5" fmla="*/ 0 h 2"/>
                <a:gd name="T6" fmla="*/ 0 w 8"/>
                <a:gd name="T7" fmla="*/ 0 h 2"/>
                <a:gd name="T8" fmla="*/ 8 w 8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8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74" name="Freeform 1538">
              <a:extLst>
                <a:ext uri="{FF2B5EF4-FFF2-40B4-BE49-F238E27FC236}">
                  <a16:creationId xmlns:a16="http://schemas.microsoft.com/office/drawing/2014/main" id="{ED653F29-A597-4773-B528-B19D595D2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4985" y="3900656"/>
              <a:ext cx="3175" cy="6352"/>
            </a:xfrm>
            <a:custGeom>
              <a:avLst/>
              <a:gdLst>
                <a:gd name="T0" fmla="*/ 2 w 2"/>
                <a:gd name="T1" fmla="*/ 2 h 4"/>
                <a:gd name="T2" fmla="*/ 2 w 2"/>
                <a:gd name="T3" fmla="*/ 4 h 4"/>
                <a:gd name="T4" fmla="*/ 2 w 2"/>
                <a:gd name="T5" fmla="*/ 2 h 4"/>
                <a:gd name="T6" fmla="*/ 0 w 2"/>
                <a:gd name="T7" fmla="*/ 2 h 4"/>
                <a:gd name="T8" fmla="*/ 0 w 2"/>
                <a:gd name="T9" fmla="*/ 0 h 4"/>
                <a:gd name="T10" fmla="*/ 0 w 2"/>
                <a:gd name="T11" fmla="*/ 2 h 4"/>
                <a:gd name="T12" fmla="*/ 2 w 2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">
                  <a:moveTo>
                    <a:pt x="2" y="2"/>
                  </a:moveTo>
                  <a:lnTo>
                    <a:pt x="2" y="4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75" name="Freeform 1539">
              <a:extLst>
                <a:ext uri="{FF2B5EF4-FFF2-40B4-BE49-F238E27FC236}">
                  <a16:creationId xmlns:a16="http://schemas.microsoft.com/office/drawing/2014/main" id="{16290C06-6AAC-4275-88DA-6A090A9EF7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510" y="3903832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0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76" name="Freeform 1540">
              <a:extLst>
                <a:ext uri="{FF2B5EF4-FFF2-40B4-BE49-F238E27FC236}">
                  <a16:creationId xmlns:a16="http://schemas.microsoft.com/office/drawing/2014/main" id="{8B5899A0-BBC8-43FD-83FE-1AD6C2035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8635" y="3900656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0 w 2"/>
                <a:gd name="T5" fmla="*/ 2 h 2"/>
                <a:gd name="T6" fmla="*/ 0 w 2"/>
                <a:gd name="T7" fmla="*/ 0 h 2"/>
                <a:gd name="T8" fmla="*/ 0 w 2"/>
                <a:gd name="T9" fmla="*/ 0 h 2"/>
                <a:gd name="T10" fmla="*/ 0 w 2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77" name="Freeform 1541">
              <a:extLst>
                <a:ext uri="{FF2B5EF4-FFF2-40B4-BE49-F238E27FC236}">
                  <a16:creationId xmlns:a16="http://schemas.microsoft.com/office/drawing/2014/main" id="{0A22DAF5-6913-4CB2-9B0C-E4B001ABE8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2448" y="3913360"/>
              <a:ext cx="6350" cy="15880"/>
            </a:xfrm>
            <a:custGeom>
              <a:avLst/>
              <a:gdLst>
                <a:gd name="T0" fmla="*/ 4 w 4"/>
                <a:gd name="T1" fmla="*/ 10 h 10"/>
                <a:gd name="T2" fmla="*/ 4 w 4"/>
                <a:gd name="T3" fmla="*/ 10 h 10"/>
                <a:gd name="T4" fmla="*/ 0 w 4"/>
                <a:gd name="T5" fmla="*/ 0 h 10"/>
                <a:gd name="T6" fmla="*/ 0 w 4"/>
                <a:gd name="T7" fmla="*/ 0 h 10"/>
                <a:gd name="T8" fmla="*/ 4 w 4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0">
                  <a:moveTo>
                    <a:pt x="4" y="10"/>
                  </a:moveTo>
                  <a:lnTo>
                    <a:pt x="4" y="1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78" name="Freeform 1542">
              <a:extLst>
                <a:ext uri="{FF2B5EF4-FFF2-40B4-BE49-F238E27FC236}">
                  <a16:creationId xmlns:a16="http://schemas.microsoft.com/office/drawing/2014/main" id="{6D6B39F8-C69E-4AE8-82B8-46096F4CF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1973" y="3929240"/>
              <a:ext cx="6350" cy="0"/>
            </a:xfrm>
            <a:custGeom>
              <a:avLst/>
              <a:gdLst>
                <a:gd name="T0" fmla="*/ 4 w 4"/>
                <a:gd name="T1" fmla="*/ 2 w 4"/>
                <a:gd name="T2" fmla="*/ 0 w 4"/>
                <a:gd name="T3" fmla="*/ 2 w 4"/>
                <a:gd name="T4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79" name="Rectangle 1543">
              <a:extLst>
                <a:ext uri="{FF2B5EF4-FFF2-40B4-BE49-F238E27FC236}">
                  <a16:creationId xmlns:a16="http://schemas.microsoft.com/office/drawing/2014/main" id="{AFAABAF2-9DCD-4EB9-996B-7AFFA5EAAC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7373" y="3940356"/>
              <a:ext cx="3175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80" name="Freeform 1544">
              <a:extLst>
                <a:ext uri="{FF2B5EF4-FFF2-40B4-BE49-F238E27FC236}">
                  <a16:creationId xmlns:a16="http://schemas.microsoft.com/office/drawing/2014/main" id="{8B8E2529-8ED4-4E55-B86A-EAE1417DE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2448" y="3903832"/>
              <a:ext cx="3175" cy="9528"/>
            </a:xfrm>
            <a:custGeom>
              <a:avLst/>
              <a:gdLst>
                <a:gd name="T0" fmla="*/ 0 w 2"/>
                <a:gd name="T1" fmla="*/ 4 h 6"/>
                <a:gd name="T2" fmla="*/ 0 w 2"/>
                <a:gd name="T3" fmla="*/ 6 h 6"/>
                <a:gd name="T4" fmla="*/ 0 w 2"/>
                <a:gd name="T5" fmla="*/ 4 h 6"/>
                <a:gd name="T6" fmla="*/ 2 w 2"/>
                <a:gd name="T7" fmla="*/ 2 h 6"/>
                <a:gd name="T8" fmla="*/ 0 w 2"/>
                <a:gd name="T9" fmla="*/ 0 h 6"/>
                <a:gd name="T10" fmla="*/ 0 w 2"/>
                <a:gd name="T11" fmla="*/ 0 h 6"/>
                <a:gd name="T12" fmla="*/ 2 w 2"/>
                <a:gd name="T13" fmla="*/ 2 h 6"/>
                <a:gd name="T14" fmla="*/ 0 w 2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6">
                  <a:moveTo>
                    <a:pt x="0" y="4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81" name="Freeform 1545">
              <a:extLst>
                <a:ext uri="{FF2B5EF4-FFF2-40B4-BE49-F238E27FC236}">
                  <a16:creationId xmlns:a16="http://schemas.microsoft.com/office/drawing/2014/main" id="{D7E96A98-B367-45E4-8A2B-FA5C2D5E6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6921" y="2895452"/>
              <a:ext cx="3175" cy="3176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82" name="Freeform 1546">
              <a:extLst>
                <a:ext uri="{FF2B5EF4-FFF2-40B4-BE49-F238E27FC236}">
                  <a16:creationId xmlns:a16="http://schemas.microsoft.com/office/drawing/2014/main" id="{49B3718C-D572-4F5B-A732-37BE4E388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3746" y="2509568"/>
              <a:ext cx="858839" cy="438288"/>
            </a:xfrm>
            <a:custGeom>
              <a:avLst/>
              <a:gdLst>
                <a:gd name="T0" fmla="*/ 51 w 541"/>
                <a:gd name="T1" fmla="*/ 194 h 276"/>
                <a:gd name="T2" fmla="*/ 59 w 541"/>
                <a:gd name="T3" fmla="*/ 188 h 276"/>
                <a:gd name="T4" fmla="*/ 60 w 541"/>
                <a:gd name="T5" fmla="*/ 170 h 276"/>
                <a:gd name="T6" fmla="*/ 72 w 541"/>
                <a:gd name="T7" fmla="*/ 172 h 276"/>
                <a:gd name="T8" fmla="*/ 84 w 541"/>
                <a:gd name="T9" fmla="*/ 180 h 276"/>
                <a:gd name="T10" fmla="*/ 119 w 541"/>
                <a:gd name="T11" fmla="*/ 186 h 276"/>
                <a:gd name="T12" fmla="*/ 82 w 541"/>
                <a:gd name="T13" fmla="*/ 207 h 276"/>
                <a:gd name="T14" fmla="*/ 74 w 541"/>
                <a:gd name="T15" fmla="*/ 213 h 276"/>
                <a:gd name="T16" fmla="*/ 57 w 541"/>
                <a:gd name="T17" fmla="*/ 227 h 276"/>
                <a:gd name="T18" fmla="*/ 33 w 541"/>
                <a:gd name="T19" fmla="*/ 244 h 276"/>
                <a:gd name="T20" fmla="*/ 25 w 541"/>
                <a:gd name="T21" fmla="*/ 250 h 276"/>
                <a:gd name="T22" fmla="*/ 281 w 541"/>
                <a:gd name="T23" fmla="*/ 264 h 276"/>
                <a:gd name="T24" fmla="*/ 518 w 541"/>
                <a:gd name="T25" fmla="*/ 276 h 276"/>
                <a:gd name="T26" fmla="*/ 514 w 541"/>
                <a:gd name="T27" fmla="*/ 244 h 276"/>
                <a:gd name="T28" fmla="*/ 518 w 541"/>
                <a:gd name="T29" fmla="*/ 198 h 276"/>
                <a:gd name="T30" fmla="*/ 518 w 541"/>
                <a:gd name="T31" fmla="*/ 178 h 276"/>
                <a:gd name="T32" fmla="*/ 522 w 541"/>
                <a:gd name="T33" fmla="*/ 168 h 276"/>
                <a:gd name="T34" fmla="*/ 522 w 541"/>
                <a:gd name="T35" fmla="*/ 166 h 276"/>
                <a:gd name="T36" fmla="*/ 527 w 541"/>
                <a:gd name="T37" fmla="*/ 162 h 276"/>
                <a:gd name="T38" fmla="*/ 539 w 541"/>
                <a:gd name="T39" fmla="*/ 151 h 276"/>
                <a:gd name="T40" fmla="*/ 541 w 541"/>
                <a:gd name="T41" fmla="*/ 135 h 276"/>
                <a:gd name="T42" fmla="*/ 537 w 541"/>
                <a:gd name="T43" fmla="*/ 120 h 276"/>
                <a:gd name="T44" fmla="*/ 523 w 541"/>
                <a:gd name="T45" fmla="*/ 110 h 276"/>
                <a:gd name="T46" fmla="*/ 523 w 541"/>
                <a:gd name="T47" fmla="*/ 104 h 276"/>
                <a:gd name="T48" fmla="*/ 510 w 541"/>
                <a:gd name="T49" fmla="*/ 100 h 276"/>
                <a:gd name="T50" fmla="*/ 504 w 541"/>
                <a:gd name="T51" fmla="*/ 96 h 276"/>
                <a:gd name="T52" fmla="*/ 500 w 541"/>
                <a:gd name="T53" fmla="*/ 75 h 276"/>
                <a:gd name="T54" fmla="*/ 494 w 541"/>
                <a:gd name="T55" fmla="*/ 67 h 276"/>
                <a:gd name="T56" fmla="*/ 441 w 541"/>
                <a:gd name="T57" fmla="*/ 65 h 276"/>
                <a:gd name="T58" fmla="*/ 422 w 541"/>
                <a:gd name="T59" fmla="*/ 73 h 276"/>
                <a:gd name="T60" fmla="*/ 408 w 541"/>
                <a:gd name="T61" fmla="*/ 77 h 276"/>
                <a:gd name="T62" fmla="*/ 402 w 541"/>
                <a:gd name="T63" fmla="*/ 61 h 276"/>
                <a:gd name="T64" fmla="*/ 391 w 541"/>
                <a:gd name="T65" fmla="*/ 63 h 276"/>
                <a:gd name="T66" fmla="*/ 369 w 541"/>
                <a:gd name="T67" fmla="*/ 51 h 276"/>
                <a:gd name="T68" fmla="*/ 348 w 541"/>
                <a:gd name="T69" fmla="*/ 38 h 276"/>
                <a:gd name="T70" fmla="*/ 316 w 541"/>
                <a:gd name="T71" fmla="*/ 30 h 276"/>
                <a:gd name="T72" fmla="*/ 293 w 541"/>
                <a:gd name="T73" fmla="*/ 2 h 276"/>
                <a:gd name="T74" fmla="*/ 279 w 541"/>
                <a:gd name="T75" fmla="*/ 18 h 276"/>
                <a:gd name="T76" fmla="*/ 271 w 541"/>
                <a:gd name="T77" fmla="*/ 28 h 276"/>
                <a:gd name="T78" fmla="*/ 264 w 541"/>
                <a:gd name="T79" fmla="*/ 26 h 276"/>
                <a:gd name="T80" fmla="*/ 266 w 541"/>
                <a:gd name="T81" fmla="*/ 43 h 276"/>
                <a:gd name="T82" fmla="*/ 273 w 541"/>
                <a:gd name="T83" fmla="*/ 98 h 276"/>
                <a:gd name="T84" fmla="*/ 250 w 541"/>
                <a:gd name="T85" fmla="*/ 114 h 276"/>
                <a:gd name="T86" fmla="*/ 242 w 541"/>
                <a:gd name="T87" fmla="*/ 112 h 276"/>
                <a:gd name="T88" fmla="*/ 201 w 541"/>
                <a:gd name="T89" fmla="*/ 104 h 276"/>
                <a:gd name="T90" fmla="*/ 156 w 541"/>
                <a:gd name="T91" fmla="*/ 100 h 276"/>
                <a:gd name="T92" fmla="*/ 158 w 541"/>
                <a:gd name="T93" fmla="*/ 92 h 276"/>
                <a:gd name="T94" fmla="*/ 205 w 541"/>
                <a:gd name="T95" fmla="*/ 41 h 276"/>
                <a:gd name="T96" fmla="*/ 215 w 541"/>
                <a:gd name="T97" fmla="*/ 26 h 276"/>
                <a:gd name="T98" fmla="*/ 219 w 541"/>
                <a:gd name="T99" fmla="*/ 18 h 276"/>
                <a:gd name="T100" fmla="*/ 225 w 541"/>
                <a:gd name="T101" fmla="*/ 12 h 276"/>
                <a:gd name="T102" fmla="*/ 221 w 541"/>
                <a:gd name="T103" fmla="*/ 4 h 276"/>
                <a:gd name="T104" fmla="*/ 133 w 541"/>
                <a:gd name="T105" fmla="*/ 100 h 276"/>
                <a:gd name="T106" fmla="*/ 70 w 541"/>
                <a:gd name="T107" fmla="*/ 102 h 276"/>
                <a:gd name="T108" fmla="*/ 57 w 541"/>
                <a:gd name="T109" fmla="*/ 106 h 276"/>
                <a:gd name="T110" fmla="*/ 57 w 541"/>
                <a:gd name="T111" fmla="*/ 139 h 276"/>
                <a:gd name="T112" fmla="*/ 51 w 541"/>
                <a:gd name="T113" fmla="*/ 172 h 276"/>
                <a:gd name="T114" fmla="*/ 49 w 541"/>
                <a:gd name="T115" fmla="*/ 182 h 276"/>
                <a:gd name="T116" fmla="*/ 37 w 541"/>
                <a:gd name="T117" fmla="*/ 202 h 276"/>
                <a:gd name="T118" fmla="*/ 2 w 541"/>
                <a:gd name="T119" fmla="*/ 244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1" h="276">
                  <a:moveTo>
                    <a:pt x="21" y="229"/>
                  </a:moveTo>
                  <a:lnTo>
                    <a:pt x="31" y="217"/>
                  </a:lnTo>
                  <a:lnTo>
                    <a:pt x="47" y="198"/>
                  </a:lnTo>
                  <a:lnTo>
                    <a:pt x="49" y="196"/>
                  </a:lnTo>
                  <a:lnTo>
                    <a:pt x="51" y="194"/>
                  </a:lnTo>
                  <a:lnTo>
                    <a:pt x="53" y="192"/>
                  </a:lnTo>
                  <a:lnTo>
                    <a:pt x="55" y="192"/>
                  </a:lnTo>
                  <a:lnTo>
                    <a:pt x="57" y="192"/>
                  </a:lnTo>
                  <a:lnTo>
                    <a:pt x="59" y="192"/>
                  </a:lnTo>
                  <a:lnTo>
                    <a:pt x="59" y="188"/>
                  </a:lnTo>
                  <a:lnTo>
                    <a:pt x="57" y="186"/>
                  </a:lnTo>
                  <a:lnTo>
                    <a:pt x="57" y="182"/>
                  </a:lnTo>
                  <a:lnTo>
                    <a:pt x="57" y="176"/>
                  </a:lnTo>
                  <a:lnTo>
                    <a:pt x="59" y="172"/>
                  </a:lnTo>
                  <a:lnTo>
                    <a:pt x="60" y="170"/>
                  </a:lnTo>
                  <a:lnTo>
                    <a:pt x="62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68"/>
                  </a:lnTo>
                  <a:lnTo>
                    <a:pt x="72" y="172"/>
                  </a:lnTo>
                  <a:lnTo>
                    <a:pt x="72" y="176"/>
                  </a:lnTo>
                  <a:lnTo>
                    <a:pt x="74" y="182"/>
                  </a:lnTo>
                  <a:lnTo>
                    <a:pt x="78" y="186"/>
                  </a:lnTo>
                  <a:lnTo>
                    <a:pt x="80" y="186"/>
                  </a:lnTo>
                  <a:lnTo>
                    <a:pt x="84" y="180"/>
                  </a:lnTo>
                  <a:lnTo>
                    <a:pt x="96" y="174"/>
                  </a:lnTo>
                  <a:lnTo>
                    <a:pt x="133" y="176"/>
                  </a:lnTo>
                  <a:lnTo>
                    <a:pt x="133" y="178"/>
                  </a:lnTo>
                  <a:lnTo>
                    <a:pt x="121" y="184"/>
                  </a:lnTo>
                  <a:lnTo>
                    <a:pt x="119" y="186"/>
                  </a:lnTo>
                  <a:lnTo>
                    <a:pt x="115" y="192"/>
                  </a:lnTo>
                  <a:lnTo>
                    <a:pt x="113" y="194"/>
                  </a:lnTo>
                  <a:lnTo>
                    <a:pt x="107" y="196"/>
                  </a:lnTo>
                  <a:lnTo>
                    <a:pt x="86" y="207"/>
                  </a:lnTo>
                  <a:lnTo>
                    <a:pt x="82" y="207"/>
                  </a:lnTo>
                  <a:lnTo>
                    <a:pt x="80" y="209"/>
                  </a:lnTo>
                  <a:lnTo>
                    <a:pt x="78" y="213"/>
                  </a:lnTo>
                  <a:lnTo>
                    <a:pt x="76" y="213"/>
                  </a:lnTo>
                  <a:lnTo>
                    <a:pt x="74" y="213"/>
                  </a:lnTo>
                  <a:lnTo>
                    <a:pt x="74" y="213"/>
                  </a:lnTo>
                  <a:lnTo>
                    <a:pt x="72" y="211"/>
                  </a:lnTo>
                  <a:lnTo>
                    <a:pt x="70" y="209"/>
                  </a:lnTo>
                  <a:lnTo>
                    <a:pt x="64" y="209"/>
                  </a:lnTo>
                  <a:lnTo>
                    <a:pt x="60" y="217"/>
                  </a:lnTo>
                  <a:lnTo>
                    <a:pt x="57" y="227"/>
                  </a:lnTo>
                  <a:lnTo>
                    <a:pt x="51" y="235"/>
                  </a:lnTo>
                  <a:lnTo>
                    <a:pt x="39" y="239"/>
                  </a:lnTo>
                  <a:lnTo>
                    <a:pt x="35" y="241"/>
                  </a:lnTo>
                  <a:lnTo>
                    <a:pt x="35" y="241"/>
                  </a:lnTo>
                  <a:lnTo>
                    <a:pt x="33" y="244"/>
                  </a:lnTo>
                  <a:lnTo>
                    <a:pt x="33" y="246"/>
                  </a:lnTo>
                  <a:lnTo>
                    <a:pt x="31" y="248"/>
                  </a:lnTo>
                  <a:lnTo>
                    <a:pt x="25" y="248"/>
                  </a:lnTo>
                  <a:lnTo>
                    <a:pt x="25" y="250"/>
                  </a:lnTo>
                  <a:lnTo>
                    <a:pt x="25" y="250"/>
                  </a:lnTo>
                  <a:lnTo>
                    <a:pt x="60" y="252"/>
                  </a:lnTo>
                  <a:lnTo>
                    <a:pt x="125" y="254"/>
                  </a:lnTo>
                  <a:lnTo>
                    <a:pt x="172" y="258"/>
                  </a:lnTo>
                  <a:lnTo>
                    <a:pt x="221" y="260"/>
                  </a:lnTo>
                  <a:lnTo>
                    <a:pt x="281" y="264"/>
                  </a:lnTo>
                  <a:lnTo>
                    <a:pt x="353" y="268"/>
                  </a:lnTo>
                  <a:lnTo>
                    <a:pt x="400" y="270"/>
                  </a:lnTo>
                  <a:lnTo>
                    <a:pt x="447" y="272"/>
                  </a:lnTo>
                  <a:lnTo>
                    <a:pt x="486" y="274"/>
                  </a:lnTo>
                  <a:lnTo>
                    <a:pt x="518" y="276"/>
                  </a:lnTo>
                  <a:lnTo>
                    <a:pt x="529" y="272"/>
                  </a:lnTo>
                  <a:lnTo>
                    <a:pt x="523" y="262"/>
                  </a:lnTo>
                  <a:lnTo>
                    <a:pt x="518" y="254"/>
                  </a:lnTo>
                  <a:lnTo>
                    <a:pt x="516" y="248"/>
                  </a:lnTo>
                  <a:lnTo>
                    <a:pt x="514" y="244"/>
                  </a:lnTo>
                  <a:lnTo>
                    <a:pt x="514" y="239"/>
                  </a:lnTo>
                  <a:lnTo>
                    <a:pt x="514" y="233"/>
                  </a:lnTo>
                  <a:lnTo>
                    <a:pt x="514" y="211"/>
                  </a:lnTo>
                  <a:lnTo>
                    <a:pt x="516" y="203"/>
                  </a:lnTo>
                  <a:lnTo>
                    <a:pt x="518" y="198"/>
                  </a:lnTo>
                  <a:lnTo>
                    <a:pt x="520" y="192"/>
                  </a:lnTo>
                  <a:lnTo>
                    <a:pt x="518" y="190"/>
                  </a:lnTo>
                  <a:lnTo>
                    <a:pt x="518" y="188"/>
                  </a:lnTo>
                  <a:lnTo>
                    <a:pt x="518" y="182"/>
                  </a:lnTo>
                  <a:lnTo>
                    <a:pt x="518" y="178"/>
                  </a:lnTo>
                  <a:lnTo>
                    <a:pt x="518" y="176"/>
                  </a:lnTo>
                  <a:lnTo>
                    <a:pt x="522" y="172"/>
                  </a:lnTo>
                  <a:lnTo>
                    <a:pt x="522" y="172"/>
                  </a:lnTo>
                  <a:lnTo>
                    <a:pt x="522" y="170"/>
                  </a:lnTo>
                  <a:lnTo>
                    <a:pt x="522" y="168"/>
                  </a:lnTo>
                  <a:lnTo>
                    <a:pt x="522" y="168"/>
                  </a:lnTo>
                  <a:lnTo>
                    <a:pt x="522" y="166"/>
                  </a:lnTo>
                  <a:lnTo>
                    <a:pt x="522" y="166"/>
                  </a:lnTo>
                  <a:lnTo>
                    <a:pt x="522" y="166"/>
                  </a:lnTo>
                  <a:lnTo>
                    <a:pt x="522" y="166"/>
                  </a:lnTo>
                  <a:lnTo>
                    <a:pt x="522" y="166"/>
                  </a:lnTo>
                  <a:lnTo>
                    <a:pt x="523" y="166"/>
                  </a:lnTo>
                  <a:lnTo>
                    <a:pt x="523" y="164"/>
                  </a:lnTo>
                  <a:lnTo>
                    <a:pt x="525" y="164"/>
                  </a:lnTo>
                  <a:lnTo>
                    <a:pt x="527" y="162"/>
                  </a:lnTo>
                  <a:lnTo>
                    <a:pt x="529" y="161"/>
                  </a:lnTo>
                  <a:lnTo>
                    <a:pt x="531" y="157"/>
                  </a:lnTo>
                  <a:lnTo>
                    <a:pt x="533" y="155"/>
                  </a:lnTo>
                  <a:lnTo>
                    <a:pt x="537" y="153"/>
                  </a:lnTo>
                  <a:lnTo>
                    <a:pt x="539" y="151"/>
                  </a:lnTo>
                  <a:lnTo>
                    <a:pt x="541" y="147"/>
                  </a:lnTo>
                  <a:lnTo>
                    <a:pt x="541" y="145"/>
                  </a:lnTo>
                  <a:lnTo>
                    <a:pt x="541" y="143"/>
                  </a:lnTo>
                  <a:lnTo>
                    <a:pt x="541" y="141"/>
                  </a:lnTo>
                  <a:lnTo>
                    <a:pt x="541" y="135"/>
                  </a:lnTo>
                  <a:lnTo>
                    <a:pt x="541" y="135"/>
                  </a:lnTo>
                  <a:lnTo>
                    <a:pt x="541" y="131"/>
                  </a:lnTo>
                  <a:lnTo>
                    <a:pt x="539" y="123"/>
                  </a:lnTo>
                  <a:lnTo>
                    <a:pt x="539" y="121"/>
                  </a:lnTo>
                  <a:lnTo>
                    <a:pt x="537" y="120"/>
                  </a:lnTo>
                  <a:lnTo>
                    <a:pt x="537" y="118"/>
                  </a:lnTo>
                  <a:lnTo>
                    <a:pt x="535" y="118"/>
                  </a:lnTo>
                  <a:lnTo>
                    <a:pt x="525" y="112"/>
                  </a:lnTo>
                  <a:lnTo>
                    <a:pt x="525" y="112"/>
                  </a:lnTo>
                  <a:lnTo>
                    <a:pt x="523" y="110"/>
                  </a:lnTo>
                  <a:lnTo>
                    <a:pt x="525" y="108"/>
                  </a:lnTo>
                  <a:lnTo>
                    <a:pt x="525" y="106"/>
                  </a:lnTo>
                  <a:lnTo>
                    <a:pt x="525" y="106"/>
                  </a:lnTo>
                  <a:lnTo>
                    <a:pt x="523" y="106"/>
                  </a:lnTo>
                  <a:lnTo>
                    <a:pt x="523" y="104"/>
                  </a:lnTo>
                  <a:lnTo>
                    <a:pt x="522" y="104"/>
                  </a:lnTo>
                  <a:lnTo>
                    <a:pt x="522" y="102"/>
                  </a:lnTo>
                  <a:lnTo>
                    <a:pt x="520" y="100"/>
                  </a:lnTo>
                  <a:lnTo>
                    <a:pt x="518" y="100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506" y="98"/>
                  </a:lnTo>
                  <a:lnTo>
                    <a:pt x="504" y="96"/>
                  </a:lnTo>
                  <a:lnTo>
                    <a:pt x="504" y="94"/>
                  </a:lnTo>
                  <a:lnTo>
                    <a:pt x="504" y="92"/>
                  </a:lnTo>
                  <a:lnTo>
                    <a:pt x="502" y="88"/>
                  </a:lnTo>
                  <a:lnTo>
                    <a:pt x="500" y="82"/>
                  </a:lnTo>
                  <a:lnTo>
                    <a:pt x="500" y="75"/>
                  </a:lnTo>
                  <a:lnTo>
                    <a:pt x="498" y="73"/>
                  </a:lnTo>
                  <a:lnTo>
                    <a:pt x="498" y="69"/>
                  </a:lnTo>
                  <a:lnTo>
                    <a:pt x="496" y="69"/>
                  </a:lnTo>
                  <a:lnTo>
                    <a:pt x="496" y="67"/>
                  </a:lnTo>
                  <a:lnTo>
                    <a:pt x="494" y="67"/>
                  </a:lnTo>
                  <a:lnTo>
                    <a:pt x="490" y="65"/>
                  </a:lnTo>
                  <a:lnTo>
                    <a:pt x="473" y="69"/>
                  </a:lnTo>
                  <a:lnTo>
                    <a:pt x="445" y="65"/>
                  </a:lnTo>
                  <a:lnTo>
                    <a:pt x="445" y="65"/>
                  </a:lnTo>
                  <a:lnTo>
                    <a:pt x="441" y="65"/>
                  </a:lnTo>
                  <a:lnTo>
                    <a:pt x="434" y="67"/>
                  </a:lnTo>
                  <a:lnTo>
                    <a:pt x="424" y="71"/>
                  </a:lnTo>
                  <a:lnTo>
                    <a:pt x="422" y="73"/>
                  </a:lnTo>
                  <a:lnTo>
                    <a:pt x="422" y="73"/>
                  </a:lnTo>
                  <a:lnTo>
                    <a:pt x="422" y="73"/>
                  </a:lnTo>
                  <a:lnTo>
                    <a:pt x="420" y="75"/>
                  </a:lnTo>
                  <a:lnTo>
                    <a:pt x="416" y="77"/>
                  </a:lnTo>
                  <a:lnTo>
                    <a:pt x="412" y="79"/>
                  </a:lnTo>
                  <a:lnTo>
                    <a:pt x="412" y="77"/>
                  </a:lnTo>
                  <a:lnTo>
                    <a:pt x="408" y="77"/>
                  </a:lnTo>
                  <a:lnTo>
                    <a:pt x="406" y="75"/>
                  </a:lnTo>
                  <a:lnTo>
                    <a:pt x="404" y="73"/>
                  </a:lnTo>
                  <a:lnTo>
                    <a:pt x="402" y="69"/>
                  </a:lnTo>
                  <a:lnTo>
                    <a:pt x="402" y="63"/>
                  </a:lnTo>
                  <a:lnTo>
                    <a:pt x="402" y="61"/>
                  </a:lnTo>
                  <a:lnTo>
                    <a:pt x="402" y="61"/>
                  </a:lnTo>
                  <a:lnTo>
                    <a:pt x="400" y="59"/>
                  </a:lnTo>
                  <a:lnTo>
                    <a:pt x="396" y="59"/>
                  </a:lnTo>
                  <a:lnTo>
                    <a:pt x="393" y="63"/>
                  </a:lnTo>
                  <a:lnTo>
                    <a:pt x="391" y="63"/>
                  </a:lnTo>
                  <a:lnTo>
                    <a:pt x="389" y="63"/>
                  </a:lnTo>
                  <a:lnTo>
                    <a:pt x="385" y="59"/>
                  </a:lnTo>
                  <a:lnTo>
                    <a:pt x="379" y="59"/>
                  </a:lnTo>
                  <a:lnTo>
                    <a:pt x="375" y="57"/>
                  </a:lnTo>
                  <a:lnTo>
                    <a:pt x="369" y="51"/>
                  </a:lnTo>
                  <a:lnTo>
                    <a:pt x="361" y="49"/>
                  </a:lnTo>
                  <a:lnTo>
                    <a:pt x="357" y="49"/>
                  </a:lnTo>
                  <a:lnTo>
                    <a:pt x="355" y="45"/>
                  </a:lnTo>
                  <a:lnTo>
                    <a:pt x="353" y="43"/>
                  </a:lnTo>
                  <a:lnTo>
                    <a:pt x="348" y="38"/>
                  </a:lnTo>
                  <a:lnTo>
                    <a:pt x="342" y="34"/>
                  </a:lnTo>
                  <a:lnTo>
                    <a:pt x="338" y="32"/>
                  </a:lnTo>
                  <a:lnTo>
                    <a:pt x="334" y="30"/>
                  </a:lnTo>
                  <a:lnTo>
                    <a:pt x="328" y="30"/>
                  </a:lnTo>
                  <a:lnTo>
                    <a:pt x="316" y="30"/>
                  </a:lnTo>
                  <a:lnTo>
                    <a:pt x="311" y="24"/>
                  </a:lnTo>
                  <a:lnTo>
                    <a:pt x="301" y="6"/>
                  </a:lnTo>
                  <a:lnTo>
                    <a:pt x="301" y="6"/>
                  </a:lnTo>
                  <a:lnTo>
                    <a:pt x="295" y="0"/>
                  </a:lnTo>
                  <a:lnTo>
                    <a:pt x="293" y="2"/>
                  </a:lnTo>
                  <a:lnTo>
                    <a:pt x="291" y="2"/>
                  </a:lnTo>
                  <a:lnTo>
                    <a:pt x="289" y="4"/>
                  </a:lnTo>
                  <a:lnTo>
                    <a:pt x="277" y="14"/>
                  </a:lnTo>
                  <a:lnTo>
                    <a:pt x="279" y="14"/>
                  </a:lnTo>
                  <a:lnTo>
                    <a:pt x="279" y="18"/>
                  </a:lnTo>
                  <a:lnTo>
                    <a:pt x="277" y="22"/>
                  </a:lnTo>
                  <a:lnTo>
                    <a:pt x="277" y="24"/>
                  </a:lnTo>
                  <a:lnTo>
                    <a:pt x="275" y="26"/>
                  </a:lnTo>
                  <a:lnTo>
                    <a:pt x="275" y="28"/>
                  </a:lnTo>
                  <a:lnTo>
                    <a:pt x="271" y="28"/>
                  </a:lnTo>
                  <a:lnTo>
                    <a:pt x="269" y="28"/>
                  </a:lnTo>
                  <a:lnTo>
                    <a:pt x="269" y="26"/>
                  </a:lnTo>
                  <a:lnTo>
                    <a:pt x="268" y="24"/>
                  </a:lnTo>
                  <a:lnTo>
                    <a:pt x="266" y="24"/>
                  </a:lnTo>
                  <a:lnTo>
                    <a:pt x="264" y="26"/>
                  </a:lnTo>
                  <a:lnTo>
                    <a:pt x="264" y="28"/>
                  </a:lnTo>
                  <a:lnTo>
                    <a:pt x="264" y="30"/>
                  </a:lnTo>
                  <a:lnTo>
                    <a:pt x="264" y="36"/>
                  </a:lnTo>
                  <a:lnTo>
                    <a:pt x="264" y="38"/>
                  </a:lnTo>
                  <a:lnTo>
                    <a:pt x="266" y="43"/>
                  </a:lnTo>
                  <a:lnTo>
                    <a:pt x="266" y="43"/>
                  </a:lnTo>
                  <a:lnTo>
                    <a:pt x="266" y="47"/>
                  </a:lnTo>
                  <a:lnTo>
                    <a:pt x="269" y="82"/>
                  </a:lnTo>
                  <a:lnTo>
                    <a:pt x="271" y="92"/>
                  </a:lnTo>
                  <a:lnTo>
                    <a:pt x="273" y="98"/>
                  </a:lnTo>
                  <a:lnTo>
                    <a:pt x="271" y="104"/>
                  </a:lnTo>
                  <a:lnTo>
                    <a:pt x="266" y="108"/>
                  </a:lnTo>
                  <a:lnTo>
                    <a:pt x="250" y="112"/>
                  </a:lnTo>
                  <a:lnTo>
                    <a:pt x="250" y="112"/>
                  </a:lnTo>
                  <a:lnTo>
                    <a:pt x="250" y="114"/>
                  </a:lnTo>
                  <a:lnTo>
                    <a:pt x="248" y="114"/>
                  </a:lnTo>
                  <a:lnTo>
                    <a:pt x="246" y="116"/>
                  </a:lnTo>
                  <a:lnTo>
                    <a:pt x="246" y="114"/>
                  </a:lnTo>
                  <a:lnTo>
                    <a:pt x="244" y="112"/>
                  </a:lnTo>
                  <a:lnTo>
                    <a:pt x="242" y="112"/>
                  </a:lnTo>
                  <a:lnTo>
                    <a:pt x="242" y="112"/>
                  </a:lnTo>
                  <a:lnTo>
                    <a:pt x="240" y="114"/>
                  </a:lnTo>
                  <a:lnTo>
                    <a:pt x="228" y="116"/>
                  </a:lnTo>
                  <a:lnTo>
                    <a:pt x="209" y="112"/>
                  </a:lnTo>
                  <a:lnTo>
                    <a:pt x="201" y="104"/>
                  </a:lnTo>
                  <a:lnTo>
                    <a:pt x="193" y="102"/>
                  </a:lnTo>
                  <a:lnTo>
                    <a:pt x="162" y="104"/>
                  </a:lnTo>
                  <a:lnTo>
                    <a:pt x="158" y="104"/>
                  </a:lnTo>
                  <a:lnTo>
                    <a:pt x="158" y="102"/>
                  </a:lnTo>
                  <a:lnTo>
                    <a:pt x="156" y="100"/>
                  </a:lnTo>
                  <a:lnTo>
                    <a:pt x="154" y="98"/>
                  </a:lnTo>
                  <a:lnTo>
                    <a:pt x="154" y="96"/>
                  </a:lnTo>
                  <a:lnTo>
                    <a:pt x="154" y="94"/>
                  </a:lnTo>
                  <a:lnTo>
                    <a:pt x="156" y="92"/>
                  </a:lnTo>
                  <a:lnTo>
                    <a:pt x="158" y="92"/>
                  </a:lnTo>
                  <a:lnTo>
                    <a:pt x="158" y="92"/>
                  </a:lnTo>
                  <a:lnTo>
                    <a:pt x="180" y="71"/>
                  </a:lnTo>
                  <a:lnTo>
                    <a:pt x="195" y="53"/>
                  </a:lnTo>
                  <a:lnTo>
                    <a:pt x="203" y="43"/>
                  </a:lnTo>
                  <a:lnTo>
                    <a:pt x="205" y="41"/>
                  </a:lnTo>
                  <a:lnTo>
                    <a:pt x="209" y="36"/>
                  </a:lnTo>
                  <a:lnTo>
                    <a:pt x="209" y="34"/>
                  </a:lnTo>
                  <a:lnTo>
                    <a:pt x="213" y="30"/>
                  </a:lnTo>
                  <a:lnTo>
                    <a:pt x="213" y="28"/>
                  </a:lnTo>
                  <a:lnTo>
                    <a:pt x="215" y="26"/>
                  </a:lnTo>
                  <a:lnTo>
                    <a:pt x="215" y="24"/>
                  </a:lnTo>
                  <a:lnTo>
                    <a:pt x="215" y="24"/>
                  </a:lnTo>
                  <a:lnTo>
                    <a:pt x="217" y="22"/>
                  </a:lnTo>
                  <a:lnTo>
                    <a:pt x="217" y="20"/>
                  </a:lnTo>
                  <a:lnTo>
                    <a:pt x="219" y="18"/>
                  </a:lnTo>
                  <a:lnTo>
                    <a:pt x="223" y="16"/>
                  </a:lnTo>
                  <a:lnTo>
                    <a:pt x="223" y="14"/>
                  </a:lnTo>
                  <a:lnTo>
                    <a:pt x="223" y="14"/>
                  </a:lnTo>
                  <a:lnTo>
                    <a:pt x="223" y="14"/>
                  </a:lnTo>
                  <a:lnTo>
                    <a:pt x="225" y="12"/>
                  </a:lnTo>
                  <a:lnTo>
                    <a:pt x="230" y="6"/>
                  </a:lnTo>
                  <a:lnTo>
                    <a:pt x="230" y="6"/>
                  </a:lnTo>
                  <a:lnTo>
                    <a:pt x="230" y="6"/>
                  </a:lnTo>
                  <a:lnTo>
                    <a:pt x="221" y="4"/>
                  </a:lnTo>
                  <a:lnTo>
                    <a:pt x="221" y="4"/>
                  </a:lnTo>
                  <a:lnTo>
                    <a:pt x="203" y="34"/>
                  </a:lnTo>
                  <a:lnTo>
                    <a:pt x="201" y="36"/>
                  </a:lnTo>
                  <a:lnTo>
                    <a:pt x="172" y="73"/>
                  </a:lnTo>
                  <a:lnTo>
                    <a:pt x="146" y="92"/>
                  </a:lnTo>
                  <a:lnTo>
                    <a:pt x="133" y="100"/>
                  </a:lnTo>
                  <a:lnTo>
                    <a:pt x="127" y="102"/>
                  </a:lnTo>
                  <a:lnTo>
                    <a:pt x="100" y="98"/>
                  </a:lnTo>
                  <a:lnTo>
                    <a:pt x="90" y="100"/>
                  </a:lnTo>
                  <a:lnTo>
                    <a:pt x="78" y="100"/>
                  </a:lnTo>
                  <a:lnTo>
                    <a:pt x="70" y="102"/>
                  </a:lnTo>
                  <a:lnTo>
                    <a:pt x="68" y="100"/>
                  </a:lnTo>
                  <a:lnTo>
                    <a:pt x="64" y="96"/>
                  </a:lnTo>
                  <a:lnTo>
                    <a:pt x="62" y="96"/>
                  </a:lnTo>
                  <a:lnTo>
                    <a:pt x="59" y="100"/>
                  </a:lnTo>
                  <a:lnTo>
                    <a:pt x="57" y="106"/>
                  </a:lnTo>
                  <a:lnTo>
                    <a:pt x="55" y="110"/>
                  </a:lnTo>
                  <a:lnTo>
                    <a:pt x="53" y="118"/>
                  </a:lnTo>
                  <a:lnTo>
                    <a:pt x="53" y="121"/>
                  </a:lnTo>
                  <a:lnTo>
                    <a:pt x="53" y="125"/>
                  </a:lnTo>
                  <a:lnTo>
                    <a:pt x="57" y="139"/>
                  </a:lnTo>
                  <a:lnTo>
                    <a:pt x="59" y="145"/>
                  </a:lnTo>
                  <a:lnTo>
                    <a:pt x="59" y="153"/>
                  </a:lnTo>
                  <a:lnTo>
                    <a:pt x="59" y="157"/>
                  </a:lnTo>
                  <a:lnTo>
                    <a:pt x="55" y="168"/>
                  </a:lnTo>
                  <a:lnTo>
                    <a:pt x="51" y="172"/>
                  </a:lnTo>
                  <a:lnTo>
                    <a:pt x="49" y="174"/>
                  </a:lnTo>
                  <a:lnTo>
                    <a:pt x="49" y="176"/>
                  </a:lnTo>
                  <a:lnTo>
                    <a:pt x="49" y="178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9" y="184"/>
                  </a:lnTo>
                  <a:lnTo>
                    <a:pt x="47" y="184"/>
                  </a:lnTo>
                  <a:lnTo>
                    <a:pt x="47" y="184"/>
                  </a:lnTo>
                  <a:lnTo>
                    <a:pt x="47" y="186"/>
                  </a:lnTo>
                  <a:lnTo>
                    <a:pt x="37" y="202"/>
                  </a:lnTo>
                  <a:lnTo>
                    <a:pt x="21" y="223"/>
                  </a:lnTo>
                  <a:lnTo>
                    <a:pt x="4" y="241"/>
                  </a:lnTo>
                  <a:lnTo>
                    <a:pt x="4" y="243"/>
                  </a:lnTo>
                  <a:lnTo>
                    <a:pt x="0" y="243"/>
                  </a:lnTo>
                  <a:lnTo>
                    <a:pt x="2" y="244"/>
                  </a:lnTo>
                  <a:lnTo>
                    <a:pt x="21" y="22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 dirty="0"/>
            </a:p>
          </p:txBody>
        </p:sp>
        <p:sp>
          <p:nvSpPr>
            <p:cNvPr id="483" name="Freeform 1547">
              <a:extLst>
                <a:ext uri="{FF2B5EF4-FFF2-40B4-BE49-F238E27FC236}">
                  <a16:creationId xmlns:a16="http://schemas.microsoft.com/office/drawing/2014/main" id="{BAFE8AA9-362C-476F-A1AD-7862625E6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922" y="2604848"/>
              <a:ext cx="6350" cy="22232"/>
            </a:xfrm>
            <a:custGeom>
              <a:avLst/>
              <a:gdLst>
                <a:gd name="T0" fmla="*/ 0 w 4"/>
                <a:gd name="T1" fmla="*/ 8 h 14"/>
                <a:gd name="T2" fmla="*/ 0 w 4"/>
                <a:gd name="T3" fmla="*/ 2 h 14"/>
                <a:gd name="T4" fmla="*/ 0 w 4"/>
                <a:gd name="T5" fmla="*/ 0 h 14"/>
                <a:gd name="T6" fmla="*/ 0 w 4"/>
                <a:gd name="T7" fmla="*/ 2 h 14"/>
                <a:gd name="T8" fmla="*/ 0 w 4"/>
                <a:gd name="T9" fmla="*/ 8 h 14"/>
                <a:gd name="T10" fmla="*/ 2 w 4"/>
                <a:gd name="T11" fmla="*/ 12 h 14"/>
                <a:gd name="T12" fmla="*/ 4 w 4"/>
                <a:gd name="T13" fmla="*/ 14 h 14"/>
                <a:gd name="T14" fmla="*/ 2 w 4"/>
                <a:gd name="T15" fmla="*/ 12 h 14"/>
                <a:gd name="T16" fmla="*/ 0 w 4"/>
                <a:gd name="T1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14">
                  <a:moveTo>
                    <a:pt x="0" y="8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2" y="12"/>
                  </a:lnTo>
                  <a:lnTo>
                    <a:pt x="4" y="14"/>
                  </a:lnTo>
                  <a:lnTo>
                    <a:pt x="2" y="12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84" name="Rectangle 1548">
              <a:extLst>
                <a:ext uri="{FF2B5EF4-FFF2-40B4-BE49-F238E27FC236}">
                  <a16:creationId xmlns:a16="http://schemas.microsoft.com/office/drawing/2014/main" id="{9517EB0D-5EB4-43D2-94E9-01580DD50C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3672" y="2623904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85" name="Freeform 1549">
              <a:extLst>
                <a:ext uri="{FF2B5EF4-FFF2-40B4-BE49-F238E27FC236}">
                  <a16:creationId xmlns:a16="http://schemas.microsoft.com/office/drawing/2014/main" id="{835818FD-3A51-4CBC-BB66-2609F8F76F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7797" y="2623904"/>
              <a:ext cx="15875" cy="9528"/>
            </a:xfrm>
            <a:custGeom>
              <a:avLst/>
              <a:gdLst>
                <a:gd name="T0" fmla="*/ 4 w 10"/>
                <a:gd name="T1" fmla="*/ 4 h 6"/>
                <a:gd name="T2" fmla="*/ 0 w 10"/>
                <a:gd name="T3" fmla="*/ 6 h 6"/>
                <a:gd name="T4" fmla="*/ 0 w 10"/>
                <a:gd name="T5" fmla="*/ 4 h 6"/>
                <a:gd name="T6" fmla="*/ 0 w 10"/>
                <a:gd name="T7" fmla="*/ 6 h 6"/>
                <a:gd name="T8" fmla="*/ 4 w 10"/>
                <a:gd name="T9" fmla="*/ 4 h 6"/>
                <a:gd name="T10" fmla="*/ 8 w 10"/>
                <a:gd name="T11" fmla="*/ 2 h 6"/>
                <a:gd name="T12" fmla="*/ 10 w 10"/>
                <a:gd name="T13" fmla="*/ 0 h 6"/>
                <a:gd name="T14" fmla="*/ 8 w 10"/>
                <a:gd name="T15" fmla="*/ 2 h 6"/>
                <a:gd name="T16" fmla="*/ 4 w 10"/>
                <a:gd name="T1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6">
                  <a:moveTo>
                    <a:pt x="4" y="4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0" y="0"/>
                  </a:lnTo>
                  <a:lnTo>
                    <a:pt x="8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86" name="Freeform 1550">
              <a:extLst>
                <a:ext uri="{FF2B5EF4-FFF2-40B4-BE49-F238E27FC236}">
                  <a16:creationId xmlns:a16="http://schemas.microsoft.com/office/drawing/2014/main" id="{5838EFE1-31EE-4D05-85A2-7B067771A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623" y="2611200"/>
              <a:ext cx="9525" cy="6352"/>
            </a:xfrm>
            <a:custGeom>
              <a:avLst/>
              <a:gdLst>
                <a:gd name="T0" fmla="*/ 4 w 6"/>
                <a:gd name="T1" fmla="*/ 2 h 4"/>
                <a:gd name="T2" fmla="*/ 0 w 6"/>
                <a:gd name="T3" fmla="*/ 0 h 4"/>
                <a:gd name="T4" fmla="*/ 0 w 6"/>
                <a:gd name="T5" fmla="*/ 0 h 4"/>
                <a:gd name="T6" fmla="*/ 4 w 6"/>
                <a:gd name="T7" fmla="*/ 2 h 4"/>
                <a:gd name="T8" fmla="*/ 6 w 6"/>
                <a:gd name="T9" fmla="*/ 2 h 4"/>
                <a:gd name="T10" fmla="*/ 6 w 6"/>
                <a:gd name="T11" fmla="*/ 4 h 4"/>
                <a:gd name="T12" fmla="*/ 6 w 6"/>
                <a:gd name="T13" fmla="*/ 2 h 4"/>
                <a:gd name="T14" fmla="*/ 4 w 6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4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87" name="Freeform 1551">
              <a:extLst>
                <a:ext uri="{FF2B5EF4-FFF2-40B4-BE49-F238E27FC236}">
                  <a16:creationId xmlns:a16="http://schemas.microsoft.com/office/drawing/2014/main" id="{4355FA6B-43B8-43F6-8633-FE2EDAED0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2722" y="2611200"/>
              <a:ext cx="17463" cy="3176"/>
            </a:xfrm>
            <a:custGeom>
              <a:avLst/>
              <a:gdLst>
                <a:gd name="T0" fmla="*/ 0 w 11"/>
                <a:gd name="T1" fmla="*/ 2 h 2"/>
                <a:gd name="T2" fmla="*/ 7 w 11"/>
                <a:gd name="T3" fmla="*/ 0 h 2"/>
                <a:gd name="T4" fmla="*/ 11 w 11"/>
                <a:gd name="T5" fmla="*/ 0 h 2"/>
                <a:gd name="T6" fmla="*/ 7 w 11"/>
                <a:gd name="T7" fmla="*/ 0 h 2"/>
                <a:gd name="T8" fmla="*/ 0 w 1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">
                  <a:moveTo>
                    <a:pt x="0" y="2"/>
                  </a:moveTo>
                  <a:lnTo>
                    <a:pt x="7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88" name="Freeform 1552">
              <a:extLst>
                <a:ext uri="{FF2B5EF4-FFF2-40B4-BE49-F238E27FC236}">
                  <a16:creationId xmlns:a16="http://schemas.microsoft.com/office/drawing/2014/main" id="{DFA598C4-CE8A-467A-9D24-C573CDCAB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323" y="2623904"/>
              <a:ext cx="3175" cy="14292"/>
            </a:xfrm>
            <a:custGeom>
              <a:avLst/>
              <a:gdLst>
                <a:gd name="T0" fmla="*/ 0 w 2"/>
                <a:gd name="T1" fmla="*/ 0 h 9"/>
                <a:gd name="T2" fmla="*/ 2 w 2"/>
                <a:gd name="T3" fmla="*/ 2 h 9"/>
                <a:gd name="T4" fmla="*/ 2 w 2"/>
                <a:gd name="T5" fmla="*/ 9 h 9"/>
                <a:gd name="T6" fmla="*/ 2 w 2"/>
                <a:gd name="T7" fmla="*/ 2 h 9"/>
                <a:gd name="T8" fmla="*/ 0 w 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9">
                  <a:moveTo>
                    <a:pt x="0" y="0"/>
                  </a:moveTo>
                  <a:lnTo>
                    <a:pt x="2" y="2"/>
                  </a:lnTo>
                  <a:lnTo>
                    <a:pt x="2" y="9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89" name="Rectangle 1553">
              <a:extLst>
                <a:ext uri="{FF2B5EF4-FFF2-40B4-BE49-F238E27FC236}">
                  <a16:creationId xmlns:a16="http://schemas.microsoft.com/office/drawing/2014/main" id="{CE591E3D-FE81-4A4E-9BA7-92FBB32022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7185" y="267630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90" name="Rectangle 1554">
              <a:extLst>
                <a:ext uri="{FF2B5EF4-FFF2-40B4-BE49-F238E27FC236}">
                  <a16:creationId xmlns:a16="http://schemas.microsoft.com/office/drawing/2014/main" id="{963140F4-B3DE-4199-98C9-71270E07EA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3373" y="2666780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91" name="Rectangle 1555">
              <a:extLst>
                <a:ext uri="{FF2B5EF4-FFF2-40B4-BE49-F238E27FC236}">
                  <a16:creationId xmlns:a16="http://schemas.microsoft.com/office/drawing/2014/main" id="{A6DFBA0F-E41B-423E-AFF4-C9C167B27A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1585" y="251750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92" name="Freeform 1556">
              <a:extLst>
                <a:ext uri="{FF2B5EF4-FFF2-40B4-BE49-F238E27FC236}">
                  <a16:creationId xmlns:a16="http://schemas.microsoft.com/office/drawing/2014/main" id="{A44D04A1-5B76-450E-AB88-6793AF16E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4447" y="2555620"/>
              <a:ext cx="15875" cy="3176"/>
            </a:xfrm>
            <a:custGeom>
              <a:avLst/>
              <a:gdLst>
                <a:gd name="T0" fmla="*/ 0 w 10"/>
                <a:gd name="T1" fmla="*/ 0 h 2"/>
                <a:gd name="T2" fmla="*/ 6 w 10"/>
                <a:gd name="T3" fmla="*/ 0 h 2"/>
                <a:gd name="T4" fmla="*/ 10 w 10"/>
                <a:gd name="T5" fmla="*/ 2 h 2"/>
                <a:gd name="T6" fmla="*/ 6 w 10"/>
                <a:gd name="T7" fmla="*/ 0 h 2"/>
                <a:gd name="T8" fmla="*/ 0 w 10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">
                  <a:moveTo>
                    <a:pt x="0" y="0"/>
                  </a:moveTo>
                  <a:lnTo>
                    <a:pt x="6" y="0"/>
                  </a:lnTo>
                  <a:lnTo>
                    <a:pt x="10" y="2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93" name="Freeform 1557">
              <a:extLst>
                <a:ext uri="{FF2B5EF4-FFF2-40B4-BE49-F238E27FC236}">
                  <a16:creationId xmlns:a16="http://schemas.microsoft.com/office/drawing/2014/main" id="{4DC475BD-9468-4859-85B2-818753AA3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6197" y="2568324"/>
              <a:ext cx="20638" cy="17468"/>
            </a:xfrm>
            <a:custGeom>
              <a:avLst/>
              <a:gdLst>
                <a:gd name="T0" fmla="*/ 7 w 13"/>
                <a:gd name="T1" fmla="*/ 7 h 11"/>
                <a:gd name="T2" fmla="*/ 5 w 13"/>
                <a:gd name="T3" fmla="*/ 5 h 11"/>
                <a:gd name="T4" fmla="*/ 0 w 13"/>
                <a:gd name="T5" fmla="*/ 0 h 11"/>
                <a:gd name="T6" fmla="*/ 5 w 13"/>
                <a:gd name="T7" fmla="*/ 5 h 11"/>
                <a:gd name="T8" fmla="*/ 7 w 13"/>
                <a:gd name="T9" fmla="*/ 7 h 11"/>
                <a:gd name="T10" fmla="*/ 9 w 13"/>
                <a:gd name="T11" fmla="*/ 11 h 11"/>
                <a:gd name="T12" fmla="*/ 13 w 13"/>
                <a:gd name="T13" fmla="*/ 11 h 11"/>
                <a:gd name="T14" fmla="*/ 9 w 13"/>
                <a:gd name="T15" fmla="*/ 11 h 11"/>
                <a:gd name="T16" fmla="*/ 7 w 13"/>
                <a:gd name="T1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1">
                  <a:moveTo>
                    <a:pt x="7" y="7"/>
                  </a:moveTo>
                  <a:lnTo>
                    <a:pt x="5" y="5"/>
                  </a:lnTo>
                  <a:lnTo>
                    <a:pt x="0" y="0"/>
                  </a:lnTo>
                  <a:lnTo>
                    <a:pt x="5" y="5"/>
                  </a:lnTo>
                  <a:lnTo>
                    <a:pt x="7" y="7"/>
                  </a:lnTo>
                  <a:lnTo>
                    <a:pt x="9" y="11"/>
                  </a:lnTo>
                  <a:lnTo>
                    <a:pt x="13" y="11"/>
                  </a:lnTo>
                  <a:lnTo>
                    <a:pt x="9" y="11"/>
                  </a:lnTo>
                  <a:lnTo>
                    <a:pt x="7" y="7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94" name="Rectangle 1558">
              <a:extLst>
                <a:ext uri="{FF2B5EF4-FFF2-40B4-BE49-F238E27FC236}">
                  <a16:creationId xmlns:a16="http://schemas.microsoft.com/office/drawing/2014/main" id="{2CCD9D18-5401-444E-91A9-E65BF3A477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2423" y="277158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95" name="Freeform 1559">
              <a:extLst>
                <a:ext uri="{FF2B5EF4-FFF2-40B4-BE49-F238E27FC236}">
                  <a16:creationId xmlns:a16="http://schemas.microsoft.com/office/drawing/2014/main" id="{15F6FECB-DA54-4384-8395-9EEC37358B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6073" y="2781116"/>
              <a:ext cx="6350" cy="28584"/>
            </a:xfrm>
            <a:custGeom>
              <a:avLst/>
              <a:gdLst>
                <a:gd name="T0" fmla="*/ 0 w 4"/>
                <a:gd name="T1" fmla="*/ 10 h 18"/>
                <a:gd name="T2" fmla="*/ 0 w 4"/>
                <a:gd name="T3" fmla="*/ 6 h 18"/>
                <a:gd name="T4" fmla="*/ 0 w 4"/>
                <a:gd name="T5" fmla="*/ 4 h 18"/>
                <a:gd name="T6" fmla="*/ 4 w 4"/>
                <a:gd name="T7" fmla="*/ 0 h 18"/>
                <a:gd name="T8" fmla="*/ 0 w 4"/>
                <a:gd name="T9" fmla="*/ 4 h 18"/>
                <a:gd name="T10" fmla="*/ 0 w 4"/>
                <a:gd name="T11" fmla="*/ 6 h 18"/>
                <a:gd name="T12" fmla="*/ 0 w 4"/>
                <a:gd name="T13" fmla="*/ 10 h 18"/>
                <a:gd name="T14" fmla="*/ 0 w 4"/>
                <a:gd name="T15" fmla="*/ 16 h 18"/>
                <a:gd name="T16" fmla="*/ 0 w 4"/>
                <a:gd name="T17" fmla="*/ 18 h 18"/>
                <a:gd name="T18" fmla="*/ 0 w 4"/>
                <a:gd name="T19" fmla="*/ 16 h 18"/>
                <a:gd name="T20" fmla="*/ 0 w 4"/>
                <a:gd name="T21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18">
                  <a:moveTo>
                    <a:pt x="0" y="10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96" name="Freeform 1560">
              <a:extLst>
                <a:ext uri="{FF2B5EF4-FFF2-40B4-BE49-F238E27FC236}">
                  <a16:creationId xmlns:a16="http://schemas.microsoft.com/office/drawing/2014/main" id="{2FC822CA-EDAF-4701-BACD-C721997F8A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9723" y="2830344"/>
              <a:ext cx="3175" cy="57168"/>
            </a:xfrm>
            <a:custGeom>
              <a:avLst/>
              <a:gdLst>
                <a:gd name="T0" fmla="*/ 0 w 2"/>
                <a:gd name="T1" fmla="*/ 8 h 36"/>
                <a:gd name="T2" fmla="*/ 2 w 2"/>
                <a:gd name="T3" fmla="*/ 0 h 36"/>
                <a:gd name="T4" fmla="*/ 0 w 2"/>
                <a:gd name="T5" fmla="*/ 8 h 36"/>
                <a:gd name="T6" fmla="*/ 0 w 2"/>
                <a:gd name="T7" fmla="*/ 30 h 36"/>
                <a:gd name="T8" fmla="*/ 0 w 2"/>
                <a:gd name="T9" fmla="*/ 36 h 36"/>
                <a:gd name="T10" fmla="*/ 0 w 2"/>
                <a:gd name="T11" fmla="*/ 30 h 36"/>
                <a:gd name="T12" fmla="*/ 0 w 2"/>
                <a:gd name="T13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36">
                  <a:moveTo>
                    <a:pt x="0" y="8"/>
                  </a:moveTo>
                  <a:lnTo>
                    <a:pt x="2" y="0"/>
                  </a:lnTo>
                  <a:lnTo>
                    <a:pt x="0" y="8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97" name="Freeform 1561">
              <a:extLst>
                <a:ext uri="{FF2B5EF4-FFF2-40B4-BE49-F238E27FC236}">
                  <a16:creationId xmlns:a16="http://schemas.microsoft.com/office/drawing/2014/main" id="{6058253D-9069-406B-A6E4-0D13BAE44B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2898" y="2901804"/>
              <a:ext cx="11113" cy="22232"/>
            </a:xfrm>
            <a:custGeom>
              <a:avLst/>
              <a:gdLst>
                <a:gd name="T0" fmla="*/ 0 w 7"/>
                <a:gd name="T1" fmla="*/ 0 h 14"/>
                <a:gd name="T2" fmla="*/ 2 w 7"/>
                <a:gd name="T3" fmla="*/ 6 h 14"/>
                <a:gd name="T4" fmla="*/ 7 w 7"/>
                <a:gd name="T5" fmla="*/ 14 h 14"/>
                <a:gd name="T6" fmla="*/ 2 w 7"/>
                <a:gd name="T7" fmla="*/ 6 h 14"/>
                <a:gd name="T8" fmla="*/ 0 w 7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4">
                  <a:moveTo>
                    <a:pt x="0" y="0"/>
                  </a:moveTo>
                  <a:lnTo>
                    <a:pt x="2" y="6"/>
                  </a:lnTo>
                  <a:lnTo>
                    <a:pt x="7" y="14"/>
                  </a:lnTo>
                  <a:lnTo>
                    <a:pt x="2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98" name="Freeform 1562">
              <a:extLst>
                <a:ext uri="{FF2B5EF4-FFF2-40B4-BE49-F238E27FC236}">
                  <a16:creationId xmlns:a16="http://schemas.microsoft.com/office/drawing/2014/main" id="{33F346B3-788B-403E-990E-4313EF8E9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4010" y="2754120"/>
              <a:ext cx="15875" cy="17468"/>
            </a:xfrm>
            <a:custGeom>
              <a:avLst/>
              <a:gdLst>
                <a:gd name="T0" fmla="*/ 2 w 10"/>
                <a:gd name="T1" fmla="*/ 9 h 11"/>
                <a:gd name="T2" fmla="*/ 4 w 10"/>
                <a:gd name="T3" fmla="*/ 7 h 11"/>
                <a:gd name="T4" fmla="*/ 6 w 10"/>
                <a:gd name="T5" fmla="*/ 6 h 11"/>
                <a:gd name="T6" fmla="*/ 8 w 10"/>
                <a:gd name="T7" fmla="*/ 2 h 11"/>
                <a:gd name="T8" fmla="*/ 10 w 10"/>
                <a:gd name="T9" fmla="*/ 0 h 11"/>
                <a:gd name="T10" fmla="*/ 8 w 10"/>
                <a:gd name="T11" fmla="*/ 2 h 11"/>
                <a:gd name="T12" fmla="*/ 6 w 10"/>
                <a:gd name="T13" fmla="*/ 6 h 11"/>
                <a:gd name="T14" fmla="*/ 4 w 10"/>
                <a:gd name="T15" fmla="*/ 7 h 11"/>
                <a:gd name="T16" fmla="*/ 2 w 10"/>
                <a:gd name="T17" fmla="*/ 9 h 11"/>
                <a:gd name="T18" fmla="*/ 0 w 10"/>
                <a:gd name="T19" fmla="*/ 9 h 11"/>
                <a:gd name="T20" fmla="*/ 0 w 10"/>
                <a:gd name="T21" fmla="*/ 11 h 11"/>
                <a:gd name="T22" fmla="*/ 0 w 10"/>
                <a:gd name="T23" fmla="*/ 9 h 11"/>
                <a:gd name="T24" fmla="*/ 2 w 10"/>
                <a:gd name="T25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1">
                  <a:moveTo>
                    <a:pt x="2" y="9"/>
                  </a:moveTo>
                  <a:lnTo>
                    <a:pt x="4" y="7"/>
                  </a:lnTo>
                  <a:lnTo>
                    <a:pt x="6" y="6"/>
                  </a:lnTo>
                  <a:lnTo>
                    <a:pt x="8" y="2"/>
                  </a:lnTo>
                  <a:lnTo>
                    <a:pt x="10" y="0"/>
                  </a:lnTo>
                  <a:lnTo>
                    <a:pt x="8" y="2"/>
                  </a:lnTo>
                  <a:lnTo>
                    <a:pt x="6" y="6"/>
                  </a:lnTo>
                  <a:lnTo>
                    <a:pt x="4" y="7"/>
                  </a:lnTo>
                  <a:lnTo>
                    <a:pt x="2" y="9"/>
                  </a:lnTo>
                  <a:lnTo>
                    <a:pt x="0" y="9"/>
                  </a:lnTo>
                  <a:lnTo>
                    <a:pt x="0" y="11"/>
                  </a:lnTo>
                  <a:lnTo>
                    <a:pt x="0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499" name="Freeform 1563">
              <a:extLst>
                <a:ext uri="{FF2B5EF4-FFF2-40B4-BE49-F238E27FC236}">
                  <a16:creationId xmlns:a16="http://schemas.microsoft.com/office/drawing/2014/main" id="{FC8768DA-F44C-4B21-A5B1-56FB42EAB6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2535" y="2512744"/>
              <a:ext cx="6350" cy="3176"/>
            </a:xfrm>
            <a:custGeom>
              <a:avLst/>
              <a:gdLst>
                <a:gd name="T0" fmla="*/ 4 w 4"/>
                <a:gd name="T1" fmla="*/ 0 h 2"/>
                <a:gd name="T2" fmla="*/ 2 w 4"/>
                <a:gd name="T3" fmla="*/ 0 h 2"/>
                <a:gd name="T4" fmla="*/ 0 w 4"/>
                <a:gd name="T5" fmla="*/ 2 h 2"/>
                <a:gd name="T6" fmla="*/ 2 w 4"/>
                <a:gd name="T7" fmla="*/ 0 h 2"/>
                <a:gd name="T8" fmla="*/ 4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00" name="Freeform 1564">
              <a:extLst>
                <a:ext uri="{FF2B5EF4-FFF2-40B4-BE49-F238E27FC236}">
                  <a16:creationId xmlns:a16="http://schemas.microsoft.com/office/drawing/2014/main" id="{CC348F65-59FB-4E1E-AF14-39CC68DBA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2585" y="2716008"/>
              <a:ext cx="0" cy="6352"/>
            </a:xfrm>
            <a:custGeom>
              <a:avLst/>
              <a:gdLst>
                <a:gd name="T0" fmla="*/ 0 h 4"/>
                <a:gd name="T1" fmla="*/ 4 h 4"/>
                <a:gd name="T2" fmla="*/ 4 h 4"/>
                <a:gd name="T3" fmla="*/ 4 h 4"/>
                <a:gd name="T4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01" name="Freeform 1565">
              <a:extLst>
                <a:ext uri="{FF2B5EF4-FFF2-40B4-BE49-F238E27FC236}">
                  <a16:creationId xmlns:a16="http://schemas.microsoft.com/office/drawing/2014/main" id="{512D71A1-11A8-4904-AE4E-C28E75AF2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4010" y="2679484"/>
              <a:ext cx="3175" cy="6352"/>
            </a:xfrm>
            <a:custGeom>
              <a:avLst/>
              <a:gdLst>
                <a:gd name="T0" fmla="*/ 2 w 2"/>
                <a:gd name="T1" fmla="*/ 0 h 4"/>
                <a:gd name="T2" fmla="*/ 0 w 2"/>
                <a:gd name="T3" fmla="*/ 2 h 4"/>
                <a:gd name="T4" fmla="*/ 2 w 2"/>
                <a:gd name="T5" fmla="*/ 4 h 4"/>
                <a:gd name="T6" fmla="*/ 0 w 2"/>
                <a:gd name="T7" fmla="*/ 2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0" y="2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02" name="Freeform 1566">
              <a:extLst>
                <a:ext uri="{FF2B5EF4-FFF2-40B4-BE49-F238E27FC236}">
                  <a16:creationId xmlns:a16="http://schemas.microsoft.com/office/drawing/2014/main" id="{66697B53-29A3-48E1-8BA5-6FDE355BB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3848" y="2654076"/>
              <a:ext cx="0" cy="6352"/>
            </a:xfrm>
            <a:custGeom>
              <a:avLst/>
              <a:gdLst>
                <a:gd name="T0" fmla="*/ 0 h 4"/>
                <a:gd name="T1" fmla="*/ 2 h 4"/>
                <a:gd name="T2" fmla="*/ 4 h 4"/>
                <a:gd name="T3" fmla="*/ 2 h 4"/>
                <a:gd name="T4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03" name="Freeform 1567">
              <a:extLst>
                <a:ext uri="{FF2B5EF4-FFF2-40B4-BE49-F238E27FC236}">
                  <a16:creationId xmlns:a16="http://schemas.microsoft.com/office/drawing/2014/main" id="{9219E56E-3AF3-4ED3-B74E-CCD3A4298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6235" y="2695364"/>
              <a:ext cx="3175" cy="4764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0 w 2"/>
                <a:gd name="T7" fmla="*/ 2 h 3"/>
                <a:gd name="T8" fmla="*/ 0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04" name="Freeform 1568">
              <a:extLst>
                <a:ext uri="{FF2B5EF4-FFF2-40B4-BE49-F238E27FC236}">
                  <a16:creationId xmlns:a16="http://schemas.microsoft.com/office/drawing/2014/main" id="{2B49786D-AB64-41B9-A8A8-AD692BFDA3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4584" y="2515920"/>
              <a:ext cx="14288" cy="3176"/>
            </a:xfrm>
            <a:custGeom>
              <a:avLst/>
              <a:gdLst>
                <a:gd name="T0" fmla="*/ 9 w 9"/>
                <a:gd name="T1" fmla="*/ 2 h 2"/>
                <a:gd name="T2" fmla="*/ 0 w 9"/>
                <a:gd name="T3" fmla="*/ 0 h 2"/>
                <a:gd name="T4" fmla="*/ 0 w 9"/>
                <a:gd name="T5" fmla="*/ 0 h 2"/>
                <a:gd name="T6" fmla="*/ 0 w 9"/>
                <a:gd name="T7" fmla="*/ 0 h 2"/>
                <a:gd name="T8" fmla="*/ 9 w 9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">
                  <a:moveTo>
                    <a:pt x="9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05" name="Freeform 1569">
              <a:extLst>
                <a:ext uri="{FF2B5EF4-FFF2-40B4-BE49-F238E27FC236}">
                  <a16:creationId xmlns:a16="http://schemas.microsoft.com/office/drawing/2014/main" id="{40A33B96-A858-47B8-BE26-33C27D678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2585" y="2735064"/>
              <a:ext cx="0" cy="6352"/>
            </a:xfrm>
            <a:custGeom>
              <a:avLst/>
              <a:gdLst>
                <a:gd name="T0" fmla="*/ 0 h 4"/>
                <a:gd name="T1" fmla="*/ 2 h 4"/>
                <a:gd name="T2" fmla="*/ 4 h 4"/>
                <a:gd name="T3" fmla="*/ 2 h 4"/>
                <a:gd name="T4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06" name="Freeform 1570">
              <a:extLst>
                <a:ext uri="{FF2B5EF4-FFF2-40B4-BE49-F238E27FC236}">
                  <a16:creationId xmlns:a16="http://schemas.microsoft.com/office/drawing/2014/main" id="{6DE387A4-1AC2-43AC-B1F5-5BAC430FC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9248" y="2666780"/>
              <a:ext cx="4763" cy="6352"/>
            </a:xfrm>
            <a:custGeom>
              <a:avLst/>
              <a:gdLst>
                <a:gd name="T0" fmla="*/ 2 w 3"/>
                <a:gd name="T1" fmla="*/ 2 h 4"/>
                <a:gd name="T2" fmla="*/ 0 w 3"/>
                <a:gd name="T3" fmla="*/ 0 h 4"/>
                <a:gd name="T4" fmla="*/ 0 w 3"/>
                <a:gd name="T5" fmla="*/ 0 h 4"/>
                <a:gd name="T6" fmla="*/ 2 w 3"/>
                <a:gd name="T7" fmla="*/ 2 h 4"/>
                <a:gd name="T8" fmla="*/ 2 w 3"/>
                <a:gd name="T9" fmla="*/ 4 h 4"/>
                <a:gd name="T10" fmla="*/ 3 w 3"/>
                <a:gd name="T11" fmla="*/ 4 h 4"/>
                <a:gd name="T12" fmla="*/ 2 w 3"/>
                <a:gd name="T13" fmla="*/ 4 h 4"/>
                <a:gd name="T14" fmla="*/ 2 w 3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4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  <p:sp>
          <p:nvSpPr>
            <p:cNvPr id="507" name="Freeform 1571">
              <a:extLst>
                <a:ext uri="{FF2B5EF4-FFF2-40B4-BE49-F238E27FC236}">
                  <a16:creationId xmlns:a16="http://schemas.microsoft.com/office/drawing/2014/main" id="{8DB20121-FC74-4C92-8987-AA9CD09F63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3746" y="2895452"/>
              <a:ext cx="3175" cy="1588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da-DK" sz="919"/>
            </a:p>
          </p:txBody>
        </p:sp>
      </p:grpSp>
      <p:graphicFrame>
        <p:nvGraphicFramePr>
          <p:cNvPr id="4839" name="Object 4838" hidden="1">
            <a:extLst>
              <a:ext uri="{FF2B5EF4-FFF2-40B4-BE49-F238E27FC236}">
                <a16:creationId xmlns:a16="http://schemas.microsoft.com/office/drawing/2014/main" id="{6A041F42-5A15-4600-AF9D-7D6650AF833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" y="2001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12" imgW="592" imgH="595" progId="TCLayout.ActiveDocument.1">
                  <p:embed/>
                </p:oleObj>
              </mc:Choice>
              <mc:Fallback>
                <p:oleObj name="think-cell Slide" r:id="rId12" imgW="592" imgH="595" progId="TCLayout.ActiveDocument.1">
                  <p:embed/>
                  <p:pic>
                    <p:nvPicPr>
                      <p:cNvPr id="4839" name="Object 4838" hidden="1">
                        <a:extLst>
                          <a:ext uri="{FF2B5EF4-FFF2-40B4-BE49-F238E27FC236}">
                            <a16:creationId xmlns:a16="http://schemas.microsoft.com/office/drawing/2014/main" id="{6A041F42-5A15-4600-AF9D-7D6650AF83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" y="2001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40" name="Picture 4839">
            <a:extLst>
              <a:ext uri="{FF2B5EF4-FFF2-40B4-BE49-F238E27FC236}">
                <a16:creationId xmlns:a16="http://schemas.microsoft.com/office/drawing/2014/main" id="{894982B0-150F-42E7-8347-931880E3981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5831" y="3067569"/>
            <a:ext cx="408007" cy="408007"/>
          </a:xfrm>
          <a:prstGeom prst="rect">
            <a:avLst/>
          </a:prstGeom>
        </p:spPr>
      </p:pic>
      <p:graphicFrame>
        <p:nvGraphicFramePr>
          <p:cNvPr id="4841" name="Object 4840" hidden="1">
            <a:extLst>
              <a:ext uri="{FF2B5EF4-FFF2-40B4-BE49-F238E27FC236}">
                <a16:creationId xmlns:a16="http://schemas.microsoft.com/office/drawing/2014/main" id="{B6FA2435-845C-4F0E-82B1-7BF0658590F7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2559" y="3525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15" imgW="592" imgH="595" progId="TCLayout.ActiveDocument.1">
                  <p:embed/>
                </p:oleObj>
              </mc:Choice>
              <mc:Fallback>
                <p:oleObj name="think-cell Slide" r:id="rId15" imgW="592" imgH="595" progId="TCLayout.ActiveDocument.1">
                  <p:embed/>
                  <p:pic>
                    <p:nvPicPr>
                      <p:cNvPr id="4841" name="Object 4840" hidden="1">
                        <a:extLst>
                          <a:ext uri="{FF2B5EF4-FFF2-40B4-BE49-F238E27FC236}">
                            <a16:creationId xmlns:a16="http://schemas.microsoft.com/office/drawing/2014/main" id="{B6FA2435-845C-4F0E-82B1-7BF0658590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559" y="3525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42" name="Picture 4841">
            <a:extLst>
              <a:ext uri="{FF2B5EF4-FFF2-40B4-BE49-F238E27FC236}">
                <a16:creationId xmlns:a16="http://schemas.microsoft.com/office/drawing/2014/main" id="{9E578352-C86D-4FE4-A5C3-DD203B24649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9909" y="3033483"/>
            <a:ext cx="408007" cy="408697"/>
          </a:xfrm>
          <a:prstGeom prst="rect">
            <a:avLst/>
          </a:prstGeom>
        </p:spPr>
      </p:pic>
      <p:graphicFrame>
        <p:nvGraphicFramePr>
          <p:cNvPr id="4843" name="Object 4842" hidden="1">
            <a:extLst>
              <a:ext uri="{FF2B5EF4-FFF2-40B4-BE49-F238E27FC236}">
                <a16:creationId xmlns:a16="http://schemas.microsoft.com/office/drawing/2014/main" id="{84F87458-BF16-4DF8-B759-F8887D4CBF1F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304959" y="5049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Slide" r:id="rId17" imgW="592" imgH="595" progId="TCLayout.ActiveDocument.1">
                  <p:embed/>
                </p:oleObj>
              </mc:Choice>
              <mc:Fallback>
                <p:oleObj name="think-cell Slide" r:id="rId17" imgW="592" imgH="595" progId="TCLayout.ActiveDocument.1">
                  <p:embed/>
                  <p:pic>
                    <p:nvPicPr>
                      <p:cNvPr id="4843" name="Object 4842" hidden="1">
                        <a:extLst>
                          <a:ext uri="{FF2B5EF4-FFF2-40B4-BE49-F238E27FC236}">
                            <a16:creationId xmlns:a16="http://schemas.microsoft.com/office/drawing/2014/main" id="{84F87458-BF16-4DF8-B759-F8887D4CBF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04959" y="5049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44" name="Picture 4843">
            <a:extLst>
              <a:ext uri="{FF2B5EF4-FFF2-40B4-BE49-F238E27FC236}">
                <a16:creationId xmlns:a16="http://schemas.microsoft.com/office/drawing/2014/main" id="{33FD27C6-43B8-4B73-AD35-E2C660479AA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8739" y="3036550"/>
            <a:ext cx="408007" cy="408698"/>
          </a:xfrm>
          <a:prstGeom prst="rect">
            <a:avLst/>
          </a:prstGeom>
        </p:spPr>
      </p:pic>
      <p:graphicFrame>
        <p:nvGraphicFramePr>
          <p:cNvPr id="4845" name="Object 4844" hidden="1">
            <a:extLst>
              <a:ext uri="{FF2B5EF4-FFF2-40B4-BE49-F238E27FC236}">
                <a16:creationId xmlns:a16="http://schemas.microsoft.com/office/drawing/2014/main" id="{8432FC89-91F2-46D2-B178-A2B9769B9144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457359" y="6573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Slide" r:id="rId19" imgW="592" imgH="595" progId="TCLayout.ActiveDocument.1">
                  <p:embed/>
                </p:oleObj>
              </mc:Choice>
              <mc:Fallback>
                <p:oleObj name="think-cell Slide" r:id="rId19" imgW="592" imgH="595" progId="TCLayout.ActiveDocument.1">
                  <p:embed/>
                  <p:pic>
                    <p:nvPicPr>
                      <p:cNvPr id="4845" name="Object 4844" hidden="1">
                        <a:extLst>
                          <a:ext uri="{FF2B5EF4-FFF2-40B4-BE49-F238E27FC236}">
                            <a16:creationId xmlns:a16="http://schemas.microsoft.com/office/drawing/2014/main" id="{8432FC89-91F2-46D2-B178-A2B9769B91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457359" y="6573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46" name="Picture 4845">
            <a:extLst>
              <a:ext uri="{FF2B5EF4-FFF2-40B4-BE49-F238E27FC236}">
                <a16:creationId xmlns:a16="http://schemas.microsoft.com/office/drawing/2014/main" id="{01F3B127-0EDF-4FDA-85DC-0B12A3F464D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115" y="3036718"/>
            <a:ext cx="403206" cy="403889"/>
          </a:xfrm>
          <a:prstGeom prst="rect">
            <a:avLst/>
          </a:prstGeom>
        </p:spPr>
      </p:pic>
      <p:graphicFrame>
        <p:nvGraphicFramePr>
          <p:cNvPr id="4847" name="Object 4846" hidden="1">
            <a:extLst>
              <a:ext uri="{FF2B5EF4-FFF2-40B4-BE49-F238E27FC236}">
                <a16:creationId xmlns:a16="http://schemas.microsoft.com/office/drawing/2014/main" id="{2010AB05-D8B1-42B6-B609-67746527EA53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09759" y="8097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Slide" r:id="rId21" imgW="592" imgH="595" progId="TCLayout.ActiveDocument.1">
                  <p:embed/>
                </p:oleObj>
              </mc:Choice>
              <mc:Fallback>
                <p:oleObj name="think-cell Slide" r:id="rId21" imgW="592" imgH="595" progId="TCLayout.ActiveDocument.1">
                  <p:embed/>
                  <p:pic>
                    <p:nvPicPr>
                      <p:cNvPr id="4847" name="Object 4846" hidden="1">
                        <a:extLst>
                          <a:ext uri="{FF2B5EF4-FFF2-40B4-BE49-F238E27FC236}">
                            <a16:creationId xmlns:a16="http://schemas.microsoft.com/office/drawing/2014/main" id="{2010AB05-D8B1-42B6-B609-67746527EA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609759" y="8097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48" name="Picture 4847">
            <a:extLst>
              <a:ext uri="{FF2B5EF4-FFF2-40B4-BE49-F238E27FC236}">
                <a16:creationId xmlns:a16="http://schemas.microsoft.com/office/drawing/2014/main" id="{5FB3635F-FD18-4F84-AE30-9DF0FEFC3E2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4551" y="3044197"/>
            <a:ext cx="428595" cy="427872"/>
          </a:xfrm>
          <a:prstGeom prst="rect">
            <a:avLst/>
          </a:prstGeom>
        </p:spPr>
      </p:pic>
      <p:graphicFrame>
        <p:nvGraphicFramePr>
          <p:cNvPr id="4849" name="Object 4848" hidden="1">
            <a:extLst>
              <a:ext uri="{FF2B5EF4-FFF2-40B4-BE49-F238E27FC236}">
                <a16:creationId xmlns:a16="http://schemas.microsoft.com/office/drawing/2014/main" id="{BCEE313F-955F-44F2-8F38-E80DBB537274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08242302"/>
              </p:ext>
            </p:extLst>
          </p:nvPr>
        </p:nvGraphicFramePr>
        <p:xfrm>
          <a:off x="762159" y="9621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3" name="think-cell Slide" r:id="rId23" imgW="592" imgH="595" progId="TCLayout.ActiveDocument.1">
                  <p:embed/>
                </p:oleObj>
              </mc:Choice>
              <mc:Fallback>
                <p:oleObj name="think-cell Slide" r:id="rId23" imgW="592" imgH="595" progId="TCLayout.ActiveDocument.1">
                  <p:embed/>
                  <p:pic>
                    <p:nvPicPr>
                      <p:cNvPr id="4849" name="Object 4848" hidden="1">
                        <a:extLst>
                          <a:ext uri="{FF2B5EF4-FFF2-40B4-BE49-F238E27FC236}">
                            <a16:creationId xmlns:a16="http://schemas.microsoft.com/office/drawing/2014/main" id="{BCEE313F-955F-44F2-8F38-E80DBB5372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762159" y="9621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853" name="Object 4852" hidden="1">
            <a:extLst>
              <a:ext uri="{FF2B5EF4-FFF2-40B4-BE49-F238E27FC236}">
                <a16:creationId xmlns:a16="http://schemas.microsoft.com/office/drawing/2014/main" id="{A48EA66F-A7C4-4EDA-B802-791593AF313A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22152923"/>
              </p:ext>
            </p:extLst>
          </p:nvPr>
        </p:nvGraphicFramePr>
        <p:xfrm>
          <a:off x="914559" y="11145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Slide" r:id="rId24" imgW="592" imgH="595" progId="TCLayout.ActiveDocument.1">
                  <p:embed/>
                </p:oleObj>
              </mc:Choice>
              <mc:Fallback>
                <p:oleObj name="think-cell Slide" r:id="rId24" imgW="592" imgH="595" progId="TCLayout.ActiveDocument.1">
                  <p:embed/>
                  <p:pic>
                    <p:nvPicPr>
                      <p:cNvPr id="4853" name="Object 4852" hidden="1">
                        <a:extLst>
                          <a:ext uri="{FF2B5EF4-FFF2-40B4-BE49-F238E27FC236}">
                            <a16:creationId xmlns:a16="http://schemas.microsoft.com/office/drawing/2014/main" id="{A48EA66F-A7C4-4EDA-B802-791593AF31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914559" y="11145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D0D47BF8-04F6-4407-AC0D-224E0590A387}"/>
              </a:ext>
            </a:extLst>
          </p:cNvPr>
          <p:cNvSpPr txBox="1"/>
          <p:nvPr/>
        </p:nvSpPr>
        <p:spPr>
          <a:xfrm>
            <a:off x="4860242" y="1076706"/>
            <a:ext cx="4101927" cy="1772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6000"/>
              </a:lnSpc>
              <a:spcBef>
                <a:spcPts val="1800"/>
              </a:spcBef>
            </a:pPr>
            <a:r>
              <a:rPr lang="pl-PL" sz="1200" b="1" dirty="0">
                <a:solidFill>
                  <a:srgbClr val="00B0F0"/>
                </a:solidFill>
              </a:rPr>
              <a:t>83GW mocy z MFW w basenie Morza Bałtyckiego </a:t>
            </a:r>
            <a:endParaRPr lang="en-GB" sz="1200" b="1" dirty="0">
              <a:solidFill>
                <a:srgbClr val="00B0F0"/>
              </a:solidFill>
            </a:endParaRPr>
          </a:p>
        </p:txBody>
      </p:sp>
      <p:graphicFrame>
        <p:nvGraphicFramePr>
          <p:cNvPr id="4857" name="Object 4856" hidden="1">
            <a:extLst>
              <a:ext uri="{FF2B5EF4-FFF2-40B4-BE49-F238E27FC236}">
                <a16:creationId xmlns:a16="http://schemas.microsoft.com/office/drawing/2014/main" id="{FCDD2D67-4BFA-4F8F-9B08-A4D7DF24D1C6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78639203"/>
              </p:ext>
            </p:extLst>
          </p:nvPr>
        </p:nvGraphicFramePr>
        <p:xfrm>
          <a:off x="1066959" y="12669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" name="think-cell Slide" r:id="rId25" imgW="592" imgH="595" progId="TCLayout.ActiveDocument.1">
                  <p:embed/>
                </p:oleObj>
              </mc:Choice>
              <mc:Fallback>
                <p:oleObj name="think-cell Slide" r:id="rId25" imgW="592" imgH="595" progId="TCLayout.ActiveDocument.1">
                  <p:embed/>
                  <p:pic>
                    <p:nvPicPr>
                      <p:cNvPr id="4857" name="Object 4856" hidden="1">
                        <a:extLst>
                          <a:ext uri="{FF2B5EF4-FFF2-40B4-BE49-F238E27FC236}">
                            <a16:creationId xmlns:a16="http://schemas.microsoft.com/office/drawing/2014/main" id="{FCDD2D67-4BFA-4F8F-9B08-A4D7DF24D1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066959" y="12669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858" name="Group 4857">
            <a:extLst>
              <a:ext uri="{FF2B5EF4-FFF2-40B4-BE49-F238E27FC236}">
                <a16:creationId xmlns:a16="http://schemas.microsoft.com/office/drawing/2014/main" id="{7C4F84B5-2800-42B2-9EA1-928299DD4C7A}"/>
              </a:ext>
            </a:extLst>
          </p:cNvPr>
          <p:cNvGrpSpPr>
            <a:grpSpLocks noChangeAspect="1"/>
          </p:cNvGrpSpPr>
          <p:nvPr/>
        </p:nvGrpSpPr>
        <p:grpSpPr>
          <a:xfrm>
            <a:off x="4378938" y="1377309"/>
            <a:ext cx="1313164" cy="1351704"/>
            <a:chOff x="2407256" y="1330124"/>
            <a:chExt cx="311563" cy="320707"/>
          </a:xfrm>
          <a:noFill/>
        </p:grpSpPr>
        <p:sp>
          <p:nvSpPr>
            <p:cNvPr id="4859" name="Freeform: Shape 4858">
              <a:extLst>
                <a:ext uri="{FF2B5EF4-FFF2-40B4-BE49-F238E27FC236}">
                  <a16:creationId xmlns:a16="http://schemas.microsoft.com/office/drawing/2014/main" id="{F0833925-75CD-4825-B215-EC67520F0D2A}"/>
                </a:ext>
              </a:extLst>
            </p:cNvPr>
            <p:cNvSpPr/>
            <p:nvPr/>
          </p:nvSpPr>
          <p:spPr>
            <a:xfrm>
              <a:off x="2502792" y="1612731"/>
              <a:ext cx="200025" cy="38100"/>
            </a:xfrm>
            <a:custGeom>
              <a:avLst/>
              <a:gdLst>
                <a:gd name="connsiteX0" fmla="*/ 186119 w 200025"/>
                <a:gd name="connsiteY0" fmla="*/ 12002 h 38100"/>
                <a:gd name="connsiteX1" fmla="*/ 183356 w 200025"/>
                <a:gd name="connsiteY1" fmla="*/ 13335 h 38100"/>
                <a:gd name="connsiteX2" fmla="*/ 166497 w 200025"/>
                <a:gd name="connsiteY2" fmla="*/ 17907 h 38100"/>
                <a:gd name="connsiteX3" fmla="*/ 148971 w 200025"/>
                <a:gd name="connsiteY3" fmla="*/ 12478 h 38100"/>
                <a:gd name="connsiteX4" fmla="*/ 148495 w 200025"/>
                <a:gd name="connsiteY4" fmla="*/ 12192 h 38100"/>
                <a:gd name="connsiteX5" fmla="*/ 134969 w 200025"/>
                <a:gd name="connsiteY5" fmla="*/ 8096 h 38100"/>
                <a:gd name="connsiteX6" fmla="*/ 121444 w 200025"/>
                <a:gd name="connsiteY6" fmla="*/ 12192 h 38100"/>
                <a:gd name="connsiteX7" fmla="*/ 120968 w 200025"/>
                <a:gd name="connsiteY7" fmla="*/ 12478 h 38100"/>
                <a:gd name="connsiteX8" fmla="*/ 103537 w 200025"/>
                <a:gd name="connsiteY8" fmla="*/ 17812 h 38100"/>
                <a:gd name="connsiteX9" fmla="*/ 86011 w 200025"/>
                <a:gd name="connsiteY9" fmla="*/ 12382 h 38100"/>
                <a:gd name="connsiteX10" fmla="*/ 85535 w 200025"/>
                <a:gd name="connsiteY10" fmla="*/ 12097 h 38100"/>
                <a:gd name="connsiteX11" fmla="*/ 72009 w 200025"/>
                <a:gd name="connsiteY11" fmla="*/ 8001 h 38100"/>
                <a:gd name="connsiteX12" fmla="*/ 57531 w 200025"/>
                <a:gd name="connsiteY12" fmla="*/ 11906 h 38100"/>
                <a:gd name="connsiteX13" fmla="*/ 40100 w 200025"/>
                <a:gd name="connsiteY13" fmla="*/ 17240 h 38100"/>
                <a:gd name="connsiteX14" fmla="*/ 22574 w 200025"/>
                <a:gd name="connsiteY14" fmla="*/ 11811 h 38100"/>
                <a:gd name="connsiteX15" fmla="*/ 22098 w 200025"/>
                <a:gd name="connsiteY15" fmla="*/ 11525 h 38100"/>
                <a:gd name="connsiteX16" fmla="*/ 8763 w 200025"/>
                <a:gd name="connsiteY16" fmla="*/ 7430 h 38100"/>
                <a:gd name="connsiteX17" fmla="*/ 7144 w 200025"/>
                <a:gd name="connsiteY17" fmla="*/ 7430 h 38100"/>
                <a:gd name="connsiteX18" fmla="*/ 7144 w 200025"/>
                <a:gd name="connsiteY18" fmla="*/ 27527 h 38100"/>
                <a:gd name="connsiteX19" fmla="*/ 8763 w 200025"/>
                <a:gd name="connsiteY19" fmla="*/ 27527 h 38100"/>
                <a:gd name="connsiteX20" fmla="*/ 18383 w 200025"/>
                <a:gd name="connsiteY20" fmla="*/ 30956 h 38100"/>
                <a:gd name="connsiteX21" fmla="*/ 19717 w 200025"/>
                <a:gd name="connsiteY21" fmla="*/ 31718 h 38100"/>
                <a:gd name="connsiteX22" fmla="*/ 40005 w 200025"/>
                <a:gd name="connsiteY22" fmla="*/ 37719 h 38100"/>
                <a:gd name="connsiteX23" fmla="*/ 61627 w 200025"/>
                <a:gd name="connsiteY23" fmla="*/ 30956 h 38100"/>
                <a:gd name="connsiteX24" fmla="*/ 62103 w 200025"/>
                <a:gd name="connsiteY24" fmla="*/ 30670 h 38100"/>
                <a:gd name="connsiteX25" fmla="*/ 72009 w 200025"/>
                <a:gd name="connsiteY25" fmla="*/ 27527 h 38100"/>
                <a:gd name="connsiteX26" fmla="*/ 82391 w 200025"/>
                <a:gd name="connsiteY26" fmla="*/ 30956 h 38100"/>
                <a:gd name="connsiteX27" fmla="*/ 83630 w 200025"/>
                <a:gd name="connsiteY27" fmla="*/ 31623 h 38100"/>
                <a:gd name="connsiteX28" fmla="*/ 103918 w 200025"/>
                <a:gd name="connsiteY28" fmla="*/ 37624 h 38100"/>
                <a:gd name="connsiteX29" fmla="*/ 125539 w 200025"/>
                <a:gd name="connsiteY29" fmla="*/ 30861 h 38100"/>
                <a:gd name="connsiteX30" fmla="*/ 126016 w 200025"/>
                <a:gd name="connsiteY30" fmla="*/ 30575 h 38100"/>
                <a:gd name="connsiteX31" fmla="*/ 135922 w 200025"/>
                <a:gd name="connsiteY31" fmla="*/ 27432 h 38100"/>
                <a:gd name="connsiteX32" fmla="*/ 146304 w 200025"/>
                <a:gd name="connsiteY32" fmla="*/ 30861 h 38100"/>
                <a:gd name="connsiteX33" fmla="*/ 147542 w 200025"/>
                <a:gd name="connsiteY33" fmla="*/ 31528 h 38100"/>
                <a:gd name="connsiteX34" fmla="*/ 167831 w 200025"/>
                <a:gd name="connsiteY34" fmla="*/ 37529 h 38100"/>
                <a:gd name="connsiteX35" fmla="*/ 189452 w 200025"/>
                <a:gd name="connsiteY35" fmla="*/ 30766 h 38100"/>
                <a:gd name="connsiteX36" fmla="*/ 196501 w 200025"/>
                <a:gd name="connsiteY36" fmla="*/ 27527 h 38100"/>
                <a:gd name="connsiteX37" fmla="*/ 197930 w 200025"/>
                <a:gd name="connsiteY37" fmla="*/ 27337 h 38100"/>
                <a:gd name="connsiteX38" fmla="*/ 197930 w 200025"/>
                <a:gd name="connsiteY38" fmla="*/ 7144 h 38100"/>
                <a:gd name="connsiteX39" fmla="*/ 196025 w 200025"/>
                <a:gd name="connsiteY39" fmla="*/ 7430 h 38100"/>
                <a:gd name="connsiteX40" fmla="*/ 186119 w 200025"/>
                <a:gd name="connsiteY40" fmla="*/ 1200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00025" h="38100">
                  <a:moveTo>
                    <a:pt x="186119" y="12002"/>
                  </a:moveTo>
                  <a:cubicBezTo>
                    <a:pt x="185166" y="12382"/>
                    <a:pt x="184309" y="12859"/>
                    <a:pt x="183356" y="13335"/>
                  </a:cubicBezTo>
                  <a:cubicBezTo>
                    <a:pt x="178784" y="15621"/>
                    <a:pt x="174117" y="17907"/>
                    <a:pt x="166497" y="17907"/>
                  </a:cubicBezTo>
                  <a:cubicBezTo>
                    <a:pt x="157448" y="17907"/>
                    <a:pt x="152972" y="15049"/>
                    <a:pt x="148971" y="12478"/>
                  </a:cubicBezTo>
                  <a:lnTo>
                    <a:pt x="148495" y="12192"/>
                  </a:lnTo>
                  <a:cubicBezTo>
                    <a:pt x="144971" y="10096"/>
                    <a:pt x="141637" y="8096"/>
                    <a:pt x="134969" y="8096"/>
                  </a:cubicBezTo>
                  <a:cubicBezTo>
                    <a:pt x="128302" y="8096"/>
                    <a:pt x="124968" y="10096"/>
                    <a:pt x="121444" y="12192"/>
                  </a:cubicBezTo>
                  <a:lnTo>
                    <a:pt x="120968" y="12478"/>
                  </a:lnTo>
                  <a:cubicBezTo>
                    <a:pt x="117158" y="14859"/>
                    <a:pt x="112490" y="17812"/>
                    <a:pt x="103537" y="17812"/>
                  </a:cubicBezTo>
                  <a:cubicBezTo>
                    <a:pt x="94583" y="17812"/>
                    <a:pt x="89821" y="14859"/>
                    <a:pt x="86011" y="12382"/>
                  </a:cubicBezTo>
                  <a:lnTo>
                    <a:pt x="85535" y="12097"/>
                  </a:lnTo>
                  <a:cubicBezTo>
                    <a:pt x="82010" y="10001"/>
                    <a:pt x="78677" y="8001"/>
                    <a:pt x="72009" y="8001"/>
                  </a:cubicBezTo>
                  <a:cubicBezTo>
                    <a:pt x="65151" y="8001"/>
                    <a:pt x="61532" y="9716"/>
                    <a:pt x="57531" y="11906"/>
                  </a:cubicBezTo>
                  <a:cubicBezTo>
                    <a:pt x="53721" y="14288"/>
                    <a:pt x="49054" y="17240"/>
                    <a:pt x="40100" y="17240"/>
                  </a:cubicBezTo>
                  <a:cubicBezTo>
                    <a:pt x="31147" y="17240"/>
                    <a:pt x="26384" y="14288"/>
                    <a:pt x="22574" y="11811"/>
                  </a:cubicBezTo>
                  <a:lnTo>
                    <a:pt x="22098" y="11525"/>
                  </a:lnTo>
                  <a:cubicBezTo>
                    <a:pt x="18574" y="9430"/>
                    <a:pt x="15240" y="7430"/>
                    <a:pt x="8763" y="7430"/>
                  </a:cubicBezTo>
                  <a:lnTo>
                    <a:pt x="7144" y="7430"/>
                  </a:lnTo>
                  <a:lnTo>
                    <a:pt x="7144" y="27527"/>
                  </a:lnTo>
                  <a:lnTo>
                    <a:pt x="8763" y="27527"/>
                  </a:lnTo>
                  <a:cubicBezTo>
                    <a:pt x="13049" y="27527"/>
                    <a:pt x="15240" y="28766"/>
                    <a:pt x="18383" y="30956"/>
                  </a:cubicBezTo>
                  <a:lnTo>
                    <a:pt x="19717" y="31718"/>
                  </a:lnTo>
                  <a:cubicBezTo>
                    <a:pt x="24003" y="34290"/>
                    <a:pt x="29909" y="37719"/>
                    <a:pt x="40005" y="37719"/>
                  </a:cubicBezTo>
                  <a:cubicBezTo>
                    <a:pt x="50578" y="37719"/>
                    <a:pt x="56483" y="34385"/>
                    <a:pt x="61627" y="30956"/>
                  </a:cubicBezTo>
                  <a:lnTo>
                    <a:pt x="62103" y="30670"/>
                  </a:lnTo>
                  <a:cubicBezTo>
                    <a:pt x="65246" y="28670"/>
                    <a:pt x="67151" y="27527"/>
                    <a:pt x="72009" y="27527"/>
                  </a:cubicBezTo>
                  <a:cubicBezTo>
                    <a:pt x="76867" y="27527"/>
                    <a:pt x="79343" y="28956"/>
                    <a:pt x="82391" y="30956"/>
                  </a:cubicBezTo>
                  <a:lnTo>
                    <a:pt x="83630" y="31623"/>
                  </a:lnTo>
                  <a:cubicBezTo>
                    <a:pt x="87916" y="34195"/>
                    <a:pt x="93821" y="37624"/>
                    <a:pt x="103918" y="37624"/>
                  </a:cubicBezTo>
                  <a:cubicBezTo>
                    <a:pt x="114490" y="37624"/>
                    <a:pt x="120396" y="34290"/>
                    <a:pt x="125539" y="30861"/>
                  </a:cubicBezTo>
                  <a:lnTo>
                    <a:pt x="126016" y="30575"/>
                  </a:lnTo>
                  <a:cubicBezTo>
                    <a:pt x="129159" y="28575"/>
                    <a:pt x="131064" y="27432"/>
                    <a:pt x="135922" y="27432"/>
                  </a:cubicBezTo>
                  <a:cubicBezTo>
                    <a:pt x="140780" y="27432"/>
                    <a:pt x="143256" y="28861"/>
                    <a:pt x="146304" y="30861"/>
                  </a:cubicBezTo>
                  <a:lnTo>
                    <a:pt x="147542" y="31528"/>
                  </a:lnTo>
                  <a:cubicBezTo>
                    <a:pt x="151829" y="34100"/>
                    <a:pt x="157734" y="37529"/>
                    <a:pt x="167831" y="37529"/>
                  </a:cubicBezTo>
                  <a:cubicBezTo>
                    <a:pt x="178403" y="37529"/>
                    <a:pt x="184309" y="34195"/>
                    <a:pt x="189452" y="30766"/>
                  </a:cubicBezTo>
                  <a:cubicBezTo>
                    <a:pt x="192024" y="29051"/>
                    <a:pt x="193643" y="28004"/>
                    <a:pt x="196501" y="27527"/>
                  </a:cubicBezTo>
                  <a:lnTo>
                    <a:pt x="197930" y="27337"/>
                  </a:lnTo>
                  <a:lnTo>
                    <a:pt x="197930" y="7144"/>
                  </a:lnTo>
                  <a:lnTo>
                    <a:pt x="196025" y="7430"/>
                  </a:lnTo>
                  <a:cubicBezTo>
                    <a:pt x="191834" y="8668"/>
                    <a:pt x="189071" y="10192"/>
                    <a:pt x="186119" y="12002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60" name="Freeform: Shape 4859">
              <a:extLst>
                <a:ext uri="{FF2B5EF4-FFF2-40B4-BE49-F238E27FC236}">
                  <a16:creationId xmlns:a16="http://schemas.microsoft.com/office/drawing/2014/main" id="{FFF6322A-1C99-4154-9856-7E30D42D1D2F}"/>
                </a:ext>
              </a:extLst>
            </p:cNvPr>
            <p:cNvSpPr/>
            <p:nvPr/>
          </p:nvSpPr>
          <p:spPr>
            <a:xfrm>
              <a:off x="2585374" y="1465379"/>
              <a:ext cx="38100" cy="38100"/>
            </a:xfrm>
            <a:custGeom>
              <a:avLst/>
              <a:gdLst>
                <a:gd name="connsiteX0" fmla="*/ 32861 w 38100"/>
                <a:gd name="connsiteY0" fmla="*/ 20003 h 38100"/>
                <a:gd name="connsiteX1" fmla="*/ 20002 w 38100"/>
                <a:gd name="connsiteY1" fmla="*/ 32861 h 38100"/>
                <a:gd name="connsiteX2" fmla="*/ 7144 w 38100"/>
                <a:gd name="connsiteY2" fmla="*/ 20002 h 38100"/>
                <a:gd name="connsiteX3" fmla="*/ 20002 w 38100"/>
                <a:gd name="connsiteY3" fmla="*/ 7144 h 38100"/>
                <a:gd name="connsiteX4" fmla="*/ 32861 w 38100"/>
                <a:gd name="connsiteY4" fmla="*/ 2000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2861" y="20003"/>
                  </a:moveTo>
                  <a:cubicBezTo>
                    <a:pt x="32861" y="27104"/>
                    <a:pt x="27104" y="32861"/>
                    <a:pt x="20002" y="32861"/>
                  </a:cubicBezTo>
                  <a:cubicBezTo>
                    <a:pt x="12901" y="32861"/>
                    <a:pt x="7144" y="27104"/>
                    <a:pt x="7144" y="20002"/>
                  </a:cubicBezTo>
                  <a:cubicBezTo>
                    <a:pt x="7144" y="12901"/>
                    <a:pt x="12901" y="7144"/>
                    <a:pt x="20002" y="7144"/>
                  </a:cubicBezTo>
                  <a:cubicBezTo>
                    <a:pt x="27104" y="7144"/>
                    <a:pt x="32861" y="12901"/>
                    <a:pt x="32861" y="20003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61" name="Freeform: Shape 4860">
              <a:extLst>
                <a:ext uri="{FF2B5EF4-FFF2-40B4-BE49-F238E27FC236}">
                  <a16:creationId xmlns:a16="http://schemas.microsoft.com/office/drawing/2014/main" id="{36B5F726-04FB-48BB-8F7A-55A0ECFE3504}"/>
                </a:ext>
              </a:extLst>
            </p:cNvPr>
            <p:cNvSpPr/>
            <p:nvPr/>
          </p:nvSpPr>
          <p:spPr>
            <a:xfrm>
              <a:off x="2564990" y="1370894"/>
              <a:ext cx="47625" cy="95250"/>
            </a:xfrm>
            <a:custGeom>
              <a:avLst/>
              <a:gdLst>
                <a:gd name="connsiteX0" fmla="*/ 7144 w 47625"/>
                <a:gd name="connsiteY0" fmla="*/ 7618 h 95250"/>
                <a:gd name="connsiteX1" fmla="*/ 19622 w 47625"/>
                <a:gd name="connsiteY1" fmla="*/ 71626 h 95250"/>
                <a:gd name="connsiteX2" fmla="*/ 48959 w 47625"/>
                <a:gd name="connsiteY2" fmla="*/ 91438 h 95250"/>
                <a:gd name="connsiteX3" fmla="*/ 48959 w 47625"/>
                <a:gd name="connsiteY3" fmla="*/ 91438 h 95250"/>
                <a:gd name="connsiteX4" fmla="*/ 36481 w 47625"/>
                <a:gd name="connsiteY4" fmla="*/ 27430 h 95250"/>
                <a:gd name="connsiteX5" fmla="*/ 7144 w 47625"/>
                <a:gd name="connsiteY5" fmla="*/ 7618 h 95250"/>
                <a:gd name="connsiteX6" fmla="*/ 7144 w 47625"/>
                <a:gd name="connsiteY6" fmla="*/ 761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25" h="95250">
                  <a:moveTo>
                    <a:pt x="7144" y="7618"/>
                  </a:moveTo>
                  <a:lnTo>
                    <a:pt x="19622" y="71626"/>
                  </a:lnTo>
                  <a:cubicBezTo>
                    <a:pt x="22289" y="85246"/>
                    <a:pt x="35433" y="94105"/>
                    <a:pt x="48959" y="91438"/>
                  </a:cubicBezTo>
                  <a:lnTo>
                    <a:pt x="48959" y="91438"/>
                  </a:lnTo>
                  <a:lnTo>
                    <a:pt x="36481" y="27430"/>
                  </a:lnTo>
                  <a:cubicBezTo>
                    <a:pt x="33909" y="13809"/>
                    <a:pt x="20765" y="4951"/>
                    <a:pt x="7144" y="7618"/>
                  </a:cubicBezTo>
                  <a:lnTo>
                    <a:pt x="7144" y="7618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62" name="Freeform: Shape 4861">
              <a:extLst>
                <a:ext uri="{FF2B5EF4-FFF2-40B4-BE49-F238E27FC236}">
                  <a16:creationId xmlns:a16="http://schemas.microsoft.com/office/drawing/2014/main" id="{8D4BAB54-4B38-4663-8627-7A9F8CCD8CB3}"/>
                </a:ext>
              </a:extLst>
            </p:cNvPr>
            <p:cNvSpPr/>
            <p:nvPr/>
          </p:nvSpPr>
          <p:spPr>
            <a:xfrm>
              <a:off x="2516380" y="1482429"/>
              <a:ext cx="76200" cy="85725"/>
            </a:xfrm>
            <a:custGeom>
              <a:avLst/>
              <a:gdLst>
                <a:gd name="connsiteX0" fmla="*/ 13367 w 76200"/>
                <a:gd name="connsiteY0" fmla="*/ 85439 h 85725"/>
                <a:gd name="connsiteX1" fmla="*/ 62421 w 76200"/>
                <a:gd name="connsiteY1" fmla="*/ 42482 h 85725"/>
                <a:gd name="connsiteX2" fmla="*/ 64802 w 76200"/>
                <a:gd name="connsiteY2" fmla="*/ 7144 h 85725"/>
                <a:gd name="connsiteX3" fmla="*/ 64802 w 76200"/>
                <a:gd name="connsiteY3" fmla="*/ 7144 h 85725"/>
                <a:gd name="connsiteX4" fmla="*/ 15749 w 76200"/>
                <a:gd name="connsiteY4" fmla="*/ 50102 h 85725"/>
                <a:gd name="connsiteX5" fmla="*/ 13367 w 76200"/>
                <a:gd name="connsiteY5" fmla="*/ 85439 h 85725"/>
                <a:gd name="connsiteX6" fmla="*/ 13367 w 76200"/>
                <a:gd name="connsiteY6" fmla="*/ 85439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85725">
                  <a:moveTo>
                    <a:pt x="13367" y="85439"/>
                  </a:moveTo>
                  <a:lnTo>
                    <a:pt x="62421" y="42482"/>
                  </a:lnTo>
                  <a:cubicBezTo>
                    <a:pt x="72803" y="33338"/>
                    <a:pt x="73851" y="17526"/>
                    <a:pt x="64802" y="7144"/>
                  </a:cubicBezTo>
                  <a:lnTo>
                    <a:pt x="64802" y="7144"/>
                  </a:lnTo>
                  <a:lnTo>
                    <a:pt x="15749" y="50102"/>
                  </a:lnTo>
                  <a:cubicBezTo>
                    <a:pt x="5271" y="59150"/>
                    <a:pt x="4223" y="74962"/>
                    <a:pt x="13367" y="85439"/>
                  </a:cubicBezTo>
                  <a:lnTo>
                    <a:pt x="13367" y="85439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63" name="Freeform: Shape 4862">
              <a:extLst>
                <a:ext uri="{FF2B5EF4-FFF2-40B4-BE49-F238E27FC236}">
                  <a16:creationId xmlns:a16="http://schemas.microsoft.com/office/drawing/2014/main" id="{A4EFF3DE-D7BF-438E-A439-B3E0F3F9E850}"/>
                </a:ext>
              </a:extLst>
            </p:cNvPr>
            <p:cNvSpPr/>
            <p:nvPr/>
          </p:nvSpPr>
          <p:spPr>
            <a:xfrm>
              <a:off x="2614044" y="1479985"/>
              <a:ext cx="104775" cy="47625"/>
            </a:xfrm>
            <a:custGeom>
              <a:avLst/>
              <a:gdLst>
                <a:gd name="connsiteX0" fmla="*/ 100679 w 104775"/>
                <a:gd name="connsiteY0" fmla="*/ 29209 h 47625"/>
                <a:gd name="connsiteX1" fmla="*/ 38862 w 104775"/>
                <a:gd name="connsiteY1" fmla="*/ 8445 h 47625"/>
                <a:gd name="connsiteX2" fmla="*/ 7144 w 104775"/>
                <a:gd name="connsiteY2" fmla="*/ 24161 h 47625"/>
                <a:gd name="connsiteX3" fmla="*/ 7144 w 104775"/>
                <a:gd name="connsiteY3" fmla="*/ 24161 h 47625"/>
                <a:gd name="connsiteX4" fmla="*/ 68961 w 104775"/>
                <a:gd name="connsiteY4" fmla="*/ 44925 h 47625"/>
                <a:gd name="connsiteX5" fmla="*/ 100679 w 104775"/>
                <a:gd name="connsiteY5" fmla="*/ 29209 h 47625"/>
                <a:gd name="connsiteX6" fmla="*/ 100679 w 104775"/>
                <a:gd name="connsiteY6" fmla="*/ 2920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5" h="47625">
                  <a:moveTo>
                    <a:pt x="100679" y="29209"/>
                  </a:moveTo>
                  <a:lnTo>
                    <a:pt x="38862" y="8445"/>
                  </a:lnTo>
                  <a:cubicBezTo>
                    <a:pt x="25718" y="4063"/>
                    <a:pt x="11525" y="11112"/>
                    <a:pt x="7144" y="24161"/>
                  </a:cubicBezTo>
                  <a:lnTo>
                    <a:pt x="7144" y="24161"/>
                  </a:lnTo>
                  <a:lnTo>
                    <a:pt x="68961" y="44925"/>
                  </a:lnTo>
                  <a:cubicBezTo>
                    <a:pt x="82010" y="49402"/>
                    <a:pt x="96203" y="42354"/>
                    <a:pt x="100679" y="29209"/>
                  </a:cubicBezTo>
                  <a:lnTo>
                    <a:pt x="100679" y="29209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64" name="Freeform: Shape 4863">
              <a:extLst>
                <a:ext uri="{FF2B5EF4-FFF2-40B4-BE49-F238E27FC236}">
                  <a16:creationId xmlns:a16="http://schemas.microsoft.com/office/drawing/2014/main" id="{D8AF414A-E3AF-4D4A-A960-C7394A043997}"/>
                </a:ext>
              </a:extLst>
            </p:cNvPr>
            <p:cNvSpPr/>
            <p:nvPr/>
          </p:nvSpPr>
          <p:spPr>
            <a:xfrm>
              <a:off x="2581754" y="1504098"/>
              <a:ext cx="38100" cy="114300"/>
            </a:xfrm>
            <a:custGeom>
              <a:avLst/>
              <a:gdLst>
                <a:gd name="connsiteX0" fmla="*/ 23622 w 38100"/>
                <a:gd name="connsiteY0" fmla="*/ 110347 h 114300"/>
                <a:gd name="connsiteX1" fmla="*/ 40005 w 38100"/>
                <a:gd name="connsiteY1" fmla="*/ 103870 h 114300"/>
                <a:gd name="connsiteX2" fmla="*/ 34290 w 38100"/>
                <a:gd name="connsiteY2" fmla="*/ 17002 h 114300"/>
                <a:gd name="connsiteX3" fmla="*/ 12859 w 38100"/>
                <a:gd name="connsiteY3" fmla="*/ 17002 h 114300"/>
                <a:gd name="connsiteX4" fmla="*/ 7144 w 38100"/>
                <a:gd name="connsiteY4" fmla="*/ 103108 h 114300"/>
                <a:gd name="connsiteX5" fmla="*/ 23622 w 38100"/>
                <a:gd name="connsiteY5" fmla="*/ 11034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" h="114300">
                  <a:moveTo>
                    <a:pt x="23622" y="110347"/>
                  </a:moveTo>
                  <a:cubicBezTo>
                    <a:pt x="29146" y="110347"/>
                    <a:pt x="34862" y="108061"/>
                    <a:pt x="40005" y="103870"/>
                  </a:cubicBezTo>
                  <a:cubicBezTo>
                    <a:pt x="38767" y="70247"/>
                    <a:pt x="36481" y="25860"/>
                    <a:pt x="34290" y="17002"/>
                  </a:cubicBezTo>
                  <a:cubicBezTo>
                    <a:pt x="30956" y="3858"/>
                    <a:pt x="16193" y="3858"/>
                    <a:pt x="12859" y="17002"/>
                  </a:cubicBezTo>
                  <a:cubicBezTo>
                    <a:pt x="10668" y="25765"/>
                    <a:pt x="8382" y="69580"/>
                    <a:pt x="7144" y="103108"/>
                  </a:cubicBezTo>
                  <a:cubicBezTo>
                    <a:pt x="12192" y="107394"/>
                    <a:pt x="17812" y="110347"/>
                    <a:pt x="23622" y="110347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66" name="Freeform: Shape 4865">
              <a:extLst>
                <a:ext uri="{FF2B5EF4-FFF2-40B4-BE49-F238E27FC236}">
                  <a16:creationId xmlns:a16="http://schemas.microsoft.com/office/drawing/2014/main" id="{764597C9-1FF9-4CB1-9801-9520F583AD66}"/>
                </a:ext>
              </a:extLst>
            </p:cNvPr>
            <p:cNvSpPr/>
            <p:nvPr/>
          </p:nvSpPr>
          <p:spPr>
            <a:xfrm>
              <a:off x="2407256" y="133012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67" name="Group 4866">
            <a:extLst>
              <a:ext uri="{FF2B5EF4-FFF2-40B4-BE49-F238E27FC236}">
                <a16:creationId xmlns:a16="http://schemas.microsoft.com/office/drawing/2014/main" id="{44F0156C-BECB-4A80-9C13-2DC375BBEB10}"/>
              </a:ext>
            </a:extLst>
          </p:cNvPr>
          <p:cNvGrpSpPr>
            <a:grpSpLocks noChangeAspect="1"/>
          </p:cNvGrpSpPr>
          <p:nvPr/>
        </p:nvGrpSpPr>
        <p:grpSpPr>
          <a:xfrm>
            <a:off x="5442645" y="1655619"/>
            <a:ext cx="1045799" cy="1076492"/>
            <a:chOff x="2407256" y="1330124"/>
            <a:chExt cx="311563" cy="320707"/>
          </a:xfrm>
          <a:noFill/>
        </p:grpSpPr>
        <p:sp>
          <p:nvSpPr>
            <p:cNvPr id="4868" name="Freeform: Shape 4867">
              <a:extLst>
                <a:ext uri="{FF2B5EF4-FFF2-40B4-BE49-F238E27FC236}">
                  <a16:creationId xmlns:a16="http://schemas.microsoft.com/office/drawing/2014/main" id="{E0A3E7DE-ED22-4ABD-AAD0-7D548DC7F6A0}"/>
                </a:ext>
              </a:extLst>
            </p:cNvPr>
            <p:cNvSpPr/>
            <p:nvPr/>
          </p:nvSpPr>
          <p:spPr>
            <a:xfrm>
              <a:off x="2502792" y="1612731"/>
              <a:ext cx="200025" cy="38100"/>
            </a:xfrm>
            <a:custGeom>
              <a:avLst/>
              <a:gdLst>
                <a:gd name="connsiteX0" fmla="*/ 186119 w 200025"/>
                <a:gd name="connsiteY0" fmla="*/ 12002 h 38100"/>
                <a:gd name="connsiteX1" fmla="*/ 183356 w 200025"/>
                <a:gd name="connsiteY1" fmla="*/ 13335 h 38100"/>
                <a:gd name="connsiteX2" fmla="*/ 166497 w 200025"/>
                <a:gd name="connsiteY2" fmla="*/ 17907 h 38100"/>
                <a:gd name="connsiteX3" fmla="*/ 148971 w 200025"/>
                <a:gd name="connsiteY3" fmla="*/ 12478 h 38100"/>
                <a:gd name="connsiteX4" fmla="*/ 148495 w 200025"/>
                <a:gd name="connsiteY4" fmla="*/ 12192 h 38100"/>
                <a:gd name="connsiteX5" fmla="*/ 134969 w 200025"/>
                <a:gd name="connsiteY5" fmla="*/ 8096 h 38100"/>
                <a:gd name="connsiteX6" fmla="*/ 121444 w 200025"/>
                <a:gd name="connsiteY6" fmla="*/ 12192 h 38100"/>
                <a:gd name="connsiteX7" fmla="*/ 120968 w 200025"/>
                <a:gd name="connsiteY7" fmla="*/ 12478 h 38100"/>
                <a:gd name="connsiteX8" fmla="*/ 103537 w 200025"/>
                <a:gd name="connsiteY8" fmla="*/ 17812 h 38100"/>
                <a:gd name="connsiteX9" fmla="*/ 86011 w 200025"/>
                <a:gd name="connsiteY9" fmla="*/ 12382 h 38100"/>
                <a:gd name="connsiteX10" fmla="*/ 85535 w 200025"/>
                <a:gd name="connsiteY10" fmla="*/ 12097 h 38100"/>
                <a:gd name="connsiteX11" fmla="*/ 72009 w 200025"/>
                <a:gd name="connsiteY11" fmla="*/ 8001 h 38100"/>
                <a:gd name="connsiteX12" fmla="*/ 57531 w 200025"/>
                <a:gd name="connsiteY12" fmla="*/ 11906 h 38100"/>
                <a:gd name="connsiteX13" fmla="*/ 40100 w 200025"/>
                <a:gd name="connsiteY13" fmla="*/ 17240 h 38100"/>
                <a:gd name="connsiteX14" fmla="*/ 22574 w 200025"/>
                <a:gd name="connsiteY14" fmla="*/ 11811 h 38100"/>
                <a:gd name="connsiteX15" fmla="*/ 22098 w 200025"/>
                <a:gd name="connsiteY15" fmla="*/ 11525 h 38100"/>
                <a:gd name="connsiteX16" fmla="*/ 8763 w 200025"/>
                <a:gd name="connsiteY16" fmla="*/ 7430 h 38100"/>
                <a:gd name="connsiteX17" fmla="*/ 7144 w 200025"/>
                <a:gd name="connsiteY17" fmla="*/ 7430 h 38100"/>
                <a:gd name="connsiteX18" fmla="*/ 7144 w 200025"/>
                <a:gd name="connsiteY18" fmla="*/ 27527 h 38100"/>
                <a:gd name="connsiteX19" fmla="*/ 8763 w 200025"/>
                <a:gd name="connsiteY19" fmla="*/ 27527 h 38100"/>
                <a:gd name="connsiteX20" fmla="*/ 18383 w 200025"/>
                <a:gd name="connsiteY20" fmla="*/ 30956 h 38100"/>
                <a:gd name="connsiteX21" fmla="*/ 19717 w 200025"/>
                <a:gd name="connsiteY21" fmla="*/ 31718 h 38100"/>
                <a:gd name="connsiteX22" fmla="*/ 40005 w 200025"/>
                <a:gd name="connsiteY22" fmla="*/ 37719 h 38100"/>
                <a:gd name="connsiteX23" fmla="*/ 61627 w 200025"/>
                <a:gd name="connsiteY23" fmla="*/ 30956 h 38100"/>
                <a:gd name="connsiteX24" fmla="*/ 62103 w 200025"/>
                <a:gd name="connsiteY24" fmla="*/ 30670 h 38100"/>
                <a:gd name="connsiteX25" fmla="*/ 72009 w 200025"/>
                <a:gd name="connsiteY25" fmla="*/ 27527 h 38100"/>
                <a:gd name="connsiteX26" fmla="*/ 82391 w 200025"/>
                <a:gd name="connsiteY26" fmla="*/ 30956 h 38100"/>
                <a:gd name="connsiteX27" fmla="*/ 83630 w 200025"/>
                <a:gd name="connsiteY27" fmla="*/ 31623 h 38100"/>
                <a:gd name="connsiteX28" fmla="*/ 103918 w 200025"/>
                <a:gd name="connsiteY28" fmla="*/ 37624 h 38100"/>
                <a:gd name="connsiteX29" fmla="*/ 125539 w 200025"/>
                <a:gd name="connsiteY29" fmla="*/ 30861 h 38100"/>
                <a:gd name="connsiteX30" fmla="*/ 126016 w 200025"/>
                <a:gd name="connsiteY30" fmla="*/ 30575 h 38100"/>
                <a:gd name="connsiteX31" fmla="*/ 135922 w 200025"/>
                <a:gd name="connsiteY31" fmla="*/ 27432 h 38100"/>
                <a:gd name="connsiteX32" fmla="*/ 146304 w 200025"/>
                <a:gd name="connsiteY32" fmla="*/ 30861 h 38100"/>
                <a:gd name="connsiteX33" fmla="*/ 147542 w 200025"/>
                <a:gd name="connsiteY33" fmla="*/ 31528 h 38100"/>
                <a:gd name="connsiteX34" fmla="*/ 167831 w 200025"/>
                <a:gd name="connsiteY34" fmla="*/ 37529 h 38100"/>
                <a:gd name="connsiteX35" fmla="*/ 189452 w 200025"/>
                <a:gd name="connsiteY35" fmla="*/ 30766 h 38100"/>
                <a:gd name="connsiteX36" fmla="*/ 196501 w 200025"/>
                <a:gd name="connsiteY36" fmla="*/ 27527 h 38100"/>
                <a:gd name="connsiteX37" fmla="*/ 197930 w 200025"/>
                <a:gd name="connsiteY37" fmla="*/ 27337 h 38100"/>
                <a:gd name="connsiteX38" fmla="*/ 197930 w 200025"/>
                <a:gd name="connsiteY38" fmla="*/ 7144 h 38100"/>
                <a:gd name="connsiteX39" fmla="*/ 196025 w 200025"/>
                <a:gd name="connsiteY39" fmla="*/ 7430 h 38100"/>
                <a:gd name="connsiteX40" fmla="*/ 186119 w 200025"/>
                <a:gd name="connsiteY40" fmla="*/ 1200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00025" h="38100">
                  <a:moveTo>
                    <a:pt x="186119" y="12002"/>
                  </a:moveTo>
                  <a:cubicBezTo>
                    <a:pt x="185166" y="12382"/>
                    <a:pt x="184309" y="12859"/>
                    <a:pt x="183356" y="13335"/>
                  </a:cubicBezTo>
                  <a:cubicBezTo>
                    <a:pt x="178784" y="15621"/>
                    <a:pt x="174117" y="17907"/>
                    <a:pt x="166497" y="17907"/>
                  </a:cubicBezTo>
                  <a:cubicBezTo>
                    <a:pt x="157448" y="17907"/>
                    <a:pt x="152972" y="15049"/>
                    <a:pt x="148971" y="12478"/>
                  </a:cubicBezTo>
                  <a:lnTo>
                    <a:pt x="148495" y="12192"/>
                  </a:lnTo>
                  <a:cubicBezTo>
                    <a:pt x="144971" y="10096"/>
                    <a:pt x="141637" y="8096"/>
                    <a:pt x="134969" y="8096"/>
                  </a:cubicBezTo>
                  <a:cubicBezTo>
                    <a:pt x="128302" y="8096"/>
                    <a:pt x="124968" y="10096"/>
                    <a:pt x="121444" y="12192"/>
                  </a:cubicBezTo>
                  <a:lnTo>
                    <a:pt x="120968" y="12478"/>
                  </a:lnTo>
                  <a:cubicBezTo>
                    <a:pt x="117158" y="14859"/>
                    <a:pt x="112490" y="17812"/>
                    <a:pt x="103537" y="17812"/>
                  </a:cubicBezTo>
                  <a:cubicBezTo>
                    <a:pt x="94583" y="17812"/>
                    <a:pt x="89821" y="14859"/>
                    <a:pt x="86011" y="12382"/>
                  </a:cubicBezTo>
                  <a:lnTo>
                    <a:pt x="85535" y="12097"/>
                  </a:lnTo>
                  <a:cubicBezTo>
                    <a:pt x="82010" y="10001"/>
                    <a:pt x="78677" y="8001"/>
                    <a:pt x="72009" y="8001"/>
                  </a:cubicBezTo>
                  <a:cubicBezTo>
                    <a:pt x="65151" y="8001"/>
                    <a:pt x="61532" y="9716"/>
                    <a:pt x="57531" y="11906"/>
                  </a:cubicBezTo>
                  <a:cubicBezTo>
                    <a:pt x="53721" y="14288"/>
                    <a:pt x="49054" y="17240"/>
                    <a:pt x="40100" y="17240"/>
                  </a:cubicBezTo>
                  <a:cubicBezTo>
                    <a:pt x="31147" y="17240"/>
                    <a:pt x="26384" y="14288"/>
                    <a:pt x="22574" y="11811"/>
                  </a:cubicBezTo>
                  <a:lnTo>
                    <a:pt x="22098" y="11525"/>
                  </a:lnTo>
                  <a:cubicBezTo>
                    <a:pt x="18574" y="9430"/>
                    <a:pt x="15240" y="7430"/>
                    <a:pt x="8763" y="7430"/>
                  </a:cubicBezTo>
                  <a:lnTo>
                    <a:pt x="7144" y="7430"/>
                  </a:lnTo>
                  <a:lnTo>
                    <a:pt x="7144" y="27527"/>
                  </a:lnTo>
                  <a:lnTo>
                    <a:pt x="8763" y="27527"/>
                  </a:lnTo>
                  <a:cubicBezTo>
                    <a:pt x="13049" y="27527"/>
                    <a:pt x="15240" y="28766"/>
                    <a:pt x="18383" y="30956"/>
                  </a:cubicBezTo>
                  <a:lnTo>
                    <a:pt x="19717" y="31718"/>
                  </a:lnTo>
                  <a:cubicBezTo>
                    <a:pt x="24003" y="34290"/>
                    <a:pt x="29909" y="37719"/>
                    <a:pt x="40005" y="37719"/>
                  </a:cubicBezTo>
                  <a:cubicBezTo>
                    <a:pt x="50578" y="37719"/>
                    <a:pt x="56483" y="34385"/>
                    <a:pt x="61627" y="30956"/>
                  </a:cubicBezTo>
                  <a:lnTo>
                    <a:pt x="62103" y="30670"/>
                  </a:lnTo>
                  <a:cubicBezTo>
                    <a:pt x="65246" y="28670"/>
                    <a:pt x="67151" y="27527"/>
                    <a:pt x="72009" y="27527"/>
                  </a:cubicBezTo>
                  <a:cubicBezTo>
                    <a:pt x="76867" y="27527"/>
                    <a:pt x="79343" y="28956"/>
                    <a:pt x="82391" y="30956"/>
                  </a:cubicBezTo>
                  <a:lnTo>
                    <a:pt x="83630" y="31623"/>
                  </a:lnTo>
                  <a:cubicBezTo>
                    <a:pt x="87916" y="34195"/>
                    <a:pt x="93821" y="37624"/>
                    <a:pt x="103918" y="37624"/>
                  </a:cubicBezTo>
                  <a:cubicBezTo>
                    <a:pt x="114490" y="37624"/>
                    <a:pt x="120396" y="34290"/>
                    <a:pt x="125539" y="30861"/>
                  </a:cubicBezTo>
                  <a:lnTo>
                    <a:pt x="126016" y="30575"/>
                  </a:lnTo>
                  <a:cubicBezTo>
                    <a:pt x="129159" y="28575"/>
                    <a:pt x="131064" y="27432"/>
                    <a:pt x="135922" y="27432"/>
                  </a:cubicBezTo>
                  <a:cubicBezTo>
                    <a:pt x="140780" y="27432"/>
                    <a:pt x="143256" y="28861"/>
                    <a:pt x="146304" y="30861"/>
                  </a:cubicBezTo>
                  <a:lnTo>
                    <a:pt x="147542" y="31528"/>
                  </a:lnTo>
                  <a:cubicBezTo>
                    <a:pt x="151829" y="34100"/>
                    <a:pt x="157734" y="37529"/>
                    <a:pt x="167831" y="37529"/>
                  </a:cubicBezTo>
                  <a:cubicBezTo>
                    <a:pt x="178403" y="37529"/>
                    <a:pt x="184309" y="34195"/>
                    <a:pt x="189452" y="30766"/>
                  </a:cubicBezTo>
                  <a:cubicBezTo>
                    <a:pt x="192024" y="29051"/>
                    <a:pt x="193643" y="28004"/>
                    <a:pt x="196501" y="27527"/>
                  </a:cubicBezTo>
                  <a:lnTo>
                    <a:pt x="197930" y="27337"/>
                  </a:lnTo>
                  <a:lnTo>
                    <a:pt x="197930" y="7144"/>
                  </a:lnTo>
                  <a:lnTo>
                    <a:pt x="196025" y="7430"/>
                  </a:lnTo>
                  <a:cubicBezTo>
                    <a:pt x="191834" y="8668"/>
                    <a:pt x="189071" y="10192"/>
                    <a:pt x="186119" y="12002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69" name="Freeform: Shape 4868">
              <a:extLst>
                <a:ext uri="{FF2B5EF4-FFF2-40B4-BE49-F238E27FC236}">
                  <a16:creationId xmlns:a16="http://schemas.microsoft.com/office/drawing/2014/main" id="{40BCE2E9-FEAB-4C78-A1E1-5BD6A85EB129}"/>
                </a:ext>
              </a:extLst>
            </p:cNvPr>
            <p:cNvSpPr/>
            <p:nvPr/>
          </p:nvSpPr>
          <p:spPr>
            <a:xfrm>
              <a:off x="2585374" y="1465379"/>
              <a:ext cx="38100" cy="38100"/>
            </a:xfrm>
            <a:custGeom>
              <a:avLst/>
              <a:gdLst>
                <a:gd name="connsiteX0" fmla="*/ 32861 w 38100"/>
                <a:gd name="connsiteY0" fmla="*/ 20003 h 38100"/>
                <a:gd name="connsiteX1" fmla="*/ 20002 w 38100"/>
                <a:gd name="connsiteY1" fmla="*/ 32861 h 38100"/>
                <a:gd name="connsiteX2" fmla="*/ 7144 w 38100"/>
                <a:gd name="connsiteY2" fmla="*/ 20002 h 38100"/>
                <a:gd name="connsiteX3" fmla="*/ 20002 w 38100"/>
                <a:gd name="connsiteY3" fmla="*/ 7144 h 38100"/>
                <a:gd name="connsiteX4" fmla="*/ 32861 w 38100"/>
                <a:gd name="connsiteY4" fmla="*/ 2000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2861" y="20003"/>
                  </a:moveTo>
                  <a:cubicBezTo>
                    <a:pt x="32861" y="27104"/>
                    <a:pt x="27104" y="32861"/>
                    <a:pt x="20002" y="32861"/>
                  </a:cubicBezTo>
                  <a:cubicBezTo>
                    <a:pt x="12901" y="32861"/>
                    <a:pt x="7144" y="27104"/>
                    <a:pt x="7144" y="20002"/>
                  </a:cubicBezTo>
                  <a:cubicBezTo>
                    <a:pt x="7144" y="12901"/>
                    <a:pt x="12901" y="7144"/>
                    <a:pt x="20002" y="7144"/>
                  </a:cubicBezTo>
                  <a:cubicBezTo>
                    <a:pt x="27104" y="7144"/>
                    <a:pt x="32861" y="12901"/>
                    <a:pt x="32861" y="20003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70" name="Freeform: Shape 4869">
              <a:extLst>
                <a:ext uri="{FF2B5EF4-FFF2-40B4-BE49-F238E27FC236}">
                  <a16:creationId xmlns:a16="http://schemas.microsoft.com/office/drawing/2014/main" id="{222F06EE-A757-42CF-85E2-730966E8A804}"/>
                </a:ext>
              </a:extLst>
            </p:cNvPr>
            <p:cNvSpPr/>
            <p:nvPr/>
          </p:nvSpPr>
          <p:spPr>
            <a:xfrm>
              <a:off x="2564990" y="1370894"/>
              <a:ext cx="47625" cy="95250"/>
            </a:xfrm>
            <a:custGeom>
              <a:avLst/>
              <a:gdLst>
                <a:gd name="connsiteX0" fmla="*/ 7144 w 47625"/>
                <a:gd name="connsiteY0" fmla="*/ 7618 h 95250"/>
                <a:gd name="connsiteX1" fmla="*/ 19622 w 47625"/>
                <a:gd name="connsiteY1" fmla="*/ 71626 h 95250"/>
                <a:gd name="connsiteX2" fmla="*/ 48959 w 47625"/>
                <a:gd name="connsiteY2" fmla="*/ 91438 h 95250"/>
                <a:gd name="connsiteX3" fmla="*/ 48959 w 47625"/>
                <a:gd name="connsiteY3" fmla="*/ 91438 h 95250"/>
                <a:gd name="connsiteX4" fmla="*/ 36481 w 47625"/>
                <a:gd name="connsiteY4" fmla="*/ 27430 h 95250"/>
                <a:gd name="connsiteX5" fmla="*/ 7144 w 47625"/>
                <a:gd name="connsiteY5" fmla="*/ 7618 h 95250"/>
                <a:gd name="connsiteX6" fmla="*/ 7144 w 47625"/>
                <a:gd name="connsiteY6" fmla="*/ 761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25" h="95250">
                  <a:moveTo>
                    <a:pt x="7144" y="7618"/>
                  </a:moveTo>
                  <a:lnTo>
                    <a:pt x="19622" y="71626"/>
                  </a:lnTo>
                  <a:cubicBezTo>
                    <a:pt x="22289" y="85246"/>
                    <a:pt x="35433" y="94105"/>
                    <a:pt x="48959" y="91438"/>
                  </a:cubicBezTo>
                  <a:lnTo>
                    <a:pt x="48959" y="91438"/>
                  </a:lnTo>
                  <a:lnTo>
                    <a:pt x="36481" y="27430"/>
                  </a:lnTo>
                  <a:cubicBezTo>
                    <a:pt x="33909" y="13809"/>
                    <a:pt x="20765" y="4951"/>
                    <a:pt x="7144" y="7618"/>
                  </a:cubicBezTo>
                  <a:lnTo>
                    <a:pt x="7144" y="7618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71" name="Freeform: Shape 4870">
              <a:extLst>
                <a:ext uri="{FF2B5EF4-FFF2-40B4-BE49-F238E27FC236}">
                  <a16:creationId xmlns:a16="http://schemas.microsoft.com/office/drawing/2014/main" id="{8B47FCAF-1969-4229-B7DD-14FAF48C78B9}"/>
                </a:ext>
              </a:extLst>
            </p:cNvPr>
            <p:cNvSpPr/>
            <p:nvPr/>
          </p:nvSpPr>
          <p:spPr>
            <a:xfrm>
              <a:off x="2516380" y="1482429"/>
              <a:ext cx="76200" cy="85725"/>
            </a:xfrm>
            <a:custGeom>
              <a:avLst/>
              <a:gdLst>
                <a:gd name="connsiteX0" fmla="*/ 13367 w 76200"/>
                <a:gd name="connsiteY0" fmla="*/ 85439 h 85725"/>
                <a:gd name="connsiteX1" fmla="*/ 62421 w 76200"/>
                <a:gd name="connsiteY1" fmla="*/ 42482 h 85725"/>
                <a:gd name="connsiteX2" fmla="*/ 64802 w 76200"/>
                <a:gd name="connsiteY2" fmla="*/ 7144 h 85725"/>
                <a:gd name="connsiteX3" fmla="*/ 64802 w 76200"/>
                <a:gd name="connsiteY3" fmla="*/ 7144 h 85725"/>
                <a:gd name="connsiteX4" fmla="*/ 15749 w 76200"/>
                <a:gd name="connsiteY4" fmla="*/ 50102 h 85725"/>
                <a:gd name="connsiteX5" fmla="*/ 13367 w 76200"/>
                <a:gd name="connsiteY5" fmla="*/ 85439 h 85725"/>
                <a:gd name="connsiteX6" fmla="*/ 13367 w 76200"/>
                <a:gd name="connsiteY6" fmla="*/ 85439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85725">
                  <a:moveTo>
                    <a:pt x="13367" y="85439"/>
                  </a:moveTo>
                  <a:lnTo>
                    <a:pt x="62421" y="42482"/>
                  </a:lnTo>
                  <a:cubicBezTo>
                    <a:pt x="72803" y="33338"/>
                    <a:pt x="73851" y="17526"/>
                    <a:pt x="64802" y="7144"/>
                  </a:cubicBezTo>
                  <a:lnTo>
                    <a:pt x="64802" y="7144"/>
                  </a:lnTo>
                  <a:lnTo>
                    <a:pt x="15749" y="50102"/>
                  </a:lnTo>
                  <a:cubicBezTo>
                    <a:pt x="5271" y="59150"/>
                    <a:pt x="4223" y="74962"/>
                    <a:pt x="13367" y="85439"/>
                  </a:cubicBezTo>
                  <a:lnTo>
                    <a:pt x="13367" y="85439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72" name="Freeform: Shape 4871">
              <a:extLst>
                <a:ext uri="{FF2B5EF4-FFF2-40B4-BE49-F238E27FC236}">
                  <a16:creationId xmlns:a16="http://schemas.microsoft.com/office/drawing/2014/main" id="{5AE66BC2-9C0D-4063-A1FA-173BC3BB57CB}"/>
                </a:ext>
              </a:extLst>
            </p:cNvPr>
            <p:cNvSpPr/>
            <p:nvPr/>
          </p:nvSpPr>
          <p:spPr>
            <a:xfrm>
              <a:off x="2614044" y="1479985"/>
              <a:ext cx="104775" cy="47625"/>
            </a:xfrm>
            <a:custGeom>
              <a:avLst/>
              <a:gdLst>
                <a:gd name="connsiteX0" fmla="*/ 100679 w 104775"/>
                <a:gd name="connsiteY0" fmla="*/ 29209 h 47625"/>
                <a:gd name="connsiteX1" fmla="*/ 38862 w 104775"/>
                <a:gd name="connsiteY1" fmla="*/ 8445 h 47625"/>
                <a:gd name="connsiteX2" fmla="*/ 7144 w 104775"/>
                <a:gd name="connsiteY2" fmla="*/ 24161 h 47625"/>
                <a:gd name="connsiteX3" fmla="*/ 7144 w 104775"/>
                <a:gd name="connsiteY3" fmla="*/ 24161 h 47625"/>
                <a:gd name="connsiteX4" fmla="*/ 68961 w 104775"/>
                <a:gd name="connsiteY4" fmla="*/ 44925 h 47625"/>
                <a:gd name="connsiteX5" fmla="*/ 100679 w 104775"/>
                <a:gd name="connsiteY5" fmla="*/ 29209 h 47625"/>
                <a:gd name="connsiteX6" fmla="*/ 100679 w 104775"/>
                <a:gd name="connsiteY6" fmla="*/ 2920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5" h="47625">
                  <a:moveTo>
                    <a:pt x="100679" y="29209"/>
                  </a:moveTo>
                  <a:lnTo>
                    <a:pt x="38862" y="8445"/>
                  </a:lnTo>
                  <a:cubicBezTo>
                    <a:pt x="25718" y="4063"/>
                    <a:pt x="11525" y="11112"/>
                    <a:pt x="7144" y="24161"/>
                  </a:cubicBezTo>
                  <a:lnTo>
                    <a:pt x="7144" y="24161"/>
                  </a:lnTo>
                  <a:lnTo>
                    <a:pt x="68961" y="44925"/>
                  </a:lnTo>
                  <a:cubicBezTo>
                    <a:pt x="82010" y="49402"/>
                    <a:pt x="96203" y="42354"/>
                    <a:pt x="100679" y="29209"/>
                  </a:cubicBezTo>
                  <a:lnTo>
                    <a:pt x="100679" y="29209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73" name="Freeform: Shape 4872">
              <a:extLst>
                <a:ext uri="{FF2B5EF4-FFF2-40B4-BE49-F238E27FC236}">
                  <a16:creationId xmlns:a16="http://schemas.microsoft.com/office/drawing/2014/main" id="{9DC99F82-807C-4C6E-8C39-4D3CEE08DC4A}"/>
                </a:ext>
              </a:extLst>
            </p:cNvPr>
            <p:cNvSpPr/>
            <p:nvPr/>
          </p:nvSpPr>
          <p:spPr>
            <a:xfrm>
              <a:off x="2581754" y="1504098"/>
              <a:ext cx="38100" cy="114300"/>
            </a:xfrm>
            <a:custGeom>
              <a:avLst/>
              <a:gdLst>
                <a:gd name="connsiteX0" fmla="*/ 23622 w 38100"/>
                <a:gd name="connsiteY0" fmla="*/ 110347 h 114300"/>
                <a:gd name="connsiteX1" fmla="*/ 40005 w 38100"/>
                <a:gd name="connsiteY1" fmla="*/ 103870 h 114300"/>
                <a:gd name="connsiteX2" fmla="*/ 34290 w 38100"/>
                <a:gd name="connsiteY2" fmla="*/ 17002 h 114300"/>
                <a:gd name="connsiteX3" fmla="*/ 12859 w 38100"/>
                <a:gd name="connsiteY3" fmla="*/ 17002 h 114300"/>
                <a:gd name="connsiteX4" fmla="*/ 7144 w 38100"/>
                <a:gd name="connsiteY4" fmla="*/ 103108 h 114300"/>
                <a:gd name="connsiteX5" fmla="*/ 23622 w 38100"/>
                <a:gd name="connsiteY5" fmla="*/ 11034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" h="114300">
                  <a:moveTo>
                    <a:pt x="23622" y="110347"/>
                  </a:moveTo>
                  <a:cubicBezTo>
                    <a:pt x="29146" y="110347"/>
                    <a:pt x="34862" y="108061"/>
                    <a:pt x="40005" y="103870"/>
                  </a:cubicBezTo>
                  <a:cubicBezTo>
                    <a:pt x="38767" y="70247"/>
                    <a:pt x="36481" y="25860"/>
                    <a:pt x="34290" y="17002"/>
                  </a:cubicBezTo>
                  <a:cubicBezTo>
                    <a:pt x="30956" y="3858"/>
                    <a:pt x="16193" y="3858"/>
                    <a:pt x="12859" y="17002"/>
                  </a:cubicBezTo>
                  <a:cubicBezTo>
                    <a:pt x="10668" y="25765"/>
                    <a:pt x="8382" y="69580"/>
                    <a:pt x="7144" y="103108"/>
                  </a:cubicBezTo>
                  <a:cubicBezTo>
                    <a:pt x="12192" y="107394"/>
                    <a:pt x="17812" y="110347"/>
                    <a:pt x="23622" y="110347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74" name="Freeform: Shape 4873">
              <a:extLst>
                <a:ext uri="{FF2B5EF4-FFF2-40B4-BE49-F238E27FC236}">
                  <a16:creationId xmlns:a16="http://schemas.microsoft.com/office/drawing/2014/main" id="{0F76F800-24F3-49A3-A6F2-687E56012B84}"/>
                </a:ext>
              </a:extLst>
            </p:cNvPr>
            <p:cNvSpPr/>
            <p:nvPr/>
          </p:nvSpPr>
          <p:spPr>
            <a:xfrm>
              <a:off x="2407256" y="133012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75" name="Group 4874">
            <a:extLst>
              <a:ext uri="{FF2B5EF4-FFF2-40B4-BE49-F238E27FC236}">
                <a16:creationId xmlns:a16="http://schemas.microsoft.com/office/drawing/2014/main" id="{69261AD9-F4E7-4BD0-85F0-EF939643B921}"/>
              </a:ext>
            </a:extLst>
          </p:cNvPr>
          <p:cNvGrpSpPr>
            <a:grpSpLocks noChangeAspect="1"/>
          </p:cNvGrpSpPr>
          <p:nvPr/>
        </p:nvGrpSpPr>
        <p:grpSpPr>
          <a:xfrm>
            <a:off x="6387771" y="1820742"/>
            <a:ext cx="879989" cy="905816"/>
            <a:chOff x="2407256" y="1330124"/>
            <a:chExt cx="311563" cy="320707"/>
          </a:xfrm>
          <a:noFill/>
        </p:grpSpPr>
        <p:sp>
          <p:nvSpPr>
            <p:cNvPr id="4876" name="Freeform: Shape 4875">
              <a:extLst>
                <a:ext uri="{FF2B5EF4-FFF2-40B4-BE49-F238E27FC236}">
                  <a16:creationId xmlns:a16="http://schemas.microsoft.com/office/drawing/2014/main" id="{8C53E699-6530-4F94-AEA1-923DA3CC63F2}"/>
                </a:ext>
              </a:extLst>
            </p:cNvPr>
            <p:cNvSpPr/>
            <p:nvPr/>
          </p:nvSpPr>
          <p:spPr>
            <a:xfrm>
              <a:off x="2502792" y="1612731"/>
              <a:ext cx="200025" cy="38100"/>
            </a:xfrm>
            <a:custGeom>
              <a:avLst/>
              <a:gdLst>
                <a:gd name="connsiteX0" fmla="*/ 186119 w 200025"/>
                <a:gd name="connsiteY0" fmla="*/ 12002 h 38100"/>
                <a:gd name="connsiteX1" fmla="*/ 183356 w 200025"/>
                <a:gd name="connsiteY1" fmla="*/ 13335 h 38100"/>
                <a:gd name="connsiteX2" fmla="*/ 166497 w 200025"/>
                <a:gd name="connsiteY2" fmla="*/ 17907 h 38100"/>
                <a:gd name="connsiteX3" fmla="*/ 148971 w 200025"/>
                <a:gd name="connsiteY3" fmla="*/ 12478 h 38100"/>
                <a:gd name="connsiteX4" fmla="*/ 148495 w 200025"/>
                <a:gd name="connsiteY4" fmla="*/ 12192 h 38100"/>
                <a:gd name="connsiteX5" fmla="*/ 134969 w 200025"/>
                <a:gd name="connsiteY5" fmla="*/ 8096 h 38100"/>
                <a:gd name="connsiteX6" fmla="*/ 121444 w 200025"/>
                <a:gd name="connsiteY6" fmla="*/ 12192 h 38100"/>
                <a:gd name="connsiteX7" fmla="*/ 120968 w 200025"/>
                <a:gd name="connsiteY7" fmla="*/ 12478 h 38100"/>
                <a:gd name="connsiteX8" fmla="*/ 103537 w 200025"/>
                <a:gd name="connsiteY8" fmla="*/ 17812 h 38100"/>
                <a:gd name="connsiteX9" fmla="*/ 86011 w 200025"/>
                <a:gd name="connsiteY9" fmla="*/ 12382 h 38100"/>
                <a:gd name="connsiteX10" fmla="*/ 85535 w 200025"/>
                <a:gd name="connsiteY10" fmla="*/ 12097 h 38100"/>
                <a:gd name="connsiteX11" fmla="*/ 72009 w 200025"/>
                <a:gd name="connsiteY11" fmla="*/ 8001 h 38100"/>
                <a:gd name="connsiteX12" fmla="*/ 57531 w 200025"/>
                <a:gd name="connsiteY12" fmla="*/ 11906 h 38100"/>
                <a:gd name="connsiteX13" fmla="*/ 40100 w 200025"/>
                <a:gd name="connsiteY13" fmla="*/ 17240 h 38100"/>
                <a:gd name="connsiteX14" fmla="*/ 22574 w 200025"/>
                <a:gd name="connsiteY14" fmla="*/ 11811 h 38100"/>
                <a:gd name="connsiteX15" fmla="*/ 22098 w 200025"/>
                <a:gd name="connsiteY15" fmla="*/ 11525 h 38100"/>
                <a:gd name="connsiteX16" fmla="*/ 8763 w 200025"/>
                <a:gd name="connsiteY16" fmla="*/ 7430 h 38100"/>
                <a:gd name="connsiteX17" fmla="*/ 7144 w 200025"/>
                <a:gd name="connsiteY17" fmla="*/ 7430 h 38100"/>
                <a:gd name="connsiteX18" fmla="*/ 7144 w 200025"/>
                <a:gd name="connsiteY18" fmla="*/ 27527 h 38100"/>
                <a:gd name="connsiteX19" fmla="*/ 8763 w 200025"/>
                <a:gd name="connsiteY19" fmla="*/ 27527 h 38100"/>
                <a:gd name="connsiteX20" fmla="*/ 18383 w 200025"/>
                <a:gd name="connsiteY20" fmla="*/ 30956 h 38100"/>
                <a:gd name="connsiteX21" fmla="*/ 19717 w 200025"/>
                <a:gd name="connsiteY21" fmla="*/ 31718 h 38100"/>
                <a:gd name="connsiteX22" fmla="*/ 40005 w 200025"/>
                <a:gd name="connsiteY22" fmla="*/ 37719 h 38100"/>
                <a:gd name="connsiteX23" fmla="*/ 61627 w 200025"/>
                <a:gd name="connsiteY23" fmla="*/ 30956 h 38100"/>
                <a:gd name="connsiteX24" fmla="*/ 62103 w 200025"/>
                <a:gd name="connsiteY24" fmla="*/ 30670 h 38100"/>
                <a:gd name="connsiteX25" fmla="*/ 72009 w 200025"/>
                <a:gd name="connsiteY25" fmla="*/ 27527 h 38100"/>
                <a:gd name="connsiteX26" fmla="*/ 82391 w 200025"/>
                <a:gd name="connsiteY26" fmla="*/ 30956 h 38100"/>
                <a:gd name="connsiteX27" fmla="*/ 83630 w 200025"/>
                <a:gd name="connsiteY27" fmla="*/ 31623 h 38100"/>
                <a:gd name="connsiteX28" fmla="*/ 103918 w 200025"/>
                <a:gd name="connsiteY28" fmla="*/ 37624 h 38100"/>
                <a:gd name="connsiteX29" fmla="*/ 125539 w 200025"/>
                <a:gd name="connsiteY29" fmla="*/ 30861 h 38100"/>
                <a:gd name="connsiteX30" fmla="*/ 126016 w 200025"/>
                <a:gd name="connsiteY30" fmla="*/ 30575 h 38100"/>
                <a:gd name="connsiteX31" fmla="*/ 135922 w 200025"/>
                <a:gd name="connsiteY31" fmla="*/ 27432 h 38100"/>
                <a:gd name="connsiteX32" fmla="*/ 146304 w 200025"/>
                <a:gd name="connsiteY32" fmla="*/ 30861 h 38100"/>
                <a:gd name="connsiteX33" fmla="*/ 147542 w 200025"/>
                <a:gd name="connsiteY33" fmla="*/ 31528 h 38100"/>
                <a:gd name="connsiteX34" fmla="*/ 167831 w 200025"/>
                <a:gd name="connsiteY34" fmla="*/ 37529 h 38100"/>
                <a:gd name="connsiteX35" fmla="*/ 189452 w 200025"/>
                <a:gd name="connsiteY35" fmla="*/ 30766 h 38100"/>
                <a:gd name="connsiteX36" fmla="*/ 196501 w 200025"/>
                <a:gd name="connsiteY36" fmla="*/ 27527 h 38100"/>
                <a:gd name="connsiteX37" fmla="*/ 197930 w 200025"/>
                <a:gd name="connsiteY37" fmla="*/ 27337 h 38100"/>
                <a:gd name="connsiteX38" fmla="*/ 197930 w 200025"/>
                <a:gd name="connsiteY38" fmla="*/ 7144 h 38100"/>
                <a:gd name="connsiteX39" fmla="*/ 196025 w 200025"/>
                <a:gd name="connsiteY39" fmla="*/ 7430 h 38100"/>
                <a:gd name="connsiteX40" fmla="*/ 186119 w 200025"/>
                <a:gd name="connsiteY40" fmla="*/ 1200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00025" h="38100">
                  <a:moveTo>
                    <a:pt x="186119" y="12002"/>
                  </a:moveTo>
                  <a:cubicBezTo>
                    <a:pt x="185166" y="12382"/>
                    <a:pt x="184309" y="12859"/>
                    <a:pt x="183356" y="13335"/>
                  </a:cubicBezTo>
                  <a:cubicBezTo>
                    <a:pt x="178784" y="15621"/>
                    <a:pt x="174117" y="17907"/>
                    <a:pt x="166497" y="17907"/>
                  </a:cubicBezTo>
                  <a:cubicBezTo>
                    <a:pt x="157448" y="17907"/>
                    <a:pt x="152972" y="15049"/>
                    <a:pt x="148971" y="12478"/>
                  </a:cubicBezTo>
                  <a:lnTo>
                    <a:pt x="148495" y="12192"/>
                  </a:lnTo>
                  <a:cubicBezTo>
                    <a:pt x="144971" y="10096"/>
                    <a:pt x="141637" y="8096"/>
                    <a:pt x="134969" y="8096"/>
                  </a:cubicBezTo>
                  <a:cubicBezTo>
                    <a:pt x="128302" y="8096"/>
                    <a:pt x="124968" y="10096"/>
                    <a:pt x="121444" y="12192"/>
                  </a:cubicBezTo>
                  <a:lnTo>
                    <a:pt x="120968" y="12478"/>
                  </a:lnTo>
                  <a:cubicBezTo>
                    <a:pt x="117158" y="14859"/>
                    <a:pt x="112490" y="17812"/>
                    <a:pt x="103537" y="17812"/>
                  </a:cubicBezTo>
                  <a:cubicBezTo>
                    <a:pt x="94583" y="17812"/>
                    <a:pt x="89821" y="14859"/>
                    <a:pt x="86011" y="12382"/>
                  </a:cubicBezTo>
                  <a:lnTo>
                    <a:pt x="85535" y="12097"/>
                  </a:lnTo>
                  <a:cubicBezTo>
                    <a:pt x="82010" y="10001"/>
                    <a:pt x="78677" y="8001"/>
                    <a:pt x="72009" y="8001"/>
                  </a:cubicBezTo>
                  <a:cubicBezTo>
                    <a:pt x="65151" y="8001"/>
                    <a:pt x="61532" y="9716"/>
                    <a:pt x="57531" y="11906"/>
                  </a:cubicBezTo>
                  <a:cubicBezTo>
                    <a:pt x="53721" y="14288"/>
                    <a:pt x="49054" y="17240"/>
                    <a:pt x="40100" y="17240"/>
                  </a:cubicBezTo>
                  <a:cubicBezTo>
                    <a:pt x="31147" y="17240"/>
                    <a:pt x="26384" y="14288"/>
                    <a:pt x="22574" y="11811"/>
                  </a:cubicBezTo>
                  <a:lnTo>
                    <a:pt x="22098" y="11525"/>
                  </a:lnTo>
                  <a:cubicBezTo>
                    <a:pt x="18574" y="9430"/>
                    <a:pt x="15240" y="7430"/>
                    <a:pt x="8763" y="7430"/>
                  </a:cubicBezTo>
                  <a:lnTo>
                    <a:pt x="7144" y="7430"/>
                  </a:lnTo>
                  <a:lnTo>
                    <a:pt x="7144" y="27527"/>
                  </a:lnTo>
                  <a:lnTo>
                    <a:pt x="8763" y="27527"/>
                  </a:lnTo>
                  <a:cubicBezTo>
                    <a:pt x="13049" y="27527"/>
                    <a:pt x="15240" y="28766"/>
                    <a:pt x="18383" y="30956"/>
                  </a:cubicBezTo>
                  <a:lnTo>
                    <a:pt x="19717" y="31718"/>
                  </a:lnTo>
                  <a:cubicBezTo>
                    <a:pt x="24003" y="34290"/>
                    <a:pt x="29909" y="37719"/>
                    <a:pt x="40005" y="37719"/>
                  </a:cubicBezTo>
                  <a:cubicBezTo>
                    <a:pt x="50578" y="37719"/>
                    <a:pt x="56483" y="34385"/>
                    <a:pt x="61627" y="30956"/>
                  </a:cubicBezTo>
                  <a:lnTo>
                    <a:pt x="62103" y="30670"/>
                  </a:lnTo>
                  <a:cubicBezTo>
                    <a:pt x="65246" y="28670"/>
                    <a:pt x="67151" y="27527"/>
                    <a:pt x="72009" y="27527"/>
                  </a:cubicBezTo>
                  <a:cubicBezTo>
                    <a:pt x="76867" y="27527"/>
                    <a:pt x="79343" y="28956"/>
                    <a:pt x="82391" y="30956"/>
                  </a:cubicBezTo>
                  <a:lnTo>
                    <a:pt x="83630" y="31623"/>
                  </a:lnTo>
                  <a:cubicBezTo>
                    <a:pt x="87916" y="34195"/>
                    <a:pt x="93821" y="37624"/>
                    <a:pt x="103918" y="37624"/>
                  </a:cubicBezTo>
                  <a:cubicBezTo>
                    <a:pt x="114490" y="37624"/>
                    <a:pt x="120396" y="34290"/>
                    <a:pt x="125539" y="30861"/>
                  </a:cubicBezTo>
                  <a:lnTo>
                    <a:pt x="126016" y="30575"/>
                  </a:lnTo>
                  <a:cubicBezTo>
                    <a:pt x="129159" y="28575"/>
                    <a:pt x="131064" y="27432"/>
                    <a:pt x="135922" y="27432"/>
                  </a:cubicBezTo>
                  <a:cubicBezTo>
                    <a:pt x="140780" y="27432"/>
                    <a:pt x="143256" y="28861"/>
                    <a:pt x="146304" y="30861"/>
                  </a:cubicBezTo>
                  <a:lnTo>
                    <a:pt x="147542" y="31528"/>
                  </a:lnTo>
                  <a:cubicBezTo>
                    <a:pt x="151829" y="34100"/>
                    <a:pt x="157734" y="37529"/>
                    <a:pt x="167831" y="37529"/>
                  </a:cubicBezTo>
                  <a:cubicBezTo>
                    <a:pt x="178403" y="37529"/>
                    <a:pt x="184309" y="34195"/>
                    <a:pt x="189452" y="30766"/>
                  </a:cubicBezTo>
                  <a:cubicBezTo>
                    <a:pt x="192024" y="29051"/>
                    <a:pt x="193643" y="28004"/>
                    <a:pt x="196501" y="27527"/>
                  </a:cubicBezTo>
                  <a:lnTo>
                    <a:pt x="197930" y="27337"/>
                  </a:lnTo>
                  <a:lnTo>
                    <a:pt x="197930" y="7144"/>
                  </a:lnTo>
                  <a:lnTo>
                    <a:pt x="196025" y="7430"/>
                  </a:lnTo>
                  <a:cubicBezTo>
                    <a:pt x="191834" y="8668"/>
                    <a:pt x="189071" y="10192"/>
                    <a:pt x="186119" y="12002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77" name="Freeform: Shape 4876">
              <a:extLst>
                <a:ext uri="{FF2B5EF4-FFF2-40B4-BE49-F238E27FC236}">
                  <a16:creationId xmlns:a16="http://schemas.microsoft.com/office/drawing/2014/main" id="{CD1370D8-55D6-4602-AEB5-2939294B62F1}"/>
                </a:ext>
              </a:extLst>
            </p:cNvPr>
            <p:cNvSpPr/>
            <p:nvPr/>
          </p:nvSpPr>
          <p:spPr>
            <a:xfrm>
              <a:off x="2585374" y="1465379"/>
              <a:ext cx="38100" cy="38100"/>
            </a:xfrm>
            <a:custGeom>
              <a:avLst/>
              <a:gdLst>
                <a:gd name="connsiteX0" fmla="*/ 32861 w 38100"/>
                <a:gd name="connsiteY0" fmla="*/ 20003 h 38100"/>
                <a:gd name="connsiteX1" fmla="*/ 20002 w 38100"/>
                <a:gd name="connsiteY1" fmla="*/ 32861 h 38100"/>
                <a:gd name="connsiteX2" fmla="*/ 7144 w 38100"/>
                <a:gd name="connsiteY2" fmla="*/ 20002 h 38100"/>
                <a:gd name="connsiteX3" fmla="*/ 20002 w 38100"/>
                <a:gd name="connsiteY3" fmla="*/ 7144 h 38100"/>
                <a:gd name="connsiteX4" fmla="*/ 32861 w 38100"/>
                <a:gd name="connsiteY4" fmla="*/ 2000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2861" y="20003"/>
                  </a:moveTo>
                  <a:cubicBezTo>
                    <a:pt x="32861" y="27104"/>
                    <a:pt x="27104" y="32861"/>
                    <a:pt x="20002" y="32861"/>
                  </a:cubicBezTo>
                  <a:cubicBezTo>
                    <a:pt x="12901" y="32861"/>
                    <a:pt x="7144" y="27104"/>
                    <a:pt x="7144" y="20002"/>
                  </a:cubicBezTo>
                  <a:cubicBezTo>
                    <a:pt x="7144" y="12901"/>
                    <a:pt x="12901" y="7144"/>
                    <a:pt x="20002" y="7144"/>
                  </a:cubicBezTo>
                  <a:cubicBezTo>
                    <a:pt x="27104" y="7144"/>
                    <a:pt x="32861" y="12901"/>
                    <a:pt x="32861" y="20003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78" name="Freeform: Shape 4877">
              <a:extLst>
                <a:ext uri="{FF2B5EF4-FFF2-40B4-BE49-F238E27FC236}">
                  <a16:creationId xmlns:a16="http://schemas.microsoft.com/office/drawing/2014/main" id="{89105BD2-93AE-459A-9BE3-D94ED5D40B8E}"/>
                </a:ext>
              </a:extLst>
            </p:cNvPr>
            <p:cNvSpPr/>
            <p:nvPr/>
          </p:nvSpPr>
          <p:spPr>
            <a:xfrm>
              <a:off x="2564990" y="1370894"/>
              <a:ext cx="47625" cy="95250"/>
            </a:xfrm>
            <a:custGeom>
              <a:avLst/>
              <a:gdLst>
                <a:gd name="connsiteX0" fmla="*/ 7144 w 47625"/>
                <a:gd name="connsiteY0" fmla="*/ 7618 h 95250"/>
                <a:gd name="connsiteX1" fmla="*/ 19622 w 47625"/>
                <a:gd name="connsiteY1" fmla="*/ 71626 h 95250"/>
                <a:gd name="connsiteX2" fmla="*/ 48959 w 47625"/>
                <a:gd name="connsiteY2" fmla="*/ 91438 h 95250"/>
                <a:gd name="connsiteX3" fmla="*/ 48959 w 47625"/>
                <a:gd name="connsiteY3" fmla="*/ 91438 h 95250"/>
                <a:gd name="connsiteX4" fmla="*/ 36481 w 47625"/>
                <a:gd name="connsiteY4" fmla="*/ 27430 h 95250"/>
                <a:gd name="connsiteX5" fmla="*/ 7144 w 47625"/>
                <a:gd name="connsiteY5" fmla="*/ 7618 h 95250"/>
                <a:gd name="connsiteX6" fmla="*/ 7144 w 47625"/>
                <a:gd name="connsiteY6" fmla="*/ 761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25" h="95250">
                  <a:moveTo>
                    <a:pt x="7144" y="7618"/>
                  </a:moveTo>
                  <a:lnTo>
                    <a:pt x="19622" y="71626"/>
                  </a:lnTo>
                  <a:cubicBezTo>
                    <a:pt x="22289" y="85246"/>
                    <a:pt x="35433" y="94105"/>
                    <a:pt x="48959" y="91438"/>
                  </a:cubicBezTo>
                  <a:lnTo>
                    <a:pt x="48959" y="91438"/>
                  </a:lnTo>
                  <a:lnTo>
                    <a:pt x="36481" y="27430"/>
                  </a:lnTo>
                  <a:cubicBezTo>
                    <a:pt x="33909" y="13809"/>
                    <a:pt x="20765" y="4951"/>
                    <a:pt x="7144" y="7618"/>
                  </a:cubicBezTo>
                  <a:lnTo>
                    <a:pt x="7144" y="7618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79" name="Freeform: Shape 4878">
              <a:extLst>
                <a:ext uri="{FF2B5EF4-FFF2-40B4-BE49-F238E27FC236}">
                  <a16:creationId xmlns:a16="http://schemas.microsoft.com/office/drawing/2014/main" id="{DDEA6C46-3757-4DE4-A991-47801C2BAB16}"/>
                </a:ext>
              </a:extLst>
            </p:cNvPr>
            <p:cNvSpPr/>
            <p:nvPr/>
          </p:nvSpPr>
          <p:spPr>
            <a:xfrm>
              <a:off x="2516380" y="1482429"/>
              <a:ext cx="76200" cy="85725"/>
            </a:xfrm>
            <a:custGeom>
              <a:avLst/>
              <a:gdLst>
                <a:gd name="connsiteX0" fmla="*/ 13367 w 76200"/>
                <a:gd name="connsiteY0" fmla="*/ 85439 h 85725"/>
                <a:gd name="connsiteX1" fmla="*/ 62421 w 76200"/>
                <a:gd name="connsiteY1" fmla="*/ 42482 h 85725"/>
                <a:gd name="connsiteX2" fmla="*/ 64802 w 76200"/>
                <a:gd name="connsiteY2" fmla="*/ 7144 h 85725"/>
                <a:gd name="connsiteX3" fmla="*/ 64802 w 76200"/>
                <a:gd name="connsiteY3" fmla="*/ 7144 h 85725"/>
                <a:gd name="connsiteX4" fmla="*/ 15749 w 76200"/>
                <a:gd name="connsiteY4" fmla="*/ 50102 h 85725"/>
                <a:gd name="connsiteX5" fmla="*/ 13367 w 76200"/>
                <a:gd name="connsiteY5" fmla="*/ 85439 h 85725"/>
                <a:gd name="connsiteX6" fmla="*/ 13367 w 76200"/>
                <a:gd name="connsiteY6" fmla="*/ 85439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85725">
                  <a:moveTo>
                    <a:pt x="13367" y="85439"/>
                  </a:moveTo>
                  <a:lnTo>
                    <a:pt x="62421" y="42482"/>
                  </a:lnTo>
                  <a:cubicBezTo>
                    <a:pt x="72803" y="33338"/>
                    <a:pt x="73851" y="17526"/>
                    <a:pt x="64802" y="7144"/>
                  </a:cubicBezTo>
                  <a:lnTo>
                    <a:pt x="64802" y="7144"/>
                  </a:lnTo>
                  <a:lnTo>
                    <a:pt x="15749" y="50102"/>
                  </a:lnTo>
                  <a:cubicBezTo>
                    <a:pt x="5271" y="59150"/>
                    <a:pt x="4223" y="74962"/>
                    <a:pt x="13367" y="85439"/>
                  </a:cubicBezTo>
                  <a:lnTo>
                    <a:pt x="13367" y="85439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80" name="Freeform: Shape 4879">
              <a:extLst>
                <a:ext uri="{FF2B5EF4-FFF2-40B4-BE49-F238E27FC236}">
                  <a16:creationId xmlns:a16="http://schemas.microsoft.com/office/drawing/2014/main" id="{7DA1C80D-F4DC-49FE-9F19-F7D403F7D3C0}"/>
                </a:ext>
              </a:extLst>
            </p:cNvPr>
            <p:cNvSpPr/>
            <p:nvPr/>
          </p:nvSpPr>
          <p:spPr>
            <a:xfrm>
              <a:off x="2614044" y="1479985"/>
              <a:ext cx="104775" cy="47625"/>
            </a:xfrm>
            <a:custGeom>
              <a:avLst/>
              <a:gdLst>
                <a:gd name="connsiteX0" fmla="*/ 100679 w 104775"/>
                <a:gd name="connsiteY0" fmla="*/ 29209 h 47625"/>
                <a:gd name="connsiteX1" fmla="*/ 38862 w 104775"/>
                <a:gd name="connsiteY1" fmla="*/ 8445 h 47625"/>
                <a:gd name="connsiteX2" fmla="*/ 7144 w 104775"/>
                <a:gd name="connsiteY2" fmla="*/ 24161 h 47625"/>
                <a:gd name="connsiteX3" fmla="*/ 7144 w 104775"/>
                <a:gd name="connsiteY3" fmla="*/ 24161 h 47625"/>
                <a:gd name="connsiteX4" fmla="*/ 68961 w 104775"/>
                <a:gd name="connsiteY4" fmla="*/ 44925 h 47625"/>
                <a:gd name="connsiteX5" fmla="*/ 100679 w 104775"/>
                <a:gd name="connsiteY5" fmla="*/ 29209 h 47625"/>
                <a:gd name="connsiteX6" fmla="*/ 100679 w 104775"/>
                <a:gd name="connsiteY6" fmla="*/ 2920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5" h="47625">
                  <a:moveTo>
                    <a:pt x="100679" y="29209"/>
                  </a:moveTo>
                  <a:lnTo>
                    <a:pt x="38862" y="8445"/>
                  </a:lnTo>
                  <a:cubicBezTo>
                    <a:pt x="25718" y="4063"/>
                    <a:pt x="11525" y="11112"/>
                    <a:pt x="7144" y="24161"/>
                  </a:cubicBezTo>
                  <a:lnTo>
                    <a:pt x="7144" y="24161"/>
                  </a:lnTo>
                  <a:lnTo>
                    <a:pt x="68961" y="44925"/>
                  </a:lnTo>
                  <a:cubicBezTo>
                    <a:pt x="82010" y="49402"/>
                    <a:pt x="96203" y="42354"/>
                    <a:pt x="100679" y="29209"/>
                  </a:cubicBezTo>
                  <a:lnTo>
                    <a:pt x="100679" y="29209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81" name="Freeform: Shape 4880">
              <a:extLst>
                <a:ext uri="{FF2B5EF4-FFF2-40B4-BE49-F238E27FC236}">
                  <a16:creationId xmlns:a16="http://schemas.microsoft.com/office/drawing/2014/main" id="{6A46531A-BAF6-4C75-A9DD-510B61C0236E}"/>
                </a:ext>
              </a:extLst>
            </p:cNvPr>
            <p:cNvSpPr/>
            <p:nvPr/>
          </p:nvSpPr>
          <p:spPr>
            <a:xfrm>
              <a:off x="2581754" y="1504098"/>
              <a:ext cx="38100" cy="114300"/>
            </a:xfrm>
            <a:custGeom>
              <a:avLst/>
              <a:gdLst>
                <a:gd name="connsiteX0" fmla="*/ 23622 w 38100"/>
                <a:gd name="connsiteY0" fmla="*/ 110347 h 114300"/>
                <a:gd name="connsiteX1" fmla="*/ 40005 w 38100"/>
                <a:gd name="connsiteY1" fmla="*/ 103870 h 114300"/>
                <a:gd name="connsiteX2" fmla="*/ 34290 w 38100"/>
                <a:gd name="connsiteY2" fmla="*/ 17002 h 114300"/>
                <a:gd name="connsiteX3" fmla="*/ 12859 w 38100"/>
                <a:gd name="connsiteY3" fmla="*/ 17002 h 114300"/>
                <a:gd name="connsiteX4" fmla="*/ 7144 w 38100"/>
                <a:gd name="connsiteY4" fmla="*/ 103108 h 114300"/>
                <a:gd name="connsiteX5" fmla="*/ 23622 w 38100"/>
                <a:gd name="connsiteY5" fmla="*/ 11034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" h="114300">
                  <a:moveTo>
                    <a:pt x="23622" y="110347"/>
                  </a:moveTo>
                  <a:cubicBezTo>
                    <a:pt x="29146" y="110347"/>
                    <a:pt x="34862" y="108061"/>
                    <a:pt x="40005" y="103870"/>
                  </a:cubicBezTo>
                  <a:cubicBezTo>
                    <a:pt x="38767" y="70247"/>
                    <a:pt x="36481" y="25860"/>
                    <a:pt x="34290" y="17002"/>
                  </a:cubicBezTo>
                  <a:cubicBezTo>
                    <a:pt x="30956" y="3858"/>
                    <a:pt x="16193" y="3858"/>
                    <a:pt x="12859" y="17002"/>
                  </a:cubicBezTo>
                  <a:cubicBezTo>
                    <a:pt x="10668" y="25765"/>
                    <a:pt x="8382" y="69580"/>
                    <a:pt x="7144" y="103108"/>
                  </a:cubicBezTo>
                  <a:cubicBezTo>
                    <a:pt x="12192" y="107394"/>
                    <a:pt x="17812" y="110347"/>
                    <a:pt x="23622" y="110347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82" name="Freeform: Shape 4881">
              <a:extLst>
                <a:ext uri="{FF2B5EF4-FFF2-40B4-BE49-F238E27FC236}">
                  <a16:creationId xmlns:a16="http://schemas.microsoft.com/office/drawing/2014/main" id="{5BD35A70-02F3-4E6C-BC4D-72E9C6F7B8CC}"/>
                </a:ext>
              </a:extLst>
            </p:cNvPr>
            <p:cNvSpPr/>
            <p:nvPr/>
          </p:nvSpPr>
          <p:spPr>
            <a:xfrm>
              <a:off x="2407256" y="133012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83" name="Group 4882">
            <a:extLst>
              <a:ext uri="{FF2B5EF4-FFF2-40B4-BE49-F238E27FC236}">
                <a16:creationId xmlns:a16="http://schemas.microsoft.com/office/drawing/2014/main" id="{1566CDAD-032D-4CE1-911B-1A04C56DA6CF}"/>
              </a:ext>
            </a:extLst>
          </p:cNvPr>
          <p:cNvGrpSpPr>
            <a:grpSpLocks noChangeAspect="1"/>
          </p:cNvGrpSpPr>
          <p:nvPr/>
        </p:nvGrpSpPr>
        <p:grpSpPr>
          <a:xfrm>
            <a:off x="7259664" y="2120179"/>
            <a:ext cx="580471" cy="597507"/>
            <a:chOff x="2407256" y="1330124"/>
            <a:chExt cx="311563" cy="320707"/>
          </a:xfrm>
          <a:noFill/>
        </p:grpSpPr>
        <p:sp>
          <p:nvSpPr>
            <p:cNvPr id="4884" name="Freeform: Shape 4883">
              <a:extLst>
                <a:ext uri="{FF2B5EF4-FFF2-40B4-BE49-F238E27FC236}">
                  <a16:creationId xmlns:a16="http://schemas.microsoft.com/office/drawing/2014/main" id="{604B37B5-476F-4485-9E17-9D44E6B80A8D}"/>
                </a:ext>
              </a:extLst>
            </p:cNvPr>
            <p:cNvSpPr/>
            <p:nvPr/>
          </p:nvSpPr>
          <p:spPr>
            <a:xfrm>
              <a:off x="2502792" y="1612731"/>
              <a:ext cx="200025" cy="38100"/>
            </a:xfrm>
            <a:custGeom>
              <a:avLst/>
              <a:gdLst>
                <a:gd name="connsiteX0" fmla="*/ 186119 w 200025"/>
                <a:gd name="connsiteY0" fmla="*/ 12002 h 38100"/>
                <a:gd name="connsiteX1" fmla="*/ 183356 w 200025"/>
                <a:gd name="connsiteY1" fmla="*/ 13335 h 38100"/>
                <a:gd name="connsiteX2" fmla="*/ 166497 w 200025"/>
                <a:gd name="connsiteY2" fmla="*/ 17907 h 38100"/>
                <a:gd name="connsiteX3" fmla="*/ 148971 w 200025"/>
                <a:gd name="connsiteY3" fmla="*/ 12478 h 38100"/>
                <a:gd name="connsiteX4" fmla="*/ 148495 w 200025"/>
                <a:gd name="connsiteY4" fmla="*/ 12192 h 38100"/>
                <a:gd name="connsiteX5" fmla="*/ 134969 w 200025"/>
                <a:gd name="connsiteY5" fmla="*/ 8096 h 38100"/>
                <a:gd name="connsiteX6" fmla="*/ 121444 w 200025"/>
                <a:gd name="connsiteY6" fmla="*/ 12192 h 38100"/>
                <a:gd name="connsiteX7" fmla="*/ 120968 w 200025"/>
                <a:gd name="connsiteY7" fmla="*/ 12478 h 38100"/>
                <a:gd name="connsiteX8" fmla="*/ 103537 w 200025"/>
                <a:gd name="connsiteY8" fmla="*/ 17812 h 38100"/>
                <a:gd name="connsiteX9" fmla="*/ 86011 w 200025"/>
                <a:gd name="connsiteY9" fmla="*/ 12382 h 38100"/>
                <a:gd name="connsiteX10" fmla="*/ 85535 w 200025"/>
                <a:gd name="connsiteY10" fmla="*/ 12097 h 38100"/>
                <a:gd name="connsiteX11" fmla="*/ 72009 w 200025"/>
                <a:gd name="connsiteY11" fmla="*/ 8001 h 38100"/>
                <a:gd name="connsiteX12" fmla="*/ 57531 w 200025"/>
                <a:gd name="connsiteY12" fmla="*/ 11906 h 38100"/>
                <a:gd name="connsiteX13" fmla="*/ 40100 w 200025"/>
                <a:gd name="connsiteY13" fmla="*/ 17240 h 38100"/>
                <a:gd name="connsiteX14" fmla="*/ 22574 w 200025"/>
                <a:gd name="connsiteY14" fmla="*/ 11811 h 38100"/>
                <a:gd name="connsiteX15" fmla="*/ 22098 w 200025"/>
                <a:gd name="connsiteY15" fmla="*/ 11525 h 38100"/>
                <a:gd name="connsiteX16" fmla="*/ 8763 w 200025"/>
                <a:gd name="connsiteY16" fmla="*/ 7430 h 38100"/>
                <a:gd name="connsiteX17" fmla="*/ 7144 w 200025"/>
                <a:gd name="connsiteY17" fmla="*/ 7430 h 38100"/>
                <a:gd name="connsiteX18" fmla="*/ 7144 w 200025"/>
                <a:gd name="connsiteY18" fmla="*/ 27527 h 38100"/>
                <a:gd name="connsiteX19" fmla="*/ 8763 w 200025"/>
                <a:gd name="connsiteY19" fmla="*/ 27527 h 38100"/>
                <a:gd name="connsiteX20" fmla="*/ 18383 w 200025"/>
                <a:gd name="connsiteY20" fmla="*/ 30956 h 38100"/>
                <a:gd name="connsiteX21" fmla="*/ 19717 w 200025"/>
                <a:gd name="connsiteY21" fmla="*/ 31718 h 38100"/>
                <a:gd name="connsiteX22" fmla="*/ 40005 w 200025"/>
                <a:gd name="connsiteY22" fmla="*/ 37719 h 38100"/>
                <a:gd name="connsiteX23" fmla="*/ 61627 w 200025"/>
                <a:gd name="connsiteY23" fmla="*/ 30956 h 38100"/>
                <a:gd name="connsiteX24" fmla="*/ 62103 w 200025"/>
                <a:gd name="connsiteY24" fmla="*/ 30670 h 38100"/>
                <a:gd name="connsiteX25" fmla="*/ 72009 w 200025"/>
                <a:gd name="connsiteY25" fmla="*/ 27527 h 38100"/>
                <a:gd name="connsiteX26" fmla="*/ 82391 w 200025"/>
                <a:gd name="connsiteY26" fmla="*/ 30956 h 38100"/>
                <a:gd name="connsiteX27" fmla="*/ 83630 w 200025"/>
                <a:gd name="connsiteY27" fmla="*/ 31623 h 38100"/>
                <a:gd name="connsiteX28" fmla="*/ 103918 w 200025"/>
                <a:gd name="connsiteY28" fmla="*/ 37624 h 38100"/>
                <a:gd name="connsiteX29" fmla="*/ 125539 w 200025"/>
                <a:gd name="connsiteY29" fmla="*/ 30861 h 38100"/>
                <a:gd name="connsiteX30" fmla="*/ 126016 w 200025"/>
                <a:gd name="connsiteY30" fmla="*/ 30575 h 38100"/>
                <a:gd name="connsiteX31" fmla="*/ 135922 w 200025"/>
                <a:gd name="connsiteY31" fmla="*/ 27432 h 38100"/>
                <a:gd name="connsiteX32" fmla="*/ 146304 w 200025"/>
                <a:gd name="connsiteY32" fmla="*/ 30861 h 38100"/>
                <a:gd name="connsiteX33" fmla="*/ 147542 w 200025"/>
                <a:gd name="connsiteY33" fmla="*/ 31528 h 38100"/>
                <a:gd name="connsiteX34" fmla="*/ 167831 w 200025"/>
                <a:gd name="connsiteY34" fmla="*/ 37529 h 38100"/>
                <a:gd name="connsiteX35" fmla="*/ 189452 w 200025"/>
                <a:gd name="connsiteY35" fmla="*/ 30766 h 38100"/>
                <a:gd name="connsiteX36" fmla="*/ 196501 w 200025"/>
                <a:gd name="connsiteY36" fmla="*/ 27527 h 38100"/>
                <a:gd name="connsiteX37" fmla="*/ 197930 w 200025"/>
                <a:gd name="connsiteY37" fmla="*/ 27337 h 38100"/>
                <a:gd name="connsiteX38" fmla="*/ 197930 w 200025"/>
                <a:gd name="connsiteY38" fmla="*/ 7144 h 38100"/>
                <a:gd name="connsiteX39" fmla="*/ 196025 w 200025"/>
                <a:gd name="connsiteY39" fmla="*/ 7430 h 38100"/>
                <a:gd name="connsiteX40" fmla="*/ 186119 w 200025"/>
                <a:gd name="connsiteY40" fmla="*/ 1200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00025" h="38100">
                  <a:moveTo>
                    <a:pt x="186119" y="12002"/>
                  </a:moveTo>
                  <a:cubicBezTo>
                    <a:pt x="185166" y="12382"/>
                    <a:pt x="184309" y="12859"/>
                    <a:pt x="183356" y="13335"/>
                  </a:cubicBezTo>
                  <a:cubicBezTo>
                    <a:pt x="178784" y="15621"/>
                    <a:pt x="174117" y="17907"/>
                    <a:pt x="166497" y="17907"/>
                  </a:cubicBezTo>
                  <a:cubicBezTo>
                    <a:pt x="157448" y="17907"/>
                    <a:pt x="152972" y="15049"/>
                    <a:pt x="148971" y="12478"/>
                  </a:cubicBezTo>
                  <a:lnTo>
                    <a:pt x="148495" y="12192"/>
                  </a:lnTo>
                  <a:cubicBezTo>
                    <a:pt x="144971" y="10096"/>
                    <a:pt x="141637" y="8096"/>
                    <a:pt x="134969" y="8096"/>
                  </a:cubicBezTo>
                  <a:cubicBezTo>
                    <a:pt x="128302" y="8096"/>
                    <a:pt x="124968" y="10096"/>
                    <a:pt x="121444" y="12192"/>
                  </a:cubicBezTo>
                  <a:lnTo>
                    <a:pt x="120968" y="12478"/>
                  </a:lnTo>
                  <a:cubicBezTo>
                    <a:pt x="117158" y="14859"/>
                    <a:pt x="112490" y="17812"/>
                    <a:pt x="103537" y="17812"/>
                  </a:cubicBezTo>
                  <a:cubicBezTo>
                    <a:pt x="94583" y="17812"/>
                    <a:pt x="89821" y="14859"/>
                    <a:pt x="86011" y="12382"/>
                  </a:cubicBezTo>
                  <a:lnTo>
                    <a:pt x="85535" y="12097"/>
                  </a:lnTo>
                  <a:cubicBezTo>
                    <a:pt x="82010" y="10001"/>
                    <a:pt x="78677" y="8001"/>
                    <a:pt x="72009" y="8001"/>
                  </a:cubicBezTo>
                  <a:cubicBezTo>
                    <a:pt x="65151" y="8001"/>
                    <a:pt x="61532" y="9716"/>
                    <a:pt x="57531" y="11906"/>
                  </a:cubicBezTo>
                  <a:cubicBezTo>
                    <a:pt x="53721" y="14288"/>
                    <a:pt x="49054" y="17240"/>
                    <a:pt x="40100" y="17240"/>
                  </a:cubicBezTo>
                  <a:cubicBezTo>
                    <a:pt x="31147" y="17240"/>
                    <a:pt x="26384" y="14288"/>
                    <a:pt x="22574" y="11811"/>
                  </a:cubicBezTo>
                  <a:lnTo>
                    <a:pt x="22098" y="11525"/>
                  </a:lnTo>
                  <a:cubicBezTo>
                    <a:pt x="18574" y="9430"/>
                    <a:pt x="15240" y="7430"/>
                    <a:pt x="8763" y="7430"/>
                  </a:cubicBezTo>
                  <a:lnTo>
                    <a:pt x="7144" y="7430"/>
                  </a:lnTo>
                  <a:lnTo>
                    <a:pt x="7144" y="27527"/>
                  </a:lnTo>
                  <a:lnTo>
                    <a:pt x="8763" y="27527"/>
                  </a:lnTo>
                  <a:cubicBezTo>
                    <a:pt x="13049" y="27527"/>
                    <a:pt x="15240" y="28766"/>
                    <a:pt x="18383" y="30956"/>
                  </a:cubicBezTo>
                  <a:lnTo>
                    <a:pt x="19717" y="31718"/>
                  </a:lnTo>
                  <a:cubicBezTo>
                    <a:pt x="24003" y="34290"/>
                    <a:pt x="29909" y="37719"/>
                    <a:pt x="40005" y="37719"/>
                  </a:cubicBezTo>
                  <a:cubicBezTo>
                    <a:pt x="50578" y="37719"/>
                    <a:pt x="56483" y="34385"/>
                    <a:pt x="61627" y="30956"/>
                  </a:cubicBezTo>
                  <a:lnTo>
                    <a:pt x="62103" y="30670"/>
                  </a:lnTo>
                  <a:cubicBezTo>
                    <a:pt x="65246" y="28670"/>
                    <a:pt x="67151" y="27527"/>
                    <a:pt x="72009" y="27527"/>
                  </a:cubicBezTo>
                  <a:cubicBezTo>
                    <a:pt x="76867" y="27527"/>
                    <a:pt x="79343" y="28956"/>
                    <a:pt x="82391" y="30956"/>
                  </a:cubicBezTo>
                  <a:lnTo>
                    <a:pt x="83630" y="31623"/>
                  </a:lnTo>
                  <a:cubicBezTo>
                    <a:pt x="87916" y="34195"/>
                    <a:pt x="93821" y="37624"/>
                    <a:pt x="103918" y="37624"/>
                  </a:cubicBezTo>
                  <a:cubicBezTo>
                    <a:pt x="114490" y="37624"/>
                    <a:pt x="120396" y="34290"/>
                    <a:pt x="125539" y="30861"/>
                  </a:cubicBezTo>
                  <a:lnTo>
                    <a:pt x="126016" y="30575"/>
                  </a:lnTo>
                  <a:cubicBezTo>
                    <a:pt x="129159" y="28575"/>
                    <a:pt x="131064" y="27432"/>
                    <a:pt x="135922" y="27432"/>
                  </a:cubicBezTo>
                  <a:cubicBezTo>
                    <a:pt x="140780" y="27432"/>
                    <a:pt x="143256" y="28861"/>
                    <a:pt x="146304" y="30861"/>
                  </a:cubicBezTo>
                  <a:lnTo>
                    <a:pt x="147542" y="31528"/>
                  </a:lnTo>
                  <a:cubicBezTo>
                    <a:pt x="151829" y="34100"/>
                    <a:pt x="157734" y="37529"/>
                    <a:pt x="167831" y="37529"/>
                  </a:cubicBezTo>
                  <a:cubicBezTo>
                    <a:pt x="178403" y="37529"/>
                    <a:pt x="184309" y="34195"/>
                    <a:pt x="189452" y="30766"/>
                  </a:cubicBezTo>
                  <a:cubicBezTo>
                    <a:pt x="192024" y="29051"/>
                    <a:pt x="193643" y="28004"/>
                    <a:pt x="196501" y="27527"/>
                  </a:cubicBezTo>
                  <a:lnTo>
                    <a:pt x="197930" y="27337"/>
                  </a:lnTo>
                  <a:lnTo>
                    <a:pt x="197930" y="7144"/>
                  </a:lnTo>
                  <a:lnTo>
                    <a:pt x="196025" y="7430"/>
                  </a:lnTo>
                  <a:cubicBezTo>
                    <a:pt x="191834" y="8668"/>
                    <a:pt x="189071" y="10192"/>
                    <a:pt x="186119" y="12002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85" name="Freeform: Shape 4884">
              <a:extLst>
                <a:ext uri="{FF2B5EF4-FFF2-40B4-BE49-F238E27FC236}">
                  <a16:creationId xmlns:a16="http://schemas.microsoft.com/office/drawing/2014/main" id="{C4DA9C33-BC98-4C1F-B04B-A6A017209EFE}"/>
                </a:ext>
              </a:extLst>
            </p:cNvPr>
            <p:cNvSpPr/>
            <p:nvPr/>
          </p:nvSpPr>
          <p:spPr>
            <a:xfrm>
              <a:off x="2585374" y="1465379"/>
              <a:ext cx="38100" cy="38100"/>
            </a:xfrm>
            <a:custGeom>
              <a:avLst/>
              <a:gdLst>
                <a:gd name="connsiteX0" fmla="*/ 32861 w 38100"/>
                <a:gd name="connsiteY0" fmla="*/ 20003 h 38100"/>
                <a:gd name="connsiteX1" fmla="*/ 20002 w 38100"/>
                <a:gd name="connsiteY1" fmla="*/ 32861 h 38100"/>
                <a:gd name="connsiteX2" fmla="*/ 7144 w 38100"/>
                <a:gd name="connsiteY2" fmla="*/ 20002 h 38100"/>
                <a:gd name="connsiteX3" fmla="*/ 20002 w 38100"/>
                <a:gd name="connsiteY3" fmla="*/ 7144 h 38100"/>
                <a:gd name="connsiteX4" fmla="*/ 32861 w 38100"/>
                <a:gd name="connsiteY4" fmla="*/ 2000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2861" y="20003"/>
                  </a:moveTo>
                  <a:cubicBezTo>
                    <a:pt x="32861" y="27104"/>
                    <a:pt x="27104" y="32861"/>
                    <a:pt x="20002" y="32861"/>
                  </a:cubicBezTo>
                  <a:cubicBezTo>
                    <a:pt x="12901" y="32861"/>
                    <a:pt x="7144" y="27104"/>
                    <a:pt x="7144" y="20002"/>
                  </a:cubicBezTo>
                  <a:cubicBezTo>
                    <a:pt x="7144" y="12901"/>
                    <a:pt x="12901" y="7144"/>
                    <a:pt x="20002" y="7144"/>
                  </a:cubicBezTo>
                  <a:cubicBezTo>
                    <a:pt x="27104" y="7144"/>
                    <a:pt x="32861" y="12901"/>
                    <a:pt x="32861" y="20003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86" name="Freeform: Shape 4885">
              <a:extLst>
                <a:ext uri="{FF2B5EF4-FFF2-40B4-BE49-F238E27FC236}">
                  <a16:creationId xmlns:a16="http://schemas.microsoft.com/office/drawing/2014/main" id="{71324C8F-5B22-4735-8CF7-4075D026EAC6}"/>
                </a:ext>
              </a:extLst>
            </p:cNvPr>
            <p:cNvSpPr/>
            <p:nvPr/>
          </p:nvSpPr>
          <p:spPr>
            <a:xfrm>
              <a:off x="2564990" y="1370894"/>
              <a:ext cx="47625" cy="95250"/>
            </a:xfrm>
            <a:custGeom>
              <a:avLst/>
              <a:gdLst>
                <a:gd name="connsiteX0" fmla="*/ 7144 w 47625"/>
                <a:gd name="connsiteY0" fmla="*/ 7618 h 95250"/>
                <a:gd name="connsiteX1" fmla="*/ 19622 w 47625"/>
                <a:gd name="connsiteY1" fmla="*/ 71626 h 95250"/>
                <a:gd name="connsiteX2" fmla="*/ 48959 w 47625"/>
                <a:gd name="connsiteY2" fmla="*/ 91438 h 95250"/>
                <a:gd name="connsiteX3" fmla="*/ 48959 w 47625"/>
                <a:gd name="connsiteY3" fmla="*/ 91438 h 95250"/>
                <a:gd name="connsiteX4" fmla="*/ 36481 w 47625"/>
                <a:gd name="connsiteY4" fmla="*/ 27430 h 95250"/>
                <a:gd name="connsiteX5" fmla="*/ 7144 w 47625"/>
                <a:gd name="connsiteY5" fmla="*/ 7618 h 95250"/>
                <a:gd name="connsiteX6" fmla="*/ 7144 w 47625"/>
                <a:gd name="connsiteY6" fmla="*/ 761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25" h="95250">
                  <a:moveTo>
                    <a:pt x="7144" y="7618"/>
                  </a:moveTo>
                  <a:lnTo>
                    <a:pt x="19622" y="71626"/>
                  </a:lnTo>
                  <a:cubicBezTo>
                    <a:pt x="22289" y="85246"/>
                    <a:pt x="35433" y="94105"/>
                    <a:pt x="48959" y="91438"/>
                  </a:cubicBezTo>
                  <a:lnTo>
                    <a:pt x="48959" y="91438"/>
                  </a:lnTo>
                  <a:lnTo>
                    <a:pt x="36481" y="27430"/>
                  </a:lnTo>
                  <a:cubicBezTo>
                    <a:pt x="33909" y="13809"/>
                    <a:pt x="20765" y="4951"/>
                    <a:pt x="7144" y="7618"/>
                  </a:cubicBezTo>
                  <a:lnTo>
                    <a:pt x="7144" y="7618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87" name="Freeform: Shape 4886">
              <a:extLst>
                <a:ext uri="{FF2B5EF4-FFF2-40B4-BE49-F238E27FC236}">
                  <a16:creationId xmlns:a16="http://schemas.microsoft.com/office/drawing/2014/main" id="{96B1B887-4580-4417-B321-351D7296080F}"/>
                </a:ext>
              </a:extLst>
            </p:cNvPr>
            <p:cNvSpPr/>
            <p:nvPr/>
          </p:nvSpPr>
          <p:spPr>
            <a:xfrm>
              <a:off x="2516380" y="1482429"/>
              <a:ext cx="76200" cy="85725"/>
            </a:xfrm>
            <a:custGeom>
              <a:avLst/>
              <a:gdLst>
                <a:gd name="connsiteX0" fmla="*/ 13367 w 76200"/>
                <a:gd name="connsiteY0" fmla="*/ 85439 h 85725"/>
                <a:gd name="connsiteX1" fmla="*/ 62421 w 76200"/>
                <a:gd name="connsiteY1" fmla="*/ 42482 h 85725"/>
                <a:gd name="connsiteX2" fmla="*/ 64802 w 76200"/>
                <a:gd name="connsiteY2" fmla="*/ 7144 h 85725"/>
                <a:gd name="connsiteX3" fmla="*/ 64802 w 76200"/>
                <a:gd name="connsiteY3" fmla="*/ 7144 h 85725"/>
                <a:gd name="connsiteX4" fmla="*/ 15749 w 76200"/>
                <a:gd name="connsiteY4" fmla="*/ 50102 h 85725"/>
                <a:gd name="connsiteX5" fmla="*/ 13367 w 76200"/>
                <a:gd name="connsiteY5" fmla="*/ 85439 h 85725"/>
                <a:gd name="connsiteX6" fmla="*/ 13367 w 76200"/>
                <a:gd name="connsiteY6" fmla="*/ 85439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85725">
                  <a:moveTo>
                    <a:pt x="13367" y="85439"/>
                  </a:moveTo>
                  <a:lnTo>
                    <a:pt x="62421" y="42482"/>
                  </a:lnTo>
                  <a:cubicBezTo>
                    <a:pt x="72803" y="33338"/>
                    <a:pt x="73851" y="17526"/>
                    <a:pt x="64802" y="7144"/>
                  </a:cubicBezTo>
                  <a:lnTo>
                    <a:pt x="64802" y="7144"/>
                  </a:lnTo>
                  <a:lnTo>
                    <a:pt x="15749" y="50102"/>
                  </a:lnTo>
                  <a:cubicBezTo>
                    <a:pt x="5271" y="59150"/>
                    <a:pt x="4223" y="74962"/>
                    <a:pt x="13367" y="85439"/>
                  </a:cubicBezTo>
                  <a:lnTo>
                    <a:pt x="13367" y="85439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88" name="Freeform: Shape 4887">
              <a:extLst>
                <a:ext uri="{FF2B5EF4-FFF2-40B4-BE49-F238E27FC236}">
                  <a16:creationId xmlns:a16="http://schemas.microsoft.com/office/drawing/2014/main" id="{764EF49F-E5D0-4550-8570-3F05C1DCA427}"/>
                </a:ext>
              </a:extLst>
            </p:cNvPr>
            <p:cNvSpPr/>
            <p:nvPr/>
          </p:nvSpPr>
          <p:spPr>
            <a:xfrm>
              <a:off x="2614044" y="1479985"/>
              <a:ext cx="104775" cy="47625"/>
            </a:xfrm>
            <a:custGeom>
              <a:avLst/>
              <a:gdLst>
                <a:gd name="connsiteX0" fmla="*/ 100679 w 104775"/>
                <a:gd name="connsiteY0" fmla="*/ 29209 h 47625"/>
                <a:gd name="connsiteX1" fmla="*/ 38862 w 104775"/>
                <a:gd name="connsiteY1" fmla="*/ 8445 h 47625"/>
                <a:gd name="connsiteX2" fmla="*/ 7144 w 104775"/>
                <a:gd name="connsiteY2" fmla="*/ 24161 h 47625"/>
                <a:gd name="connsiteX3" fmla="*/ 7144 w 104775"/>
                <a:gd name="connsiteY3" fmla="*/ 24161 h 47625"/>
                <a:gd name="connsiteX4" fmla="*/ 68961 w 104775"/>
                <a:gd name="connsiteY4" fmla="*/ 44925 h 47625"/>
                <a:gd name="connsiteX5" fmla="*/ 100679 w 104775"/>
                <a:gd name="connsiteY5" fmla="*/ 29209 h 47625"/>
                <a:gd name="connsiteX6" fmla="*/ 100679 w 104775"/>
                <a:gd name="connsiteY6" fmla="*/ 2920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5" h="47625">
                  <a:moveTo>
                    <a:pt x="100679" y="29209"/>
                  </a:moveTo>
                  <a:lnTo>
                    <a:pt x="38862" y="8445"/>
                  </a:lnTo>
                  <a:cubicBezTo>
                    <a:pt x="25718" y="4063"/>
                    <a:pt x="11525" y="11112"/>
                    <a:pt x="7144" y="24161"/>
                  </a:cubicBezTo>
                  <a:lnTo>
                    <a:pt x="7144" y="24161"/>
                  </a:lnTo>
                  <a:lnTo>
                    <a:pt x="68961" y="44925"/>
                  </a:lnTo>
                  <a:cubicBezTo>
                    <a:pt x="82010" y="49402"/>
                    <a:pt x="96203" y="42354"/>
                    <a:pt x="100679" y="29209"/>
                  </a:cubicBezTo>
                  <a:lnTo>
                    <a:pt x="100679" y="29209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89" name="Freeform: Shape 4888">
              <a:extLst>
                <a:ext uri="{FF2B5EF4-FFF2-40B4-BE49-F238E27FC236}">
                  <a16:creationId xmlns:a16="http://schemas.microsoft.com/office/drawing/2014/main" id="{147E3D4E-0F00-46E9-A017-2684868EA6B6}"/>
                </a:ext>
              </a:extLst>
            </p:cNvPr>
            <p:cNvSpPr/>
            <p:nvPr/>
          </p:nvSpPr>
          <p:spPr>
            <a:xfrm>
              <a:off x="2581754" y="1504098"/>
              <a:ext cx="38100" cy="114300"/>
            </a:xfrm>
            <a:custGeom>
              <a:avLst/>
              <a:gdLst>
                <a:gd name="connsiteX0" fmla="*/ 23622 w 38100"/>
                <a:gd name="connsiteY0" fmla="*/ 110347 h 114300"/>
                <a:gd name="connsiteX1" fmla="*/ 40005 w 38100"/>
                <a:gd name="connsiteY1" fmla="*/ 103870 h 114300"/>
                <a:gd name="connsiteX2" fmla="*/ 34290 w 38100"/>
                <a:gd name="connsiteY2" fmla="*/ 17002 h 114300"/>
                <a:gd name="connsiteX3" fmla="*/ 12859 w 38100"/>
                <a:gd name="connsiteY3" fmla="*/ 17002 h 114300"/>
                <a:gd name="connsiteX4" fmla="*/ 7144 w 38100"/>
                <a:gd name="connsiteY4" fmla="*/ 103108 h 114300"/>
                <a:gd name="connsiteX5" fmla="*/ 23622 w 38100"/>
                <a:gd name="connsiteY5" fmla="*/ 11034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" h="114300">
                  <a:moveTo>
                    <a:pt x="23622" y="110347"/>
                  </a:moveTo>
                  <a:cubicBezTo>
                    <a:pt x="29146" y="110347"/>
                    <a:pt x="34862" y="108061"/>
                    <a:pt x="40005" y="103870"/>
                  </a:cubicBezTo>
                  <a:cubicBezTo>
                    <a:pt x="38767" y="70247"/>
                    <a:pt x="36481" y="25860"/>
                    <a:pt x="34290" y="17002"/>
                  </a:cubicBezTo>
                  <a:cubicBezTo>
                    <a:pt x="30956" y="3858"/>
                    <a:pt x="16193" y="3858"/>
                    <a:pt x="12859" y="17002"/>
                  </a:cubicBezTo>
                  <a:cubicBezTo>
                    <a:pt x="10668" y="25765"/>
                    <a:pt x="8382" y="69580"/>
                    <a:pt x="7144" y="103108"/>
                  </a:cubicBezTo>
                  <a:cubicBezTo>
                    <a:pt x="12192" y="107394"/>
                    <a:pt x="17812" y="110347"/>
                    <a:pt x="23622" y="110347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90" name="Freeform: Shape 4889">
              <a:extLst>
                <a:ext uri="{FF2B5EF4-FFF2-40B4-BE49-F238E27FC236}">
                  <a16:creationId xmlns:a16="http://schemas.microsoft.com/office/drawing/2014/main" id="{22E3F3FF-13D9-433C-BC55-0BA1BD4EB365}"/>
                </a:ext>
              </a:extLst>
            </p:cNvPr>
            <p:cNvSpPr/>
            <p:nvPr/>
          </p:nvSpPr>
          <p:spPr>
            <a:xfrm>
              <a:off x="2407256" y="133012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891" name="Group 4890">
            <a:extLst>
              <a:ext uri="{FF2B5EF4-FFF2-40B4-BE49-F238E27FC236}">
                <a16:creationId xmlns:a16="http://schemas.microsoft.com/office/drawing/2014/main" id="{816F74FF-5DFD-4E8F-A9FB-6C2FAF4CE566}"/>
              </a:ext>
            </a:extLst>
          </p:cNvPr>
          <p:cNvGrpSpPr>
            <a:grpSpLocks noChangeAspect="1"/>
          </p:cNvGrpSpPr>
          <p:nvPr/>
        </p:nvGrpSpPr>
        <p:grpSpPr>
          <a:xfrm>
            <a:off x="8061617" y="2250626"/>
            <a:ext cx="461871" cy="475427"/>
            <a:chOff x="2407256" y="1330124"/>
            <a:chExt cx="311563" cy="320707"/>
          </a:xfrm>
          <a:noFill/>
        </p:grpSpPr>
        <p:sp>
          <p:nvSpPr>
            <p:cNvPr id="4892" name="Freeform: Shape 4891">
              <a:extLst>
                <a:ext uri="{FF2B5EF4-FFF2-40B4-BE49-F238E27FC236}">
                  <a16:creationId xmlns:a16="http://schemas.microsoft.com/office/drawing/2014/main" id="{46A83607-6397-483B-AB21-D278C75B1801}"/>
                </a:ext>
              </a:extLst>
            </p:cNvPr>
            <p:cNvSpPr/>
            <p:nvPr/>
          </p:nvSpPr>
          <p:spPr>
            <a:xfrm>
              <a:off x="2502792" y="1612731"/>
              <a:ext cx="200025" cy="38100"/>
            </a:xfrm>
            <a:custGeom>
              <a:avLst/>
              <a:gdLst>
                <a:gd name="connsiteX0" fmla="*/ 186119 w 200025"/>
                <a:gd name="connsiteY0" fmla="*/ 12002 h 38100"/>
                <a:gd name="connsiteX1" fmla="*/ 183356 w 200025"/>
                <a:gd name="connsiteY1" fmla="*/ 13335 h 38100"/>
                <a:gd name="connsiteX2" fmla="*/ 166497 w 200025"/>
                <a:gd name="connsiteY2" fmla="*/ 17907 h 38100"/>
                <a:gd name="connsiteX3" fmla="*/ 148971 w 200025"/>
                <a:gd name="connsiteY3" fmla="*/ 12478 h 38100"/>
                <a:gd name="connsiteX4" fmla="*/ 148495 w 200025"/>
                <a:gd name="connsiteY4" fmla="*/ 12192 h 38100"/>
                <a:gd name="connsiteX5" fmla="*/ 134969 w 200025"/>
                <a:gd name="connsiteY5" fmla="*/ 8096 h 38100"/>
                <a:gd name="connsiteX6" fmla="*/ 121444 w 200025"/>
                <a:gd name="connsiteY6" fmla="*/ 12192 h 38100"/>
                <a:gd name="connsiteX7" fmla="*/ 120968 w 200025"/>
                <a:gd name="connsiteY7" fmla="*/ 12478 h 38100"/>
                <a:gd name="connsiteX8" fmla="*/ 103537 w 200025"/>
                <a:gd name="connsiteY8" fmla="*/ 17812 h 38100"/>
                <a:gd name="connsiteX9" fmla="*/ 86011 w 200025"/>
                <a:gd name="connsiteY9" fmla="*/ 12382 h 38100"/>
                <a:gd name="connsiteX10" fmla="*/ 85535 w 200025"/>
                <a:gd name="connsiteY10" fmla="*/ 12097 h 38100"/>
                <a:gd name="connsiteX11" fmla="*/ 72009 w 200025"/>
                <a:gd name="connsiteY11" fmla="*/ 8001 h 38100"/>
                <a:gd name="connsiteX12" fmla="*/ 57531 w 200025"/>
                <a:gd name="connsiteY12" fmla="*/ 11906 h 38100"/>
                <a:gd name="connsiteX13" fmla="*/ 40100 w 200025"/>
                <a:gd name="connsiteY13" fmla="*/ 17240 h 38100"/>
                <a:gd name="connsiteX14" fmla="*/ 22574 w 200025"/>
                <a:gd name="connsiteY14" fmla="*/ 11811 h 38100"/>
                <a:gd name="connsiteX15" fmla="*/ 22098 w 200025"/>
                <a:gd name="connsiteY15" fmla="*/ 11525 h 38100"/>
                <a:gd name="connsiteX16" fmla="*/ 8763 w 200025"/>
                <a:gd name="connsiteY16" fmla="*/ 7430 h 38100"/>
                <a:gd name="connsiteX17" fmla="*/ 7144 w 200025"/>
                <a:gd name="connsiteY17" fmla="*/ 7430 h 38100"/>
                <a:gd name="connsiteX18" fmla="*/ 7144 w 200025"/>
                <a:gd name="connsiteY18" fmla="*/ 27527 h 38100"/>
                <a:gd name="connsiteX19" fmla="*/ 8763 w 200025"/>
                <a:gd name="connsiteY19" fmla="*/ 27527 h 38100"/>
                <a:gd name="connsiteX20" fmla="*/ 18383 w 200025"/>
                <a:gd name="connsiteY20" fmla="*/ 30956 h 38100"/>
                <a:gd name="connsiteX21" fmla="*/ 19717 w 200025"/>
                <a:gd name="connsiteY21" fmla="*/ 31718 h 38100"/>
                <a:gd name="connsiteX22" fmla="*/ 40005 w 200025"/>
                <a:gd name="connsiteY22" fmla="*/ 37719 h 38100"/>
                <a:gd name="connsiteX23" fmla="*/ 61627 w 200025"/>
                <a:gd name="connsiteY23" fmla="*/ 30956 h 38100"/>
                <a:gd name="connsiteX24" fmla="*/ 62103 w 200025"/>
                <a:gd name="connsiteY24" fmla="*/ 30670 h 38100"/>
                <a:gd name="connsiteX25" fmla="*/ 72009 w 200025"/>
                <a:gd name="connsiteY25" fmla="*/ 27527 h 38100"/>
                <a:gd name="connsiteX26" fmla="*/ 82391 w 200025"/>
                <a:gd name="connsiteY26" fmla="*/ 30956 h 38100"/>
                <a:gd name="connsiteX27" fmla="*/ 83630 w 200025"/>
                <a:gd name="connsiteY27" fmla="*/ 31623 h 38100"/>
                <a:gd name="connsiteX28" fmla="*/ 103918 w 200025"/>
                <a:gd name="connsiteY28" fmla="*/ 37624 h 38100"/>
                <a:gd name="connsiteX29" fmla="*/ 125539 w 200025"/>
                <a:gd name="connsiteY29" fmla="*/ 30861 h 38100"/>
                <a:gd name="connsiteX30" fmla="*/ 126016 w 200025"/>
                <a:gd name="connsiteY30" fmla="*/ 30575 h 38100"/>
                <a:gd name="connsiteX31" fmla="*/ 135922 w 200025"/>
                <a:gd name="connsiteY31" fmla="*/ 27432 h 38100"/>
                <a:gd name="connsiteX32" fmla="*/ 146304 w 200025"/>
                <a:gd name="connsiteY32" fmla="*/ 30861 h 38100"/>
                <a:gd name="connsiteX33" fmla="*/ 147542 w 200025"/>
                <a:gd name="connsiteY33" fmla="*/ 31528 h 38100"/>
                <a:gd name="connsiteX34" fmla="*/ 167831 w 200025"/>
                <a:gd name="connsiteY34" fmla="*/ 37529 h 38100"/>
                <a:gd name="connsiteX35" fmla="*/ 189452 w 200025"/>
                <a:gd name="connsiteY35" fmla="*/ 30766 h 38100"/>
                <a:gd name="connsiteX36" fmla="*/ 196501 w 200025"/>
                <a:gd name="connsiteY36" fmla="*/ 27527 h 38100"/>
                <a:gd name="connsiteX37" fmla="*/ 197930 w 200025"/>
                <a:gd name="connsiteY37" fmla="*/ 27337 h 38100"/>
                <a:gd name="connsiteX38" fmla="*/ 197930 w 200025"/>
                <a:gd name="connsiteY38" fmla="*/ 7144 h 38100"/>
                <a:gd name="connsiteX39" fmla="*/ 196025 w 200025"/>
                <a:gd name="connsiteY39" fmla="*/ 7430 h 38100"/>
                <a:gd name="connsiteX40" fmla="*/ 186119 w 200025"/>
                <a:gd name="connsiteY40" fmla="*/ 1200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00025" h="38100">
                  <a:moveTo>
                    <a:pt x="186119" y="12002"/>
                  </a:moveTo>
                  <a:cubicBezTo>
                    <a:pt x="185166" y="12382"/>
                    <a:pt x="184309" y="12859"/>
                    <a:pt x="183356" y="13335"/>
                  </a:cubicBezTo>
                  <a:cubicBezTo>
                    <a:pt x="178784" y="15621"/>
                    <a:pt x="174117" y="17907"/>
                    <a:pt x="166497" y="17907"/>
                  </a:cubicBezTo>
                  <a:cubicBezTo>
                    <a:pt x="157448" y="17907"/>
                    <a:pt x="152972" y="15049"/>
                    <a:pt x="148971" y="12478"/>
                  </a:cubicBezTo>
                  <a:lnTo>
                    <a:pt x="148495" y="12192"/>
                  </a:lnTo>
                  <a:cubicBezTo>
                    <a:pt x="144971" y="10096"/>
                    <a:pt x="141637" y="8096"/>
                    <a:pt x="134969" y="8096"/>
                  </a:cubicBezTo>
                  <a:cubicBezTo>
                    <a:pt x="128302" y="8096"/>
                    <a:pt x="124968" y="10096"/>
                    <a:pt x="121444" y="12192"/>
                  </a:cubicBezTo>
                  <a:lnTo>
                    <a:pt x="120968" y="12478"/>
                  </a:lnTo>
                  <a:cubicBezTo>
                    <a:pt x="117158" y="14859"/>
                    <a:pt x="112490" y="17812"/>
                    <a:pt x="103537" y="17812"/>
                  </a:cubicBezTo>
                  <a:cubicBezTo>
                    <a:pt x="94583" y="17812"/>
                    <a:pt x="89821" y="14859"/>
                    <a:pt x="86011" y="12382"/>
                  </a:cubicBezTo>
                  <a:lnTo>
                    <a:pt x="85535" y="12097"/>
                  </a:lnTo>
                  <a:cubicBezTo>
                    <a:pt x="82010" y="10001"/>
                    <a:pt x="78677" y="8001"/>
                    <a:pt x="72009" y="8001"/>
                  </a:cubicBezTo>
                  <a:cubicBezTo>
                    <a:pt x="65151" y="8001"/>
                    <a:pt x="61532" y="9716"/>
                    <a:pt x="57531" y="11906"/>
                  </a:cubicBezTo>
                  <a:cubicBezTo>
                    <a:pt x="53721" y="14288"/>
                    <a:pt x="49054" y="17240"/>
                    <a:pt x="40100" y="17240"/>
                  </a:cubicBezTo>
                  <a:cubicBezTo>
                    <a:pt x="31147" y="17240"/>
                    <a:pt x="26384" y="14288"/>
                    <a:pt x="22574" y="11811"/>
                  </a:cubicBezTo>
                  <a:lnTo>
                    <a:pt x="22098" y="11525"/>
                  </a:lnTo>
                  <a:cubicBezTo>
                    <a:pt x="18574" y="9430"/>
                    <a:pt x="15240" y="7430"/>
                    <a:pt x="8763" y="7430"/>
                  </a:cubicBezTo>
                  <a:lnTo>
                    <a:pt x="7144" y="7430"/>
                  </a:lnTo>
                  <a:lnTo>
                    <a:pt x="7144" y="27527"/>
                  </a:lnTo>
                  <a:lnTo>
                    <a:pt x="8763" y="27527"/>
                  </a:lnTo>
                  <a:cubicBezTo>
                    <a:pt x="13049" y="27527"/>
                    <a:pt x="15240" y="28766"/>
                    <a:pt x="18383" y="30956"/>
                  </a:cubicBezTo>
                  <a:lnTo>
                    <a:pt x="19717" y="31718"/>
                  </a:lnTo>
                  <a:cubicBezTo>
                    <a:pt x="24003" y="34290"/>
                    <a:pt x="29909" y="37719"/>
                    <a:pt x="40005" y="37719"/>
                  </a:cubicBezTo>
                  <a:cubicBezTo>
                    <a:pt x="50578" y="37719"/>
                    <a:pt x="56483" y="34385"/>
                    <a:pt x="61627" y="30956"/>
                  </a:cubicBezTo>
                  <a:lnTo>
                    <a:pt x="62103" y="30670"/>
                  </a:lnTo>
                  <a:cubicBezTo>
                    <a:pt x="65246" y="28670"/>
                    <a:pt x="67151" y="27527"/>
                    <a:pt x="72009" y="27527"/>
                  </a:cubicBezTo>
                  <a:cubicBezTo>
                    <a:pt x="76867" y="27527"/>
                    <a:pt x="79343" y="28956"/>
                    <a:pt x="82391" y="30956"/>
                  </a:cubicBezTo>
                  <a:lnTo>
                    <a:pt x="83630" y="31623"/>
                  </a:lnTo>
                  <a:cubicBezTo>
                    <a:pt x="87916" y="34195"/>
                    <a:pt x="93821" y="37624"/>
                    <a:pt x="103918" y="37624"/>
                  </a:cubicBezTo>
                  <a:cubicBezTo>
                    <a:pt x="114490" y="37624"/>
                    <a:pt x="120396" y="34290"/>
                    <a:pt x="125539" y="30861"/>
                  </a:cubicBezTo>
                  <a:lnTo>
                    <a:pt x="126016" y="30575"/>
                  </a:lnTo>
                  <a:cubicBezTo>
                    <a:pt x="129159" y="28575"/>
                    <a:pt x="131064" y="27432"/>
                    <a:pt x="135922" y="27432"/>
                  </a:cubicBezTo>
                  <a:cubicBezTo>
                    <a:pt x="140780" y="27432"/>
                    <a:pt x="143256" y="28861"/>
                    <a:pt x="146304" y="30861"/>
                  </a:cubicBezTo>
                  <a:lnTo>
                    <a:pt x="147542" y="31528"/>
                  </a:lnTo>
                  <a:cubicBezTo>
                    <a:pt x="151829" y="34100"/>
                    <a:pt x="157734" y="37529"/>
                    <a:pt x="167831" y="37529"/>
                  </a:cubicBezTo>
                  <a:cubicBezTo>
                    <a:pt x="178403" y="37529"/>
                    <a:pt x="184309" y="34195"/>
                    <a:pt x="189452" y="30766"/>
                  </a:cubicBezTo>
                  <a:cubicBezTo>
                    <a:pt x="192024" y="29051"/>
                    <a:pt x="193643" y="28004"/>
                    <a:pt x="196501" y="27527"/>
                  </a:cubicBezTo>
                  <a:lnTo>
                    <a:pt x="197930" y="27337"/>
                  </a:lnTo>
                  <a:lnTo>
                    <a:pt x="197930" y="7144"/>
                  </a:lnTo>
                  <a:lnTo>
                    <a:pt x="196025" y="7430"/>
                  </a:lnTo>
                  <a:cubicBezTo>
                    <a:pt x="191834" y="8668"/>
                    <a:pt x="189071" y="10192"/>
                    <a:pt x="186119" y="12002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93" name="Freeform: Shape 4892">
              <a:extLst>
                <a:ext uri="{FF2B5EF4-FFF2-40B4-BE49-F238E27FC236}">
                  <a16:creationId xmlns:a16="http://schemas.microsoft.com/office/drawing/2014/main" id="{E5C441B1-8A13-45E9-B013-99AB7DEE88EF}"/>
                </a:ext>
              </a:extLst>
            </p:cNvPr>
            <p:cNvSpPr/>
            <p:nvPr/>
          </p:nvSpPr>
          <p:spPr>
            <a:xfrm>
              <a:off x="2585374" y="1465379"/>
              <a:ext cx="38100" cy="38100"/>
            </a:xfrm>
            <a:custGeom>
              <a:avLst/>
              <a:gdLst>
                <a:gd name="connsiteX0" fmla="*/ 32861 w 38100"/>
                <a:gd name="connsiteY0" fmla="*/ 20003 h 38100"/>
                <a:gd name="connsiteX1" fmla="*/ 20002 w 38100"/>
                <a:gd name="connsiteY1" fmla="*/ 32861 h 38100"/>
                <a:gd name="connsiteX2" fmla="*/ 7144 w 38100"/>
                <a:gd name="connsiteY2" fmla="*/ 20002 h 38100"/>
                <a:gd name="connsiteX3" fmla="*/ 20002 w 38100"/>
                <a:gd name="connsiteY3" fmla="*/ 7144 h 38100"/>
                <a:gd name="connsiteX4" fmla="*/ 32861 w 38100"/>
                <a:gd name="connsiteY4" fmla="*/ 2000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2861" y="20003"/>
                  </a:moveTo>
                  <a:cubicBezTo>
                    <a:pt x="32861" y="27104"/>
                    <a:pt x="27104" y="32861"/>
                    <a:pt x="20002" y="32861"/>
                  </a:cubicBezTo>
                  <a:cubicBezTo>
                    <a:pt x="12901" y="32861"/>
                    <a:pt x="7144" y="27104"/>
                    <a:pt x="7144" y="20002"/>
                  </a:cubicBezTo>
                  <a:cubicBezTo>
                    <a:pt x="7144" y="12901"/>
                    <a:pt x="12901" y="7144"/>
                    <a:pt x="20002" y="7144"/>
                  </a:cubicBezTo>
                  <a:cubicBezTo>
                    <a:pt x="27104" y="7144"/>
                    <a:pt x="32861" y="12901"/>
                    <a:pt x="32861" y="20003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94" name="Freeform: Shape 4893">
              <a:extLst>
                <a:ext uri="{FF2B5EF4-FFF2-40B4-BE49-F238E27FC236}">
                  <a16:creationId xmlns:a16="http://schemas.microsoft.com/office/drawing/2014/main" id="{A5588345-DD5E-4225-A910-09B63179658C}"/>
                </a:ext>
              </a:extLst>
            </p:cNvPr>
            <p:cNvSpPr/>
            <p:nvPr/>
          </p:nvSpPr>
          <p:spPr>
            <a:xfrm>
              <a:off x="2564990" y="1370894"/>
              <a:ext cx="47625" cy="95250"/>
            </a:xfrm>
            <a:custGeom>
              <a:avLst/>
              <a:gdLst>
                <a:gd name="connsiteX0" fmla="*/ 7144 w 47625"/>
                <a:gd name="connsiteY0" fmla="*/ 7618 h 95250"/>
                <a:gd name="connsiteX1" fmla="*/ 19622 w 47625"/>
                <a:gd name="connsiteY1" fmla="*/ 71626 h 95250"/>
                <a:gd name="connsiteX2" fmla="*/ 48959 w 47625"/>
                <a:gd name="connsiteY2" fmla="*/ 91438 h 95250"/>
                <a:gd name="connsiteX3" fmla="*/ 48959 w 47625"/>
                <a:gd name="connsiteY3" fmla="*/ 91438 h 95250"/>
                <a:gd name="connsiteX4" fmla="*/ 36481 w 47625"/>
                <a:gd name="connsiteY4" fmla="*/ 27430 h 95250"/>
                <a:gd name="connsiteX5" fmla="*/ 7144 w 47625"/>
                <a:gd name="connsiteY5" fmla="*/ 7618 h 95250"/>
                <a:gd name="connsiteX6" fmla="*/ 7144 w 47625"/>
                <a:gd name="connsiteY6" fmla="*/ 761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25" h="95250">
                  <a:moveTo>
                    <a:pt x="7144" y="7618"/>
                  </a:moveTo>
                  <a:lnTo>
                    <a:pt x="19622" y="71626"/>
                  </a:lnTo>
                  <a:cubicBezTo>
                    <a:pt x="22289" y="85246"/>
                    <a:pt x="35433" y="94105"/>
                    <a:pt x="48959" y="91438"/>
                  </a:cubicBezTo>
                  <a:lnTo>
                    <a:pt x="48959" y="91438"/>
                  </a:lnTo>
                  <a:lnTo>
                    <a:pt x="36481" y="27430"/>
                  </a:lnTo>
                  <a:cubicBezTo>
                    <a:pt x="33909" y="13809"/>
                    <a:pt x="20765" y="4951"/>
                    <a:pt x="7144" y="7618"/>
                  </a:cubicBezTo>
                  <a:lnTo>
                    <a:pt x="7144" y="7618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95" name="Freeform: Shape 4894">
              <a:extLst>
                <a:ext uri="{FF2B5EF4-FFF2-40B4-BE49-F238E27FC236}">
                  <a16:creationId xmlns:a16="http://schemas.microsoft.com/office/drawing/2014/main" id="{DBFC1E2F-8E3C-43B3-B954-5AFCA30F32A4}"/>
                </a:ext>
              </a:extLst>
            </p:cNvPr>
            <p:cNvSpPr/>
            <p:nvPr/>
          </p:nvSpPr>
          <p:spPr>
            <a:xfrm>
              <a:off x="2516380" y="1482429"/>
              <a:ext cx="76200" cy="85725"/>
            </a:xfrm>
            <a:custGeom>
              <a:avLst/>
              <a:gdLst>
                <a:gd name="connsiteX0" fmla="*/ 13367 w 76200"/>
                <a:gd name="connsiteY0" fmla="*/ 85439 h 85725"/>
                <a:gd name="connsiteX1" fmla="*/ 62421 w 76200"/>
                <a:gd name="connsiteY1" fmla="*/ 42482 h 85725"/>
                <a:gd name="connsiteX2" fmla="*/ 64802 w 76200"/>
                <a:gd name="connsiteY2" fmla="*/ 7144 h 85725"/>
                <a:gd name="connsiteX3" fmla="*/ 64802 w 76200"/>
                <a:gd name="connsiteY3" fmla="*/ 7144 h 85725"/>
                <a:gd name="connsiteX4" fmla="*/ 15749 w 76200"/>
                <a:gd name="connsiteY4" fmla="*/ 50102 h 85725"/>
                <a:gd name="connsiteX5" fmla="*/ 13367 w 76200"/>
                <a:gd name="connsiteY5" fmla="*/ 85439 h 85725"/>
                <a:gd name="connsiteX6" fmla="*/ 13367 w 76200"/>
                <a:gd name="connsiteY6" fmla="*/ 85439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85725">
                  <a:moveTo>
                    <a:pt x="13367" y="85439"/>
                  </a:moveTo>
                  <a:lnTo>
                    <a:pt x="62421" y="42482"/>
                  </a:lnTo>
                  <a:cubicBezTo>
                    <a:pt x="72803" y="33338"/>
                    <a:pt x="73851" y="17526"/>
                    <a:pt x="64802" y="7144"/>
                  </a:cubicBezTo>
                  <a:lnTo>
                    <a:pt x="64802" y="7144"/>
                  </a:lnTo>
                  <a:lnTo>
                    <a:pt x="15749" y="50102"/>
                  </a:lnTo>
                  <a:cubicBezTo>
                    <a:pt x="5271" y="59150"/>
                    <a:pt x="4223" y="74962"/>
                    <a:pt x="13367" y="85439"/>
                  </a:cubicBezTo>
                  <a:lnTo>
                    <a:pt x="13367" y="85439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96" name="Freeform: Shape 4895">
              <a:extLst>
                <a:ext uri="{FF2B5EF4-FFF2-40B4-BE49-F238E27FC236}">
                  <a16:creationId xmlns:a16="http://schemas.microsoft.com/office/drawing/2014/main" id="{CFECCA61-8069-4446-9F78-845D8DDBB0B5}"/>
                </a:ext>
              </a:extLst>
            </p:cNvPr>
            <p:cNvSpPr/>
            <p:nvPr/>
          </p:nvSpPr>
          <p:spPr>
            <a:xfrm>
              <a:off x="2614044" y="1479985"/>
              <a:ext cx="104775" cy="47625"/>
            </a:xfrm>
            <a:custGeom>
              <a:avLst/>
              <a:gdLst>
                <a:gd name="connsiteX0" fmla="*/ 100679 w 104775"/>
                <a:gd name="connsiteY0" fmla="*/ 29209 h 47625"/>
                <a:gd name="connsiteX1" fmla="*/ 38862 w 104775"/>
                <a:gd name="connsiteY1" fmla="*/ 8445 h 47625"/>
                <a:gd name="connsiteX2" fmla="*/ 7144 w 104775"/>
                <a:gd name="connsiteY2" fmla="*/ 24161 h 47625"/>
                <a:gd name="connsiteX3" fmla="*/ 7144 w 104775"/>
                <a:gd name="connsiteY3" fmla="*/ 24161 h 47625"/>
                <a:gd name="connsiteX4" fmla="*/ 68961 w 104775"/>
                <a:gd name="connsiteY4" fmla="*/ 44925 h 47625"/>
                <a:gd name="connsiteX5" fmla="*/ 100679 w 104775"/>
                <a:gd name="connsiteY5" fmla="*/ 29209 h 47625"/>
                <a:gd name="connsiteX6" fmla="*/ 100679 w 104775"/>
                <a:gd name="connsiteY6" fmla="*/ 2920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5" h="47625">
                  <a:moveTo>
                    <a:pt x="100679" y="29209"/>
                  </a:moveTo>
                  <a:lnTo>
                    <a:pt x="38862" y="8445"/>
                  </a:lnTo>
                  <a:cubicBezTo>
                    <a:pt x="25718" y="4063"/>
                    <a:pt x="11525" y="11112"/>
                    <a:pt x="7144" y="24161"/>
                  </a:cubicBezTo>
                  <a:lnTo>
                    <a:pt x="7144" y="24161"/>
                  </a:lnTo>
                  <a:lnTo>
                    <a:pt x="68961" y="44925"/>
                  </a:lnTo>
                  <a:cubicBezTo>
                    <a:pt x="82010" y="49402"/>
                    <a:pt x="96203" y="42354"/>
                    <a:pt x="100679" y="29209"/>
                  </a:cubicBezTo>
                  <a:lnTo>
                    <a:pt x="100679" y="29209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97" name="Freeform: Shape 4896">
              <a:extLst>
                <a:ext uri="{FF2B5EF4-FFF2-40B4-BE49-F238E27FC236}">
                  <a16:creationId xmlns:a16="http://schemas.microsoft.com/office/drawing/2014/main" id="{1CDD9D51-8B11-451E-9E9A-7CB94D510245}"/>
                </a:ext>
              </a:extLst>
            </p:cNvPr>
            <p:cNvSpPr/>
            <p:nvPr/>
          </p:nvSpPr>
          <p:spPr>
            <a:xfrm>
              <a:off x="2581754" y="1504098"/>
              <a:ext cx="38100" cy="114300"/>
            </a:xfrm>
            <a:custGeom>
              <a:avLst/>
              <a:gdLst>
                <a:gd name="connsiteX0" fmla="*/ 23622 w 38100"/>
                <a:gd name="connsiteY0" fmla="*/ 110347 h 114300"/>
                <a:gd name="connsiteX1" fmla="*/ 40005 w 38100"/>
                <a:gd name="connsiteY1" fmla="*/ 103870 h 114300"/>
                <a:gd name="connsiteX2" fmla="*/ 34290 w 38100"/>
                <a:gd name="connsiteY2" fmla="*/ 17002 h 114300"/>
                <a:gd name="connsiteX3" fmla="*/ 12859 w 38100"/>
                <a:gd name="connsiteY3" fmla="*/ 17002 h 114300"/>
                <a:gd name="connsiteX4" fmla="*/ 7144 w 38100"/>
                <a:gd name="connsiteY4" fmla="*/ 103108 h 114300"/>
                <a:gd name="connsiteX5" fmla="*/ 23622 w 38100"/>
                <a:gd name="connsiteY5" fmla="*/ 11034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" h="114300">
                  <a:moveTo>
                    <a:pt x="23622" y="110347"/>
                  </a:moveTo>
                  <a:cubicBezTo>
                    <a:pt x="29146" y="110347"/>
                    <a:pt x="34862" y="108061"/>
                    <a:pt x="40005" y="103870"/>
                  </a:cubicBezTo>
                  <a:cubicBezTo>
                    <a:pt x="38767" y="70247"/>
                    <a:pt x="36481" y="25860"/>
                    <a:pt x="34290" y="17002"/>
                  </a:cubicBezTo>
                  <a:cubicBezTo>
                    <a:pt x="30956" y="3858"/>
                    <a:pt x="16193" y="3858"/>
                    <a:pt x="12859" y="17002"/>
                  </a:cubicBezTo>
                  <a:cubicBezTo>
                    <a:pt x="10668" y="25765"/>
                    <a:pt x="8382" y="69580"/>
                    <a:pt x="7144" y="103108"/>
                  </a:cubicBezTo>
                  <a:cubicBezTo>
                    <a:pt x="12192" y="107394"/>
                    <a:pt x="17812" y="110347"/>
                    <a:pt x="23622" y="110347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98" name="Freeform: Shape 4897">
              <a:extLst>
                <a:ext uri="{FF2B5EF4-FFF2-40B4-BE49-F238E27FC236}">
                  <a16:creationId xmlns:a16="http://schemas.microsoft.com/office/drawing/2014/main" id="{2AC32C2D-BC01-4553-8B16-DA0238AE2F9E}"/>
                </a:ext>
              </a:extLst>
            </p:cNvPr>
            <p:cNvSpPr/>
            <p:nvPr/>
          </p:nvSpPr>
          <p:spPr>
            <a:xfrm>
              <a:off x="2407256" y="133012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E7A920A9-ACBE-44A4-B997-B9334D68A574}"/>
              </a:ext>
            </a:extLst>
          </p:cNvPr>
          <p:cNvSpPr txBox="1"/>
          <p:nvPr/>
        </p:nvSpPr>
        <p:spPr>
          <a:xfrm>
            <a:off x="4984751" y="3564552"/>
            <a:ext cx="4101926" cy="192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1300" dirty="0">
                <a:solidFill>
                  <a:schemeClr val="tx2"/>
                </a:solidFill>
              </a:rPr>
              <a:t>28GW	     20 GW       16GW      7GW	 5GW</a:t>
            </a:r>
            <a:endParaRPr lang="en-GB" sz="1300" dirty="0">
              <a:solidFill>
                <a:schemeClr val="tx2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7C02FA-8400-4AD6-8F46-127D839168A9}"/>
              </a:ext>
            </a:extLst>
          </p:cNvPr>
          <p:cNvSpPr/>
          <p:nvPr/>
        </p:nvSpPr>
        <p:spPr>
          <a:xfrm>
            <a:off x="2331644" y="2794317"/>
            <a:ext cx="51328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sz="800" dirty="0">
                <a:solidFill>
                  <a:schemeClr val="tx2"/>
                </a:solidFill>
                <a:latin typeface="Orsted Sans Office" panose="00000500000000000000" pitchFamily="2" charset="0"/>
              </a:rPr>
              <a:t>Polska</a:t>
            </a:r>
            <a:endParaRPr lang="en-GB" dirty="0"/>
          </a:p>
        </p:txBody>
      </p:sp>
      <p:grpSp>
        <p:nvGrpSpPr>
          <p:cNvPr id="4900" name="Group 4899">
            <a:extLst>
              <a:ext uri="{FF2B5EF4-FFF2-40B4-BE49-F238E27FC236}">
                <a16:creationId xmlns:a16="http://schemas.microsoft.com/office/drawing/2014/main" id="{B02B4931-F7E6-4FB0-94BB-F60AB6873A6F}"/>
              </a:ext>
            </a:extLst>
          </p:cNvPr>
          <p:cNvGrpSpPr>
            <a:grpSpLocks noChangeAspect="1"/>
          </p:cNvGrpSpPr>
          <p:nvPr/>
        </p:nvGrpSpPr>
        <p:grpSpPr>
          <a:xfrm>
            <a:off x="2143335" y="1800984"/>
            <a:ext cx="247923" cy="247923"/>
            <a:chOff x="2407256" y="1330124"/>
            <a:chExt cx="390525" cy="390525"/>
          </a:xfrm>
          <a:solidFill>
            <a:schemeClr val="accent3"/>
          </a:solidFill>
        </p:grpSpPr>
        <p:sp>
          <p:nvSpPr>
            <p:cNvPr id="4901" name="Freeform: Shape 4900">
              <a:extLst>
                <a:ext uri="{FF2B5EF4-FFF2-40B4-BE49-F238E27FC236}">
                  <a16:creationId xmlns:a16="http://schemas.microsoft.com/office/drawing/2014/main" id="{B88252A7-070C-4C7F-A719-7359EF7158BA}"/>
                </a:ext>
              </a:extLst>
            </p:cNvPr>
            <p:cNvSpPr/>
            <p:nvPr/>
          </p:nvSpPr>
          <p:spPr>
            <a:xfrm>
              <a:off x="2502792" y="1612731"/>
              <a:ext cx="200025" cy="38100"/>
            </a:xfrm>
            <a:custGeom>
              <a:avLst/>
              <a:gdLst>
                <a:gd name="connsiteX0" fmla="*/ 186119 w 200025"/>
                <a:gd name="connsiteY0" fmla="*/ 12002 h 38100"/>
                <a:gd name="connsiteX1" fmla="*/ 183356 w 200025"/>
                <a:gd name="connsiteY1" fmla="*/ 13335 h 38100"/>
                <a:gd name="connsiteX2" fmla="*/ 166497 w 200025"/>
                <a:gd name="connsiteY2" fmla="*/ 17907 h 38100"/>
                <a:gd name="connsiteX3" fmla="*/ 148971 w 200025"/>
                <a:gd name="connsiteY3" fmla="*/ 12478 h 38100"/>
                <a:gd name="connsiteX4" fmla="*/ 148495 w 200025"/>
                <a:gd name="connsiteY4" fmla="*/ 12192 h 38100"/>
                <a:gd name="connsiteX5" fmla="*/ 134969 w 200025"/>
                <a:gd name="connsiteY5" fmla="*/ 8096 h 38100"/>
                <a:gd name="connsiteX6" fmla="*/ 121444 w 200025"/>
                <a:gd name="connsiteY6" fmla="*/ 12192 h 38100"/>
                <a:gd name="connsiteX7" fmla="*/ 120968 w 200025"/>
                <a:gd name="connsiteY7" fmla="*/ 12478 h 38100"/>
                <a:gd name="connsiteX8" fmla="*/ 103537 w 200025"/>
                <a:gd name="connsiteY8" fmla="*/ 17812 h 38100"/>
                <a:gd name="connsiteX9" fmla="*/ 86011 w 200025"/>
                <a:gd name="connsiteY9" fmla="*/ 12382 h 38100"/>
                <a:gd name="connsiteX10" fmla="*/ 85535 w 200025"/>
                <a:gd name="connsiteY10" fmla="*/ 12097 h 38100"/>
                <a:gd name="connsiteX11" fmla="*/ 72009 w 200025"/>
                <a:gd name="connsiteY11" fmla="*/ 8001 h 38100"/>
                <a:gd name="connsiteX12" fmla="*/ 57531 w 200025"/>
                <a:gd name="connsiteY12" fmla="*/ 11906 h 38100"/>
                <a:gd name="connsiteX13" fmla="*/ 40100 w 200025"/>
                <a:gd name="connsiteY13" fmla="*/ 17240 h 38100"/>
                <a:gd name="connsiteX14" fmla="*/ 22574 w 200025"/>
                <a:gd name="connsiteY14" fmla="*/ 11811 h 38100"/>
                <a:gd name="connsiteX15" fmla="*/ 22098 w 200025"/>
                <a:gd name="connsiteY15" fmla="*/ 11525 h 38100"/>
                <a:gd name="connsiteX16" fmla="*/ 8763 w 200025"/>
                <a:gd name="connsiteY16" fmla="*/ 7430 h 38100"/>
                <a:gd name="connsiteX17" fmla="*/ 7144 w 200025"/>
                <a:gd name="connsiteY17" fmla="*/ 7430 h 38100"/>
                <a:gd name="connsiteX18" fmla="*/ 7144 w 200025"/>
                <a:gd name="connsiteY18" fmla="*/ 27527 h 38100"/>
                <a:gd name="connsiteX19" fmla="*/ 8763 w 200025"/>
                <a:gd name="connsiteY19" fmla="*/ 27527 h 38100"/>
                <a:gd name="connsiteX20" fmla="*/ 18383 w 200025"/>
                <a:gd name="connsiteY20" fmla="*/ 30956 h 38100"/>
                <a:gd name="connsiteX21" fmla="*/ 19717 w 200025"/>
                <a:gd name="connsiteY21" fmla="*/ 31718 h 38100"/>
                <a:gd name="connsiteX22" fmla="*/ 40005 w 200025"/>
                <a:gd name="connsiteY22" fmla="*/ 37719 h 38100"/>
                <a:gd name="connsiteX23" fmla="*/ 61627 w 200025"/>
                <a:gd name="connsiteY23" fmla="*/ 30956 h 38100"/>
                <a:gd name="connsiteX24" fmla="*/ 62103 w 200025"/>
                <a:gd name="connsiteY24" fmla="*/ 30670 h 38100"/>
                <a:gd name="connsiteX25" fmla="*/ 72009 w 200025"/>
                <a:gd name="connsiteY25" fmla="*/ 27527 h 38100"/>
                <a:gd name="connsiteX26" fmla="*/ 82391 w 200025"/>
                <a:gd name="connsiteY26" fmla="*/ 30956 h 38100"/>
                <a:gd name="connsiteX27" fmla="*/ 83630 w 200025"/>
                <a:gd name="connsiteY27" fmla="*/ 31623 h 38100"/>
                <a:gd name="connsiteX28" fmla="*/ 103918 w 200025"/>
                <a:gd name="connsiteY28" fmla="*/ 37624 h 38100"/>
                <a:gd name="connsiteX29" fmla="*/ 125539 w 200025"/>
                <a:gd name="connsiteY29" fmla="*/ 30861 h 38100"/>
                <a:gd name="connsiteX30" fmla="*/ 126016 w 200025"/>
                <a:gd name="connsiteY30" fmla="*/ 30575 h 38100"/>
                <a:gd name="connsiteX31" fmla="*/ 135922 w 200025"/>
                <a:gd name="connsiteY31" fmla="*/ 27432 h 38100"/>
                <a:gd name="connsiteX32" fmla="*/ 146304 w 200025"/>
                <a:gd name="connsiteY32" fmla="*/ 30861 h 38100"/>
                <a:gd name="connsiteX33" fmla="*/ 147542 w 200025"/>
                <a:gd name="connsiteY33" fmla="*/ 31528 h 38100"/>
                <a:gd name="connsiteX34" fmla="*/ 167831 w 200025"/>
                <a:gd name="connsiteY34" fmla="*/ 37529 h 38100"/>
                <a:gd name="connsiteX35" fmla="*/ 189452 w 200025"/>
                <a:gd name="connsiteY35" fmla="*/ 30766 h 38100"/>
                <a:gd name="connsiteX36" fmla="*/ 196501 w 200025"/>
                <a:gd name="connsiteY36" fmla="*/ 27527 h 38100"/>
                <a:gd name="connsiteX37" fmla="*/ 197930 w 200025"/>
                <a:gd name="connsiteY37" fmla="*/ 27337 h 38100"/>
                <a:gd name="connsiteX38" fmla="*/ 197930 w 200025"/>
                <a:gd name="connsiteY38" fmla="*/ 7144 h 38100"/>
                <a:gd name="connsiteX39" fmla="*/ 196025 w 200025"/>
                <a:gd name="connsiteY39" fmla="*/ 7430 h 38100"/>
                <a:gd name="connsiteX40" fmla="*/ 186119 w 200025"/>
                <a:gd name="connsiteY40" fmla="*/ 1200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00025" h="38100">
                  <a:moveTo>
                    <a:pt x="186119" y="12002"/>
                  </a:moveTo>
                  <a:cubicBezTo>
                    <a:pt x="185166" y="12382"/>
                    <a:pt x="184309" y="12859"/>
                    <a:pt x="183356" y="13335"/>
                  </a:cubicBezTo>
                  <a:cubicBezTo>
                    <a:pt x="178784" y="15621"/>
                    <a:pt x="174117" y="17907"/>
                    <a:pt x="166497" y="17907"/>
                  </a:cubicBezTo>
                  <a:cubicBezTo>
                    <a:pt x="157448" y="17907"/>
                    <a:pt x="152972" y="15049"/>
                    <a:pt x="148971" y="12478"/>
                  </a:cubicBezTo>
                  <a:lnTo>
                    <a:pt x="148495" y="12192"/>
                  </a:lnTo>
                  <a:cubicBezTo>
                    <a:pt x="144971" y="10096"/>
                    <a:pt x="141637" y="8096"/>
                    <a:pt x="134969" y="8096"/>
                  </a:cubicBezTo>
                  <a:cubicBezTo>
                    <a:pt x="128302" y="8096"/>
                    <a:pt x="124968" y="10096"/>
                    <a:pt x="121444" y="12192"/>
                  </a:cubicBezTo>
                  <a:lnTo>
                    <a:pt x="120968" y="12478"/>
                  </a:lnTo>
                  <a:cubicBezTo>
                    <a:pt x="117158" y="14859"/>
                    <a:pt x="112490" y="17812"/>
                    <a:pt x="103537" y="17812"/>
                  </a:cubicBezTo>
                  <a:cubicBezTo>
                    <a:pt x="94583" y="17812"/>
                    <a:pt x="89821" y="14859"/>
                    <a:pt x="86011" y="12382"/>
                  </a:cubicBezTo>
                  <a:lnTo>
                    <a:pt x="85535" y="12097"/>
                  </a:lnTo>
                  <a:cubicBezTo>
                    <a:pt x="82010" y="10001"/>
                    <a:pt x="78677" y="8001"/>
                    <a:pt x="72009" y="8001"/>
                  </a:cubicBezTo>
                  <a:cubicBezTo>
                    <a:pt x="65151" y="8001"/>
                    <a:pt x="61532" y="9716"/>
                    <a:pt x="57531" y="11906"/>
                  </a:cubicBezTo>
                  <a:cubicBezTo>
                    <a:pt x="53721" y="14288"/>
                    <a:pt x="49054" y="17240"/>
                    <a:pt x="40100" y="17240"/>
                  </a:cubicBezTo>
                  <a:cubicBezTo>
                    <a:pt x="31147" y="17240"/>
                    <a:pt x="26384" y="14288"/>
                    <a:pt x="22574" y="11811"/>
                  </a:cubicBezTo>
                  <a:lnTo>
                    <a:pt x="22098" y="11525"/>
                  </a:lnTo>
                  <a:cubicBezTo>
                    <a:pt x="18574" y="9430"/>
                    <a:pt x="15240" y="7430"/>
                    <a:pt x="8763" y="7430"/>
                  </a:cubicBezTo>
                  <a:lnTo>
                    <a:pt x="7144" y="7430"/>
                  </a:lnTo>
                  <a:lnTo>
                    <a:pt x="7144" y="27527"/>
                  </a:lnTo>
                  <a:lnTo>
                    <a:pt x="8763" y="27527"/>
                  </a:lnTo>
                  <a:cubicBezTo>
                    <a:pt x="13049" y="27527"/>
                    <a:pt x="15240" y="28766"/>
                    <a:pt x="18383" y="30956"/>
                  </a:cubicBezTo>
                  <a:lnTo>
                    <a:pt x="19717" y="31718"/>
                  </a:lnTo>
                  <a:cubicBezTo>
                    <a:pt x="24003" y="34290"/>
                    <a:pt x="29909" y="37719"/>
                    <a:pt x="40005" y="37719"/>
                  </a:cubicBezTo>
                  <a:cubicBezTo>
                    <a:pt x="50578" y="37719"/>
                    <a:pt x="56483" y="34385"/>
                    <a:pt x="61627" y="30956"/>
                  </a:cubicBezTo>
                  <a:lnTo>
                    <a:pt x="62103" y="30670"/>
                  </a:lnTo>
                  <a:cubicBezTo>
                    <a:pt x="65246" y="28670"/>
                    <a:pt x="67151" y="27527"/>
                    <a:pt x="72009" y="27527"/>
                  </a:cubicBezTo>
                  <a:cubicBezTo>
                    <a:pt x="76867" y="27527"/>
                    <a:pt x="79343" y="28956"/>
                    <a:pt x="82391" y="30956"/>
                  </a:cubicBezTo>
                  <a:lnTo>
                    <a:pt x="83630" y="31623"/>
                  </a:lnTo>
                  <a:cubicBezTo>
                    <a:pt x="87916" y="34195"/>
                    <a:pt x="93821" y="37624"/>
                    <a:pt x="103918" y="37624"/>
                  </a:cubicBezTo>
                  <a:cubicBezTo>
                    <a:pt x="114490" y="37624"/>
                    <a:pt x="120396" y="34290"/>
                    <a:pt x="125539" y="30861"/>
                  </a:cubicBezTo>
                  <a:lnTo>
                    <a:pt x="126016" y="30575"/>
                  </a:lnTo>
                  <a:cubicBezTo>
                    <a:pt x="129159" y="28575"/>
                    <a:pt x="131064" y="27432"/>
                    <a:pt x="135922" y="27432"/>
                  </a:cubicBezTo>
                  <a:cubicBezTo>
                    <a:pt x="140780" y="27432"/>
                    <a:pt x="143256" y="28861"/>
                    <a:pt x="146304" y="30861"/>
                  </a:cubicBezTo>
                  <a:lnTo>
                    <a:pt x="147542" y="31528"/>
                  </a:lnTo>
                  <a:cubicBezTo>
                    <a:pt x="151829" y="34100"/>
                    <a:pt x="157734" y="37529"/>
                    <a:pt x="167831" y="37529"/>
                  </a:cubicBezTo>
                  <a:cubicBezTo>
                    <a:pt x="178403" y="37529"/>
                    <a:pt x="184309" y="34195"/>
                    <a:pt x="189452" y="30766"/>
                  </a:cubicBezTo>
                  <a:cubicBezTo>
                    <a:pt x="192024" y="29051"/>
                    <a:pt x="193643" y="28004"/>
                    <a:pt x="196501" y="27527"/>
                  </a:cubicBezTo>
                  <a:lnTo>
                    <a:pt x="197930" y="27337"/>
                  </a:lnTo>
                  <a:lnTo>
                    <a:pt x="197930" y="7144"/>
                  </a:lnTo>
                  <a:lnTo>
                    <a:pt x="196025" y="7430"/>
                  </a:lnTo>
                  <a:cubicBezTo>
                    <a:pt x="191834" y="8668"/>
                    <a:pt x="189071" y="10192"/>
                    <a:pt x="186119" y="120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02" name="Freeform: Shape 4901">
              <a:extLst>
                <a:ext uri="{FF2B5EF4-FFF2-40B4-BE49-F238E27FC236}">
                  <a16:creationId xmlns:a16="http://schemas.microsoft.com/office/drawing/2014/main" id="{8A665C17-6C99-49A1-8CAD-9109A02FA624}"/>
                </a:ext>
              </a:extLst>
            </p:cNvPr>
            <p:cNvSpPr/>
            <p:nvPr/>
          </p:nvSpPr>
          <p:spPr>
            <a:xfrm>
              <a:off x="2585374" y="1465379"/>
              <a:ext cx="38100" cy="38100"/>
            </a:xfrm>
            <a:custGeom>
              <a:avLst/>
              <a:gdLst>
                <a:gd name="connsiteX0" fmla="*/ 32861 w 38100"/>
                <a:gd name="connsiteY0" fmla="*/ 20003 h 38100"/>
                <a:gd name="connsiteX1" fmla="*/ 20002 w 38100"/>
                <a:gd name="connsiteY1" fmla="*/ 32861 h 38100"/>
                <a:gd name="connsiteX2" fmla="*/ 7144 w 38100"/>
                <a:gd name="connsiteY2" fmla="*/ 20002 h 38100"/>
                <a:gd name="connsiteX3" fmla="*/ 20002 w 38100"/>
                <a:gd name="connsiteY3" fmla="*/ 7144 h 38100"/>
                <a:gd name="connsiteX4" fmla="*/ 32861 w 38100"/>
                <a:gd name="connsiteY4" fmla="*/ 2000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2861" y="20003"/>
                  </a:moveTo>
                  <a:cubicBezTo>
                    <a:pt x="32861" y="27104"/>
                    <a:pt x="27104" y="32861"/>
                    <a:pt x="20002" y="32861"/>
                  </a:cubicBezTo>
                  <a:cubicBezTo>
                    <a:pt x="12901" y="32861"/>
                    <a:pt x="7144" y="27104"/>
                    <a:pt x="7144" y="20002"/>
                  </a:cubicBezTo>
                  <a:cubicBezTo>
                    <a:pt x="7144" y="12901"/>
                    <a:pt x="12901" y="7144"/>
                    <a:pt x="20002" y="7144"/>
                  </a:cubicBezTo>
                  <a:cubicBezTo>
                    <a:pt x="27104" y="7144"/>
                    <a:pt x="32861" y="12901"/>
                    <a:pt x="32861" y="200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03" name="Freeform: Shape 4902">
              <a:extLst>
                <a:ext uri="{FF2B5EF4-FFF2-40B4-BE49-F238E27FC236}">
                  <a16:creationId xmlns:a16="http://schemas.microsoft.com/office/drawing/2014/main" id="{6E0A13AE-B83D-4E98-B16A-3039D6ED34C8}"/>
                </a:ext>
              </a:extLst>
            </p:cNvPr>
            <p:cNvSpPr/>
            <p:nvPr/>
          </p:nvSpPr>
          <p:spPr>
            <a:xfrm>
              <a:off x="2564990" y="1370894"/>
              <a:ext cx="47625" cy="95250"/>
            </a:xfrm>
            <a:custGeom>
              <a:avLst/>
              <a:gdLst>
                <a:gd name="connsiteX0" fmla="*/ 7144 w 47625"/>
                <a:gd name="connsiteY0" fmla="*/ 7618 h 95250"/>
                <a:gd name="connsiteX1" fmla="*/ 19622 w 47625"/>
                <a:gd name="connsiteY1" fmla="*/ 71626 h 95250"/>
                <a:gd name="connsiteX2" fmla="*/ 48959 w 47625"/>
                <a:gd name="connsiteY2" fmla="*/ 91438 h 95250"/>
                <a:gd name="connsiteX3" fmla="*/ 48959 w 47625"/>
                <a:gd name="connsiteY3" fmla="*/ 91438 h 95250"/>
                <a:gd name="connsiteX4" fmla="*/ 36481 w 47625"/>
                <a:gd name="connsiteY4" fmla="*/ 27430 h 95250"/>
                <a:gd name="connsiteX5" fmla="*/ 7144 w 47625"/>
                <a:gd name="connsiteY5" fmla="*/ 7618 h 95250"/>
                <a:gd name="connsiteX6" fmla="*/ 7144 w 47625"/>
                <a:gd name="connsiteY6" fmla="*/ 761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25" h="95250">
                  <a:moveTo>
                    <a:pt x="7144" y="7618"/>
                  </a:moveTo>
                  <a:lnTo>
                    <a:pt x="19622" y="71626"/>
                  </a:lnTo>
                  <a:cubicBezTo>
                    <a:pt x="22289" y="85246"/>
                    <a:pt x="35433" y="94105"/>
                    <a:pt x="48959" y="91438"/>
                  </a:cubicBezTo>
                  <a:lnTo>
                    <a:pt x="48959" y="91438"/>
                  </a:lnTo>
                  <a:lnTo>
                    <a:pt x="36481" y="27430"/>
                  </a:lnTo>
                  <a:cubicBezTo>
                    <a:pt x="33909" y="13809"/>
                    <a:pt x="20765" y="4951"/>
                    <a:pt x="7144" y="7618"/>
                  </a:cubicBezTo>
                  <a:lnTo>
                    <a:pt x="7144" y="761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04" name="Freeform: Shape 4903">
              <a:extLst>
                <a:ext uri="{FF2B5EF4-FFF2-40B4-BE49-F238E27FC236}">
                  <a16:creationId xmlns:a16="http://schemas.microsoft.com/office/drawing/2014/main" id="{F260D723-EB86-4A7A-B711-FA66D6214989}"/>
                </a:ext>
              </a:extLst>
            </p:cNvPr>
            <p:cNvSpPr/>
            <p:nvPr/>
          </p:nvSpPr>
          <p:spPr>
            <a:xfrm>
              <a:off x="2516380" y="1482429"/>
              <a:ext cx="76200" cy="85725"/>
            </a:xfrm>
            <a:custGeom>
              <a:avLst/>
              <a:gdLst>
                <a:gd name="connsiteX0" fmla="*/ 13367 w 76200"/>
                <a:gd name="connsiteY0" fmla="*/ 85439 h 85725"/>
                <a:gd name="connsiteX1" fmla="*/ 62421 w 76200"/>
                <a:gd name="connsiteY1" fmla="*/ 42482 h 85725"/>
                <a:gd name="connsiteX2" fmla="*/ 64802 w 76200"/>
                <a:gd name="connsiteY2" fmla="*/ 7144 h 85725"/>
                <a:gd name="connsiteX3" fmla="*/ 64802 w 76200"/>
                <a:gd name="connsiteY3" fmla="*/ 7144 h 85725"/>
                <a:gd name="connsiteX4" fmla="*/ 15749 w 76200"/>
                <a:gd name="connsiteY4" fmla="*/ 50102 h 85725"/>
                <a:gd name="connsiteX5" fmla="*/ 13367 w 76200"/>
                <a:gd name="connsiteY5" fmla="*/ 85439 h 85725"/>
                <a:gd name="connsiteX6" fmla="*/ 13367 w 76200"/>
                <a:gd name="connsiteY6" fmla="*/ 85439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85725">
                  <a:moveTo>
                    <a:pt x="13367" y="85439"/>
                  </a:moveTo>
                  <a:lnTo>
                    <a:pt x="62421" y="42482"/>
                  </a:lnTo>
                  <a:cubicBezTo>
                    <a:pt x="72803" y="33338"/>
                    <a:pt x="73851" y="17526"/>
                    <a:pt x="64802" y="7144"/>
                  </a:cubicBezTo>
                  <a:lnTo>
                    <a:pt x="64802" y="7144"/>
                  </a:lnTo>
                  <a:lnTo>
                    <a:pt x="15749" y="50102"/>
                  </a:lnTo>
                  <a:cubicBezTo>
                    <a:pt x="5271" y="59150"/>
                    <a:pt x="4223" y="74962"/>
                    <a:pt x="13367" y="85439"/>
                  </a:cubicBezTo>
                  <a:lnTo>
                    <a:pt x="13367" y="854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05" name="Freeform: Shape 4904">
              <a:extLst>
                <a:ext uri="{FF2B5EF4-FFF2-40B4-BE49-F238E27FC236}">
                  <a16:creationId xmlns:a16="http://schemas.microsoft.com/office/drawing/2014/main" id="{EEFABFD1-D50C-420D-B637-0DBE6489BBD6}"/>
                </a:ext>
              </a:extLst>
            </p:cNvPr>
            <p:cNvSpPr/>
            <p:nvPr/>
          </p:nvSpPr>
          <p:spPr>
            <a:xfrm>
              <a:off x="2614044" y="1479985"/>
              <a:ext cx="104775" cy="47625"/>
            </a:xfrm>
            <a:custGeom>
              <a:avLst/>
              <a:gdLst>
                <a:gd name="connsiteX0" fmla="*/ 100679 w 104775"/>
                <a:gd name="connsiteY0" fmla="*/ 29209 h 47625"/>
                <a:gd name="connsiteX1" fmla="*/ 38862 w 104775"/>
                <a:gd name="connsiteY1" fmla="*/ 8445 h 47625"/>
                <a:gd name="connsiteX2" fmla="*/ 7144 w 104775"/>
                <a:gd name="connsiteY2" fmla="*/ 24161 h 47625"/>
                <a:gd name="connsiteX3" fmla="*/ 7144 w 104775"/>
                <a:gd name="connsiteY3" fmla="*/ 24161 h 47625"/>
                <a:gd name="connsiteX4" fmla="*/ 68961 w 104775"/>
                <a:gd name="connsiteY4" fmla="*/ 44925 h 47625"/>
                <a:gd name="connsiteX5" fmla="*/ 100679 w 104775"/>
                <a:gd name="connsiteY5" fmla="*/ 29209 h 47625"/>
                <a:gd name="connsiteX6" fmla="*/ 100679 w 104775"/>
                <a:gd name="connsiteY6" fmla="*/ 2920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5" h="47625">
                  <a:moveTo>
                    <a:pt x="100679" y="29209"/>
                  </a:moveTo>
                  <a:lnTo>
                    <a:pt x="38862" y="8445"/>
                  </a:lnTo>
                  <a:cubicBezTo>
                    <a:pt x="25718" y="4063"/>
                    <a:pt x="11525" y="11112"/>
                    <a:pt x="7144" y="24161"/>
                  </a:cubicBezTo>
                  <a:lnTo>
                    <a:pt x="7144" y="24161"/>
                  </a:lnTo>
                  <a:lnTo>
                    <a:pt x="68961" y="44925"/>
                  </a:lnTo>
                  <a:cubicBezTo>
                    <a:pt x="82010" y="49402"/>
                    <a:pt x="96203" y="42354"/>
                    <a:pt x="100679" y="29209"/>
                  </a:cubicBezTo>
                  <a:lnTo>
                    <a:pt x="100679" y="2920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06" name="Freeform: Shape 4905">
              <a:extLst>
                <a:ext uri="{FF2B5EF4-FFF2-40B4-BE49-F238E27FC236}">
                  <a16:creationId xmlns:a16="http://schemas.microsoft.com/office/drawing/2014/main" id="{97D563BA-212C-4E91-BD0E-F43E4DB95D50}"/>
                </a:ext>
              </a:extLst>
            </p:cNvPr>
            <p:cNvSpPr/>
            <p:nvPr/>
          </p:nvSpPr>
          <p:spPr>
            <a:xfrm>
              <a:off x="2581754" y="1504098"/>
              <a:ext cx="38100" cy="114300"/>
            </a:xfrm>
            <a:custGeom>
              <a:avLst/>
              <a:gdLst>
                <a:gd name="connsiteX0" fmla="*/ 23622 w 38100"/>
                <a:gd name="connsiteY0" fmla="*/ 110347 h 114300"/>
                <a:gd name="connsiteX1" fmla="*/ 40005 w 38100"/>
                <a:gd name="connsiteY1" fmla="*/ 103870 h 114300"/>
                <a:gd name="connsiteX2" fmla="*/ 34290 w 38100"/>
                <a:gd name="connsiteY2" fmla="*/ 17002 h 114300"/>
                <a:gd name="connsiteX3" fmla="*/ 12859 w 38100"/>
                <a:gd name="connsiteY3" fmla="*/ 17002 h 114300"/>
                <a:gd name="connsiteX4" fmla="*/ 7144 w 38100"/>
                <a:gd name="connsiteY4" fmla="*/ 103108 h 114300"/>
                <a:gd name="connsiteX5" fmla="*/ 23622 w 38100"/>
                <a:gd name="connsiteY5" fmla="*/ 11034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" h="114300">
                  <a:moveTo>
                    <a:pt x="23622" y="110347"/>
                  </a:moveTo>
                  <a:cubicBezTo>
                    <a:pt x="29146" y="110347"/>
                    <a:pt x="34862" y="108061"/>
                    <a:pt x="40005" y="103870"/>
                  </a:cubicBezTo>
                  <a:cubicBezTo>
                    <a:pt x="38767" y="70247"/>
                    <a:pt x="36481" y="25860"/>
                    <a:pt x="34290" y="17002"/>
                  </a:cubicBezTo>
                  <a:cubicBezTo>
                    <a:pt x="30956" y="3858"/>
                    <a:pt x="16193" y="3858"/>
                    <a:pt x="12859" y="17002"/>
                  </a:cubicBezTo>
                  <a:cubicBezTo>
                    <a:pt x="10668" y="25765"/>
                    <a:pt x="8382" y="69580"/>
                    <a:pt x="7144" y="103108"/>
                  </a:cubicBezTo>
                  <a:cubicBezTo>
                    <a:pt x="12192" y="107394"/>
                    <a:pt x="17812" y="110347"/>
                    <a:pt x="23622" y="1103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07" name="Freeform: Shape 4906">
              <a:extLst>
                <a:ext uri="{FF2B5EF4-FFF2-40B4-BE49-F238E27FC236}">
                  <a16:creationId xmlns:a16="http://schemas.microsoft.com/office/drawing/2014/main" id="{213EF49B-A456-4599-A6DE-A98DEE074CDA}"/>
                </a:ext>
              </a:extLst>
            </p:cNvPr>
            <p:cNvSpPr/>
            <p:nvPr/>
          </p:nvSpPr>
          <p:spPr>
            <a:xfrm>
              <a:off x="2407256" y="1330124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9" y="29051"/>
                    <a:pt x="285750" y="46673"/>
                    <a:pt x="317659" y="78581"/>
                  </a:cubicBezTo>
                  <a:cubicBezTo>
                    <a:pt x="349568" y="110490"/>
                    <a:pt x="367189" y="152972"/>
                    <a:pt x="367189" y="198120"/>
                  </a:cubicBezTo>
                  <a:cubicBezTo>
                    <a:pt x="367189" y="243269"/>
                    <a:pt x="349568" y="285750"/>
                    <a:pt x="317659" y="317659"/>
                  </a:cubicBezTo>
                  <a:cubicBezTo>
                    <a:pt x="285750" y="349568"/>
                    <a:pt x="243269" y="367189"/>
                    <a:pt x="198120" y="367189"/>
                  </a:cubicBezTo>
                  <a:cubicBezTo>
                    <a:pt x="152972" y="367189"/>
                    <a:pt x="110490" y="349568"/>
                    <a:pt x="78581" y="317659"/>
                  </a:cubicBezTo>
                  <a:cubicBezTo>
                    <a:pt x="46673" y="285750"/>
                    <a:pt x="29051" y="243269"/>
                    <a:pt x="29051" y="198120"/>
                  </a:cubicBezTo>
                  <a:cubicBezTo>
                    <a:pt x="29051" y="152972"/>
                    <a:pt x="46673" y="110490"/>
                    <a:pt x="78581" y="78581"/>
                  </a:cubicBezTo>
                  <a:cubicBezTo>
                    <a:pt x="110490" y="46673"/>
                    <a:pt x="152972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08" name="Freeform: Shape 4907">
              <a:extLst>
                <a:ext uri="{FF2B5EF4-FFF2-40B4-BE49-F238E27FC236}">
                  <a16:creationId xmlns:a16="http://schemas.microsoft.com/office/drawing/2014/main" id="{4ACF1973-2717-44F6-A953-75D204D201CD}"/>
                </a:ext>
              </a:extLst>
            </p:cNvPr>
            <p:cNvSpPr/>
            <p:nvPr/>
          </p:nvSpPr>
          <p:spPr>
            <a:xfrm>
              <a:off x="2407256" y="133012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909" name="Group 4908">
            <a:extLst>
              <a:ext uri="{FF2B5EF4-FFF2-40B4-BE49-F238E27FC236}">
                <a16:creationId xmlns:a16="http://schemas.microsoft.com/office/drawing/2014/main" id="{86F9929B-8EF5-45AB-BBAF-15F7BDB29E7A}"/>
              </a:ext>
            </a:extLst>
          </p:cNvPr>
          <p:cNvGrpSpPr>
            <a:grpSpLocks noChangeAspect="1"/>
          </p:cNvGrpSpPr>
          <p:nvPr/>
        </p:nvGrpSpPr>
        <p:grpSpPr>
          <a:xfrm>
            <a:off x="1910656" y="1883553"/>
            <a:ext cx="247923" cy="247923"/>
            <a:chOff x="2407256" y="1330124"/>
            <a:chExt cx="390525" cy="390525"/>
          </a:xfrm>
          <a:solidFill>
            <a:schemeClr val="accent3"/>
          </a:solidFill>
        </p:grpSpPr>
        <p:sp>
          <p:nvSpPr>
            <p:cNvPr id="4910" name="Freeform: Shape 4909">
              <a:extLst>
                <a:ext uri="{FF2B5EF4-FFF2-40B4-BE49-F238E27FC236}">
                  <a16:creationId xmlns:a16="http://schemas.microsoft.com/office/drawing/2014/main" id="{AA8CC24B-E36D-4FA8-98EF-488B07C8FA94}"/>
                </a:ext>
              </a:extLst>
            </p:cNvPr>
            <p:cNvSpPr/>
            <p:nvPr/>
          </p:nvSpPr>
          <p:spPr>
            <a:xfrm>
              <a:off x="2502792" y="1612731"/>
              <a:ext cx="200025" cy="38100"/>
            </a:xfrm>
            <a:custGeom>
              <a:avLst/>
              <a:gdLst>
                <a:gd name="connsiteX0" fmla="*/ 186119 w 200025"/>
                <a:gd name="connsiteY0" fmla="*/ 12002 h 38100"/>
                <a:gd name="connsiteX1" fmla="*/ 183356 w 200025"/>
                <a:gd name="connsiteY1" fmla="*/ 13335 h 38100"/>
                <a:gd name="connsiteX2" fmla="*/ 166497 w 200025"/>
                <a:gd name="connsiteY2" fmla="*/ 17907 h 38100"/>
                <a:gd name="connsiteX3" fmla="*/ 148971 w 200025"/>
                <a:gd name="connsiteY3" fmla="*/ 12478 h 38100"/>
                <a:gd name="connsiteX4" fmla="*/ 148495 w 200025"/>
                <a:gd name="connsiteY4" fmla="*/ 12192 h 38100"/>
                <a:gd name="connsiteX5" fmla="*/ 134969 w 200025"/>
                <a:gd name="connsiteY5" fmla="*/ 8096 h 38100"/>
                <a:gd name="connsiteX6" fmla="*/ 121444 w 200025"/>
                <a:gd name="connsiteY6" fmla="*/ 12192 h 38100"/>
                <a:gd name="connsiteX7" fmla="*/ 120968 w 200025"/>
                <a:gd name="connsiteY7" fmla="*/ 12478 h 38100"/>
                <a:gd name="connsiteX8" fmla="*/ 103537 w 200025"/>
                <a:gd name="connsiteY8" fmla="*/ 17812 h 38100"/>
                <a:gd name="connsiteX9" fmla="*/ 86011 w 200025"/>
                <a:gd name="connsiteY9" fmla="*/ 12382 h 38100"/>
                <a:gd name="connsiteX10" fmla="*/ 85535 w 200025"/>
                <a:gd name="connsiteY10" fmla="*/ 12097 h 38100"/>
                <a:gd name="connsiteX11" fmla="*/ 72009 w 200025"/>
                <a:gd name="connsiteY11" fmla="*/ 8001 h 38100"/>
                <a:gd name="connsiteX12" fmla="*/ 57531 w 200025"/>
                <a:gd name="connsiteY12" fmla="*/ 11906 h 38100"/>
                <a:gd name="connsiteX13" fmla="*/ 40100 w 200025"/>
                <a:gd name="connsiteY13" fmla="*/ 17240 h 38100"/>
                <a:gd name="connsiteX14" fmla="*/ 22574 w 200025"/>
                <a:gd name="connsiteY14" fmla="*/ 11811 h 38100"/>
                <a:gd name="connsiteX15" fmla="*/ 22098 w 200025"/>
                <a:gd name="connsiteY15" fmla="*/ 11525 h 38100"/>
                <a:gd name="connsiteX16" fmla="*/ 8763 w 200025"/>
                <a:gd name="connsiteY16" fmla="*/ 7430 h 38100"/>
                <a:gd name="connsiteX17" fmla="*/ 7144 w 200025"/>
                <a:gd name="connsiteY17" fmla="*/ 7430 h 38100"/>
                <a:gd name="connsiteX18" fmla="*/ 7144 w 200025"/>
                <a:gd name="connsiteY18" fmla="*/ 27527 h 38100"/>
                <a:gd name="connsiteX19" fmla="*/ 8763 w 200025"/>
                <a:gd name="connsiteY19" fmla="*/ 27527 h 38100"/>
                <a:gd name="connsiteX20" fmla="*/ 18383 w 200025"/>
                <a:gd name="connsiteY20" fmla="*/ 30956 h 38100"/>
                <a:gd name="connsiteX21" fmla="*/ 19717 w 200025"/>
                <a:gd name="connsiteY21" fmla="*/ 31718 h 38100"/>
                <a:gd name="connsiteX22" fmla="*/ 40005 w 200025"/>
                <a:gd name="connsiteY22" fmla="*/ 37719 h 38100"/>
                <a:gd name="connsiteX23" fmla="*/ 61627 w 200025"/>
                <a:gd name="connsiteY23" fmla="*/ 30956 h 38100"/>
                <a:gd name="connsiteX24" fmla="*/ 62103 w 200025"/>
                <a:gd name="connsiteY24" fmla="*/ 30670 h 38100"/>
                <a:gd name="connsiteX25" fmla="*/ 72009 w 200025"/>
                <a:gd name="connsiteY25" fmla="*/ 27527 h 38100"/>
                <a:gd name="connsiteX26" fmla="*/ 82391 w 200025"/>
                <a:gd name="connsiteY26" fmla="*/ 30956 h 38100"/>
                <a:gd name="connsiteX27" fmla="*/ 83630 w 200025"/>
                <a:gd name="connsiteY27" fmla="*/ 31623 h 38100"/>
                <a:gd name="connsiteX28" fmla="*/ 103918 w 200025"/>
                <a:gd name="connsiteY28" fmla="*/ 37624 h 38100"/>
                <a:gd name="connsiteX29" fmla="*/ 125539 w 200025"/>
                <a:gd name="connsiteY29" fmla="*/ 30861 h 38100"/>
                <a:gd name="connsiteX30" fmla="*/ 126016 w 200025"/>
                <a:gd name="connsiteY30" fmla="*/ 30575 h 38100"/>
                <a:gd name="connsiteX31" fmla="*/ 135922 w 200025"/>
                <a:gd name="connsiteY31" fmla="*/ 27432 h 38100"/>
                <a:gd name="connsiteX32" fmla="*/ 146304 w 200025"/>
                <a:gd name="connsiteY32" fmla="*/ 30861 h 38100"/>
                <a:gd name="connsiteX33" fmla="*/ 147542 w 200025"/>
                <a:gd name="connsiteY33" fmla="*/ 31528 h 38100"/>
                <a:gd name="connsiteX34" fmla="*/ 167831 w 200025"/>
                <a:gd name="connsiteY34" fmla="*/ 37529 h 38100"/>
                <a:gd name="connsiteX35" fmla="*/ 189452 w 200025"/>
                <a:gd name="connsiteY35" fmla="*/ 30766 h 38100"/>
                <a:gd name="connsiteX36" fmla="*/ 196501 w 200025"/>
                <a:gd name="connsiteY36" fmla="*/ 27527 h 38100"/>
                <a:gd name="connsiteX37" fmla="*/ 197930 w 200025"/>
                <a:gd name="connsiteY37" fmla="*/ 27337 h 38100"/>
                <a:gd name="connsiteX38" fmla="*/ 197930 w 200025"/>
                <a:gd name="connsiteY38" fmla="*/ 7144 h 38100"/>
                <a:gd name="connsiteX39" fmla="*/ 196025 w 200025"/>
                <a:gd name="connsiteY39" fmla="*/ 7430 h 38100"/>
                <a:gd name="connsiteX40" fmla="*/ 186119 w 200025"/>
                <a:gd name="connsiteY40" fmla="*/ 1200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00025" h="38100">
                  <a:moveTo>
                    <a:pt x="186119" y="12002"/>
                  </a:moveTo>
                  <a:cubicBezTo>
                    <a:pt x="185166" y="12382"/>
                    <a:pt x="184309" y="12859"/>
                    <a:pt x="183356" y="13335"/>
                  </a:cubicBezTo>
                  <a:cubicBezTo>
                    <a:pt x="178784" y="15621"/>
                    <a:pt x="174117" y="17907"/>
                    <a:pt x="166497" y="17907"/>
                  </a:cubicBezTo>
                  <a:cubicBezTo>
                    <a:pt x="157448" y="17907"/>
                    <a:pt x="152972" y="15049"/>
                    <a:pt x="148971" y="12478"/>
                  </a:cubicBezTo>
                  <a:lnTo>
                    <a:pt x="148495" y="12192"/>
                  </a:lnTo>
                  <a:cubicBezTo>
                    <a:pt x="144971" y="10096"/>
                    <a:pt x="141637" y="8096"/>
                    <a:pt x="134969" y="8096"/>
                  </a:cubicBezTo>
                  <a:cubicBezTo>
                    <a:pt x="128302" y="8096"/>
                    <a:pt x="124968" y="10096"/>
                    <a:pt x="121444" y="12192"/>
                  </a:cubicBezTo>
                  <a:lnTo>
                    <a:pt x="120968" y="12478"/>
                  </a:lnTo>
                  <a:cubicBezTo>
                    <a:pt x="117158" y="14859"/>
                    <a:pt x="112490" y="17812"/>
                    <a:pt x="103537" y="17812"/>
                  </a:cubicBezTo>
                  <a:cubicBezTo>
                    <a:pt x="94583" y="17812"/>
                    <a:pt x="89821" y="14859"/>
                    <a:pt x="86011" y="12382"/>
                  </a:cubicBezTo>
                  <a:lnTo>
                    <a:pt x="85535" y="12097"/>
                  </a:lnTo>
                  <a:cubicBezTo>
                    <a:pt x="82010" y="10001"/>
                    <a:pt x="78677" y="8001"/>
                    <a:pt x="72009" y="8001"/>
                  </a:cubicBezTo>
                  <a:cubicBezTo>
                    <a:pt x="65151" y="8001"/>
                    <a:pt x="61532" y="9716"/>
                    <a:pt x="57531" y="11906"/>
                  </a:cubicBezTo>
                  <a:cubicBezTo>
                    <a:pt x="53721" y="14288"/>
                    <a:pt x="49054" y="17240"/>
                    <a:pt x="40100" y="17240"/>
                  </a:cubicBezTo>
                  <a:cubicBezTo>
                    <a:pt x="31147" y="17240"/>
                    <a:pt x="26384" y="14288"/>
                    <a:pt x="22574" y="11811"/>
                  </a:cubicBezTo>
                  <a:lnTo>
                    <a:pt x="22098" y="11525"/>
                  </a:lnTo>
                  <a:cubicBezTo>
                    <a:pt x="18574" y="9430"/>
                    <a:pt x="15240" y="7430"/>
                    <a:pt x="8763" y="7430"/>
                  </a:cubicBezTo>
                  <a:lnTo>
                    <a:pt x="7144" y="7430"/>
                  </a:lnTo>
                  <a:lnTo>
                    <a:pt x="7144" y="27527"/>
                  </a:lnTo>
                  <a:lnTo>
                    <a:pt x="8763" y="27527"/>
                  </a:lnTo>
                  <a:cubicBezTo>
                    <a:pt x="13049" y="27527"/>
                    <a:pt x="15240" y="28766"/>
                    <a:pt x="18383" y="30956"/>
                  </a:cubicBezTo>
                  <a:lnTo>
                    <a:pt x="19717" y="31718"/>
                  </a:lnTo>
                  <a:cubicBezTo>
                    <a:pt x="24003" y="34290"/>
                    <a:pt x="29909" y="37719"/>
                    <a:pt x="40005" y="37719"/>
                  </a:cubicBezTo>
                  <a:cubicBezTo>
                    <a:pt x="50578" y="37719"/>
                    <a:pt x="56483" y="34385"/>
                    <a:pt x="61627" y="30956"/>
                  </a:cubicBezTo>
                  <a:lnTo>
                    <a:pt x="62103" y="30670"/>
                  </a:lnTo>
                  <a:cubicBezTo>
                    <a:pt x="65246" y="28670"/>
                    <a:pt x="67151" y="27527"/>
                    <a:pt x="72009" y="27527"/>
                  </a:cubicBezTo>
                  <a:cubicBezTo>
                    <a:pt x="76867" y="27527"/>
                    <a:pt x="79343" y="28956"/>
                    <a:pt x="82391" y="30956"/>
                  </a:cubicBezTo>
                  <a:lnTo>
                    <a:pt x="83630" y="31623"/>
                  </a:lnTo>
                  <a:cubicBezTo>
                    <a:pt x="87916" y="34195"/>
                    <a:pt x="93821" y="37624"/>
                    <a:pt x="103918" y="37624"/>
                  </a:cubicBezTo>
                  <a:cubicBezTo>
                    <a:pt x="114490" y="37624"/>
                    <a:pt x="120396" y="34290"/>
                    <a:pt x="125539" y="30861"/>
                  </a:cubicBezTo>
                  <a:lnTo>
                    <a:pt x="126016" y="30575"/>
                  </a:lnTo>
                  <a:cubicBezTo>
                    <a:pt x="129159" y="28575"/>
                    <a:pt x="131064" y="27432"/>
                    <a:pt x="135922" y="27432"/>
                  </a:cubicBezTo>
                  <a:cubicBezTo>
                    <a:pt x="140780" y="27432"/>
                    <a:pt x="143256" y="28861"/>
                    <a:pt x="146304" y="30861"/>
                  </a:cubicBezTo>
                  <a:lnTo>
                    <a:pt x="147542" y="31528"/>
                  </a:lnTo>
                  <a:cubicBezTo>
                    <a:pt x="151829" y="34100"/>
                    <a:pt x="157734" y="37529"/>
                    <a:pt x="167831" y="37529"/>
                  </a:cubicBezTo>
                  <a:cubicBezTo>
                    <a:pt x="178403" y="37529"/>
                    <a:pt x="184309" y="34195"/>
                    <a:pt x="189452" y="30766"/>
                  </a:cubicBezTo>
                  <a:cubicBezTo>
                    <a:pt x="192024" y="29051"/>
                    <a:pt x="193643" y="28004"/>
                    <a:pt x="196501" y="27527"/>
                  </a:cubicBezTo>
                  <a:lnTo>
                    <a:pt x="197930" y="27337"/>
                  </a:lnTo>
                  <a:lnTo>
                    <a:pt x="197930" y="7144"/>
                  </a:lnTo>
                  <a:lnTo>
                    <a:pt x="196025" y="7430"/>
                  </a:lnTo>
                  <a:cubicBezTo>
                    <a:pt x="191834" y="8668"/>
                    <a:pt x="189071" y="10192"/>
                    <a:pt x="186119" y="120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11" name="Freeform: Shape 4910">
              <a:extLst>
                <a:ext uri="{FF2B5EF4-FFF2-40B4-BE49-F238E27FC236}">
                  <a16:creationId xmlns:a16="http://schemas.microsoft.com/office/drawing/2014/main" id="{40D7A606-4494-4D20-98A3-A10F5F143618}"/>
                </a:ext>
              </a:extLst>
            </p:cNvPr>
            <p:cNvSpPr/>
            <p:nvPr/>
          </p:nvSpPr>
          <p:spPr>
            <a:xfrm>
              <a:off x="2585374" y="1465379"/>
              <a:ext cx="38100" cy="38100"/>
            </a:xfrm>
            <a:custGeom>
              <a:avLst/>
              <a:gdLst>
                <a:gd name="connsiteX0" fmla="*/ 32861 w 38100"/>
                <a:gd name="connsiteY0" fmla="*/ 20003 h 38100"/>
                <a:gd name="connsiteX1" fmla="*/ 20002 w 38100"/>
                <a:gd name="connsiteY1" fmla="*/ 32861 h 38100"/>
                <a:gd name="connsiteX2" fmla="*/ 7144 w 38100"/>
                <a:gd name="connsiteY2" fmla="*/ 20002 h 38100"/>
                <a:gd name="connsiteX3" fmla="*/ 20002 w 38100"/>
                <a:gd name="connsiteY3" fmla="*/ 7144 h 38100"/>
                <a:gd name="connsiteX4" fmla="*/ 32861 w 38100"/>
                <a:gd name="connsiteY4" fmla="*/ 2000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2861" y="20003"/>
                  </a:moveTo>
                  <a:cubicBezTo>
                    <a:pt x="32861" y="27104"/>
                    <a:pt x="27104" y="32861"/>
                    <a:pt x="20002" y="32861"/>
                  </a:cubicBezTo>
                  <a:cubicBezTo>
                    <a:pt x="12901" y="32861"/>
                    <a:pt x="7144" y="27104"/>
                    <a:pt x="7144" y="20002"/>
                  </a:cubicBezTo>
                  <a:cubicBezTo>
                    <a:pt x="7144" y="12901"/>
                    <a:pt x="12901" y="7144"/>
                    <a:pt x="20002" y="7144"/>
                  </a:cubicBezTo>
                  <a:cubicBezTo>
                    <a:pt x="27104" y="7144"/>
                    <a:pt x="32861" y="12901"/>
                    <a:pt x="32861" y="200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12" name="Freeform: Shape 4911">
              <a:extLst>
                <a:ext uri="{FF2B5EF4-FFF2-40B4-BE49-F238E27FC236}">
                  <a16:creationId xmlns:a16="http://schemas.microsoft.com/office/drawing/2014/main" id="{832AF6B5-DD50-4D3A-B608-636692309791}"/>
                </a:ext>
              </a:extLst>
            </p:cNvPr>
            <p:cNvSpPr/>
            <p:nvPr/>
          </p:nvSpPr>
          <p:spPr>
            <a:xfrm>
              <a:off x="2564990" y="1370894"/>
              <a:ext cx="47625" cy="95250"/>
            </a:xfrm>
            <a:custGeom>
              <a:avLst/>
              <a:gdLst>
                <a:gd name="connsiteX0" fmla="*/ 7144 w 47625"/>
                <a:gd name="connsiteY0" fmla="*/ 7618 h 95250"/>
                <a:gd name="connsiteX1" fmla="*/ 19622 w 47625"/>
                <a:gd name="connsiteY1" fmla="*/ 71626 h 95250"/>
                <a:gd name="connsiteX2" fmla="*/ 48959 w 47625"/>
                <a:gd name="connsiteY2" fmla="*/ 91438 h 95250"/>
                <a:gd name="connsiteX3" fmla="*/ 48959 w 47625"/>
                <a:gd name="connsiteY3" fmla="*/ 91438 h 95250"/>
                <a:gd name="connsiteX4" fmla="*/ 36481 w 47625"/>
                <a:gd name="connsiteY4" fmla="*/ 27430 h 95250"/>
                <a:gd name="connsiteX5" fmla="*/ 7144 w 47625"/>
                <a:gd name="connsiteY5" fmla="*/ 7618 h 95250"/>
                <a:gd name="connsiteX6" fmla="*/ 7144 w 47625"/>
                <a:gd name="connsiteY6" fmla="*/ 761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25" h="95250">
                  <a:moveTo>
                    <a:pt x="7144" y="7618"/>
                  </a:moveTo>
                  <a:lnTo>
                    <a:pt x="19622" y="71626"/>
                  </a:lnTo>
                  <a:cubicBezTo>
                    <a:pt x="22289" y="85246"/>
                    <a:pt x="35433" y="94105"/>
                    <a:pt x="48959" y="91438"/>
                  </a:cubicBezTo>
                  <a:lnTo>
                    <a:pt x="48959" y="91438"/>
                  </a:lnTo>
                  <a:lnTo>
                    <a:pt x="36481" y="27430"/>
                  </a:lnTo>
                  <a:cubicBezTo>
                    <a:pt x="33909" y="13809"/>
                    <a:pt x="20765" y="4951"/>
                    <a:pt x="7144" y="7618"/>
                  </a:cubicBezTo>
                  <a:lnTo>
                    <a:pt x="7144" y="761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13" name="Freeform: Shape 4912">
              <a:extLst>
                <a:ext uri="{FF2B5EF4-FFF2-40B4-BE49-F238E27FC236}">
                  <a16:creationId xmlns:a16="http://schemas.microsoft.com/office/drawing/2014/main" id="{0B0E7307-216C-4248-86F1-A1DBCECE9808}"/>
                </a:ext>
              </a:extLst>
            </p:cNvPr>
            <p:cNvSpPr/>
            <p:nvPr/>
          </p:nvSpPr>
          <p:spPr>
            <a:xfrm>
              <a:off x="2516380" y="1482429"/>
              <a:ext cx="76200" cy="85725"/>
            </a:xfrm>
            <a:custGeom>
              <a:avLst/>
              <a:gdLst>
                <a:gd name="connsiteX0" fmla="*/ 13367 w 76200"/>
                <a:gd name="connsiteY0" fmla="*/ 85439 h 85725"/>
                <a:gd name="connsiteX1" fmla="*/ 62421 w 76200"/>
                <a:gd name="connsiteY1" fmla="*/ 42482 h 85725"/>
                <a:gd name="connsiteX2" fmla="*/ 64802 w 76200"/>
                <a:gd name="connsiteY2" fmla="*/ 7144 h 85725"/>
                <a:gd name="connsiteX3" fmla="*/ 64802 w 76200"/>
                <a:gd name="connsiteY3" fmla="*/ 7144 h 85725"/>
                <a:gd name="connsiteX4" fmla="*/ 15749 w 76200"/>
                <a:gd name="connsiteY4" fmla="*/ 50102 h 85725"/>
                <a:gd name="connsiteX5" fmla="*/ 13367 w 76200"/>
                <a:gd name="connsiteY5" fmla="*/ 85439 h 85725"/>
                <a:gd name="connsiteX6" fmla="*/ 13367 w 76200"/>
                <a:gd name="connsiteY6" fmla="*/ 85439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85725">
                  <a:moveTo>
                    <a:pt x="13367" y="85439"/>
                  </a:moveTo>
                  <a:lnTo>
                    <a:pt x="62421" y="42482"/>
                  </a:lnTo>
                  <a:cubicBezTo>
                    <a:pt x="72803" y="33338"/>
                    <a:pt x="73851" y="17526"/>
                    <a:pt x="64802" y="7144"/>
                  </a:cubicBezTo>
                  <a:lnTo>
                    <a:pt x="64802" y="7144"/>
                  </a:lnTo>
                  <a:lnTo>
                    <a:pt x="15749" y="50102"/>
                  </a:lnTo>
                  <a:cubicBezTo>
                    <a:pt x="5271" y="59150"/>
                    <a:pt x="4223" y="74962"/>
                    <a:pt x="13367" y="85439"/>
                  </a:cubicBezTo>
                  <a:lnTo>
                    <a:pt x="13367" y="854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14" name="Freeform: Shape 4913">
              <a:extLst>
                <a:ext uri="{FF2B5EF4-FFF2-40B4-BE49-F238E27FC236}">
                  <a16:creationId xmlns:a16="http://schemas.microsoft.com/office/drawing/2014/main" id="{3ABDF2BA-7C86-4C1D-9F86-6394909A9D26}"/>
                </a:ext>
              </a:extLst>
            </p:cNvPr>
            <p:cNvSpPr/>
            <p:nvPr/>
          </p:nvSpPr>
          <p:spPr>
            <a:xfrm>
              <a:off x="2614044" y="1479985"/>
              <a:ext cx="104775" cy="47625"/>
            </a:xfrm>
            <a:custGeom>
              <a:avLst/>
              <a:gdLst>
                <a:gd name="connsiteX0" fmla="*/ 100679 w 104775"/>
                <a:gd name="connsiteY0" fmla="*/ 29209 h 47625"/>
                <a:gd name="connsiteX1" fmla="*/ 38862 w 104775"/>
                <a:gd name="connsiteY1" fmla="*/ 8445 h 47625"/>
                <a:gd name="connsiteX2" fmla="*/ 7144 w 104775"/>
                <a:gd name="connsiteY2" fmla="*/ 24161 h 47625"/>
                <a:gd name="connsiteX3" fmla="*/ 7144 w 104775"/>
                <a:gd name="connsiteY3" fmla="*/ 24161 h 47625"/>
                <a:gd name="connsiteX4" fmla="*/ 68961 w 104775"/>
                <a:gd name="connsiteY4" fmla="*/ 44925 h 47625"/>
                <a:gd name="connsiteX5" fmla="*/ 100679 w 104775"/>
                <a:gd name="connsiteY5" fmla="*/ 29209 h 47625"/>
                <a:gd name="connsiteX6" fmla="*/ 100679 w 104775"/>
                <a:gd name="connsiteY6" fmla="*/ 2920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5" h="47625">
                  <a:moveTo>
                    <a:pt x="100679" y="29209"/>
                  </a:moveTo>
                  <a:lnTo>
                    <a:pt x="38862" y="8445"/>
                  </a:lnTo>
                  <a:cubicBezTo>
                    <a:pt x="25718" y="4063"/>
                    <a:pt x="11525" y="11112"/>
                    <a:pt x="7144" y="24161"/>
                  </a:cubicBezTo>
                  <a:lnTo>
                    <a:pt x="7144" y="24161"/>
                  </a:lnTo>
                  <a:lnTo>
                    <a:pt x="68961" y="44925"/>
                  </a:lnTo>
                  <a:cubicBezTo>
                    <a:pt x="82010" y="49402"/>
                    <a:pt x="96203" y="42354"/>
                    <a:pt x="100679" y="29209"/>
                  </a:cubicBezTo>
                  <a:lnTo>
                    <a:pt x="100679" y="2920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15" name="Freeform: Shape 4914">
              <a:extLst>
                <a:ext uri="{FF2B5EF4-FFF2-40B4-BE49-F238E27FC236}">
                  <a16:creationId xmlns:a16="http://schemas.microsoft.com/office/drawing/2014/main" id="{EDE35A0A-BB87-4E27-9C43-766B62AE94F2}"/>
                </a:ext>
              </a:extLst>
            </p:cNvPr>
            <p:cNvSpPr/>
            <p:nvPr/>
          </p:nvSpPr>
          <p:spPr>
            <a:xfrm>
              <a:off x="2581754" y="1504098"/>
              <a:ext cx="38100" cy="114300"/>
            </a:xfrm>
            <a:custGeom>
              <a:avLst/>
              <a:gdLst>
                <a:gd name="connsiteX0" fmla="*/ 23622 w 38100"/>
                <a:gd name="connsiteY0" fmla="*/ 110347 h 114300"/>
                <a:gd name="connsiteX1" fmla="*/ 40005 w 38100"/>
                <a:gd name="connsiteY1" fmla="*/ 103870 h 114300"/>
                <a:gd name="connsiteX2" fmla="*/ 34290 w 38100"/>
                <a:gd name="connsiteY2" fmla="*/ 17002 h 114300"/>
                <a:gd name="connsiteX3" fmla="*/ 12859 w 38100"/>
                <a:gd name="connsiteY3" fmla="*/ 17002 h 114300"/>
                <a:gd name="connsiteX4" fmla="*/ 7144 w 38100"/>
                <a:gd name="connsiteY4" fmla="*/ 103108 h 114300"/>
                <a:gd name="connsiteX5" fmla="*/ 23622 w 38100"/>
                <a:gd name="connsiteY5" fmla="*/ 11034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" h="114300">
                  <a:moveTo>
                    <a:pt x="23622" y="110347"/>
                  </a:moveTo>
                  <a:cubicBezTo>
                    <a:pt x="29146" y="110347"/>
                    <a:pt x="34862" y="108061"/>
                    <a:pt x="40005" y="103870"/>
                  </a:cubicBezTo>
                  <a:cubicBezTo>
                    <a:pt x="38767" y="70247"/>
                    <a:pt x="36481" y="25860"/>
                    <a:pt x="34290" y="17002"/>
                  </a:cubicBezTo>
                  <a:cubicBezTo>
                    <a:pt x="30956" y="3858"/>
                    <a:pt x="16193" y="3858"/>
                    <a:pt x="12859" y="17002"/>
                  </a:cubicBezTo>
                  <a:cubicBezTo>
                    <a:pt x="10668" y="25765"/>
                    <a:pt x="8382" y="69580"/>
                    <a:pt x="7144" y="103108"/>
                  </a:cubicBezTo>
                  <a:cubicBezTo>
                    <a:pt x="12192" y="107394"/>
                    <a:pt x="17812" y="110347"/>
                    <a:pt x="23622" y="1103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16" name="Freeform: Shape 4915">
              <a:extLst>
                <a:ext uri="{FF2B5EF4-FFF2-40B4-BE49-F238E27FC236}">
                  <a16:creationId xmlns:a16="http://schemas.microsoft.com/office/drawing/2014/main" id="{60A17847-5109-4BAF-B885-153667780420}"/>
                </a:ext>
              </a:extLst>
            </p:cNvPr>
            <p:cNvSpPr/>
            <p:nvPr/>
          </p:nvSpPr>
          <p:spPr>
            <a:xfrm>
              <a:off x="2407256" y="1330124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9" y="29051"/>
                    <a:pt x="285750" y="46673"/>
                    <a:pt x="317659" y="78581"/>
                  </a:cubicBezTo>
                  <a:cubicBezTo>
                    <a:pt x="349568" y="110490"/>
                    <a:pt x="367189" y="152972"/>
                    <a:pt x="367189" y="198120"/>
                  </a:cubicBezTo>
                  <a:cubicBezTo>
                    <a:pt x="367189" y="243269"/>
                    <a:pt x="349568" y="285750"/>
                    <a:pt x="317659" y="317659"/>
                  </a:cubicBezTo>
                  <a:cubicBezTo>
                    <a:pt x="285750" y="349568"/>
                    <a:pt x="243269" y="367189"/>
                    <a:pt x="198120" y="367189"/>
                  </a:cubicBezTo>
                  <a:cubicBezTo>
                    <a:pt x="152972" y="367189"/>
                    <a:pt x="110490" y="349568"/>
                    <a:pt x="78581" y="317659"/>
                  </a:cubicBezTo>
                  <a:cubicBezTo>
                    <a:pt x="46673" y="285750"/>
                    <a:pt x="29051" y="243269"/>
                    <a:pt x="29051" y="198120"/>
                  </a:cubicBezTo>
                  <a:cubicBezTo>
                    <a:pt x="29051" y="152972"/>
                    <a:pt x="46673" y="110490"/>
                    <a:pt x="78581" y="78581"/>
                  </a:cubicBezTo>
                  <a:cubicBezTo>
                    <a:pt x="110490" y="46673"/>
                    <a:pt x="152972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17" name="Freeform: Shape 4916">
              <a:extLst>
                <a:ext uri="{FF2B5EF4-FFF2-40B4-BE49-F238E27FC236}">
                  <a16:creationId xmlns:a16="http://schemas.microsoft.com/office/drawing/2014/main" id="{20E1F5CF-7830-4578-ADF6-F796397D976D}"/>
                </a:ext>
              </a:extLst>
            </p:cNvPr>
            <p:cNvSpPr/>
            <p:nvPr/>
          </p:nvSpPr>
          <p:spPr>
            <a:xfrm>
              <a:off x="2407256" y="133012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707" name="Text Placeholder 9">
            <a:extLst>
              <a:ext uri="{FF2B5EF4-FFF2-40B4-BE49-F238E27FC236}">
                <a16:creationId xmlns:a16="http://schemas.microsoft.com/office/drawing/2014/main" id="{C7E51683-0589-4510-977E-073128AA87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48441" y="4561200"/>
            <a:ext cx="4147582" cy="367409"/>
          </a:xfrm>
        </p:spPr>
        <p:txBody>
          <a:bodyPr/>
          <a:lstStyle/>
          <a:p>
            <a:r>
              <a:rPr lang="pl-PL" b="1" dirty="0">
                <a:hlinkClick r:id="rId26"/>
              </a:rPr>
              <a:t>* </a:t>
            </a:r>
            <a:r>
              <a:rPr lang="pl-PL" dirty="0">
                <a:hlinkClick r:id="rId26"/>
              </a:rPr>
              <a:t>źródło: Badania świadomości i zachowań ekologicznych dot.. energii wiatrowej, przeprowadzone w listopadzie 2020 r. dla Ministerstwa Klimatu i Środowiska.  </a:t>
            </a:r>
            <a:endParaRPr lang="da-DK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970626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EB03E47-D277-4660-834B-EA485470CD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9" imgW="338" imgH="338" progId="TCLayout.ActiveDocument.1">
                  <p:embed/>
                </p:oleObj>
              </mc:Choice>
              <mc:Fallback>
                <p:oleObj name="think-cell Slide" r:id="rId9" imgW="338" imgH="33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EB03E47-D277-4660-834B-EA485470CD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EFE6092-6968-4D95-A887-2352D5788313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noProof="0" dirty="0">
              <a:latin typeface="Orsted Sans Office" panose="00000500000000000000" pitchFamily="2" charset="0"/>
              <a:ea typeface="+mj-ea"/>
              <a:cs typeface="+mj-cs"/>
              <a:sym typeface="Orsted Sans Office" panose="00000500000000000000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949920F-D352-49C3-B032-0053BD698F9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286"/>
            <a:ext cx="9148068" cy="51412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458C07A-B3A1-4316-BC58-F23D1C937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7" y="1781433"/>
            <a:ext cx="8280000" cy="576000"/>
          </a:xfrm>
        </p:spPr>
        <p:txBody>
          <a:bodyPr/>
          <a:lstStyle/>
          <a:p>
            <a:r>
              <a:rPr lang="pl-PL" sz="3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Ørsted w Polsce</a:t>
            </a:r>
            <a:endParaRPr lang="en-GB" sz="3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00DDDF-81D2-4972-B02A-788074FBC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2000" y="4560091"/>
            <a:ext cx="280464" cy="3674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622048" rtl="0" eaLnBrk="1" latinLnBrk="0" hangingPunct="1">
              <a:lnSpc>
                <a:spcPct val="95000"/>
              </a:lnSpc>
              <a:defRPr sz="7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311024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048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307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44097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5121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66145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7169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8819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22048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lang="en-GB" smtClean="0"/>
              <a:pPr marL="0" marR="0" lvl="0" indent="0" algn="l" defTabSz="622048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99A4AE"/>
              </a:solidFill>
              <a:effectLst/>
              <a:uLnTx/>
              <a:uFillTx/>
              <a:latin typeface="Orsted Sans Office" panose="00000500000000000000" pitchFamily="2" charset="0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CB964EE-0A2A-40D9-8517-C5C09736BBCD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52400" y="4712580"/>
            <a:ext cx="756000" cy="206898"/>
          </a:xfrm>
          <a:prstGeom prst="rect">
            <a:avLst/>
          </a:prstGeom>
        </p:spPr>
      </p:pic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39E4346-4307-4D9E-BAFA-39DEC82AB42D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" y="2001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13" imgW="592" imgH="595" progId="TCLayout.ActiveDocument.1">
                  <p:embed/>
                </p:oleObj>
              </mc:Choice>
              <mc:Fallback>
                <p:oleObj name="think-cell Slide" r:id="rId13" imgW="592" imgH="59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39E4346-4307-4D9E-BAFA-39DEC82AB4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" y="2001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A72539C4-3238-47F8-B7E3-BE88F02E0C21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2559" y="3525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Slide" r:id="rId15" imgW="592" imgH="595" progId="TCLayout.ActiveDocument.1">
                  <p:embed/>
                </p:oleObj>
              </mc:Choice>
              <mc:Fallback>
                <p:oleObj name="think-cell Slide" r:id="rId15" imgW="592" imgH="595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A72539C4-3238-47F8-B7E3-BE88F02E0C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2559" y="3525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3C3AEF48-9333-42F2-A1B5-5B9489D8D8DF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89917332"/>
              </p:ext>
            </p:extLst>
          </p:nvPr>
        </p:nvGraphicFramePr>
        <p:xfrm>
          <a:off x="304959" y="5049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think-cell Slide" r:id="rId16" imgW="592" imgH="595" progId="TCLayout.ActiveDocument.1">
                  <p:embed/>
                </p:oleObj>
              </mc:Choice>
              <mc:Fallback>
                <p:oleObj name="think-cell Slide" r:id="rId16" imgW="592" imgH="595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3C3AEF48-9333-42F2-A1B5-5B9489D8D8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04959" y="5049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0501DCCE-1664-4477-A291-547064B359D8}"/>
              </a:ext>
            </a:extLst>
          </p:cNvPr>
          <p:cNvGrpSpPr>
            <a:grpSpLocks noChangeAspect="1"/>
          </p:cNvGrpSpPr>
          <p:nvPr/>
        </p:nvGrpSpPr>
        <p:grpSpPr>
          <a:xfrm>
            <a:off x="261937" y="216000"/>
            <a:ext cx="741363" cy="741363"/>
            <a:chOff x="2307686" y="3448047"/>
            <a:chExt cx="390525" cy="390525"/>
          </a:xfrm>
          <a:solidFill>
            <a:schemeClr val="bg1"/>
          </a:solidFill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8B09CA5-E6C9-4465-8C40-F3A4461D3741}"/>
                </a:ext>
              </a:extLst>
            </p:cNvPr>
            <p:cNvSpPr/>
            <p:nvPr/>
          </p:nvSpPr>
          <p:spPr>
            <a:xfrm>
              <a:off x="2440941" y="3562633"/>
              <a:ext cx="123825" cy="161925"/>
            </a:xfrm>
            <a:custGeom>
              <a:avLst/>
              <a:gdLst>
                <a:gd name="connsiteX0" fmla="*/ 120587 w 123825"/>
                <a:gd name="connsiteY0" fmla="*/ 131636 h 161925"/>
                <a:gd name="connsiteX1" fmla="*/ 113062 w 123825"/>
                <a:gd name="connsiteY1" fmla="*/ 160211 h 161925"/>
                <a:gd name="connsiteX2" fmla="*/ 9620 w 123825"/>
                <a:gd name="connsiteY2" fmla="*/ 160211 h 161925"/>
                <a:gd name="connsiteX3" fmla="*/ 47149 w 123825"/>
                <a:gd name="connsiteY3" fmla="*/ 117443 h 161925"/>
                <a:gd name="connsiteX4" fmla="*/ 85725 w 123825"/>
                <a:gd name="connsiteY4" fmla="*/ 57817 h 161925"/>
                <a:gd name="connsiteX5" fmla="*/ 62579 w 123825"/>
                <a:gd name="connsiteY5" fmla="*/ 35909 h 161925"/>
                <a:gd name="connsiteX6" fmla="*/ 28670 w 123825"/>
                <a:gd name="connsiteY6" fmla="*/ 58674 h 161925"/>
                <a:gd name="connsiteX7" fmla="*/ 7144 w 123825"/>
                <a:gd name="connsiteY7" fmla="*/ 39624 h 161925"/>
                <a:gd name="connsiteX8" fmla="*/ 63722 w 123825"/>
                <a:gd name="connsiteY8" fmla="*/ 7144 h 161925"/>
                <a:gd name="connsiteX9" fmla="*/ 116491 w 123825"/>
                <a:gd name="connsiteY9" fmla="*/ 55436 h 161925"/>
                <a:gd name="connsiteX10" fmla="*/ 85820 w 123825"/>
                <a:gd name="connsiteY10" fmla="*/ 112490 h 161925"/>
                <a:gd name="connsiteX11" fmla="*/ 69818 w 123825"/>
                <a:gd name="connsiteY11" fmla="*/ 131731 h 161925"/>
                <a:gd name="connsiteX12" fmla="*/ 120587 w 123825"/>
                <a:gd name="connsiteY12" fmla="*/ 131731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3825" h="161925">
                  <a:moveTo>
                    <a:pt x="120587" y="131636"/>
                  </a:moveTo>
                  <a:lnTo>
                    <a:pt x="113062" y="160211"/>
                  </a:lnTo>
                  <a:lnTo>
                    <a:pt x="9620" y="160211"/>
                  </a:lnTo>
                  <a:lnTo>
                    <a:pt x="47149" y="117443"/>
                  </a:lnTo>
                  <a:cubicBezTo>
                    <a:pt x="77152" y="83534"/>
                    <a:pt x="85725" y="72390"/>
                    <a:pt x="85725" y="57817"/>
                  </a:cubicBezTo>
                  <a:cubicBezTo>
                    <a:pt x="85725" y="44863"/>
                    <a:pt x="76581" y="35909"/>
                    <a:pt x="62579" y="35909"/>
                  </a:cubicBezTo>
                  <a:cubicBezTo>
                    <a:pt x="48958" y="35909"/>
                    <a:pt x="37814" y="43244"/>
                    <a:pt x="28670" y="58674"/>
                  </a:cubicBezTo>
                  <a:lnTo>
                    <a:pt x="7144" y="39624"/>
                  </a:lnTo>
                  <a:cubicBezTo>
                    <a:pt x="21336" y="18764"/>
                    <a:pt x="39433" y="7144"/>
                    <a:pt x="63722" y="7144"/>
                  </a:cubicBezTo>
                  <a:cubicBezTo>
                    <a:pt x="93917" y="7144"/>
                    <a:pt x="116491" y="26861"/>
                    <a:pt x="116491" y="55436"/>
                  </a:cubicBezTo>
                  <a:cubicBezTo>
                    <a:pt x="116491" y="75724"/>
                    <a:pt x="108014" y="87249"/>
                    <a:pt x="85820" y="112490"/>
                  </a:cubicBezTo>
                  <a:lnTo>
                    <a:pt x="69818" y="131731"/>
                  </a:lnTo>
                  <a:lnTo>
                    <a:pt x="120587" y="131731"/>
                  </a:lnTo>
                  <a:close/>
                </a:path>
              </a:pathLst>
            </a:custGeom>
            <a:grpFill/>
            <a:ln w="9525" cap="flat">
              <a:solidFill>
                <a:schemeClr val="bg1">
                  <a:lumMod val="5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B20DDEA-35B7-4931-8021-AD7744587EB7}"/>
                </a:ext>
              </a:extLst>
            </p:cNvPr>
            <p:cNvSpPr/>
            <p:nvPr/>
          </p:nvSpPr>
          <p:spPr>
            <a:xfrm>
              <a:off x="2307686" y="3448047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9" y="29051"/>
                    <a:pt x="285750" y="46673"/>
                    <a:pt x="317659" y="78581"/>
                  </a:cubicBezTo>
                  <a:cubicBezTo>
                    <a:pt x="349567" y="110490"/>
                    <a:pt x="367189" y="152972"/>
                    <a:pt x="367189" y="198120"/>
                  </a:cubicBezTo>
                  <a:cubicBezTo>
                    <a:pt x="367189" y="243269"/>
                    <a:pt x="349567" y="285750"/>
                    <a:pt x="317659" y="317659"/>
                  </a:cubicBezTo>
                  <a:cubicBezTo>
                    <a:pt x="285750" y="349568"/>
                    <a:pt x="243269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2" y="285750"/>
                    <a:pt x="29051" y="243269"/>
                    <a:pt x="29051" y="198120"/>
                  </a:cubicBezTo>
                  <a:cubicBezTo>
                    <a:pt x="29051" y="152972"/>
                    <a:pt x="46672" y="110490"/>
                    <a:pt x="78581" y="78581"/>
                  </a:cubicBezTo>
                  <a:cubicBezTo>
                    <a:pt x="110490" y="46673"/>
                    <a:pt x="152971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solidFill>
                <a:schemeClr val="bg1">
                  <a:lumMod val="5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260988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290FE7-CC9C-4D70-B58C-A5F5BDF55C59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B34BA48-FB04-4E57-B925-52FEF1E3A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z="1600" dirty="0">
                <a:solidFill>
                  <a:srgbClr val="00B0F0"/>
                </a:solidFill>
                <a:latin typeface="+mn-lt"/>
              </a:rPr>
              <a:t>Polska jest kluczowym rynkiem strategicznym dla Ørsted</a:t>
            </a:r>
            <a:endParaRPr lang="en-GB" sz="1600" dirty="0">
              <a:solidFill>
                <a:srgbClr val="00B0F0"/>
              </a:solidFill>
              <a:latin typeface="+mn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F8DF821-2B4C-4ABB-BBFF-EAC72FE403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92894"/>
            <a:ext cx="9144000" cy="344981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CD7F362-65B8-4C99-893C-B74EBE57CCBF}"/>
              </a:ext>
            </a:extLst>
          </p:cNvPr>
          <p:cNvSpPr/>
          <p:nvPr/>
        </p:nvSpPr>
        <p:spPr>
          <a:xfrm>
            <a:off x="2513808" y="2257875"/>
            <a:ext cx="1842292" cy="938412"/>
          </a:xfrm>
          <a:prstGeom prst="rect">
            <a:avLst/>
          </a:prstGeom>
          <a:solidFill>
            <a:schemeClr val="accent4">
              <a:alpha val="40000"/>
            </a:schemeClr>
          </a:solidFill>
          <a:ln w="12700">
            <a:solidFill>
              <a:srgbClr val="F5F6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96000"/>
              </a:lnSpc>
            </a:pPr>
            <a:r>
              <a:rPr lang="pl-PL" sz="900" b="1" dirty="0">
                <a:solidFill>
                  <a:schemeClr val="bg1"/>
                </a:solidFill>
              </a:rPr>
              <a:t>250 pracowników dzisiaj. Dynamicznie się rozwija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B1614BC-ADA6-4E51-B260-5CE2555958A2}"/>
              </a:ext>
            </a:extLst>
          </p:cNvPr>
          <p:cNvSpPr/>
          <p:nvPr/>
        </p:nvSpPr>
        <p:spPr>
          <a:xfrm>
            <a:off x="2513808" y="1196300"/>
            <a:ext cx="1842292" cy="867450"/>
          </a:xfrm>
          <a:prstGeom prst="rect">
            <a:avLst/>
          </a:prstGeom>
          <a:solidFill>
            <a:schemeClr val="accent1">
              <a:alpha val="40000"/>
            </a:schemeClr>
          </a:solidFill>
          <a:ln w="12700">
            <a:solidFill>
              <a:srgbClr val="F5F6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96000"/>
              </a:lnSpc>
            </a:pPr>
            <a:r>
              <a:rPr lang="pl-PL" sz="900" b="1" dirty="0">
                <a:solidFill>
                  <a:schemeClr val="bg1"/>
                </a:solidFill>
              </a:rPr>
              <a:t>7 lat działalności w Polsce </a:t>
            </a:r>
          </a:p>
          <a:p>
            <a:pPr algn="ctr">
              <a:lnSpc>
                <a:spcPct val="96000"/>
              </a:lnSpc>
            </a:pPr>
            <a:r>
              <a:rPr lang="pl-PL" sz="900" b="1" dirty="0">
                <a:solidFill>
                  <a:schemeClr val="bg1"/>
                </a:solidFill>
              </a:rPr>
              <a:t>i nowa lokalna siedziba otwarta w Warszawie</a:t>
            </a:r>
            <a:endParaRPr lang="en-GB" sz="900" b="1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77FE5F1-5C75-4149-99E9-CCE41F128EEF}"/>
              </a:ext>
            </a:extLst>
          </p:cNvPr>
          <p:cNvSpPr/>
          <p:nvPr/>
        </p:nvSpPr>
        <p:spPr>
          <a:xfrm>
            <a:off x="2513808" y="3390412"/>
            <a:ext cx="1842292" cy="900000"/>
          </a:xfrm>
          <a:prstGeom prst="rect">
            <a:avLst/>
          </a:prstGeom>
          <a:solidFill>
            <a:schemeClr val="accent2">
              <a:alpha val="40000"/>
            </a:schemeClr>
          </a:solidFill>
          <a:ln w="12700">
            <a:solidFill>
              <a:srgbClr val="F5F6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96000"/>
              </a:lnSpc>
            </a:pPr>
            <a:endParaRPr lang="pl-PL" sz="900" b="1" dirty="0"/>
          </a:p>
          <a:p>
            <a:pPr algn="ctr">
              <a:lnSpc>
                <a:spcPct val="96000"/>
              </a:lnSpc>
            </a:pPr>
            <a:r>
              <a:rPr lang="pl-PL" sz="900" b="1" dirty="0"/>
              <a:t>2,5GW zabezpieczonej mocy w partnerstwie z PGE</a:t>
            </a:r>
            <a:endParaRPr lang="en-GB" sz="900" b="1" dirty="0"/>
          </a:p>
        </p:txBody>
      </p:sp>
    </p:spTree>
    <p:extLst>
      <p:ext uri="{BB962C8B-B14F-4D97-AF65-F5344CB8AC3E}">
        <p14:creationId xmlns:p14="http://schemas.microsoft.com/office/powerpoint/2010/main" val="19915664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0F9B0137-5922-4572-8FCF-2D66A23E6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z="1600" dirty="0">
                <a:solidFill>
                  <a:srgbClr val="00B0F0"/>
                </a:solidFill>
                <a:latin typeface="+mn-lt"/>
              </a:rPr>
              <a:t>Ørsted wspiera polską transformację energetyczną w partnerstwie z PGE </a:t>
            </a:r>
            <a:endParaRPr lang="en-GB" sz="1600" dirty="0">
              <a:solidFill>
                <a:srgbClr val="00B0F0"/>
              </a:solidFill>
              <a:latin typeface="+mn-lt"/>
            </a:endParaRP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BBFF41E-1F33-4A07-95B5-C86ECB1727E7}"/>
              </a:ext>
            </a:extLst>
          </p:cNvPr>
          <p:cNvSpPr>
            <a:spLocks noGrp="1"/>
          </p:cNvSpPr>
          <p:nvPr>
            <p:ph idx="29"/>
          </p:nvPr>
        </p:nvSpPr>
        <p:spPr>
          <a:xfrm>
            <a:off x="4922200" y="986688"/>
            <a:ext cx="3993200" cy="3674212"/>
          </a:xfrm>
        </p:spPr>
        <p:txBody>
          <a:bodyPr/>
          <a:lstStyle/>
          <a:p>
            <a:pPr marL="0" indent="0">
              <a:buNone/>
            </a:pPr>
            <a:endParaRPr lang="pl-PL" sz="1200" dirty="0"/>
          </a:p>
          <a:p>
            <a:pPr marL="0" indent="0">
              <a:buNone/>
            </a:pPr>
            <a:r>
              <a:rPr lang="pl-PL" sz="1200" b="1" dirty="0">
                <a:solidFill>
                  <a:srgbClr val="00B0F0"/>
                </a:solidFill>
                <a:latin typeface="+mn-lt"/>
              </a:rPr>
              <a:t>Wizja i strategiczne cele </a:t>
            </a:r>
            <a:r>
              <a:rPr lang="en-US" sz="1200" b="1" dirty="0">
                <a:solidFill>
                  <a:srgbClr val="00B0F0"/>
                </a:solidFill>
                <a:latin typeface="+mn-lt"/>
              </a:rPr>
              <a:t>Ørsted</a:t>
            </a:r>
          </a:p>
          <a:p>
            <a:pPr marL="0" indent="0">
              <a:buNone/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Wizja Ørsted to </a:t>
            </a:r>
            <a:r>
              <a:rPr lang="pl-PL" sz="900" b="1" dirty="0">
                <a:solidFill>
                  <a:schemeClr val="accent1">
                    <a:lumMod val="75000"/>
                  </a:schemeClr>
                </a:solidFill>
              </a:rPr>
              <a:t>świat zasilany wyłącznie odnawialnymi źródłami energii. </a:t>
            </a:r>
          </a:p>
          <a:p>
            <a:pPr marL="0" indent="0">
              <a:buNone/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Ørsted ogłosił niedawno aspirację, by do 2030 r. </a:t>
            </a:r>
            <a:r>
              <a:rPr lang="pl-PL" sz="900" b="1" dirty="0">
                <a:solidFill>
                  <a:schemeClr val="accent1">
                    <a:lumMod val="75000"/>
                  </a:schemeClr>
                </a:solidFill>
              </a:rPr>
              <a:t>stać się wiodącym na świecie producentem zielonej energii z celem 50 GW zainstalowanej mocy odnawialnej do 2030 r</a:t>
            </a: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., z czego 30 GW będzie stanowić morska energia wiatrowa.</a:t>
            </a:r>
          </a:p>
          <a:p>
            <a:pPr marL="0" indent="0">
              <a:buNone/>
            </a:pPr>
            <a:r>
              <a:rPr lang="pl-PL" sz="1200" b="1" dirty="0">
                <a:solidFill>
                  <a:srgbClr val="00B0F0"/>
                </a:solidFill>
                <a:latin typeface="+mn-lt"/>
              </a:rPr>
              <a:t>Baltica</a:t>
            </a:r>
            <a:r>
              <a:rPr lang="en-US" sz="1200" b="1" dirty="0">
                <a:solidFill>
                  <a:srgbClr val="00B0F0"/>
                </a:solidFill>
                <a:latin typeface="+mn-lt"/>
              </a:rPr>
              <a:t>: 2.5 GW </a:t>
            </a:r>
            <a:r>
              <a:rPr lang="pl-PL" sz="1200" b="1" dirty="0">
                <a:solidFill>
                  <a:srgbClr val="00B0F0"/>
                </a:solidFill>
                <a:latin typeface="+mn-lt"/>
              </a:rPr>
              <a:t>na polskich wodach</a:t>
            </a:r>
            <a:r>
              <a:rPr lang="en-US" sz="1200" b="1" dirty="0">
                <a:solidFill>
                  <a:srgbClr val="00B0F0"/>
                </a:solidFill>
                <a:latin typeface="+mn-lt"/>
              </a:rPr>
              <a:t> </a:t>
            </a:r>
          </a:p>
          <a:p>
            <a:pPr marL="0" indent="0">
              <a:buNone/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Baltica 2 i Baltica 3 stanowią istotną część ambicji Ørsted do roku 2030 i. i są dla nas </a:t>
            </a:r>
            <a:r>
              <a:rPr lang="pl-PL" sz="900" b="1" dirty="0">
                <a:solidFill>
                  <a:schemeClr val="accent1">
                    <a:lumMod val="75000"/>
                  </a:schemeClr>
                </a:solidFill>
              </a:rPr>
              <a:t>strategicznie ważnymi projektami.</a:t>
            </a:r>
          </a:p>
          <a:p>
            <a:pPr marL="0" indent="0">
              <a:buNone/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  <a:latin typeface="Orsted Sans Office (Body)"/>
              </a:rPr>
              <a:t>Wspólne projekty PGE-Ørsted </a:t>
            </a:r>
            <a:r>
              <a:rPr lang="pl-PL" sz="900" b="1" dirty="0">
                <a:solidFill>
                  <a:schemeClr val="accent1">
                    <a:lumMod val="75000"/>
                  </a:schemeClr>
                </a:solidFill>
                <a:latin typeface="Orsted Sans Office (Body)"/>
              </a:rPr>
              <a:t>stanowią 42% pierwszej rundy offshore w Polsce (2,5 GW z 5,9 GW).</a:t>
            </a:r>
          </a:p>
          <a:p>
            <a:pPr marL="0" indent="0">
              <a:buNone/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  <a:latin typeface="Orsted Sans Office (Body)"/>
              </a:rPr>
              <a:t>Obie farmy wiatrowe będą </a:t>
            </a:r>
            <a:r>
              <a:rPr lang="pl-PL" sz="900" b="1" dirty="0">
                <a:solidFill>
                  <a:schemeClr val="accent1">
                    <a:lumMod val="75000"/>
                  </a:schemeClr>
                </a:solidFill>
                <a:latin typeface="Orsted Sans Office (Body)"/>
              </a:rPr>
              <a:t>przez 30 lat dostarczać czystą, niezawodną i niedrogą energię do prawie 4 milionów polskich gospodarstw domowych.</a:t>
            </a:r>
          </a:p>
          <a:p>
            <a:pPr marL="0" indent="0">
              <a:buNone/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  <a:latin typeface="Orsted Sans Office (Body)"/>
              </a:rPr>
              <a:t>Baltica 2 i 3 pomogą </a:t>
            </a:r>
            <a:r>
              <a:rPr lang="pl-PL" sz="900" b="1" dirty="0">
                <a:solidFill>
                  <a:schemeClr val="accent1">
                    <a:lumMod val="75000"/>
                  </a:schemeClr>
                </a:solidFill>
                <a:latin typeface="Orsted Sans Office (Body)"/>
              </a:rPr>
              <a:t>uniknąć 8 mln ton CO2 rocznie</a:t>
            </a:r>
            <a:r>
              <a:rPr lang="pl-PL" sz="900" dirty="0">
                <a:solidFill>
                  <a:schemeClr val="accent1">
                    <a:lumMod val="75000"/>
                  </a:schemeClr>
                </a:solidFill>
                <a:latin typeface="Orsted Sans Office (Body)"/>
              </a:rPr>
              <a:t>, wspierając transformację energetyczną Polski</a:t>
            </a:r>
          </a:p>
          <a:p>
            <a:pPr marL="0" indent="0">
              <a:buNone/>
            </a:pPr>
            <a:endParaRPr lang="pl-PL" sz="900" b="1" dirty="0">
              <a:solidFill>
                <a:schemeClr val="accent1">
                  <a:lumMod val="75000"/>
                </a:schemeClr>
              </a:solidFill>
              <a:latin typeface="Orsted Sans Office (Body)"/>
            </a:endParaRPr>
          </a:p>
          <a:p>
            <a:pPr marL="0" indent="0">
              <a:buNone/>
            </a:pPr>
            <a:endParaRPr lang="pl-PL" sz="900" b="1" dirty="0">
              <a:solidFill>
                <a:schemeClr val="accent1">
                  <a:lumMod val="75000"/>
                </a:schemeClr>
              </a:solidFill>
              <a:latin typeface="Orsted Sans Office (Body)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0CD3C70-1ED9-415E-BE6C-A7959204C656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7</a:t>
            </a:fld>
            <a:endParaRPr lang="en-GB" dirty="0"/>
          </a:p>
        </p:txBody>
      </p:sp>
      <p:graphicFrame>
        <p:nvGraphicFramePr>
          <p:cNvPr id="9" name="Content Placeholder 13">
            <a:extLst>
              <a:ext uri="{FF2B5EF4-FFF2-40B4-BE49-F238E27FC236}">
                <a16:creationId xmlns:a16="http://schemas.microsoft.com/office/drawing/2014/main" id="{1A15E7F7-1563-4669-B056-1DC6AE06854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24767869"/>
              </p:ext>
            </p:extLst>
          </p:nvPr>
        </p:nvGraphicFramePr>
        <p:xfrm>
          <a:off x="253779" y="828000"/>
          <a:ext cx="4318221" cy="3613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779981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EB03E47-D277-4660-834B-EA485470CD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9" imgW="338" imgH="338" progId="TCLayout.ActiveDocument.1">
                  <p:embed/>
                </p:oleObj>
              </mc:Choice>
              <mc:Fallback>
                <p:oleObj name="think-cell Slide" r:id="rId9" imgW="338" imgH="33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EB03E47-D277-4660-834B-EA485470CD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EFE6092-6968-4D95-A887-2352D5788313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noProof="0" dirty="0">
              <a:latin typeface="Orsted Sans Office" panose="00000500000000000000" pitchFamily="2" charset="0"/>
              <a:ea typeface="+mj-ea"/>
              <a:cs typeface="+mj-cs"/>
              <a:sym typeface="Orsted Sans Office" panose="00000500000000000000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949920F-D352-49C3-B032-0053BD698F9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236"/>
            <a:ext cx="9148068" cy="51412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458C07A-B3A1-4316-BC58-F23D1C937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937" y="1781433"/>
            <a:ext cx="8280000" cy="576000"/>
          </a:xfrm>
        </p:spPr>
        <p:txBody>
          <a:bodyPr/>
          <a:lstStyle/>
          <a:p>
            <a:r>
              <a:rPr lang="pl-PL" sz="3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Najlepsze praktyki</a:t>
            </a:r>
            <a:endParaRPr lang="en-GB" sz="3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00DDDF-81D2-4972-B02A-788074FBC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2000" y="4560091"/>
            <a:ext cx="280464" cy="36740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622048" rtl="0" eaLnBrk="1" latinLnBrk="0" hangingPunct="1">
              <a:lnSpc>
                <a:spcPct val="95000"/>
              </a:lnSpc>
              <a:defRPr sz="7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311024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2048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307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44097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55121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66145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7169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88193" algn="l" defTabSz="622048" rtl="0" eaLnBrk="1" latinLnBrk="0" hangingPunct="1">
              <a:defRPr sz="12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22048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lang="en-GB" smtClean="0"/>
              <a:pPr marL="0" marR="0" lvl="0" indent="0" algn="l" defTabSz="622048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99A4AE"/>
              </a:solidFill>
              <a:effectLst/>
              <a:uLnTx/>
              <a:uFillTx/>
              <a:latin typeface="Orsted Sans Office" panose="00000500000000000000" pitchFamily="2" charset="0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CB964EE-0A2A-40D9-8517-C5C09736BBCD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52400" y="4712580"/>
            <a:ext cx="756000" cy="206898"/>
          </a:xfrm>
          <a:prstGeom prst="rect">
            <a:avLst/>
          </a:prstGeom>
        </p:spPr>
      </p:pic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39E4346-4307-4D9E-BAFA-39DEC82AB42D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9" y="2001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13" imgW="592" imgH="595" progId="TCLayout.ActiveDocument.1">
                  <p:embed/>
                </p:oleObj>
              </mc:Choice>
              <mc:Fallback>
                <p:oleObj name="think-cell Slide" r:id="rId13" imgW="592" imgH="59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39E4346-4307-4D9E-BAFA-39DEC82AB4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" y="2001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A72539C4-3238-47F8-B7E3-BE88F02E0C21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2559" y="3525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Slide" r:id="rId15" imgW="592" imgH="595" progId="TCLayout.ActiveDocument.1">
                  <p:embed/>
                </p:oleObj>
              </mc:Choice>
              <mc:Fallback>
                <p:oleObj name="think-cell Slide" r:id="rId15" imgW="592" imgH="595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A72539C4-3238-47F8-B7E3-BE88F02E0C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2559" y="3525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DBA921A9-A842-4BFA-AF29-41A9A0A8F8BE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838188078"/>
              </p:ext>
            </p:extLst>
          </p:nvPr>
        </p:nvGraphicFramePr>
        <p:xfrm>
          <a:off x="304959" y="5049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9" name="think-cell Slide" r:id="rId16" imgW="592" imgH="595" progId="TCLayout.ActiveDocument.1">
                  <p:embed/>
                </p:oleObj>
              </mc:Choice>
              <mc:Fallback>
                <p:oleObj name="think-cell Slide" r:id="rId16" imgW="592" imgH="595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DBA921A9-A842-4BFA-AF29-41A9A0A8F8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04959" y="5049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0AE151B0-FD75-4D15-97FC-D92B4939F866}"/>
              </a:ext>
            </a:extLst>
          </p:cNvPr>
          <p:cNvGrpSpPr>
            <a:grpSpLocks noChangeAspect="1"/>
          </p:cNvGrpSpPr>
          <p:nvPr/>
        </p:nvGrpSpPr>
        <p:grpSpPr>
          <a:xfrm>
            <a:off x="261937" y="216000"/>
            <a:ext cx="741363" cy="741363"/>
            <a:chOff x="2842134" y="3448047"/>
            <a:chExt cx="390525" cy="390525"/>
          </a:xfrm>
          <a:solidFill>
            <a:schemeClr val="bg1"/>
          </a:solidFill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07F661D-3E05-4FF0-BD1F-2BFAEF383A49}"/>
                </a:ext>
              </a:extLst>
            </p:cNvPr>
            <p:cNvSpPr/>
            <p:nvPr/>
          </p:nvSpPr>
          <p:spPr>
            <a:xfrm>
              <a:off x="2973198" y="3564633"/>
              <a:ext cx="123825" cy="161925"/>
            </a:xfrm>
            <a:custGeom>
              <a:avLst/>
              <a:gdLst>
                <a:gd name="connsiteX0" fmla="*/ 123158 w 123825"/>
                <a:gd name="connsiteY0" fmla="*/ 106775 h 161925"/>
                <a:gd name="connsiteX1" fmla="*/ 64770 w 123825"/>
                <a:gd name="connsiteY1" fmla="*/ 160306 h 161925"/>
                <a:gd name="connsiteX2" fmla="*/ 7144 w 123825"/>
                <a:gd name="connsiteY2" fmla="*/ 131540 h 161925"/>
                <a:gd name="connsiteX3" fmla="*/ 27432 w 123825"/>
                <a:gd name="connsiteY3" fmla="*/ 110204 h 161925"/>
                <a:gd name="connsiteX4" fmla="*/ 64389 w 123825"/>
                <a:gd name="connsiteY4" fmla="*/ 131540 h 161925"/>
                <a:gd name="connsiteX5" fmla="*/ 92392 w 123825"/>
                <a:gd name="connsiteY5" fmla="*/ 105346 h 161925"/>
                <a:gd name="connsiteX6" fmla="*/ 58674 w 123825"/>
                <a:gd name="connsiteY6" fmla="*/ 79534 h 161925"/>
                <a:gd name="connsiteX7" fmla="*/ 43910 w 123825"/>
                <a:gd name="connsiteY7" fmla="*/ 81534 h 161925"/>
                <a:gd name="connsiteX8" fmla="*/ 75343 w 123825"/>
                <a:gd name="connsiteY8" fmla="*/ 35719 h 161925"/>
                <a:gd name="connsiteX9" fmla="*/ 15907 w 123825"/>
                <a:gd name="connsiteY9" fmla="*/ 35719 h 161925"/>
                <a:gd name="connsiteX10" fmla="*/ 15907 w 123825"/>
                <a:gd name="connsiteY10" fmla="*/ 7144 h 161925"/>
                <a:gd name="connsiteX11" fmla="*/ 122873 w 123825"/>
                <a:gd name="connsiteY11" fmla="*/ 7144 h 161925"/>
                <a:gd name="connsiteX12" fmla="*/ 88582 w 123825"/>
                <a:gd name="connsiteY12" fmla="*/ 59055 h 161925"/>
                <a:gd name="connsiteX13" fmla="*/ 123158 w 123825"/>
                <a:gd name="connsiteY13" fmla="*/ 10677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3825" h="161925">
                  <a:moveTo>
                    <a:pt x="123158" y="106775"/>
                  </a:moveTo>
                  <a:cubicBezTo>
                    <a:pt x="123158" y="138398"/>
                    <a:pt x="97822" y="160306"/>
                    <a:pt x="64770" y="160306"/>
                  </a:cubicBezTo>
                  <a:cubicBezTo>
                    <a:pt x="41243" y="160306"/>
                    <a:pt x="19526" y="149162"/>
                    <a:pt x="7144" y="131540"/>
                  </a:cubicBezTo>
                  <a:lnTo>
                    <a:pt x="27432" y="110204"/>
                  </a:lnTo>
                  <a:cubicBezTo>
                    <a:pt x="35528" y="122968"/>
                    <a:pt x="49340" y="131540"/>
                    <a:pt x="64389" y="131540"/>
                  </a:cubicBezTo>
                  <a:cubicBezTo>
                    <a:pt x="80200" y="131540"/>
                    <a:pt x="92392" y="122396"/>
                    <a:pt x="92392" y="105346"/>
                  </a:cubicBezTo>
                  <a:cubicBezTo>
                    <a:pt x="92392" y="89345"/>
                    <a:pt x="81439" y="79534"/>
                    <a:pt x="58674" y="79534"/>
                  </a:cubicBezTo>
                  <a:cubicBezTo>
                    <a:pt x="52959" y="79534"/>
                    <a:pt x="48101" y="80582"/>
                    <a:pt x="43910" y="81534"/>
                  </a:cubicBezTo>
                  <a:lnTo>
                    <a:pt x="75343" y="35719"/>
                  </a:lnTo>
                  <a:lnTo>
                    <a:pt x="15907" y="35719"/>
                  </a:lnTo>
                  <a:lnTo>
                    <a:pt x="15907" y="7144"/>
                  </a:lnTo>
                  <a:lnTo>
                    <a:pt x="122873" y="7144"/>
                  </a:lnTo>
                  <a:lnTo>
                    <a:pt x="88582" y="59055"/>
                  </a:lnTo>
                  <a:cubicBezTo>
                    <a:pt x="110204" y="66389"/>
                    <a:pt x="123158" y="84011"/>
                    <a:pt x="123158" y="106775"/>
                  </a:cubicBezTo>
                  <a:close/>
                </a:path>
              </a:pathLst>
            </a:custGeom>
            <a:grpFill/>
            <a:ln w="9525" cap="flat">
              <a:solidFill>
                <a:schemeClr val="bg1">
                  <a:lumMod val="5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BCDF906-24A1-4774-96A7-8F5C733652F0}"/>
                </a:ext>
              </a:extLst>
            </p:cNvPr>
            <p:cNvSpPr/>
            <p:nvPr/>
          </p:nvSpPr>
          <p:spPr>
            <a:xfrm>
              <a:off x="2842134" y="3448047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8" y="29051"/>
                    <a:pt x="285750" y="46673"/>
                    <a:pt x="317659" y="78581"/>
                  </a:cubicBezTo>
                  <a:cubicBezTo>
                    <a:pt x="349567" y="110490"/>
                    <a:pt x="367189" y="152972"/>
                    <a:pt x="367189" y="198120"/>
                  </a:cubicBezTo>
                  <a:cubicBezTo>
                    <a:pt x="367189" y="243269"/>
                    <a:pt x="349567" y="285750"/>
                    <a:pt x="317659" y="317659"/>
                  </a:cubicBezTo>
                  <a:cubicBezTo>
                    <a:pt x="285750" y="349568"/>
                    <a:pt x="243268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3" y="285750"/>
                    <a:pt x="29051" y="243269"/>
                    <a:pt x="29051" y="198120"/>
                  </a:cubicBezTo>
                  <a:cubicBezTo>
                    <a:pt x="29051" y="152972"/>
                    <a:pt x="46673" y="110490"/>
                    <a:pt x="78581" y="78581"/>
                  </a:cubicBezTo>
                  <a:cubicBezTo>
                    <a:pt x="110490" y="46673"/>
                    <a:pt x="152971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solidFill>
                <a:schemeClr val="bg1">
                  <a:lumMod val="5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142856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00180604-0E1F-4434-867D-484F0D34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2145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00180604-0E1F-4434-867D-484F0D34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1004DD13-7DDA-425C-93EE-2A01645ED010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GB" sz="1497" b="1" noProof="0" dirty="0">
              <a:latin typeface="Orsted Sans Office" panose="00000500000000000000" pitchFamily="2" charset="0"/>
              <a:ea typeface="+mj-ea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47087F-0E3B-4F2B-92D5-2B70C45BB8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z="1600" dirty="0">
                <a:solidFill>
                  <a:srgbClr val="00B0F0"/>
                </a:solidFill>
                <a:latin typeface="+mn-lt"/>
              </a:rPr>
              <a:t>Kilku dużych polskich dostawców zostało już zaangażowanych w projekty Ørsted na całym świecie</a:t>
            </a:r>
            <a:endParaRPr lang="en-GB" sz="1600" dirty="0">
              <a:solidFill>
                <a:srgbClr val="00B0F0"/>
              </a:solidFill>
              <a:latin typeface="+mn-lt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FB76524-990B-40FE-AF84-53B212186D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84200" y="1436552"/>
            <a:ext cx="2114550" cy="3109791"/>
          </a:xfrm>
        </p:spPr>
        <p:txBody>
          <a:bodyPr/>
          <a:lstStyle/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TF Kable </a:t>
            </a:r>
          </a:p>
          <a:p>
            <a:pPr marL="0" indent="0">
              <a:buNone/>
            </a:pPr>
            <a:endParaRPr lang="pl-PL" sz="1200" b="1" dirty="0"/>
          </a:p>
          <a:p>
            <a:pPr marL="0" indent="0">
              <a:buNone/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100% polskiego kapitału. </a:t>
            </a:r>
          </a:p>
          <a:p>
            <a:pPr marL="0" indent="0">
              <a:buNone/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W 2017 r. przejęła firmę JDR Cable, która dostarczyła kable na największą na świecie farmę wiatrową </a:t>
            </a:r>
            <a:r>
              <a:rPr lang="pl-PL" sz="900" b="1" dirty="0" err="1">
                <a:solidFill>
                  <a:schemeClr val="accent1">
                    <a:lumMod val="75000"/>
                  </a:schemeClr>
                </a:solidFill>
              </a:rPr>
              <a:t>Hornsea</a:t>
            </a:r>
            <a:r>
              <a:rPr lang="pl-PL" sz="900" b="1" dirty="0">
                <a:solidFill>
                  <a:schemeClr val="accent1">
                    <a:lumMod val="75000"/>
                  </a:schemeClr>
                </a:solidFill>
              </a:rPr>
              <a:t> 1</a:t>
            </a: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, a potem także na farmy </a:t>
            </a:r>
            <a:r>
              <a:rPr lang="en-US" sz="900" b="1" dirty="0">
                <a:solidFill>
                  <a:schemeClr val="accent1">
                    <a:lumMod val="75000"/>
                  </a:schemeClr>
                </a:solidFill>
              </a:rPr>
              <a:t>Race Bank </a:t>
            </a:r>
            <a:r>
              <a:rPr lang="pl-PL" sz="900" b="1" dirty="0">
                <a:solidFill>
                  <a:schemeClr val="accent1">
                    <a:lumMod val="75000"/>
                  </a:schemeClr>
                </a:solidFill>
              </a:rPr>
              <a:t>i</a:t>
            </a:r>
            <a:r>
              <a:rPr lang="en-US" sz="900" b="1" dirty="0">
                <a:solidFill>
                  <a:schemeClr val="accent1">
                    <a:lumMod val="75000"/>
                  </a:schemeClr>
                </a:solidFill>
              </a:rPr>
              <a:t> Changhua 1&amp;2a</a:t>
            </a:r>
            <a:r>
              <a:rPr lang="pl-PL" sz="900" b="1" dirty="0">
                <a:solidFill>
                  <a:schemeClr val="accent1">
                    <a:lumMod val="75000"/>
                  </a:schemeClr>
                </a:solidFill>
              </a:rPr>
              <a:t>.</a:t>
            </a:r>
            <a:endParaRPr lang="en-GB" sz="9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D93E26-2B3B-4D1C-82D8-7D4A1E9D084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333750" y="1446078"/>
            <a:ext cx="2374900" cy="3103623"/>
          </a:xfrm>
        </p:spPr>
        <p:txBody>
          <a:bodyPr/>
          <a:lstStyle/>
          <a:p>
            <a:pPr indent="0">
              <a:buNone/>
            </a:pPr>
            <a:r>
              <a:rPr lang="en-GB" sz="1200" b="1" dirty="0">
                <a:solidFill>
                  <a:schemeClr val="accent1">
                    <a:lumMod val="75000"/>
                  </a:schemeClr>
                </a:solidFill>
              </a:rPr>
              <a:t>Smulders/</a:t>
            </a:r>
            <a:r>
              <a:rPr lang="en-GB" sz="1200" b="1" dirty="0" err="1">
                <a:solidFill>
                  <a:schemeClr val="accent1">
                    <a:lumMod val="75000"/>
                  </a:schemeClr>
                </a:solidFill>
              </a:rPr>
              <a:t>Spomasz</a:t>
            </a:r>
            <a:r>
              <a:rPr lang="pl-PL" sz="1200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da-DK" sz="12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pl-PL" sz="1000" dirty="0"/>
          </a:p>
          <a:p>
            <a:pPr marL="0" indent="0">
              <a:buNone/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Specjalizuje się w produkcji konstrukcji stalowych dla morskich farm wiatrowych, głównie konstrukcje dla morskich wież i platform wiatrowych.</a:t>
            </a:r>
          </a:p>
          <a:p>
            <a:pPr marL="0" indent="0">
              <a:buNone/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Dostarczył konstrukcje stalowe dla projektów </a:t>
            </a:r>
            <a:r>
              <a:rPr lang="en-GB" sz="900" b="1" dirty="0" err="1">
                <a:solidFill>
                  <a:schemeClr val="accent1">
                    <a:lumMod val="75000"/>
                  </a:schemeClr>
                </a:solidFill>
              </a:rPr>
              <a:t>Walney</a:t>
            </a:r>
            <a:r>
              <a:rPr lang="en-GB" sz="900" b="1" dirty="0">
                <a:solidFill>
                  <a:schemeClr val="accent1">
                    <a:lumMod val="75000"/>
                  </a:schemeClr>
                </a:solidFill>
              </a:rPr>
              <a:t> Extension</a:t>
            </a:r>
            <a:endParaRPr lang="en-GB" sz="9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AEF092-E86C-4640-9416-243CB3FAAFE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341200" y="1436553"/>
            <a:ext cx="2374901" cy="3103623"/>
          </a:xfrm>
        </p:spPr>
        <p:txBody>
          <a:bodyPr/>
          <a:lstStyle/>
          <a:p>
            <a:pPr lvl="0" indent="0">
              <a:buNone/>
            </a:pPr>
            <a:r>
              <a:rPr lang="pl-PL" sz="1200" b="1" dirty="0">
                <a:solidFill>
                  <a:schemeClr val="accent1">
                    <a:lumMod val="75000"/>
                  </a:schemeClr>
                </a:solidFill>
              </a:rPr>
              <a:t>B</a:t>
            </a:r>
            <a:r>
              <a:rPr lang="en-GB" sz="1200" b="1" dirty="0" err="1">
                <a:solidFill>
                  <a:schemeClr val="accent1">
                    <a:lumMod val="75000"/>
                  </a:schemeClr>
                </a:solidFill>
              </a:rPr>
              <a:t>ladt</a:t>
            </a:r>
            <a:r>
              <a:rPr lang="en-GB" sz="1200" b="1" dirty="0">
                <a:solidFill>
                  <a:schemeClr val="accent1">
                    <a:lumMod val="75000"/>
                  </a:schemeClr>
                </a:solidFill>
              </a:rPr>
              <a:t> Industries </a:t>
            </a:r>
            <a:r>
              <a:rPr lang="en-GB" sz="1200" b="1" dirty="0" err="1">
                <a:solidFill>
                  <a:schemeClr val="accent1">
                    <a:lumMod val="75000"/>
                  </a:schemeClr>
                </a:solidFill>
              </a:rPr>
              <a:t>Polska</a:t>
            </a:r>
            <a:r>
              <a:rPr lang="en-GB" sz="1200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</a:p>
          <a:p>
            <a:pPr marL="0" lvl="0" indent="0">
              <a:buNone/>
            </a:pPr>
            <a:endParaRPr lang="pl-PL" sz="1000" dirty="0"/>
          </a:p>
          <a:p>
            <a:pPr marL="0" lvl="0" indent="0">
              <a:buNone/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Zlokalizowany w Szczecinie.</a:t>
            </a:r>
          </a:p>
          <a:p>
            <a:pPr marL="0" lvl="0" indent="0">
              <a:buNone/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Produkuje fundamenty i podstacje ze stali dla morskiej energetyki wiatrowej.</a:t>
            </a:r>
          </a:p>
          <a:p>
            <a:pPr marL="0" lvl="0" indent="0">
              <a:buNone/>
            </a:pPr>
            <a:r>
              <a:rPr lang="pl-PL" sz="900" dirty="0">
                <a:solidFill>
                  <a:schemeClr val="accent1">
                    <a:lumMod val="75000"/>
                  </a:schemeClr>
                </a:solidFill>
              </a:rPr>
              <a:t>Dostarczył fundamenty na holenderską farmę </a:t>
            </a:r>
            <a:r>
              <a:rPr lang="en-GB" sz="900" b="1" dirty="0" err="1">
                <a:solidFill>
                  <a:schemeClr val="accent1">
                    <a:lumMod val="75000"/>
                  </a:schemeClr>
                </a:solidFill>
              </a:rPr>
              <a:t>Borselle</a:t>
            </a:r>
            <a:r>
              <a:rPr lang="en-GB" sz="900" b="1" dirty="0">
                <a:solidFill>
                  <a:schemeClr val="accent1">
                    <a:lumMod val="75000"/>
                  </a:schemeClr>
                </a:solidFill>
              </a:rPr>
              <a:t> 1 </a:t>
            </a:r>
            <a:r>
              <a:rPr lang="pl-PL" sz="900" b="1" dirty="0">
                <a:solidFill>
                  <a:schemeClr val="accent1">
                    <a:lumMod val="75000"/>
                  </a:schemeClr>
                </a:solidFill>
              </a:rPr>
              <a:t>&amp;</a:t>
            </a:r>
            <a:r>
              <a:rPr lang="en-GB" sz="900" b="1" dirty="0">
                <a:solidFill>
                  <a:schemeClr val="accent1">
                    <a:lumMod val="75000"/>
                  </a:schemeClr>
                </a:solidFill>
              </a:rPr>
              <a:t> 2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4086FE-7BDF-41C7-B106-9DCDF28289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smtClean="0"/>
              <a:pPr/>
              <a:t>9</a:t>
            </a:fld>
            <a:endParaRPr lang="en-GB" dirty="0"/>
          </a:p>
        </p:txBody>
      </p:sp>
      <p:pic>
        <p:nvPicPr>
          <p:cNvPr id="16" name="Picture 4">
            <a:extLst>
              <a:ext uri="{FF2B5EF4-FFF2-40B4-BE49-F238E27FC236}">
                <a16:creationId xmlns:a16="http://schemas.microsoft.com/office/drawing/2014/main" id="{F7C4D4E4-7A9B-488D-8A03-B6D6A5507B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5557" y="3297866"/>
            <a:ext cx="1205683" cy="736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1">
            <a:extLst>
              <a:ext uri="{FF2B5EF4-FFF2-40B4-BE49-F238E27FC236}">
                <a16:creationId xmlns:a16="http://schemas.microsoft.com/office/drawing/2014/main" id="{9596FC33-0E94-4EA8-ADB2-2BB90A8324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936" y="3206751"/>
            <a:ext cx="1278410" cy="886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4" descr="KONTAKT – HGG Spomasz Services">
            <a:extLst>
              <a:ext uri="{FF2B5EF4-FFF2-40B4-BE49-F238E27FC236}">
                <a16:creationId xmlns:a16="http://schemas.microsoft.com/office/drawing/2014/main" id="{59850A35-35C6-4BAA-A603-C44C174ED3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3251" y="3711127"/>
            <a:ext cx="1612122" cy="323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6" descr="Smulders - IRO Netherlands Suppliers Catalogue">
            <a:extLst>
              <a:ext uri="{FF2B5EF4-FFF2-40B4-BE49-F238E27FC236}">
                <a16:creationId xmlns:a16="http://schemas.microsoft.com/office/drawing/2014/main" id="{3415AB31-D9E7-4664-A34D-5E2B001140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8135" y="3118659"/>
            <a:ext cx="2267729" cy="490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2126CCF5-86CC-4708-B402-C70A87803D7E}"/>
              </a:ext>
            </a:extLst>
          </p:cNvPr>
          <p:cNvSpPr/>
          <p:nvPr/>
        </p:nvSpPr>
        <p:spPr>
          <a:xfrm>
            <a:off x="525296" y="991853"/>
            <a:ext cx="2613053" cy="2808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200" b="1" dirty="0">
                <a:solidFill>
                  <a:srgbClr val="00B0F0"/>
                </a:solidFill>
              </a:rPr>
              <a:t>Producenci kabli</a:t>
            </a:r>
            <a:endParaRPr lang="en-US" sz="1200" b="1" dirty="0">
              <a:solidFill>
                <a:srgbClr val="00B0F0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5819F37-CC70-4843-84EF-A1335C2B3613}"/>
              </a:ext>
            </a:extLst>
          </p:cNvPr>
          <p:cNvSpPr/>
          <p:nvPr/>
        </p:nvSpPr>
        <p:spPr>
          <a:xfrm>
            <a:off x="3415630" y="987091"/>
            <a:ext cx="2700001" cy="2808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200" b="1" dirty="0">
                <a:solidFill>
                  <a:srgbClr val="00B0F0"/>
                </a:solidFill>
              </a:rPr>
              <a:t>Wieże turbin i platformy</a:t>
            </a:r>
            <a:endParaRPr lang="en-US" sz="1200" b="1" dirty="0">
              <a:solidFill>
                <a:srgbClr val="00B0F0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B090E53-74CC-43A2-9847-6922DB8F2484}"/>
              </a:ext>
            </a:extLst>
          </p:cNvPr>
          <p:cNvSpPr/>
          <p:nvPr/>
        </p:nvSpPr>
        <p:spPr>
          <a:xfrm>
            <a:off x="6312481" y="987091"/>
            <a:ext cx="2952169" cy="2808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200" b="1" dirty="0">
                <a:solidFill>
                  <a:srgbClr val="00B0F0"/>
                </a:solidFill>
              </a:rPr>
              <a:t>Fundamenty i podstacje</a:t>
            </a:r>
            <a:endParaRPr lang="en-US" sz="1200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9978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6827525222354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sfVGOdQjykEj6qgXoB7g"/>
  <p:tag name="TEMPLAFYSLIDEID" val="63706814048767789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ProgramData\SkabelonDesign\SDIS\Shared\Images\Energy production\Energy Production11.j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5822565863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6776576160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34028562968308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7485716202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6698813306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6699413129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6449125134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64491251348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7360750757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7374536572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26342843230348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26342843230348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34028562390148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117895386999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117895386988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11789538699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117895386989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11789538698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6784919935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67863255119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6449125134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sfVGOdQjykEj6qgXoB7g"/>
  <p:tag name="TEMPLAFYSLIDEID" val="63706814048767789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ProgramData\SkabelonDesign\SDIS\Shared\Images\Energy production\Energy Production11.jp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5822565863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6776576160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6784919935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78597002601229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sfVGOdQjykEj6qgXoB7g"/>
  <p:tag name="TEMPLAFYSLIDEID" val="637068140487677896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ProgramData\SkabelonDesign\SDIS\Shared\Images\Energy production\Energy Production11.jp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5822565863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6776576160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6781260225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IXeSFuSCSkBIfqnCegcw"/>
  <p:tag name="TEMPLAFYSLIDEID" val="637078597001186309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IXeSFuSCSkBIfqnCegcw"/>
  <p:tag name="TEMPLAFYSLIDEID" val="637078597001186309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6827525222354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rsted">
  <a:themeElements>
    <a:clrScheme name="Orsted">
      <a:dk1>
        <a:srgbClr val="000000"/>
      </a:dk1>
      <a:lt1>
        <a:srgbClr val="FFFFFF"/>
      </a:lt1>
      <a:dk2>
        <a:srgbClr val="3B4956"/>
      </a:dk2>
      <a:lt2>
        <a:srgbClr val="F5F6F7"/>
      </a:lt2>
      <a:accent1>
        <a:srgbClr val="4099DA"/>
      </a:accent1>
      <a:accent2>
        <a:srgbClr val="8ECDC8"/>
      </a:accent2>
      <a:accent3>
        <a:srgbClr val="644C76"/>
      </a:accent3>
      <a:accent4>
        <a:srgbClr val="D8D1CA"/>
      </a:accent4>
      <a:accent5>
        <a:srgbClr val="B7ADA5"/>
      </a:accent5>
      <a:accent6>
        <a:srgbClr val="99A4AE"/>
      </a:accent6>
      <a:hlink>
        <a:srgbClr val="4099DA"/>
      </a:hlink>
      <a:folHlink>
        <a:srgbClr val="4099DA"/>
      </a:folHlink>
    </a:clrScheme>
    <a:fontScheme name="Orsted Sans Office">
      <a:majorFont>
        <a:latin typeface="Orsted Sans Office"/>
        <a:ea typeface=""/>
        <a:cs typeface=""/>
      </a:majorFont>
      <a:minorFont>
        <a:latin typeface="Orsted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6000"/>
          </a:lnSpc>
          <a:defRPr sz="13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6000"/>
          </a:lnSpc>
          <a:spcBef>
            <a:spcPts val="1800"/>
          </a:spcBef>
          <a:defRPr sz="13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 Landscape Orsted" id="{C078B94F-499C-4D68-8DC1-EA3626C38830}" vid="{856A7C99-61C5-4C89-984D-F6920DFC722E}"/>
    </a:ext>
  </a:extLst>
</a:theme>
</file>

<file path=ppt/theme/theme2.xml><?xml version="1.0" encoding="utf-8"?>
<a:theme xmlns:a="http://schemas.openxmlformats.org/drawingml/2006/main" name="Orsted">
  <a:themeElements>
    <a:clrScheme name="Orsted">
      <a:dk1>
        <a:srgbClr val="000000"/>
      </a:dk1>
      <a:lt1>
        <a:srgbClr val="FFFFFF"/>
      </a:lt1>
      <a:dk2>
        <a:srgbClr val="3B4956"/>
      </a:dk2>
      <a:lt2>
        <a:srgbClr val="F5F6F7"/>
      </a:lt2>
      <a:accent1>
        <a:srgbClr val="4099DA"/>
      </a:accent1>
      <a:accent2>
        <a:srgbClr val="8ECDC8"/>
      </a:accent2>
      <a:accent3>
        <a:srgbClr val="644C76"/>
      </a:accent3>
      <a:accent4>
        <a:srgbClr val="D8D1CA"/>
      </a:accent4>
      <a:accent5>
        <a:srgbClr val="B7ADA5"/>
      </a:accent5>
      <a:accent6>
        <a:srgbClr val="99A4AE"/>
      </a:accent6>
      <a:hlink>
        <a:srgbClr val="4099DA"/>
      </a:hlink>
      <a:folHlink>
        <a:srgbClr val="4099DA"/>
      </a:folHlink>
    </a:clrScheme>
    <a:fontScheme name="Orsted Sans Office">
      <a:majorFont>
        <a:latin typeface="Orsted Sans Office"/>
        <a:ea typeface=""/>
        <a:cs typeface=""/>
      </a:majorFont>
      <a:minorFont>
        <a:latin typeface="Orsted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6000"/>
          </a:lnSpc>
          <a:defRPr sz="13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6000"/>
          </a:lnSpc>
          <a:spcBef>
            <a:spcPts val="1800"/>
          </a:spcBef>
          <a:defRPr sz="13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 Landscape Orsted" id="{C078B94F-499C-4D68-8DC1-EA3626C38830}" vid="{856A7C99-61C5-4C89-984D-F6920DFC722E}"/>
    </a:ext>
  </a:extLst>
</a:theme>
</file>

<file path=ppt/theme/theme3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2A6BB63F48DE489DBA96BCB46C99AD" ma:contentTypeVersion="10" ma:contentTypeDescription="Create a new document." ma:contentTypeScope="" ma:versionID="5a0c49a197b24d3d0907545d9645077f">
  <xsd:schema xmlns:xsd="http://www.w3.org/2001/XMLSchema" xmlns:xs="http://www.w3.org/2001/XMLSchema" xmlns:p="http://schemas.microsoft.com/office/2006/metadata/properties" xmlns:ns3="a268ee62-aae4-4f15-a74b-c9c974c28041" targetNamespace="http://schemas.microsoft.com/office/2006/metadata/properties" ma:root="true" ma:fieldsID="5c3927561cc4caece4a287cf97cc0773" ns3:_="">
    <xsd:import namespace="a268ee62-aae4-4f15-a74b-c9c974c2804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68ee62-aae4-4f15-a74b-c9c974c280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29F4726-47DA-4490-86E3-39B10906063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80CDD78-F299-43AD-9D21-C886D520A4CB}">
  <ds:schemaRefs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purl.org/dc/dcmitype/"/>
    <ds:schemaRef ds:uri="a268ee62-aae4-4f15-a74b-c9c974c28041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2377E6FB-ADAD-4463-9908-0318264777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68ee62-aae4-4f15-a74b-c9c974c280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67</TotalTime>
  <Words>709</Words>
  <Application>Microsoft Office PowerPoint</Application>
  <PresentationFormat>On-screen Show (16:9)</PresentationFormat>
  <Paragraphs>92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Orsted Sans Office</vt:lpstr>
      <vt:lpstr>Orsted Sans Office (Body)</vt:lpstr>
      <vt:lpstr>Arial</vt:lpstr>
      <vt:lpstr>Orsted</vt:lpstr>
      <vt:lpstr>Orsted</vt:lpstr>
      <vt:lpstr>think-cell Slide</vt:lpstr>
      <vt:lpstr>Z polskiej strefy Bałtyku w kierunku głębszych wód</vt:lpstr>
      <vt:lpstr>Dlaczego Polska?</vt:lpstr>
      <vt:lpstr>Polska ma korzystne warunki rozwoju morskich farm wiatrowych</vt:lpstr>
      <vt:lpstr>Polska ma szansę stać się jednym z największych rynków morskiej energetyki wiatrowej w Europie i liderem w regionie Morza Bałtyckiego</vt:lpstr>
      <vt:lpstr>Ørsted w Polsce</vt:lpstr>
      <vt:lpstr>Polska jest kluczowym rynkiem strategicznym dla Ørsted</vt:lpstr>
      <vt:lpstr>Ørsted wspiera polską transformację energetyczną w partnerstwie z PGE </vt:lpstr>
      <vt:lpstr>Najlepsze praktyki</vt:lpstr>
      <vt:lpstr>Kilku dużych polskich dostawców zostało już zaangażowanych w projekty Ørsted na całym świecie</vt:lpstr>
      <vt:lpstr>Współpraca Ørsted z Portem Gdynia</vt:lpstr>
      <vt:lpstr>Studium przypadku : Port Grimsby na wschodnim wybrzeżu Wielkiej Brytanii ponownie rozkwita po dużych inwestycjach firmy Ørsted w centrum obsługi i konserwacji </vt:lpstr>
      <vt:lpstr>Dziękuję za uwagę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eta Wieczerzak-Krusińska</dc:creator>
  <cp:keywords>16:9 Ørsted Sans</cp:keywords>
  <cp:lastModifiedBy>Aneta Wieczerzak-Krusińska</cp:lastModifiedBy>
  <cp:revision>60</cp:revision>
  <cp:lastPrinted>2017-05-04T08:42:11Z</cp:lastPrinted>
  <dcterms:created xsi:type="dcterms:W3CDTF">2021-06-14T16:27:35Z</dcterms:created>
  <dcterms:modified xsi:type="dcterms:W3CDTF">2021-06-17T08:15:04Z</dcterms:modified>
  <cp:category>Templa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ContentTypeId">
    <vt:lpwstr>0x010100942A6BB63F48DE489DBA96BCB46C99AD</vt:lpwstr>
  </property>
  <property fmtid="{D5CDD505-2E9C-101B-9397-08002B2CF9AE}" pid="4" name="DESentToRecordCenter">
    <vt:bool>false</vt:bool>
  </property>
  <property fmtid="{D5CDD505-2E9C-101B-9397-08002B2CF9AE}" pid="5" name="DEIsDeleted">
    <vt:bool>false</vt:bool>
  </property>
  <property fmtid="{D5CDD505-2E9C-101B-9397-08002B2CF9AE}" pid="6" name="DEIsRecordIdSet">
    <vt:bool>false</vt:bool>
  </property>
  <property fmtid="{D5CDD505-2E9C-101B-9397-08002B2CF9AE}" pid="7" name="DEIsDocumentIdSet">
    <vt:bool>true</vt:bool>
  </property>
  <property fmtid="{D5CDD505-2E9C-101B-9397-08002B2CF9AE}" pid="8" name="DEDiscardingAttempts">
    <vt:r8>0</vt:r8>
  </property>
  <property fmtid="{D5CDD505-2E9C-101B-9397-08002B2CF9AE}" pid="9" name="DEKeywords">
    <vt:lpwstr/>
  </property>
  <property fmtid="{D5CDD505-2E9C-101B-9397-08002B2CF9AE}" pid="10" name="DEIsRecord">
    <vt:bool>false</vt:bool>
  </property>
  <property fmtid="{D5CDD505-2E9C-101B-9397-08002B2CF9AE}" pid="11" name="DETriggerWorkflow">
    <vt:bool>false</vt:bool>
  </property>
  <property fmtid="{D5CDD505-2E9C-101B-9397-08002B2CF9AE}" pid="12" name="DEIsMarkedForDeletion">
    <vt:bool>false</vt:bool>
  </property>
  <property fmtid="{D5CDD505-2E9C-101B-9397-08002B2CF9AE}" pid="13" name="MSIP_Label_62cfb277-e402-4e8d-a57e-f9bc28430740_Enabled">
    <vt:lpwstr>true</vt:lpwstr>
  </property>
  <property fmtid="{D5CDD505-2E9C-101B-9397-08002B2CF9AE}" pid="14" name="MSIP_Label_62cfb277-e402-4e8d-a57e-f9bc28430740_SetDate">
    <vt:lpwstr>2021-06-14T20:23:47Z</vt:lpwstr>
  </property>
  <property fmtid="{D5CDD505-2E9C-101B-9397-08002B2CF9AE}" pid="15" name="MSIP_Label_62cfb277-e402-4e8d-a57e-f9bc28430740_Method">
    <vt:lpwstr>Privileged</vt:lpwstr>
  </property>
  <property fmtid="{D5CDD505-2E9C-101B-9397-08002B2CF9AE}" pid="16" name="MSIP_Label_62cfb277-e402-4e8d-a57e-f9bc28430740_Name">
    <vt:lpwstr>Public</vt:lpwstr>
  </property>
  <property fmtid="{D5CDD505-2E9C-101B-9397-08002B2CF9AE}" pid="17" name="MSIP_Label_62cfb277-e402-4e8d-a57e-f9bc28430740_SiteId">
    <vt:lpwstr>100b3c99-f3e2-4da0-9c8a-b9d345742c36</vt:lpwstr>
  </property>
  <property fmtid="{D5CDD505-2E9C-101B-9397-08002B2CF9AE}" pid="18" name="MSIP_Label_62cfb277-e402-4e8d-a57e-f9bc28430740_ActionId">
    <vt:lpwstr>76f32c31-a0d7-4dda-98b9-a1cba7cc8606</vt:lpwstr>
  </property>
  <property fmtid="{D5CDD505-2E9C-101B-9397-08002B2CF9AE}" pid="19" name="MSIP_Label_62cfb277-e402-4e8d-a57e-f9bc28430740_ContentBits">
    <vt:lpwstr>0</vt:lpwstr>
  </property>
</Properties>
</file>